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FDE2_FE51FD31.xml" ContentType="application/vnd.ms-powerpoint.comments+xml"/>
  <Override PartName="/ppt/tags/tag22.xml" ContentType="application/vnd.openxmlformats-officedocument.presentationml.tags+xml"/>
  <Override PartName="/ppt/comments/modernComment_7FFFFDB4_1ADC7B15.xml" ContentType="application/vnd.ms-powerpoint.comment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7FFFFDC9_DB358DC9.xml" ContentType="application/vnd.ms-powerpoint.comment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2" r:id="rId5"/>
    <p:sldMasterId id="2147483690" r:id="rId6"/>
    <p:sldMasterId id="2147483678" r:id="rId7"/>
    <p:sldMasterId id="2147483666" r:id="rId8"/>
    <p:sldMasterId id="2147483715" r:id="rId9"/>
  </p:sldMasterIdLst>
  <p:notesMasterIdLst>
    <p:notesMasterId r:id="rId26"/>
  </p:notesMasterIdLst>
  <p:sldIdLst>
    <p:sldId id="2147483102" r:id="rId10"/>
    <p:sldId id="2147483058" r:id="rId11"/>
    <p:sldId id="2147483079" r:id="rId12"/>
    <p:sldId id="2147483104" r:id="rId13"/>
    <p:sldId id="2147483059" r:id="rId14"/>
    <p:sldId id="2147483106" r:id="rId15"/>
    <p:sldId id="2147483060" r:id="rId16"/>
    <p:sldId id="2147483103" r:id="rId17"/>
    <p:sldId id="2147483061" r:id="rId18"/>
    <p:sldId id="2147483081" r:id="rId19"/>
    <p:sldId id="2147483083" r:id="rId20"/>
    <p:sldId id="2147483099" r:id="rId21"/>
    <p:sldId id="2147483064" r:id="rId22"/>
    <p:sldId id="2147483065" r:id="rId23"/>
    <p:sldId id="2147483088" r:id="rId24"/>
    <p:sldId id="2147483107" r:id="rId25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B326D82C-ED5B-4646-8D95-6B7E9E45B12F}">
          <p14:sldIdLst>
            <p14:sldId id="2147483102"/>
            <p14:sldId id="2147483058"/>
            <p14:sldId id="2147483079"/>
            <p14:sldId id="2147483104"/>
            <p14:sldId id="2147483059"/>
            <p14:sldId id="2147483106"/>
            <p14:sldId id="2147483060"/>
            <p14:sldId id="2147483103"/>
            <p14:sldId id="2147483061"/>
            <p14:sldId id="2147483081"/>
            <p14:sldId id="2147483083"/>
            <p14:sldId id="2147483099"/>
            <p14:sldId id="2147483064"/>
            <p14:sldId id="2147483065"/>
            <p14:sldId id="2147483088"/>
            <p14:sldId id="21474831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BA6723-4ADF-A384-2EF1-EA73D94E0DA0}" name="Ulla Jensen" initials="UJ" userId="S::uje@domea.dk::9f08d654-f16e-4e37-932e-b650d83c4d02" providerId="AD"/>
  <p188:author id="{6162575C-AE88-C58D-D025-F1966F325B03}" name="Maria Hyllehøj" initials="MH" userId="S::mahy@domea.dk::3ac3bf3f-fed0-4c90-82f1-10d83be77ef4" providerId="AD"/>
  <p188:author id="{EE1F3168-F072-5979-E5E1-FE6AF3A3A016}" name="Maria Hyllehøj" initials="MH" userId="S::MAHY@domea.dk::3ac3bf3f-fed0-4c90-82f1-10d83be77ef4" providerId="AD"/>
  <p188:author id="{708367BA-B4E7-1E8A-C090-9013B17D85A1}" name="Caroline Moosgaard Nielsen" initials="CM" userId="S::cam@venzo.com::fb9c0e9b-a3bf-42ca-b744-d83ee6d62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5B52"/>
    <a:srgbClr val="0F5B51"/>
    <a:srgbClr val="F7EEE3"/>
    <a:srgbClr val="97A2BB"/>
    <a:srgbClr val="FCD9DC"/>
    <a:srgbClr val="FDE7E9"/>
    <a:srgbClr val="FEF0F1"/>
    <a:srgbClr val="FEECEE"/>
    <a:srgbClr val="339C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65"/>
  </p:normalViewPr>
  <p:slideViewPr>
    <p:cSldViewPr snapToGrid="0">
      <p:cViewPr varScale="1">
        <p:scale>
          <a:sx n="107" d="100"/>
          <a:sy n="107" d="100"/>
        </p:scale>
        <p:origin x="7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Hyllehøj" userId="3ac3bf3f-fed0-4c90-82f1-10d83be77ef4" providerId="ADAL" clId="{30F9E69F-7CD5-47E7-A15D-5BEA198E2237}"/>
    <pc:docChg chg="undo redo custSel addSld delSld modSld sldOrd modSection">
      <pc:chgData name="Maria Hyllehøj" userId="3ac3bf3f-fed0-4c90-82f1-10d83be77ef4" providerId="ADAL" clId="{30F9E69F-7CD5-47E7-A15D-5BEA198E2237}" dt="2025-11-27T16:16:28.063" v="1966" actId="1076"/>
      <pc:docMkLst>
        <pc:docMk/>
      </pc:docMkLst>
      <pc:sldChg chg="addSp delSp modSp mod">
        <pc:chgData name="Maria Hyllehøj" userId="3ac3bf3f-fed0-4c90-82f1-10d83be77ef4" providerId="ADAL" clId="{30F9E69F-7CD5-47E7-A15D-5BEA198E2237}" dt="2025-11-27T14:16:53.591" v="381" actId="207"/>
        <pc:sldMkLst>
          <pc:docMk/>
          <pc:sldMk cId="1687296881" sldId="2147483058"/>
        </pc:sldMkLst>
        <pc:spChg chg="mod">
          <ac:chgData name="Maria Hyllehøj" userId="3ac3bf3f-fed0-4c90-82f1-10d83be77ef4" providerId="ADAL" clId="{30F9E69F-7CD5-47E7-A15D-5BEA198E2237}" dt="2025-11-27T14:16:53.591" v="381" actId="207"/>
          <ac:spMkLst>
            <pc:docMk/>
            <pc:sldMk cId="1687296881" sldId="2147483058"/>
            <ac:spMk id="2" creationId="{5A550ACA-658D-E643-4258-A613741178AE}"/>
          </ac:spMkLst>
        </pc:spChg>
        <pc:spChg chg="add mod">
          <ac:chgData name="Maria Hyllehøj" userId="3ac3bf3f-fed0-4c90-82f1-10d83be77ef4" providerId="ADAL" clId="{30F9E69F-7CD5-47E7-A15D-5BEA198E2237}" dt="2025-11-27T13:57:35.134" v="75" actId="14100"/>
          <ac:spMkLst>
            <pc:docMk/>
            <pc:sldMk cId="1687296881" sldId="2147483058"/>
            <ac:spMk id="3" creationId="{9E7ED903-A502-C838-C4B4-F6B7F229A92A}"/>
          </ac:spMkLst>
        </pc:spChg>
        <pc:spChg chg="add mod">
          <ac:chgData name="Maria Hyllehøj" userId="3ac3bf3f-fed0-4c90-82f1-10d83be77ef4" providerId="ADAL" clId="{30F9E69F-7CD5-47E7-A15D-5BEA198E2237}" dt="2025-11-27T14:00:35.019" v="99" actId="20577"/>
          <ac:spMkLst>
            <pc:docMk/>
            <pc:sldMk cId="1687296881" sldId="2147483058"/>
            <ac:spMk id="6" creationId="{392A6273-0BCD-BE55-BE57-2019CCB021C1}"/>
          </ac:spMkLst>
        </pc:spChg>
        <pc:spChg chg="mod">
          <ac:chgData name="Maria Hyllehøj" userId="3ac3bf3f-fed0-4c90-82f1-10d83be77ef4" providerId="ADAL" clId="{30F9E69F-7CD5-47E7-A15D-5BEA198E2237}" dt="2025-11-27T13:59:02.526" v="89" actId="20577"/>
          <ac:spMkLst>
            <pc:docMk/>
            <pc:sldMk cId="1687296881" sldId="2147483058"/>
            <ac:spMk id="7" creationId="{F73BCF6A-D117-7CF5-0BBD-5C9EAE3843A3}"/>
          </ac:spMkLst>
        </pc:spChg>
        <pc:spChg chg="mod">
          <ac:chgData name="Maria Hyllehøj" userId="3ac3bf3f-fed0-4c90-82f1-10d83be77ef4" providerId="ADAL" clId="{30F9E69F-7CD5-47E7-A15D-5BEA198E2237}" dt="2025-11-27T13:55:16.259" v="41" actId="1076"/>
          <ac:spMkLst>
            <pc:docMk/>
            <pc:sldMk cId="1687296881" sldId="2147483058"/>
            <ac:spMk id="12" creationId="{FF838D77-AF94-6FBB-8DC8-1A6CCFE42906}"/>
          </ac:spMkLst>
        </pc:spChg>
        <pc:picChg chg="mod">
          <ac:chgData name="Maria Hyllehøj" userId="3ac3bf3f-fed0-4c90-82f1-10d83be77ef4" providerId="ADAL" clId="{30F9E69F-7CD5-47E7-A15D-5BEA198E2237}" dt="2025-11-27T13:58:37.673" v="88" actId="1076"/>
          <ac:picMkLst>
            <pc:docMk/>
            <pc:sldMk cId="1687296881" sldId="2147483058"/>
            <ac:picMk id="9" creationId="{B251BF67-D65B-E7AC-98C7-FD60E1370B04}"/>
          </ac:picMkLst>
        </pc:picChg>
      </pc:sldChg>
      <pc:sldChg chg="modSp add mod">
        <pc:chgData name="Maria Hyllehøj" userId="3ac3bf3f-fed0-4c90-82f1-10d83be77ef4" providerId="ADAL" clId="{30F9E69F-7CD5-47E7-A15D-5BEA198E2237}" dt="2025-11-27T15:07:24.701" v="1676" actId="207"/>
        <pc:sldMkLst>
          <pc:docMk/>
          <pc:sldMk cId="3916167478" sldId="2147483059"/>
        </pc:sldMkLst>
        <pc:spChg chg="mod">
          <ac:chgData name="Maria Hyllehøj" userId="3ac3bf3f-fed0-4c90-82f1-10d83be77ef4" providerId="ADAL" clId="{30F9E69F-7CD5-47E7-A15D-5BEA198E2237}" dt="2025-11-27T15:07:14.506" v="1675" actId="20577"/>
          <ac:spMkLst>
            <pc:docMk/>
            <pc:sldMk cId="3916167478" sldId="2147483059"/>
            <ac:spMk id="2" creationId="{BCFDFAE0-0568-CA39-E3D6-57D967EC8051}"/>
          </ac:spMkLst>
        </pc:spChg>
        <pc:spChg chg="mod">
          <ac:chgData name="Maria Hyllehøj" userId="3ac3bf3f-fed0-4c90-82f1-10d83be77ef4" providerId="ADAL" clId="{30F9E69F-7CD5-47E7-A15D-5BEA198E2237}" dt="2025-11-27T15:07:24.701" v="1676" actId="207"/>
          <ac:spMkLst>
            <pc:docMk/>
            <pc:sldMk cId="3916167478" sldId="2147483059"/>
            <ac:spMk id="7" creationId="{5532FBCC-8E89-B817-6EAC-A01C03D97BAB}"/>
          </ac:spMkLst>
        </pc:spChg>
      </pc:sldChg>
      <pc:sldChg chg="addSp delSp modSp mod">
        <pc:chgData name="Maria Hyllehøj" userId="3ac3bf3f-fed0-4c90-82f1-10d83be77ef4" providerId="ADAL" clId="{30F9E69F-7CD5-47E7-A15D-5BEA198E2237}" dt="2025-11-27T15:38:35.307" v="1964" actId="207"/>
        <pc:sldMkLst>
          <pc:docMk/>
          <pc:sldMk cId="450657045" sldId="2147483060"/>
        </pc:sldMkLst>
        <pc:spChg chg="mod">
          <ac:chgData name="Maria Hyllehøj" userId="3ac3bf3f-fed0-4c90-82f1-10d83be77ef4" providerId="ADAL" clId="{30F9E69F-7CD5-47E7-A15D-5BEA198E2237}" dt="2025-11-27T15:38:35.307" v="1964" actId="207"/>
          <ac:spMkLst>
            <pc:docMk/>
            <pc:sldMk cId="450657045" sldId="2147483060"/>
            <ac:spMk id="2" creationId="{F1678FCA-806A-70F1-2157-5CE20C63F0CE}"/>
          </ac:spMkLst>
        </pc:spChg>
        <pc:spChg chg="mod">
          <ac:chgData name="Maria Hyllehøj" userId="3ac3bf3f-fed0-4c90-82f1-10d83be77ef4" providerId="ADAL" clId="{30F9E69F-7CD5-47E7-A15D-5BEA198E2237}" dt="2025-11-27T14:50:30.856" v="1260" actId="1076"/>
          <ac:spMkLst>
            <pc:docMk/>
            <pc:sldMk cId="450657045" sldId="2147483060"/>
            <ac:spMk id="9" creationId="{D033AFC7-F802-ECB4-7C80-D527013FE3ED}"/>
          </ac:spMkLst>
        </pc:spChg>
        <pc:spChg chg="mod">
          <ac:chgData name="Maria Hyllehøj" userId="3ac3bf3f-fed0-4c90-82f1-10d83be77ef4" providerId="ADAL" clId="{30F9E69F-7CD5-47E7-A15D-5BEA198E2237}" dt="2025-11-27T14:50:45.609" v="1263" actId="14100"/>
          <ac:spMkLst>
            <pc:docMk/>
            <pc:sldMk cId="450657045" sldId="2147483060"/>
            <ac:spMk id="10" creationId="{5842AED6-21D5-8488-D19D-DCE12F625EBF}"/>
          </ac:spMkLst>
        </pc:spChg>
        <pc:picChg chg="mod">
          <ac:chgData name="Maria Hyllehøj" userId="3ac3bf3f-fed0-4c90-82f1-10d83be77ef4" providerId="ADAL" clId="{30F9E69F-7CD5-47E7-A15D-5BEA198E2237}" dt="2025-11-27T14:52:41.522" v="1264" actId="1076"/>
          <ac:picMkLst>
            <pc:docMk/>
            <pc:sldMk cId="450657045" sldId="2147483060"/>
            <ac:picMk id="12" creationId="{66B72AC3-2AC1-D822-E6DE-5B54CC081397}"/>
          </ac:picMkLst>
        </pc:picChg>
        <pc:picChg chg="mod">
          <ac:chgData name="Maria Hyllehøj" userId="3ac3bf3f-fed0-4c90-82f1-10d83be77ef4" providerId="ADAL" clId="{30F9E69F-7CD5-47E7-A15D-5BEA198E2237}" dt="2025-11-27T14:52:41.522" v="1264" actId="1076"/>
          <ac:picMkLst>
            <pc:docMk/>
            <pc:sldMk cId="450657045" sldId="2147483060"/>
            <ac:picMk id="13" creationId="{8CB840FF-448E-D60A-982B-CF61770C61B2}"/>
          </ac:picMkLst>
        </pc:picChg>
        <pc:picChg chg="mod">
          <ac:chgData name="Maria Hyllehøj" userId="3ac3bf3f-fed0-4c90-82f1-10d83be77ef4" providerId="ADAL" clId="{30F9E69F-7CD5-47E7-A15D-5BEA198E2237}" dt="2025-11-27T14:52:41.522" v="1264" actId="1076"/>
          <ac:picMkLst>
            <pc:docMk/>
            <pc:sldMk cId="450657045" sldId="2147483060"/>
            <ac:picMk id="14" creationId="{169C0DF3-DF9C-9730-7494-F40AEFEFE5EE}"/>
          </ac:picMkLst>
        </pc:picChg>
      </pc:sldChg>
      <pc:sldChg chg="addSp delSp modSp mod">
        <pc:chgData name="Maria Hyllehøj" userId="3ac3bf3f-fed0-4c90-82f1-10d83be77ef4" providerId="ADAL" clId="{30F9E69F-7CD5-47E7-A15D-5BEA198E2237}" dt="2025-11-27T15:38:19.473" v="1963" actId="207"/>
        <pc:sldMkLst>
          <pc:docMk/>
          <pc:sldMk cId="3339230474" sldId="2147483061"/>
        </pc:sldMkLst>
        <pc:spChg chg="mod">
          <ac:chgData name="Maria Hyllehøj" userId="3ac3bf3f-fed0-4c90-82f1-10d83be77ef4" providerId="ADAL" clId="{30F9E69F-7CD5-47E7-A15D-5BEA198E2237}" dt="2025-11-27T15:38:19.473" v="1963" actId="207"/>
          <ac:spMkLst>
            <pc:docMk/>
            <pc:sldMk cId="3339230474" sldId="2147483061"/>
            <ac:spMk id="2" creationId="{9C3AB9EA-DE91-3E6C-03A9-7E7E628E5080}"/>
          </ac:spMkLst>
        </pc:spChg>
        <pc:spChg chg="add mod">
          <ac:chgData name="Maria Hyllehøj" userId="3ac3bf3f-fed0-4c90-82f1-10d83be77ef4" providerId="ADAL" clId="{30F9E69F-7CD5-47E7-A15D-5BEA198E2237}" dt="2025-11-27T15:12:58.201" v="1682" actId="1076"/>
          <ac:spMkLst>
            <pc:docMk/>
            <pc:sldMk cId="3339230474" sldId="2147483061"/>
            <ac:spMk id="3" creationId="{F4BB9EDA-F271-5E58-1E54-467599A33427}"/>
          </ac:spMkLst>
        </pc:spChg>
        <pc:spChg chg="mod">
          <ac:chgData name="Maria Hyllehøj" userId="3ac3bf3f-fed0-4c90-82f1-10d83be77ef4" providerId="ADAL" clId="{30F9E69F-7CD5-47E7-A15D-5BEA198E2237}" dt="2025-11-27T15:24:50.421" v="1948" actId="1076"/>
          <ac:spMkLst>
            <pc:docMk/>
            <pc:sldMk cId="3339230474" sldId="2147483061"/>
            <ac:spMk id="30" creationId="{BBF27E6D-CB41-CD23-98C2-3D0FBBC0D307}"/>
          </ac:spMkLst>
        </pc:spChg>
        <pc:spChg chg="mod">
          <ac:chgData name="Maria Hyllehøj" userId="3ac3bf3f-fed0-4c90-82f1-10d83be77ef4" providerId="ADAL" clId="{30F9E69F-7CD5-47E7-A15D-5BEA198E2237}" dt="2025-11-27T15:24:59.456" v="1951" actId="1076"/>
          <ac:spMkLst>
            <pc:docMk/>
            <pc:sldMk cId="3339230474" sldId="2147483061"/>
            <ac:spMk id="39" creationId="{D20975F9-FD8E-B28B-A27B-9E1A9D54889E}"/>
          </ac:spMkLst>
        </pc:spChg>
        <pc:spChg chg="mod">
          <ac:chgData name="Maria Hyllehøj" userId="3ac3bf3f-fed0-4c90-82f1-10d83be77ef4" providerId="ADAL" clId="{30F9E69F-7CD5-47E7-A15D-5BEA198E2237}" dt="2025-11-27T15:25:12.856" v="1954" actId="1076"/>
          <ac:spMkLst>
            <pc:docMk/>
            <pc:sldMk cId="3339230474" sldId="2147483061"/>
            <ac:spMk id="40" creationId="{EC33656B-AA45-46DF-3693-045809BE47B4}"/>
          </ac:spMkLst>
        </pc:spChg>
      </pc:sldChg>
      <pc:sldChg chg="addSp delSp modSp mod">
        <pc:chgData name="Maria Hyllehøj" userId="3ac3bf3f-fed0-4c90-82f1-10d83be77ef4" providerId="ADAL" clId="{30F9E69F-7CD5-47E7-A15D-5BEA198E2237}" dt="2025-11-27T15:37:26.314" v="1957" actId="207"/>
        <pc:sldMkLst>
          <pc:docMk/>
          <pc:sldMk cId="2786602722" sldId="2147483064"/>
        </pc:sldMkLst>
        <pc:spChg chg="mod">
          <ac:chgData name="Maria Hyllehøj" userId="3ac3bf3f-fed0-4c90-82f1-10d83be77ef4" providerId="ADAL" clId="{30F9E69F-7CD5-47E7-A15D-5BEA198E2237}" dt="2025-11-27T15:37:26.314" v="1957" actId="207"/>
          <ac:spMkLst>
            <pc:docMk/>
            <pc:sldMk cId="2786602722" sldId="2147483064"/>
            <ac:spMk id="2" creationId="{6868FCA1-29DF-EE6B-D0D3-034843E62D3E}"/>
          </ac:spMkLst>
        </pc:spChg>
        <pc:spChg chg="add mod">
          <ac:chgData name="Maria Hyllehøj" userId="3ac3bf3f-fed0-4c90-82f1-10d83be77ef4" providerId="ADAL" clId="{30F9E69F-7CD5-47E7-A15D-5BEA198E2237}" dt="2025-11-27T15:16:36.952" v="1722" actId="20577"/>
          <ac:spMkLst>
            <pc:docMk/>
            <pc:sldMk cId="2786602722" sldId="2147483064"/>
            <ac:spMk id="18" creationId="{17F420FE-A3E2-9881-ED34-2E7BF0EA7A78}"/>
          </ac:spMkLst>
        </pc:spChg>
      </pc:sldChg>
      <pc:sldChg chg="addSp modSp mod">
        <pc:chgData name="Maria Hyllehøj" userId="3ac3bf3f-fed0-4c90-82f1-10d83be77ef4" providerId="ADAL" clId="{30F9E69F-7CD5-47E7-A15D-5BEA198E2237}" dt="2025-11-27T15:37:13.892" v="1956" actId="207"/>
        <pc:sldMkLst>
          <pc:docMk/>
          <pc:sldMk cId="185005860" sldId="2147483065"/>
        </pc:sldMkLst>
        <pc:spChg chg="mod">
          <ac:chgData name="Maria Hyllehøj" userId="3ac3bf3f-fed0-4c90-82f1-10d83be77ef4" providerId="ADAL" clId="{30F9E69F-7CD5-47E7-A15D-5BEA198E2237}" dt="2025-11-27T15:37:13.892" v="1956" actId="207"/>
          <ac:spMkLst>
            <pc:docMk/>
            <pc:sldMk cId="185005860" sldId="2147483065"/>
            <ac:spMk id="2" creationId="{CE095C48-A1DB-F2DF-CC46-7D75C59E6E61}"/>
          </ac:spMkLst>
        </pc:spChg>
        <pc:spChg chg="add mod">
          <ac:chgData name="Maria Hyllehøj" userId="3ac3bf3f-fed0-4c90-82f1-10d83be77ef4" providerId="ADAL" clId="{30F9E69F-7CD5-47E7-A15D-5BEA198E2237}" dt="2025-11-27T15:16:44.902" v="1724" actId="20577"/>
          <ac:spMkLst>
            <pc:docMk/>
            <pc:sldMk cId="185005860" sldId="2147483065"/>
            <ac:spMk id="22" creationId="{3E760424-0D73-5534-2D4A-CA409F6460A1}"/>
          </ac:spMkLst>
        </pc:spChg>
      </pc:sldChg>
      <pc:sldChg chg="modSp mod ord">
        <pc:chgData name="Maria Hyllehøj" userId="3ac3bf3f-fed0-4c90-82f1-10d83be77ef4" providerId="ADAL" clId="{30F9E69F-7CD5-47E7-A15D-5BEA198E2237}" dt="2025-11-27T14:03:34.231" v="160" actId="20577"/>
        <pc:sldMkLst>
          <pc:docMk/>
          <pc:sldMk cId="293540493" sldId="2147483079"/>
        </pc:sldMkLst>
        <pc:spChg chg="mod">
          <ac:chgData name="Maria Hyllehøj" userId="3ac3bf3f-fed0-4c90-82f1-10d83be77ef4" providerId="ADAL" clId="{30F9E69F-7CD5-47E7-A15D-5BEA198E2237}" dt="2025-11-27T14:03:34.231" v="160" actId="20577"/>
          <ac:spMkLst>
            <pc:docMk/>
            <pc:sldMk cId="293540493" sldId="2147483079"/>
            <ac:spMk id="12" creationId="{A38F6E3C-1A64-B02A-E0AE-7D786F9B5608}"/>
          </ac:spMkLst>
        </pc:spChg>
      </pc:sldChg>
      <pc:sldChg chg="addSp delSp modSp mod">
        <pc:chgData name="Maria Hyllehøj" userId="3ac3bf3f-fed0-4c90-82f1-10d83be77ef4" providerId="ADAL" clId="{30F9E69F-7CD5-47E7-A15D-5BEA198E2237}" dt="2025-11-27T15:38:08.077" v="1962" actId="207"/>
        <pc:sldMkLst>
          <pc:docMk/>
          <pc:sldMk cId="3677720009" sldId="2147483081"/>
        </pc:sldMkLst>
        <pc:spChg chg="mod">
          <ac:chgData name="Maria Hyllehøj" userId="3ac3bf3f-fed0-4c90-82f1-10d83be77ef4" providerId="ADAL" clId="{30F9E69F-7CD5-47E7-A15D-5BEA198E2237}" dt="2025-11-27T15:37:50.626" v="1960" actId="207"/>
          <ac:spMkLst>
            <pc:docMk/>
            <pc:sldMk cId="3677720009" sldId="2147483081"/>
            <ac:spMk id="2" creationId="{AD646718-33A2-4BF8-253F-FBCD29F95806}"/>
          </ac:spMkLst>
        </pc:spChg>
        <pc:spChg chg="mod">
          <ac:chgData name="Maria Hyllehøj" userId="3ac3bf3f-fed0-4c90-82f1-10d83be77ef4" providerId="ADAL" clId="{30F9E69F-7CD5-47E7-A15D-5BEA198E2237}" dt="2025-11-27T15:38:08.077" v="1962" actId="207"/>
          <ac:spMkLst>
            <pc:docMk/>
            <pc:sldMk cId="3677720009" sldId="2147483081"/>
            <ac:spMk id="6" creationId="{D1852AA0-516B-E713-BAE7-FCAF62F7519E}"/>
          </ac:spMkLst>
        </pc:spChg>
        <pc:spChg chg="add mod">
          <ac:chgData name="Maria Hyllehøj" userId="3ac3bf3f-fed0-4c90-82f1-10d83be77ef4" providerId="ADAL" clId="{30F9E69F-7CD5-47E7-A15D-5BEA198E2237}" dt="2025-11-27T15:13:16.477" v="1687" actId="20577"/>
          <ac:spMkLst>
            <pc:docMk/>
            <pc:sldMk cId="3677720009" sldId="2147483081"/>
            <ac:spMk id="29" creationId="{FD4A7718-7683-CE1B-C787-B86EAEBA37C7}"/>
          </ac:spMkLst>
        </pc:spChg>
      </pc:sldChg>
      <pc:sldChg chg="addSp modSp mod">
        <pc:chgData name="Maria Hyllehøj" userId="3ac3bf3f-fed0-4c90-82f1-10d83be77ef4" providerId="ADAL" clId="{30F9E69F-7CD5-47E7-A15D-5BEA198E2237}" dt="2025-11-27T15:37:39.468" v="1959" actId="207"/>
        <pc:sldMkLst>
          <pc:docMk/>
          <pc:sldMk cId="3654293944" sldId="2147483083"/>
        </pc:sldMkLst>
        <pc:spChg chg="mod">
          <ac:chgData name="Maria Hyllehøj" userId="3ac3bf3f-fed0-4c90-82f1-10d83be77ef4" providerId="ADAL" clId="{30F9E69F-7CD5-47E7-A15D-5BEA198E2237}" dt="2025-11-27T15:37:39.468" v="1959" actId="207"/>
          <ac:spMkLst>
            <pc:docMk/>
            <pc:sldMk cId="3654293944" sldId="2147483083"/>
            <ac:spMk id="2" creationId="{E34170E7-1FE1-65F3-0F42-315A030EC56F}"/>
          </ac:spMkLst>
        </pc:spChg>
        <pc:spChg chg="add mod">
          <ac:chgData name="Maria Hyllehøj" userId="3ac3bf3f-fed0-4c90-82f1-10d83be77ef4" providerId="ADAL" clId="{30F9E69F-7CD5-47E7-A15D-5BEA198E2237}" dt="2025-11-27T15:13:25.030" v="1690" actId="20577"/>
          <ac:spMkLst>
            <pc:docMk/>
            <pc:sldMk cId="3654293944" sldId="2147483083"/>
            <ac:spMk id="18" creationId="{B91C89E7-9543-3FD3-C307-43D74E5F0259}"/>
          </ac:spMkLst>
        </pc:spChg>
      </pc:sldChg>
      <pc:sldChg chg="addSp modSp mod">
        <pc:chgData name="Maria Hyllehøj" userId="3ac3bf3f-fed0-4c90-82f1-10d83be77ef4" providerId="ADAL" clId="{30F9E69F-7CD5-47E7-A15D-5BEA198E2237}" dt="2025-11-27T15:36:56.805" v="1955" actId="207"/>
        <pc:sldMkLst>
          <pc:docMk/>
          <pc:sldMk cId="74673094" sldId="2147483088"/>
        </pc:sldMkLst>
        <pc:spChg chg="mod">
          <ac:chgData name="Maria Hyllehøj" userId="3ac3bf3f-fed0-4c90-82f1-10d83be77ef4" providerId="ADAL" clId="{30F9E69F-7CD5-47E7-A15D-5BEA198E2237}" dt="2025-11-27T15:36:56.805" v="1955" actId="207"/>
          <ac:spMkLst>
            <pc:docMk/>
            <pc:sldMk cId="74673094" sldId="2147483088"/>
            <ac:spMk id="2" creationId="{BDD15D3D-DB51-A6D9-B99F-7F79D797487C}"/>
          </ac:spMkLst>
        </pc:spChg>
        <pc:spChg chg="add mod">
          <ac:chgData name="Maria Hyllehøj" userId="3ac3bf3f-fed0-4c90-82f1-10d83be77ef4" providerId="ADAL" clId="{30F9E69F-7CD5-47E7-A15D-5BEA198E2237}" dt="2025-11-27T15:18:11.144" v="1728" actId="20577"/>
          <ac:spMkLst>
            <pc:docMk/>
            <pc:sldMk cId="74673094" sldId="2147483088"/>
            <ac:spMk id="6" creationId="{548ECDDB-BD1F-2658-17B6-3B9BF94C2022}"/>
          </ac:spMkLst>
        </pc:spChg>
      </pc:sldChg>
      <pc:sldChg chg="addSp delSp modSp mod">
        <pc:chgData name="Maria Hyllehøj" userId="3ac3bf3f-fed0-4c90-82f1-10d83be77ef4" providerId="ADAL" clId="{30F9E69F-7CD5-47E7-A15D-5BEA198E2237}" dt="2025-11-27T15:37:31.949" v="1958" actId="207"/>
        <pc:sldMkLst>
          <pc:docMk/>
          <pc:sldMk cId="3258928946" sldId="2147483099"/>
        </pc:sldMkLst>
        <pc:spChg chg="mod">
          <ac:chgData name="Maria Hyllehøj" userId="3ac3bf3f-fed0-4c90-82f1-10d83be77ef4" providerId="ADAL" clId="{30F9E69F-7CD5-47E7-A15D-5BEA198E2237}" dt="2025-11-27T15:37:31.949" v="1958" actId="207"/>
          <ac:spMkLst>
            <pc:docMk/>
            <pc:sldMk cId="3258928946" sldId="2147483099"/>
            <ac:spMk id="2" creationId="{DC3C06CB-A611-968A-19E9-320560AE6EAC}"/>
          </ac:spMkLst>
        </pc:spChg>
        <pc:spChg chg="add del mod">
          <ac:chgData name="Maria Hyllehøj" userId="3ac3bf3f-fed0-4c90-82f1-10d83be77ef4" providerId="ADAL" clId="{30F9E69F-7CD5-47E7-A15D-5BEA198E2237}" dt="2025-11-27T15:16:09.780" v="1706" actId="478"/>
          <ac:spMkLst>
            <pc:docMk/>
            <pc:sldMk cId="3258928946" sldId="2147483099"/>
            <ac:spMk id="4" creationId="{7E19DCFE-58F9-934A-5220-43D9B9EA0F10}"/>
          </ac:spMkLst>
        </pc:spChg>
        <pc:spChg chg="mod">
          <ac:chgData name="Maria Hyllehøj" userId="3ac3bf3f-fed0-4c90-82f1-10d83be77ef4" providerId="ADAL" clId="{30F9E69F-7CD5-47E7-A15D-5BEA198E2237}" dt="2025-11-27T15:16:27.638" v="1720" actId="20577"/>
          <ac:spMkLst>
            <pc:docMk/>
            <pc:sldMk cId="3258928946" sldId="2147483099"/>
            <ac:spMk id="6" creationId="{EA85A5A8-7764-5076-E7C8-6B2AB5402D8E}"/>
          </ac:spMkLst>
        </pc:spChg>
      </pc:sldChg>
      <pc:sldChg chg="addSp delSp modSp add mod ord">
        <pc:chgData name="Maria Hyllehøj" userId="3ac3bf3f-fed0-4c90-82f1-10d83be77ef4" providerId="ADAL" clId="{30F9E69F-7CD5-47E7-A15D-5BEA198E2237}" dt="2025-11-27T13:51:51.694" v="32" actId="1076"/>
        <pc:sldMkLst>
          <pc:docMk/>
          <pc:sldMk cId="3459812072" sldId="2147483102"/>
        </pc:sldMkLst>
        <pc:spChg chg="add mod">
          <ac:chgData name="Maria Hyllehøj" userId="3ac3bf3f-fed0-4c90-82f1-10d83be77ef4" providerId="ADAL" clId="{30F9E69F-7CD5-47E7-A15D-5BEA198E2237}" dt="2025-11-27T13:51:51.694" v="32" actId="1076"/>
          <ac:spMkLst>
            <pc:docMk/>
            <pc:sldMk cId="3459812072" sldId="2147483102"/>
            <ac:spMk id="11" creationId="{A7B844F6-BBF8-1F79-3A34-6430A58D018C}"/>
          </ac:spMkLst>
        </pc:spChg>
        <pc:picChg chg="add mod">
          <ac:chgData name="Maria Hyllehøj" userId="3ac3bf3f-fed0-4c90-82f1-10d83be77ef4" providerId="ADAL" clId="{30F9E69F-7CD5-47E7-A15D-5BEA198E2237}" dt="2025-11-27T13:49:14.109" v="26" actId="1076"/>
          <ac:picMkLst>
            <pc:docMk/>
            <pc:sldMk cId="3459812072" sldId="2147483102"/>
            <ac:picMk id="14" creationId="{DE87034D-7E67-2FDD-8A48-250DDD417E8C}"/>
          </ac:picMkLst>
        </pc:picChg>
      </pc:sldChg>
      <pc:sldChg chg="add">
        <pc:chgData name="Maria Hyllehøj" userId="3ac3bf3f-fed0-4c90-82f1-10d83be77ef4" providerId="ADAL" clId="{30F9E69F-7CD5-47E7-A15D-5BEA198E2237}" dt="2025-11-27T14:00:48.846" v="100" actId="2890"/>
        <pc:sldMkLst>
          <pc:docMk/>
          <pc:sldMk cId="259707920" sldId="2147483103"/>
        </pc:sldMkLst>
      </pc:sldChg>
      <pc:sldChg chg="addSp delSp modSp mod">
        <pc:chgData name="Maria Hyllehøj" userId="3ac3bf3f-fed0-4c90-82f1-10d83be77ef4" providerId="ADAL" clId="{30F9E69F-7CD5-47E7-A15D-5BEA198E2237}" dt="2025-11-27T14:47:30.837" v="1182" actId="20577"/>
        <pc:sldMkLst>
          <pc:docMk/>
          <pc:sldMk cId="2733735426" sldId="2147483104"/>
        </pc:sldMkLst>
        <pc:spChg chg="mod">
          <ac:chgData name="Maria Hyllehøj" userId="3ac3bf3f-fed0-4c90-82f1-10d83be77ef4" providerId="ADAL" clId="{30F9E69F-7CD5-47E7-A15D-5BEA198E2237}" dt="2025-11-27T14:43:03.443" v="1160" actId="14100"/>
          <ac:spMkLst>
            <pc:docMk/>
            <pc:sldMk cId="2733735426" sldId="2147483104"/>
            <ac:spMk id="2" creationId="{E9EFFCAF-2DFA-9F76-B86B-A305026C25FD}"/>
          </ac:spMkLst>
        </pc:spChg>
        <pc:spChg chg="mod">
          <ac:chgData name="Maria Hyllehøj" userId="3ac3bf3f-fed0-4c90-82f1-10d83be77ef4" providerId="ADAL" clId="{30F9E69F-7CD5-47E7-A15D-5BEA198E2237}" dt="2025-11-27T14:47:30.837" v="1182" actId="20577"/>
          <ac:spMkLst>
            <pc:docMk/>
            <pc:sldMk cId="2733735426" sldId="2147483104"/>
            <ac:spMk id="6" creationId="{93DBC19C-64BB-C023-2480-15D1A41FA04C}"/>
          </ac:spMkLst>
        </pc:spChg>
        <pc:picChg chg="add mod">
          <ac:chgData name="Maria Hyllehøj" userId="3ac3bf3f-fed0-4c90-82f1-10d83be77ef4" providerId="ADAL" clId="{30F9E69F-7CD5-47E7-A15D-5BEA198E2237}" dt="2025-11-27T14:45:50.981" v="1172" actId="688"/>
          <ac:picMkLst>
            <pc:docMk/>
            <pc:sldMk cId="2733735426" sldId="2147483104"/>
            <ac:picMk id="3" creationId="{F3333880-F48E-4A6E-75E5-EB1648B476A2}"/>
          </ac:picMkLst>
        </pc:picChg>
        <pc:picChg chg="add mod">
          <ac:chgData name="Maria Hyllehøj" userId="3ac3bf3f-fed0-4c90-82f1-10d83be77ef4" providerId="ADAL" clId="{30F9E69F-7CD5-47E7-A15D-5BEA198E2237}" dt="2025-11-27T14:46:15.064" v="1175" actId="1076"/>
          <ac:picMkLst>
            <pc:docMk/>
            <pc:sldMk cId="2733735426" sldId="2147483104"/>
            <ac:picMk id="7" creationId="{CB1E0243-2F5F-C7AB-3F58-888AF02B0CE4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48" creationId="{EA73F95F-6D05-7545-CBD4-32ADD03876BD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49" creationId="{3226A837-1B71-6F85-8AF6-2FCFAE8A6D15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52" creationId="{5E026FE5-B90E-68A0-BE80-193484FAD5C3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53" creationId="{E2E87CF9-129D-569B-41FC-A149AF3AF699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57" creationId="{9683324D-D4BC-1BA4-7367-82B483095BAB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60" creationId="{6690BDD1-4C62-05AE-369C-8DED702D32E2}"/>
          </ac:picMkLst>
        </pc:picChg>
        <pc:picChg chg="mod">
          <ac:chgData name="Maria Hyllehøj" userId="3ac3bf3f-fed0-4c90-82f1-10d83be77ef4" providerId="ADAL" clId="{30F9E69F-7CD5-47E7-A15D-5BEA198E2237}" dt="2025-11-27T14:44:50.686" v="1168" actId="1076"/>
          <ac:picMkLst>
            <pc:docMk/>
            <pc:sldMk cId="2733735426" sldId="2147483104"/>
            <ac:picMk id="73" creationId="{4E4B538A-0BA8-58A8-952D-39FB508B169C}"/>
          </ac:picMkLst>
        </pc:picChg>
        <pc:picChg chg="mod">
          <ac:chgData name="Maria Hyllehøj" userId="3ac3bf3f-fed0-4c90-82f1-10d83be77ef4" providerId="ADAL" clId="{30F9E69F-7CD5-47E7-A15D-5BEA198E2237}" dt="2025-11-27T14:19:09.310" v="391" actId="1076"/>
          <ac:picMkLst>
            <pc:docMk/>
            <pc:sldMk cId="2733735426" sldId="2147483104"/>
            <ac:picMk id="78" creationId="{30AA033A-D791-24FE-83C1-24DE0135134F}"/>
          </ac:picMkLst>
        </pc:picChg>
        <pc:picChg chg="mod">
          <ac:chgData name="Maria Hyllehøj" userId="3ac3bf3f-fed0-4c90-82f1-10d83be77ef4" providerId="ADAL" clId="{30F9E69F-7CD5-47E7-A15D-5BEA198E2237}" dt="2025-11-27T14:44:44.993" v="1167" actId="1076"/>
          <ac:picMkLst>
            <pc:docMk/>
            <pc:sldMk cId="2733735426" sldId="2147483104"/>
            <ac:picMk id="83" creationId="{7261F371-99CC-29B9-D27B-4EC9C56D5698}"/>
          </ac:picMkLst>
        </pc:picChg>
      </pc:sldChg>
      <pc:sldChg chg="delSp modSp add mod">
        <pc:chgData name="Maria Hyllehøj" userId="3ac3bf3f-fed0-4c90-82f1-10d83be77ef4" providerId="ADAL" clId="{30F9E69F-7CD5-47E7-A15D-5BEA198E2237}" dt="2025-11-27T16:16:28.063" v="1966" actId="1076"/>
        <pc:sldMkLst>
          <pc:docMk/>
          <pc:sldMk cId="4266786097" sldId="2147483106"/>
        </pc:sldMkLst>
        <pc:spChg chg="mod">
          <ac:chgData name="Maria Hyllehøj" userId="3ac3bf3f-fed0-4c90-82f1-10d83be77ef4" providerId="ADAL" clId="{30F9E69F-7CD5-47E7-A15D-5BEA198E2237}" dt="2025-11-27T14:58:41.281" v="1616" actId="1076"/>
          <ac:spMkLst>
            <pc:docMk/>
            <pc:sldMk cId="4266786097" sldId="2147483106"/>
            <ac:spMk id="2" creationId="{AB367258-B4C6-902B-57A9-82A2C7B7CA60}"/>
          </ac:spMkLst>
        </pc:spChg>
        <pc:spChg chg="mod">
          <ac:chgData name="Maria Hyllehøj" userId="3ac3bf3f-fed0-4c90-82f1-10d83be77ef4" providerId="ADAL" clId="{30F9E69F-7CD5-47E7-A15D-5BEA198E2237}" dt="2025-11-27T14:59:14.672" v="1652" actId="20577"/>
          <ac:spMkLst>
            <pc:docMk/>
            <pc:sldMk cId="4266786097" sldId="2147483106"/>
            <ac:spMk id="5" creationId="{E8F478AF-6CE8-FCF3-E3E5-0E08A3AFADEC}"/>
          </ac:spMkLst>
        </pc:spChg>
        <pc:picChg chg="mod">
          <ac:chgData name="Maria Hyllehøj" userId="3ac3bf3f-fed0-4c90-82f1-10d83be77ef4" providerId="ADAL" clId="{30F9E69F-7CD5-47E7-A15D-5BEA198E2237}" dt="2025-11-27T16:16:28.063" v="1966" actId="1076"/>
          <ac:picMkLst>
            <pc:docMk/>
            <pc:sldMk cId="4266786097" sldId="2147483106"/>
            <ac:picMk id="4" creationId="{DFF7C7C2-7BFF-EE2E-622D-89D2BD3AAA93}"/>
          </ac:picMkLst>
        </pc:picChg>
      </pc:sldChg>
    </pc:docChg>
  </pc:docChgLst>
  <pc:docChgLst>
    <pc:chgData name="Ulla Jensen" userId="S::uje@domea.dk::9f08d654-f16e-4e37-932e-b650d83c4d02" providerId="AD" clId="Web-{C1BF547E-9CA8-EC1C-2D11-4641D9AEDE11}"/>
    <pc:docChg chg="modSld">
      <pc:chgData name="Ulla Jensen" userId="S::uje@domea.dk::9f08d654-f16e-4e37-932e-b650d83c4d02" providerId="AD" clId="Web-{C1BF547E-9CA8-EC1C-2D11-4641D9AEDE11}" dt="2025-12-01T11:30:44.821" v="31" actId="20577"/>
      <pc:docMkLst>
        <pc:docMk/>
      </pc:docMkLst>
      <pc:sldChg chg="modSp">
        <pc:chgData name="Ulla Jensen" userId="S::uje@domea.dk::9f08d654-f16e-4e37-932e-b650d83c4d02" providerId="AD" clId="Web-{C1BF547E-9CA8-EC1C-2D11-4641D9AEDE11}" dt="2025-12-01T11:30:44.821" v="31" actId="20577"/>
        <pc:sldMkLst>
          <pc:docMk/>
          <pc:sldMk cId="3677720009" sldId="2147483081"/>
        </pc:sldMkLst>
        <pc:spChg chg="mod">
          <ac:chgData name="Ulla Jensen" userId="S::uje@domea.dk::9f08d654-f16e-4e37-932e-b650d83c4d02" providerId="AD" clId="Web-{C1BF547E-9CA8-EC1C-2D11-4641D9AEDE11}" dt="2025-12-01T11:30:16.788" v="11" actId="20577"/>
          <ac:spMkLst>
            <pc:docMk/>
            <pc:sldMk cId="3677720009" sldId="2147483081"/>
            <ac:spMk id="16" creationId="{9BADB335-AF5F-B11A-A67B-BD04BDDC518C}"/>
          </ac:spMkLst>
        </pc:spChg>
        <pc:spChg chg="mod">
          <ac:chgData name="Ulla Jensen" userId="S::uje@domea.dk::9f08d654-f16e-4e37-932e-b650d83c4d02" providerId="AD" clId="Web-{C1BF547E-9CA8-EC1C-2D11-4641D9AEDE11}" dt="2025-12-01T11:30:44.821" v="31" actId="20577"/>
          <ac:spMkLst>
            <pc:docMk/>
            <pc:sldMk cId="3677720009" sldId="2147483081"/>
            <ac:spMk id="65" creationId="{861034C6-1E38-AE72-5447-0B09361737E5}"/>
          </ac:spMkLst>
        </pc:spChg>
      </pc:sldChg>
      <pc:sldChg chg="modSp">
        <pc:chgData name="Ulla Jensen" userId="S::uje@domea.dk::9f08d654-f16e-4e37-932e-b650d83c4d02" providerId="AD" clId="Web-{C1BF547E-9CA8-EC1C-2D11-4641D9AEDE11}" dt="2025-12-01T11:24:28.521" v="8" actId="1076"/>
        <pc:sldMkLst>
          <pc:docMk/>
          <pc:sldMk cId="3654293944" sldId="2147483083"/>
        </pc:sldMkLst>
        <pc:picChg chg="mod">
          <ac:chgData name="Ulla Jensen" userId="S::uje@domea.dk::9f08d654-f16e-4e37-932e-b650d83c4d02" providerId="AD" clId="Web-{C1BF547E-9CA8-EC1C-2D11-4641D9AEDE11}" dt="2025-12-01T11:24:23.287" v="6" actId="1076"/>
          <ac:picMkLst>
            <pc:docMk/>
            <pc:sldMk cId="3654293944" sldId="2147483083"/>
            <ac:picMk id="5" creationId="{F7ADC181-C858-3183-13CA-461136AE05F5}"/>
          </ac:picMkLst>
        </pc:picChg>
        <pc:picChg chg="mod">
          <ac:chgData name="Ulla Jensen" userId="S::uje@domea.dk::9f08d654-f16e-4e37-932e-b650d83c4d02" providerId="AD" clId="Web-{C1BF547E-9CA8-EC1C-2D11-4641D9AEDE11}" dt="2025-12-01T11:24:26.131" v="7" actId="1076"/>
          <ac:picMkLst>
            <pc:docMk/>
            <pc:sldMk cId="3654293944" sldId="2147483083"/>
            <ac:picMk id="8" creationId="{1B533199-7083-AD85-E2BA-0A8856E72709}"/>
          </ac:picMkLst>
        </pc:picChg>
        <pc:picChg chg="mod">
          <ac:chgData name="Ulla Jensen" userId="S::uje@domea.dk::9f08d654-f16e-4e37-932e-b650d83c4d02" providerId="AD" clId="Web-{C1BF547E-9CA8-EC1C-2D11-4641D9AEDE11}" dt="2025-12-01T11:24:28.521" v="8" actId="1076"/>
          <ac:picMkLst>
            <pc:docMk/>
            <pc:sldMk cId="3654293944" sldId="2147483083"/>
            <ac:picMk id="11" creationId="{2AD1CDA1-5935-6D2E-2CAA-E920FC0F22A1}"/>
          </ac:picMkLst>
        </pc:picChg>
      </pc:sldChg>
      <pc:sldChg chg="addSp modSp">
        <pc:chgData name="Ulla Jensen" userId="S::uje@domea.dk::9f08d654-f16e-4e37-932e-b650d83c4d02" providerId="AD" clId="Web-{C1BF547E-9CA8-EC1C-2D11-4641D9AEDE11}" dt="2025-12-01T11:24:00.209" v="5" actId="1076"/>
        <pc:sldMkLst>
          <pc:docMk/>
          <pc:sldMk cId="74673094" sldId="2147483088"/>
        </pc:sldMkLst>
      </pc:sldChg>
    </pc:docChg>
  </pc:docChgLst>
  <pc:docChgLst>
    <pc:chgData name="Ulla Jensen" userId="S::uje@domea.dk::9f08d654-f16e-4e37-932e-b650d83c4d02" providerId="AD" clId="Web-{02400383-BBE2-287A-D1E9-771717866DF2}"/>
    <pc:docChg chg="modSld">
      <pc:chgData name="Ulla Jensen" userId="S::uje@domea.dk::9f08d654-f16e-4e37-932e-b650d83c4d02" providerId="AD" clId="Web-{02400383-BBE2-287A-D1E9-771717866DF2}" dt="2025-12-01T11:07:10.560" v="0"/>
      <pc:docMkLst>
        <pc:docMk/>
      </pc:docMkLst>
      <pc:sldChg chg="delSp">
        <pc:chgData name="Ulla Jensen" userId="S::uje@domea.dk::9f08d654-f16e-4e37-932e-b650d83c4d02" providerId="AD" clId="Web-{02400383-BBE2-287A-D1E9-771717866DF2}" dt="2025-12-01T11:07:10.560" v="0"/>
        <pc:sldMkLst>
          <pc:docMk/>
          <pc:sldMk cId="3677720009" sldId="2147483081"/>
        </pc:sldMkLst>
      </pc:sldChg>
    </pc:docChg>
  </pc:docChgLst>
  <pc:docChgLst>
    <pc:chgData name="Maria Hyllehøj" userId="S::mahy@domea.dk::3ac3bf3f-fed0-4c90-82f1-10d83be77ef4" providerId="AD" clId="Web-{1AF819FD-4D5B-4F81-B5FA-48700D4AD3D1}"/>
    <pc:docChg chg="mod delSld modSld">
      <pc:chgData name="Maria Hyllehøj" userId="S::mahy@domea.dk::3ac3bf3f-fed0-4c90-82f1-10d83be77ef4" providerId="AD" clId="Web-{1AF819FD-4D5B-4F81-B5FA-48700D4AD3D1}" dt="2025-11-24T14:27:32.635" v="30"/>
      <pc:docMkLst>
        <pc:docMk/>
      </pc:docMkLst>
      <pc:sldChg chg="modSp">
        <pc:chgData name="Maria Hyllehøj" userId="S::mahy@domea.dk::3ac3bf3f-fed0-4c90-82f1-10d83be77ef4" providerId="AD" clId="Web-{1AF819FD-4D5B-4F81-B5FA-48700D4AD3D1}" dt="2025-11-24T13:47:47.977" v="6" actId="20577"/>
        <pc:sldMkLst>
          <pc:docMk/>
          <pc:sldMk cId="450657045" sldId="2147483060"/>
        </pc:sldMkLst>
      </pc:sldChg>
      <pc:sldChg chg="delSp">
        <pc:chgData name="Maria Hyllehøj" userId="S::mahy@domea.dk::3ac3bf3f-fed0-4c90-82f1-10d83be77ef4" providerId="AD" clId="Web-{1AF819FD-4D5B-4F81-B5FA-48700D4AD3D1}" dt="2025-11-24T14:27:32.635" v="30"/>
        <pc:sldMkLst>
          <pc:docMk/>
          <pc:sldMk cId="74673094" sldId="2147483088"/>
        </pc:sldMkLst>
      </pc:sldChg>
      <pc:sldChg chg="delSp modSp">
        <pc:chgData name="Maria Hyllehøj" userId="S::mahy@domea.dk::3ac3bf3f-fed0-4c90-82f1-10d83be77ef4" providerId="AD" clId="Web-{1AF819FD-4D5B-4F81-B5FA-48700D4AD3D1}" dt="2025-11-24T14:26:56.228" v="28"/>
        <pc:sldMkLst>
          <pc:docMk/>
          <pc:sldMk cId="3258928946" sldId="2147483099"/>
        </pc:sldMkLst>
      </pc:sldChg>
    </pc:docChg>
  </pc:docChgLst>
  <pc:docChgLst>
    <pc:chgData name="Ulla Jensen" userId="9f08d654-f16e-4e37-932e-b650d83c4d02" providerId="ADAL" clId="{CF8EE789-1E27-460C-AF17-26FC7C53ADAB}"/>
    <pc:docChg chg="undo custSel addSld modSld">
      <pc:chgData name="Ulla Jensen" userId="9f08d654-f16e-4e37-932e-b650d83c4d02" providerId="ADAL" clId="{CF8EE789-1E27-460C-AF17-26FC7C53ADAB}" dt="2025-12-01T11:20:18.332" v="186" actId="1076"/>
      <pc:docMkLst>
        <pc:docMk/>
      </pc:docMkLst>
      <pc:sldChg chg="modSp add mod">
        <pc:chgData name="Ulla Jensen" userId="9f08d654-f16e-4e37-932e-b650d83c4d02" providerId="ADAL" clId="{CF8EE789-1E27-460C-AF17-26FC7C53ADAB}" dt="2025-11-27T13:35:21.583" v="35" actId="13926"/>
        <pc:sldMkLst>
          <pc:docMk/>
          <pc:sldMk cId="1687296881" sldId="2147483058"/>
        </pc:sldMkLst>
        <pc:spChg chg="mod">
          <ac:chgData name="Ulla Jensen" userId="9f08d654-f16e-4e37-932e-b650d83c4d02" providerId="ADAL" clId="{CF8EE789-1E27-460C-AF17-26FC7C53ADAB}" dt="2025-11-27T13:35:21.583" v="35" actId="13926"/>
          <ac:spMkLst>
            <pc:docMk/>
            <pc:sldMk cId="1687296881" sldId="2147483058"/>
            <ac:spMk id="2" creationId="{5A550ACA-658D-E643-4258-A613741178AE}"/>
          </ac:spMkLst>
        </pc:spChg>
      </pc:sldChg>
      <pc:sldChg chg="addSp delSp modSp mod">
        <pc:chgData name="Ulla Jensen" userId="9f08d654-f16e-4e37-932e-b650d83c4d02" providerId="ADAL" clId="{CF8EE789-1E27-460C-AF17-26FC7C53ADAB}" dt="2025-12-01T11:09:48.403" v="75" actId="1076"/>
        <pc:sldMkLst>
          <pc:docMk/>
          <pc:sldMk cId="450657045" sldId="2147483060"/>
        </pc:sldMkLst>
        <pc:spChg chg="mod">
          <ac:chgData name="Ulla Jensen" userId="9f08d654-f16e-4e37-932e-b650d83c4d02" providerId="ADAL" clId="{CF8EE789-1E27-460C-AF17-26FC7C53ADAB}" dt="2025-12-01T11:09:15.011" v="67" actId="1076"/>
          <ac:spMkLst>
            <pc:docMk/>
            <pc:sldMk cId="450657045" sldId="2147483060"/>
            <ac:spMk id="17" creationId="{00115BF5-9AF7-E8EB-D66B-BE697B5BF01E}"/>
          </ac:spMkLst>
        </pc:spChg>
        <pc:spChg chg="add mod ord">
          <ac:chgData name="Ulla Jensen" userId="9f08d654-f16e-4e37-932e-b650d83c4d02" providerId="ADAL" clId="{CF8EE789-1E27-460C-AF17-26FC7C53ADAB}" dt="2025-12-01T11:09:43.935" v="73" actId="167"/>
          <ac:spMkLst>
            <pc:docMk/>
            <pc:sldMk cId="450657045" sldId="2147483060"/>
            <ac:spMk id="31" creationId="{A03045D1-6A09-9C64-F8E8-168573B33FB2}"/>
          </ac:spMkLst>
        </pc:spChg>
        <pc:picChg chg="mod">
          <ac:chgData name="Ulla Jensen" userId="9f08d654-f16e-4e37-932e-b650d83c4d02" providerId="ADAL" clId="{CF8EE789-1E27-460C-AF17-26FC7C53ADAB}" dt="2025-12-01T11:09:47.076" v="74" actId="1076"/>
          <ac:picMkLst>
            <pc:docMk/>
            <pc:sldMk cId="450657045" sldId="2147483060"/>
            <ac:picMk id="12" creationId="{66B72AC3-2AC1-D822-E6DE-5B54CC081397}"/>
          </ac:picMkLst>
        </pc:picChg>
        <pc:picChg chg="mod">
          <ac:chgData name="Ulla Jensen" userId="9f08d654-f16e-4e37-932e-b650d83c4d02" providerId="ADAL" clId="{CF8EE789-1E27-460C-AF17-26FC7C53ADAB}" dt="2025-12-01T11:09:48.403" v="75" actId="1076"/>
          <ac:picMkLst>
            <pc:docMk/>
            <pc:sldMk cId="450657045" sldId="2147483060"/>
            <ac:picMk id="13" creationId="{8CB840FF-448E-D60A-982B-CF61770C61B2}"/>
          </ac:picMkLst>
        </pc:picChg>
        <pc:picChg chg="add">
          <ac:chgData name="Ulla Jensen" userId="9f08d654-f16e-4e37-932e-b650d83c4d02" providerId="ADAL" clId="{CF8EE789-1E27-460C-AF17-26FC7C53ADAB}" dt="2025-12-01T11:09:24.734" v="69" actId="478"/>
          <ac:picMkLst>
            <pc:docMk/>
            <pc:sldMk cId="450657045" sldId="2147483060"/>
            <ac:picMk id="14" creationId="{169C0DF3-DF9C-9730-7494-F40AEFEFE5EE}"/>
          </ac:picMkLst>
        </pc:picChg>
        <pc:picChg chg="add mod ord">
          <ac:chgData name="Ulla Jensen" userId="9f08d654-f16e-4e37-932e-b650d83c4d02" providerId="ADAL" clId="{CF8EE789-1E27-460C-AF17-26FC7C53ADAB}" dt="2025-12-01T11:09:10.288" v="66" actId="167"/>
          <ac:picMkLst>
            <pc:docMk/>
            <pc:sldMk cId="450657045" sldId="2147483060"/>
            <ac:picMk id="19" creationId="{EFD1EDEB-7DB6-1568-41BF-98A48739960E}"/>
          </ac:picMkLst>
        </pc:picChg>
        <pc:picChg chg="add mod ord">
          <ac:chgData name="Ulla Jensen" userId="9f08d654-f16e-4e37-932e-b650d83c4d02" providerId="ADAL" clId="{CF8EE789-1E27-460C-AF17-26FC7C53ADAB}" dt="2025-12-01T11:09:43.935" v="73" actId="167"/>
          <ac:picMkLst>
            <pc:docMk/>
            <pc:sldMk cId="450657045" sldId="2147483060"/>
            <ac:picMk id="20" creationId="{B1896926-FA25-AA4E-EB54-F8460A65BBAA}"/>
          </ac:picMkLst>
        </pc:picChg>
      </pc:sldChg>
      <pc:sldChg chg="addSp delSp modSp add mod">
        <pc:chgData name="Ulla Jensen" userId="9f08d654-f16e-4e37-932e-b650d83c4d02" providerId="ADAL" clId="{CF8EE789-1E27-460C-AF17-26FC7C53ADAB}" dt="2025-11-27T13:39:42.357" v="51" actId="478"/>
        <pc:sldMkLst>
          <pc:docMk/>
          <pc:sldMk cId="3339230474" sldId="2147483061"/>
        </pc:sldMkLst>
        <pc:spChg chg="mod">
          <ac:chgData name="Ulla Jensen" userId="9f08d654-f16e-4e37-932e-b650d83c4d02" providerId="ADAL" clId="{CF8EE789-1E27-460C-AF17-26FC7C53ADAB}" dt="2025-11-27T13:39:32.707" v="49" actId="13926"/>
          <ac:spMkLst>
            <pc:docMk/>
            <pc:sldMk cId="3339230474" sldId="2147483061"/>
            <ac:spMk id="2" creationId="{9C3AB9EA-DE91-3E6C-03A9-7E7E628E5080}"/>
          </ac:spMkLst>
        </pc:spChg>
      </pc:sldChg>
      <pc:sldChg chg="addSp delSp modSp mod">
        <pc:chgData name="Ulla Jensen" userId="9f08d654-f16e-4e37-932e-b650d83c4d02" providerId="ADAL" clId="{CF8EE789-1E27-460C-AF17-26FC7C53ADAB}" dt="2025-12-01T11:17:53.964" v="148" actId="1076"/>
        <pc:sldMkLst>
          <pc:docMk/>
          <pc:sldMk cId="2786602722" sldId="2147483064"/>
        </pc:sldMkLst>
        <pc:picChg chg="add mod ord">
          <ac:chgData name="Ulla Jensen" userId="9f08d654-f16e-4e37-932e-b650d83c4d02" providerId="ADAL" clId="{CF8EE789-1E27-460C-AF17-26FC7C53ADAB}" dt="2025-12-01T11:17:21.415" v="137" actId="167"/>
          <ac:picMkLst>
            <pc:docMk/>
            <pc:sldMk cId="2786602722" sldId="2147483064"/>
            <ac:picMk id="8" creationId="{BA1A03C0-31A9-29DB-FE7C-628C9C3A5228}"/>
          </ac:picMkLst>
        </pc:picChg>
        <pc:picChg chg="add mod ord">
          <ac:chgData name="Ulla Jensen" userId="9f08d654-f16e-4e37-932e-b650d83c4d02" providerId="ADAL" clId="{CF8EE789-1E27-460C-AF17-26FC7C53ADAB}" dt="2025-12-01T11:17:34.978" v="141" actId="167"/>
          <ac:picMkLst>
            <pc:docMk/>
            <pc:sldMk cId="2786602722" sldId="2147483064"/>
            <ac:picMk id="10" creationId="{B5BFC21B-E3A5-70F8-3F2A-3A0335B5BE50}"/>
          </ac:picMkLst>
        </pc:picChg>
        <pc:picChg chg="add mod ord">
          <ac:chgData name="Ulla Jensen" userId="9f08d654-f16e-4e37-932e-b650d83c4d02" providerId="ADAL" clId="{CF8EE789-1E27-460C-AF17-26FC7C53ADAB}" dt="2025-12-01T11:17:46.620" v="145" actId="167"/>
          <ac:picMkLst>
            <pc:docMk/>
            <pc:sldMk cId="2786602722" sldId="2147483064"/>
            <ac:picMk id="11" creationId="{AB2308FF-D927-FC97-1B5C-17DEC000D028}"/>
          </ac:picMkLst>
        </pc:picChg>
        <pc:picChg chg="mod">
          <ac:chgData name="Ulla Jensen" userId="9f08d654-f16e-4e37-932e-b650d83c4d02" providerId="ADAL" clId="{CF8EE789-1E27-460C-AF17-26FC7C53ADAB}" dt="2025-12-01T11:17:53.964" v="148" actId="1076"/>
          <ac:picMkLst>
            <pc:docMk/>
            <pc:sldMk cId="2786602722" sldId="2147483064"/>
            <ac:picMk id="15" creationId="{8F302D3D-EAFA-151B-383E-9D77A9FB2770}"/>
          </ac:picMkLst>
        </pc:picChg>
      </pc:sldChg>
      <pc:sldChg chg="addSp delSp modSp mod">
        <pc:chgData name="Ulla Jensen" userId="9f08d654-f16e-4e37-932e-b650d83c4d02" providerId="ADAL" clId="{CF8EE789-1E27-460C-AF17-26FC7C53ADAB}" dt="2025-12-01T11:20:18.332" v="186" actId="1076"/>
        <pc:sldMkLst>
          <pc:docMk/>
          <pc:sldMk cId="185005860" sldId="2147483065"/>
        </pc:sldMkLst>
        <pc:spChg chg="ord">
          <ac:chgData name="Ulla Jensen" userId="9f08d654-f16e-4e37-932e-b650d83c4d02" providerId="ADAL" clId="{CF8EE789-1E27-460C-AF17-26FC7C53ADAB}" dt="2025-12-01T11:18:49.372" v="158" actId="167"/>
          <ac:spMkLst>
            <pc:docMk/>
            <pc:sldMk cId="185005860" sldId="2147483065"/>
            <ac:spMk id="69" creationId="{03B3F83A-6EA7-721B-5190-6A65409B23C4}"/>
          </ac:spMkLst>
        </pc:spChg>
        <pc:spChg chg="ord">
          <ac:chgData name="Ulla Jensen" userId="9f08d654-f16e-4e37-932e-b650d83c4d02" providerId="ADAL" clId="{CF8EE789-1E27-460C-AF17-26FC7C53ADAB}" dt="2025-12-01T11:19:19.439" v="168" actId="167"/>
          <ac:spMkLst>
            <pc:docMk/>
            <pc:sldMk cId="185005860" sldId="2147483065"/>
            <ac:spMk id="70" creationId="{BAC18B8A-6548-A11A-770D-CB38B61C0C2A}"/>
          </ac:spMkLst>
        </pc:spChg>
        <pc:spChg chg="ord">
          <ac:chgData name="Ulla Jensen" userId="9f08d654-f16e-4e37-932e-b650d83c4d02" providerId="ADAL" clId="{CF8EE789-1E27-460C-AF17-26FC7C53ADAB}" dt="2025-12-01T11:19:49.164" v="177" actId="167"/>
          <ac:spMkLst>
            <pc:docMk/>
            <pc:sldMk cId="185005860" sldId="2147483065"/>
            <ac:spMk id="71" creationId="{1864A448-C5F7-F085-CFFC-0FBBD424B141}"/>
          </ac:spMkLst>
        </pc:spChg>
        <pc:picChg chg="mod">
          <ac:chgData name="Ulla Jensen" userId="9f08d654-f16e-4e37-932e-b650d83c4d02" providerId="ADAL" clId="{CF8EE789-1E27-460C-AF17-26FC7C53ADAB}" dt="2025-12-01T11:18:54.546" v="159" actId="1076"/>
          <ac:picMkLst>
            <pc:docMk/>
            <pc:sldMk cId="185005860" sldId="2147483065"/>
            <ac:picMk id="7" creationId="{7FD364C0-413B-F181-CF39-3FE62458E5C3}"/>
          </ac:picMkLst>
        </pc:picChg>
        <pc:picChg chg="add mod ord">
          <ac:chgData name="Ulla Jensen" userId="9f08d654-f16e-4e37-932e-b650d83c4d02" providerId="ADAL" clId="{CF8EE789-1E27-460C-AF17-26FC7C53ADAB}" dt="2025-12-01T11:18:46.287" v="157" actId="167"/>
          <ac:picMkLst>
            <pc:docMk/>
            <pc:sldMk cId="185005860" sldId="2147483065"/>
            <ac:picMk id="10" creationId="{F8308D3F-C03F-6BEF-65C0-55778262BB40}"/>
          </ac:picMkLst>
        </pc:picChg>
        <pc:picChg chg="add mod ord">
          <ac:chgData name="Ulla Jensen" userId="9f08d654-f16e-4e37-932e-b650d83c4d02" providerId="ADAL" clId="{CF8EE789-1E27-460C-AF17-26FC7C53ADAB}" dt="2025-12-01T11:18:42.727" v="156" actId="167"/>
          <ac:picMkLst>
            <pc:docMk/>
            <pc:sldMk cId="185005860" sldId="2147483065"/>
            <ac:picMk id="11" creationId="{4C55A043-8C73-154A-F20A-A1070393565D}"/>
          </ac:picMkLst>
        </pc:picChg>
        <pc:picChg chg="add mod ord">
          <ac:chgData name="Ulla Jensen" userId="9f08d654-f16e-4e37-932e-b650d83c4d02" providerId="ADAL" clId="{CF8EE789-1E27-460C-AF17-26FC7C53ADAB}" dt="2025-12-01T11:19:16.790" v="167" actId="167"/>
          <ac:picMkLst>
            <pc:docMk/>
            <pc:sldMk cId="185005860" sldId="2147483065"/>
            <ac:picMk id="12" creationId="{C72E741E-C10A-DBA7-FC6A-9A9998FFB3D1}"/>
          </ac:picMkLst>
        </pc:picChg>
        <pc:picChg chg="add mod ord">
          <ac:chgData name="Ulla Jensen" userId="9f08d654-f16e-4e37-932e-b650d83c4d02" providerId="ADAL" clId="{CF8EE789-1E27-460C-AF17-26FC7C53ADAB}" dt="2025-12-01T11:19:14.058" v="166" actId="167"/>
          <ac:picMkLst>
            <pc:docMk/>
            <pc:sldMk cId="185005860" sldId="2147483065"/>
            <ac:picMk id="13" creationId="{EF4BE087-0659-8B1C-1FA6-A1E547023058}"/>
          </ac:picMkLst>
        </pc:picChg>
        <pc:picChg chg="add mod ord">
          <ac:chgData name="Ulla Jensen" userId="9f08d654-f16e-4e37-932e-b650d83c4d02" providerId="ADAL" clId="{CF8EE789-1E27-460C-AF17-26FC7C53ADAB}" dt="2025-12-01T11:19:44.890" v="176" actId="167"/>
          <ac:picMkLst>
            <pc:docMk/>
            <pc:sldMk cId="185005860" sldId="2147483065"/>
            <ac:picMk id="14" creationId="{47D783B9-0A64-7F82-6982-56A12DCE0ECF}"/>
          </ac:picMkLst>
        </pc:picChg>
        <pc:picChg chg="add mod ord">
          <ac:chgData name="Ulla Jensen" userId="9f08d654-f16e-4e37-932e-b650d83c4d02" providerId="ADAL" clId="{CF8EE789-1E27-460C-AF17-26FC7C53ADAB}" dt="2025-12-01T11:19:41.446" v="175" actId="167"/>
          <ac:picMkLst>
            <pc:docMk/>
            <pc:sldMk cId="185005860" sldId="2147483065"/>
            <ac:picMk id="15" creationId="{DFDEE344-7B41-0D10-BBF4-F7FCEFCCF85C}"/>
          </ac:picMkLst>
        </pc:picChg>
        <pc:picChg chg="mod">
          <ac:chgData name="Ulla Jensen" userId="9f08d654-f16e-4e37-932e-b650d83c4d02" providerId="ADAL" clId="{CF8EE789-1E27-460C-AF17-26FC7C53ADAB}" dt="2025-12-01T11:20:07.677" v="180" actId="1076"/>
          <ac:picMkLst>
            <pc:docMk/>
            <pc:sldMk cId="185005860" sldId="2147483065"/>
            <ac:picMk id="33" creationId="{2DB714CD-B320-3A99-1568-748742535E11}"/>
          </ac:picMkLst>
        </pc:picChg>
        <pc:picChg chg="mod">
          <ac:chgData name="Ulla Jensen" userId="9f08d654-f16e-4e37-932e-b650d83c4d02" providerId="ADAL" clId="{CF8EE789-1E27-460C-AF17-26FC7C53ADAB}" dt="2025-12-01T11:20:04.624" v="179" actId="1076"/>
          <ac:picMkLst>
            <pc:docMk/>
            <pc:sldMk cId="185005860" sldId="2147483065"/>
            <ac:picMk id="34" creationId="{410A00D4-CCD1-C7B8-B6EB-493804629825}"/>
          </ac:picMkLst>
        </pc:picChg>
        <pc:picChg chg="mod">
          <ac:chgData name="Ulla Jensen" userId="9f08d654-f16e-4e37-932e-b650d83c4d02" providerId="ADAL" clId="{CF8EE789-1E27-460C-AF17-26FC7C53ADAB}" dt="2025-12-01T11:20:09.533" v="181" actId="1076"/>
          <ac:picMkLst>
            <pc:docMk/>
            <pc:sldMk cId="185005860" sldId="2147483065"/>
            <ac:picMk id="38" creationId="{5EEC12DE-F67A-E2BA-05CC-5C52386AE7B8}"/>
          </ac:picMkLst>
        </pc:picChg>
        <pc:picChg chg="mod">
          <ac:chgData name="Ulla Jensen" userId="9f08d654-f16e-4e37-932e-b650d83c4d02" providerId="ADAL" clId="{CF8EE789-1E27-460C-AF17-26FC7C53ADAB}" dt="2025-12-01T11:20:14.047" v="183" actId="1076"/>
          <ac:picMkLst>
            <pc:docMk/>
            <pc:sldMk cId="185005860" sldId="2147483065"/>
            <ac:picMk id="42" creationId="{DAA1F230-CF41-8C71-86C5-B5A665CFBBE4}"/>
          </ac:picMkLst>
        </pc:picChg>
        <pc:picChg chg="mod">
          <ac:chgData name="Ulla Jensen" userId="9f08d654-f16e-4e37-932e-b650d83c4d02" providerId="ADAL" clId="{CF8EE789-1E27-460C-AF17-26FC7C53ADAB}" dt="2025-12-01T11:20:12.424" v="182" actId="1076"/>
          <ac:picMkLst>
            <pc:docMk/>
            <pc:sldMk cId="185005860" sldId="2147483065"/>
            <ac:picMk id="43" creationId="{D5D8CC26-FF3A-851B-56A8-21051AB1C518}"/>
          </ac:picMkLst>
        </pc:picChg>
        <pc:picChg chg="mod">
          <ac:chgData name="Ulla Jensen" userId="9f08d654-f16e-4e37-932e-b650d83c4d02" providerId="ADAL" clId="{CF8EE789-1E27-460C-AF17-26FC7C53ADAB}" dt="2025-12-01T11:20:15.873" v="184" actId="1076"/>
          <ac:picMkLst>
            <pc:docMk/>
            <pc:sldMk cId="185005860" sldId="2147483065"/>
            <ac:picMk id="45" creationId="{39465EFE-DCD7-B6AC-12F4-8AF567A2FB91}"/>
          </ac:picMkLst>
        </pc:picChg>
        <pc:picChg chg="mod">
          <ac:chgData name="Ulla Jensen" userId="9f08d654-f16e-4e37-932e-b650d83c4d02" providerId="ADAL" clId="{CF8EE789-1E27-460C-AF17-26FC7C53ADAB}" dt="2025-12-01T11:20:17.104" v="185" actId="1076"/>
          <ac:picMkLst>
            <pc:docMk/>
            <pc:sldMk cId="185005860" sldId="2147483065"/>
            <ac:picMk id="46" creationId="{BDC06D50-2373-0A91-A1F0-1B898E6BE2F4}"/>
          </ac:picMkLst>
        </pc:picChg>
        <pc:picChg chg="mod">
          <ac:chgData name="Ulla Jensen" userId="9f08d654-f16e-4e37-932e-b650d83c4d02" providerId="ADAL" clId="{CF8EE789-1E27-460C-AF17-26FC7C53ADAB}" dt="2025-12-01T11:20:18.332" v="186" actId="1076"/>
          <ac:picMkLst>
            <pc:docMk/>
            <pc:sldMk cId="185005860" sldId="2147483065"/>
            <ac:picMk id="68" creationId="{CDCDA6B8-18AD-458E-E8B5-DFA573DC0427}"/>
          </ac:picMkLst>
        </pc:picChg>
      </pc:sldChg>
      <pc:sldChg chg="addSp delSp modSp mod">
        <pc:chgData name="Ulla Jensen" userId="9f08d654-f16e-4e37-932e-b650d83c4d02" providerId="ADAL" clId="{CF8EE789-1E27-460C-AF17-26FC7C53ADAB}" dt="2025-12-01T11:15:37.505" v="115" actId="1076"/>
        <pc:sldMkLst>
          <pc:docMk/>
          <pc:sldMk cId="3677720009" sldId="2147483081"/>
        </pc:sldMkLst>
        <pc:spChg chg="mod">
          <ac:chgData name="Ulla Jensen" userId="9f08d654-f16e-4e37-932e-b650d83c4d02" providerId="ADAL" clId="{CF8EE789-1E27-460C-AF17-26FC7C53ADAB}" dt="2025-12-01T11:14:13.540" v="104" actId="1076"/>
          <ac:spMkLst>
            <pc:docMk/>
            <pc:sldMk cId="3677720009" sldId="2147483081"/>
            <ac:spMk id="16" creationId="{9BADB335-AF5F-B11A-A67B-BD04BDDC518C}"/>
          </ac:spMkLst>
        </pc:spChg>
        <pc:spChg chg="mod">
          <ac:chgData name="Ulla Jensen" userId="9f08d654-f16e-4e37-932e-b650d83c4d02" providerId="ADAL" clId="{CF8EE789-1E27-460C-AF17-26FC7C53ADAB}" dt="2025-12-01T11:14:13.540" v="104" actId="1076"/>
          <ac:spMkLst>
            <pc:docMk/>
            <pc:sldMk cId="3677720009" sldId="2147483081"/>
            <ac:spMk id="23" creationId="{309F6A59-6B3D-ED6C-345F-69FC2230F3B3}"/>
          </ac:spMkLst>
        </pc:spChg>
        <pc:spChg chg="add del mod">
          <ac:chgData name="Ulla Jensen" userId="9f08d654-f16e-4e37-932e-b650d83c4d02" providerId="ADAL" clId="{CF8EE789-1E27-460C-AF17-26FC7C53ADAB}" dt="2025-12-01T11:15:37.505" v="115" actId="1076"/>
          <ac:spMkLst>
            <pc:docMk/>
            <pc:sldMk cId="3677720009" sldId="2147483081"/>
            <ac:spMk id="25" creationId="{A2F584A1-A718-5ECA-494D-B9A3EDB9B52A}"/>
          </ac:spMkLst>
        </pc:spChg>
        <pc:spChg chg="add mod">
          <ac:chgData name="Ulla Jensen" userId="9f08d654-f16e-4e37-932e-b650d83c4d02" providerId="ADAL" clId="{CF8EE789-1E27-460C-AF17-26FC7C53ADAB}" dt="2025-12-01T11:15:25.140" v="113" actId="14100"/>
          <ac:spMkLst>
            <pc:docMk/>
            <pc:sldMk cId="3677720009" sldId="2147483081"/>
            <ac:spMk id="65" creationId="{861034C6-1E38-AE72-5447-0B09361737E5}"/>
          </ac:spMkLst>
        </pc:spChg>
        <pc:picChg chg="mod">
          <ac:chgData name="Ulla Jensen" userId="9f08d654-f16e-4e37-932e-b650d83c4d02" providerId="ADAL" clId="{CF8EE789-1E27-460C-AF17-26FC7C53ADAB}" dt="2025-12-01T11:14:13.540" v="104" actId="1076"/>
          <ac:picMkLst>
            <pc:docMk/>
            <pc:sldMk cId="3677720009" sldId="2147483081"/>
            <ac:picMk id="27" creationId="{BA7BE0B6-9D64-DB80-4818-8288550D66B3}"/>
          </ac:picMkLst>
        </pc:picChg>
        <pc:picChg chg="add mod ord">
          <ac:chgData name="Ulla Jensen" userId="9f08d654-f16e-4e37-932e-b650d83c4d02" providerId="ADAL" clId="{CF8EE789-1E27-460C-AF17-26FC7C53ADAB}" dt="2025-12-01T11:14:13.540" v="104" actId="1076"/>
          <ac:picMkLst>
            <pc:docMk/>
            <pc:sldMk cId="3677720009" sldId="2147483081"/>
            <ac:picMk id="32" creationId="{24B47256-40C5-5098-85EE-D7D48EACE7F5}"/>
          </ac:picMkLst>
        </pc:picChg>
        <pc:picChg chg="add mod ord">
          <ac:chgData name="Ulla Jensen" userId="9f08d654-f16e-4e37-932e-b650d83c4d02" providerId="ADAL" clId="{CF8EE789-1E27-460C-AF17-26FC7C53ADAB}" dt="2025-12-01T11:14:13.540" v="104" actId="1076"/>
          <ac:picMkLst>
            <pc:docMk/>
            <pc:sldMk cId="3677720009" sldId="2147483081"/>
            <ac:picMk id="40" creationId="{8BC19C4A-F76F-EFF3-DE65-EF6A45E65B3B}"/>
          </ac:picMkLst>
        </pc:picChg>
        <pc:picChg chg="add mod">
          <ac:chgData name="Ulla Jensen" userId="9f08d654-f16e-4e37-932e-b650d83c4d02" providerId="ADAL" clId="{CF8EE789-1E27-460C-AF17-26FC7C53ADAB}" dt="2025-12-01T11:14:27.186" v="107" actId="14100"/>
          <ac:picMkLst>
            <pc:docMk/>
            <pc:sldMk cId="3677720009" sldId="2147483081"/>
            <ac:picMk id="41" creationId="{194A228E-ECA9-F717-1D90-D018F2F1A66C}"/>
          </ac:picMkLst>
        </pc:picChg>
        <pc:picChg chg="add mod">
          <ac:chgData name="Ulla Jensen" userId="9f08d654-f16e-4e37-932e-b650d83c4d02" providerId="ADAL" clId="{CF8EE789-1E27-460C-AF17-26FC7C53ADAB}" dt="2025-12-01T11:14:27.186" v="107" actId="14100"/>
          <ac:picMkLst>
            <pc:docMk/>
            <pc:sldMk cId="3677720009" sldId="2147483081"/>
            <ac:picMk id="42" creationId="{0D34FE9A-10C3-2A66-1183-95B27606CD66}"/>
          </ac:picMkLst>
        </pc:picChg>
        <pc:picChg chg="add mod">
          <ac:chgData name="Ulla Jensen" userId="9f08d654-f16e-4e37-932e-b650d83c4d02" providerId="ADAL" clId="{CF8EE789-1E27-460C-AF17-26FC7C53ADAB}" dt="2025-12-01T11:14:27.186" v="107" actId="14100"/>
          <ac:picMkLst>
            <pc:docMk/>
            <pc:sldMk cId="3677720009" sldId="2147483081"/>
            <ac:picMk id="43" creationId="{86C9E250-708A-B47B-7351-4610256BCCAF}"/>
          </ac:picMkLst>
        </pc:picChg>
      </pc:sldChg>
      <pc:sldChg chg="addSp delSp modSp mod">
        <pc:chgData name="Ulla Jensen" userId="9f08d654-f16e-4e37-932e-b650d83c4d02" providerId="ADAL" clId="{CF8EE789-1E27-460C-AF17-26FC7C53ADAB}" dt="2025-12-01T11:16:52.814" v="132" actId="1076"/>
        <pc:sldMkLst>
          <pc:docMk/>
          <pc:sldMk cId="3654293944" sldId="2147483083"/>
        </pc:sldMkLst>
        <pc:spChg chg="mod">
          <ac:chgData name="Ulla Jensen" userId="9f08d654-f16e-4e37-932e-b650d83c4d02" providerId="ADAL" clId="{CF8EE789-1E27-460C-AF17-26FC7C53ADAB}" dt="2025-12-01T11:15:53.345" v="118" actId="6549"/>
          <ac:spMkLst>
            <pc:docMk/>
            <pc:sldMk cId="3654293944" sldId="2147483083"/>
            <ac:spMk id="9" creationId="{EAFC7E56-CBBC-50E4-63B6-7043D8327C6E}"/>
          </ac:spMkLst>
        </pc:spChg>
        <pc:grpChg chg="mod">
          <ac:chgData name="Ulla Jensen" userId="9f08d654-f16e-4e37-932e-b650d83c4d02" providerId="ADAL" clId="{CF8EE789-1E27-460C-AF17-26FC7C53ADAB}" dt="2025-12-01T11:16:52.814" v="132" actId="1076"/>
          <ac:grpSpMkLst>
            <pc:docMk/>
            <pc:sldMk cId="3654293944" sldId="2147483083"/>
            <ac:grpSpMk id="16" creationId="{A61F28A7-0674-CB02-E4C3-DB3CEDC4D5CA}"/>
          </ac:grpSpMkLst>
        </pc:grpChg>
        <pc:grpChg chg="mod">
          <ac:chgData name="Ulla Jensen" userId="9f08d654-f16e-4e37-932e-b650d83c4d02" providerId="ADAL" clId="{CF8EE789-1E27-460C-AF17-26FC7C53ADAB}" dt="2025-12-01T11:16:52.814" v="132" actId="1076"/>
          <ac:grpSpMkLst>
            <pc:docMk/>
            <pc:sldMk cId="3654293944" sldId="2147483083"/>
            <ac:grpSpMk id="33" creationId="{540FC509-60E1-DC3B-3DFB-551DDFDB4DC3}"/>
          </ac:grpSpMkLst>
        </pc:grpChg>
        <pc:grpChg chg="mod">
          <ac:chgData name="Ulla Jensen" userId="9f08d654-f16e-4e37-932e-b650d83c4d02" providerId="ADAL" clId="{CF8EE789-1E27-460C-AF17-26FC7C53ADAB}" dt="2025-12-01T11:16:52.814" v="132" actId="1076"/>
          <ac:grpSpMkLst>
            <pc:docMk/>
            <pc:sldMk cId="3654293944" sldId="2147483083"/>
            <ac:grpSpMk id="36" creationId="{FD5AA884-66DE-09AF-2BD1-B47F28294971}"/>
          </ac:grpSpMkLst>
        </pc:grpChg>
        <pc:picChg chg="add mod">
          <ac:chgData name="Ulla Jensen" userId="9f08d654-f16e-4e37-932e-b650d83c4d02" providerId="ADAL" clId="{CF8EE789-1E27-460C-AF17-26FC7C53ADAB}" dt="2025-12-01T11:16:52.814" v="132" actId="1076"/>
          <ac:picMkLst>
            <pc:docMk/>
            <pc:sldMk cId="3654293944" sldId="2147483083"/>
            <ac:picMk id="3" creationId="{D5FBC5D7-AD12-B686-E7E3-FAEACBFDF192}"/>
          </ac:picMkLst>
        </pc:picChg>
        <pc:picChg chg="add mod">
          <ac:chgData name="Ulla Jensen" userId="9f08d654-f16e-4e37-932e-b650d83c4d02" providerId="ADAL" clId="{CF8EE789-1E27-460C-AF17-26FC7C53ADAB}" dt="2025-12-01T11:16:52.814" v="132" actId="1076"/>
          <ac:picMkLst>
            <pc:docMk/>
            <pc:sldMk cId="3654293944" sldId="2147483083"/>
            <ac:picMk id="5" creationId="{F7ADC181-C858-3183-13CA-461136AE05F5}"/>
          </ac:picMkLst>
        </pc:picChg>
        <pc:picChg chg="add mod">
          <ac:chgData name="Ulla Jensen" userId="9f08d654-f16e-4e37-932e-b650d83c4d02" providerId="ADAL" clId="{CF8EE789-1E27-460C-AF17-26FC7C53ADAB}" dt="2025-12-01T11:16:52.814" v="132" actId="1076"/>
          <ac:picMkLst>
            <pc:docMk/>
            <pc:sldMk cId="3654293944" sldId="2147483083"/>
            <ac:picMk id="7" creationId="{C9796711-5CB6-87AB-95F9-C29035F1B9DF}"/>
          </ac:picMkLst>
        </pc:picChg>
        <pc:picChg chg="add mod">
          <ac:chgData name="Ulla Jensen" userId="9f08d654-f16e-4e37-932e-b650d83c4d02" providerId="ADAL" clId="{CF8EE789-1E27-460C-AF17-26FC7C53ADAB}" dt="2025-12-01T11:16:52.814" v="132" actId="1076"/>
          <ac:picMkLst>
            <pc:docMk/>
            <pc:sldMk cId="3654293944" sldId="2147483083"/>
            <ac:picMk id="8" creationId="{1B533199-7083-AD85-E2BA-0A8856E72709}"/>
          </ac:picMkLst>
        </pc:picChg>
        <pc:picChg chg="add mod">
          <ac:chgData name="Ulla Jensen" userId="9f08d654-f16e-4e37-932e-b650d83c4d02" providerId="ADAL" clId="{CF8EE789-1E27-460C-AF17-26FC7C53ADAB}" dt="2025-12-01T11:16:52.814" v="132" actId="1076"/>
          <ac:picMkLst>
            <pc:docMk/>
            <pc:sldMk cId="3654293944" sldId="2147483083"/>
            <ac:picMk id="10" creationId="{D581944E-B847-EAEA-D8DD-B314512F144E}"/>
          </ac:picMkLst>
        </pc:picChg>
        <pc:picChg chg="add mod">
          <ac:chgData name="Ulla Jensen" userId="9f08d654-f16e-4e37-932e-b650d83c4d02" providerId="ADAL" clId="{CF8EE789-1E27-460C-AF17-26FC7C53ADAB}" dt="2025-12-01T11:16:52.814" v="132" actId="1076"/>
          <ac:picMkLst>
            <pc:docMk/>
            <pc:sldMk cId="3654293944" sldId="2147483083"/>
            <ac:picMk id="11" creationId="{2AD1CDA1-5935-6D2E-2CAA-E920FC0F22A1}"/>
          </ac:picMkLst>
        </pc:picChg>
      </pc:sldChg>
      <pc:sldChg chg="addSp modSp">
        <pc:chgData name="Ulla Jensen" userId="9f08d654-f16e-4e37-932e-b650d83c4d02" providerId="ADAL" clId="{CF8EE789-1E27-460C-AF17-26FC7C53ADAB}" dt="2025-11-27T13:41:10.832" v="53"/>
        <pc:sldMkLst>
          <pc:docMk/>
          <pc:sldMk cId="3258928946" sldId="2147483099"/>
        </pc:sldMkLst>
      </pc:sldChg>
      <pc:sldChg chg="add">
        <pc:chgData name="Ulla Jensen" userId="9f08d654-f16e-4e37-932e-b650d83c4d02" providerId="ADAL" clId="{CF8EE789-1E27-460C-AF17-26FC7C53ADAB}" dt="2025-11-27T14:13:30.893" v="58"/>
        <pc:sldMkLst>
          <pc:docMk/>
          <pc:sldMk cId="2733735426" sldId="2147483104"/>
        </pc:sldMkLst>
      </pc:sldChg>
    </pc:docChg>
  </pc:docChgLst>
  <pc:docChgLst>
    <pc:chgData name="Julie Plesner Thomsen" userId="b57990ff-7c9a-49be-8d57-e62f9c41c990" providerId="ADAL" clId="{DA5828B4-4500-514E-9D31-371A94D05FBE}"/>
    <pc:docChg chg="undo custSel mod addSld delSld modSld sldOrd modMainMaster addSection delSection modSection">
      <pc:chgData name="Julie Plesner Thomsen" userId="b57990ff-7c9a-49be-8d57-e62f9c41c990" providerId="ADAL" clId="{DA5828B4-4500-514E-9D31-371A94D05FBE}" dt="2025-12-09T09:51:23.278" v="2509" actId="20577"/>
      <pc:docMkLst>
        <pc:docMk/>
      </pc:docMkLst>
      <pc:sldChg chg="modSp mod">
        <pc:chgData name="Julie Plesner Thomsen" userId="b57990ff-7c9a-49be-8d57-e62f9c41c990" providerId="ADAL" clId="{DA5828B4-4500-514E-9D31-371A94D05FBE}" dt="2025-11-27T15:31:11.845" v="1143"/>
        <pc:sldMkLst>
          <pc:docMk/>
          <pc:sldMk cId="1687296881" sldId="2147483058"/>
        </pc:sldMkLst>
        <pc:spChg chg="mod">
          <ac:chgData name="Julie Plesner Thomsen" userId="b57990ff-7c9a-49be-8d57-e62f9c41c990" providerId="ADAL" clId="{DA5828B4-4500-514E-9D31-371A94D05FBE}" dt="2025-11-27T15:31:11.839" v="1141" actId="948"/>
          <ac:spMkLst>
            <pc:docMk/>
            <pc:sldMk cId="1687296881" sldId="2147483058"/>
            <ac:spMk id="2" creationId="{5A550ACA-658D-E643-4258-A613741178AE}"/>
          </ac:spMkLst>
        </pc:spChg>
        <pc:spChg chg="mod">
          <ac:chgData name="Julie Plesner Thomsen" userId="b57990ff-7c9a-49be-8d57-e62f9c41c990" providerId="ADAL" clId="{DA5828B4-4500-514E-9D31-371A94D05FBE}" dt="2025-11-27T15:30:38.076" v="1132" actId="255"/>
          <ac:spMkLst>
            <pc:docMk/>
            <pc:sldMk cId="1687296881" sldId="2147483058"/>
            <ac:spMk id="3" creationId="{9E7ED903-A502-C838-C4B4-F6B7F229A92A}"/>
          </ac:spMkLst>
        </pc:spChg>
        <pc:spChg chg="mod">
          <ac:chgData name="Julie Plesner Thomsen" userId="b57990ff-7c9a-49be-8d57-e62f9c41c990" providerId="ADAL" clId="{DA5828B4-4500-514E-9D31-371A94D05FBE}" dt="2025-11-27T15:09:22.628" v="291" actId="2711"/>
          <ac:spMkLst>
            <pc:docMk/>
            <pc:sldMk cId="1687296881" sldId="2147483058"/>
            <ac:spMk id="6" creationId="{392A6273-0BCD-BE55-BE57-2019CCB021C1}"/>
          </ac:spMkLst>
        </pc:spChg>
        <pc:spChg chg="mod">
          <ac:chgData name="Julie Plesner Thomsen" userId="b57990ff-7c9a-49be-8d57-e62f9c41c990" providerId="ADAL" clId="{DA5828B4-4500-514E-9D31-371A94D05FBE}" dt="2025-11-27T15:09:22.628" v="291" actId="2711"/>
          <ac:spMkLst>
            <pc:docMk/>
            <pc:sldMk cId="1687296881" sldId="2147483058"/>
            <ac:spMk id="12" creationId="{FF838D77-AF94-6FBB-8DC8-1A6CCFE42906}"/>
          </ac:spMkLst>
        </pc:spChg>
        <pc:graphicFrameChg chg="mod">
          <ac:chgData name="Julie Plesner Thomsen" userId="b57990ff-7c9a-49be-8d57-e62f9c41c990" providerId="ADAL" clId="{DA5828B4-4500-514E-9D31-371A94D05FBE}" dt="2025-11-27T15:31:11.845" v="1143"/>
          <ac:graphicFrameMkLst>
            <pc:docMk/>
            <pc:sldMk cId="1687296881" sldId="2147483058"/>
            <ac:graphicFrameMk id="14" creationId="{43E12EF9-4865-F106-889E-D765AB1C772E}"/>
          </ac:graphicFrameMkLst>
        </pc:graphicFrameChg>
      </pc:sldChg>
      <pc:sldChg chg="addSp delSp modSp mod">
        <pc:chgData name="Julie Plesner Thomsen" userId="b57990ff-7c9a-49be-8d57-e62f9c41c990" providerId="ADAL" clId="{DA5828B4-4500-514E-9D31-371A94D05FBE}" dt="2025-11-27T15:34:12.774" v="1285"/>
        <pc:sldMkLst>
          <pc:docMk/>
          <pc:sldMk cId="3916167478" sldId="2147483059"/>
        </pc:sldMkLst>
        <pc:spChg chg="mod">
          <ac:chgData name="Julie Plesner Thomsen" userId="b57990ff-7c9a-49be-8d57-e62f9c41c990" providerId="ADAL" clId="{DA5828B4-4500-514E-9D31-371A94D05FBE}" dt="2025-11-27T15:34:12.754" v="1261" actId="948"/>
          <ac:spMkLst>
            <pc:docMk/>
            <pc:sldMk cId="3916167478" sldId="2147483059"/>
            <ac:spMk id="2" creationId="{BCFDFAE0-0568-CA39-E3D6-57D967EC8051}"/>
          </ac:spMkLst>
        </pc:spChg>
        <pc:spChg chg="mod">
          <ac:chgData name="Julie Plesner Thomsen" userId="b57990ff-7c9a-49be-8d57-e62f9c41c990" providerId="ADAL" clId="{DA5828B4-4500-514E-9D31-371A94D05FBE}" dt="2025-11-27T15:11:46.700" v="378" actId="2711"/>
          <ac:spMkLst>
            <pc:docMk/>
            <pc:sldMk cId="3916167478" sldId="2147483059"/>
            <ac:spMk id="7" creationId="{5532FBCC-8E89-B817-6EAC-A01C03D97BAB}"/>
          </ac:spMkLst>
        </pc:spChg>
        <pc:spChg chg="mod">
          <ac:chgData name="Julie Plesner Thomsen" userId="b57990ff-7c9a-49be-8d57-e62f9c41c990" providerId="ADAL" clId="{DA5828B4-4500-514E-9D31-371A94D05FBE}" dt="2025-11-27T15:32:24.614" v="1257" actId="555"/>
          <ac:spMkLst>
            <pc:docMk/>
            <pc:sldMk cId="3916167478" sldId="2147483059"/>
            <ac:spMk id="92" creationId="{A31E1625-7670-7B17-0D3F-00338C7D1F52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93" creationId="{2B37CA67-2C8C-C53F-A010-FCE72A0231F4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94" creationId="{40DA5D93-0270-2612-A596-0D33FF06D2A8}"/>
          </ac:spMkLst>
        </pc:spChg>
        <pc:spChg chg="mod">
          <ac:chgData name="Julie Plesner Thomsen" userId="b57990ff-7c9a-49be-8d57-e62f9c41c990" providerId="ADAL" clId="{DA5828B4-4500-514E-9D31-371A94D05FBE}" dt="2025-11-27T15:32:24.614" v="1257" actId="555"/>
          <ac:spMkLst>
            <pc:docMk/>
            <pc:sldMk cId="3916167478" sldId="2147483059"/>
            <ac:spMk id="96" creationId="{D2C22E20-FDE5-EE40-3B49-D11155C427BD}"/>
          </ac:spMkLst>
        </pc:spChg>
        <pc:spChg chg="mod">
          <ac:chgData name="Julie Plesner Thomsen" userId="b57990ff-7c9a-49be-8d57-e62f9c41c990" providerId="ADAL" clId="{DA5828B4-4500-514E-9D31-371A94D05FBE}" dt="2025-11-27T15:32:24.614" v="1257" actId="555"/>
          <ac:spMkLst>
            <pc:docMk/>
            <pc:sldMk cId="3916167478" sldId="2147483059"/>
            <ac:spMk id="97" creationId="{FAFAA7DA-32C7-E05D-AD9D-90EB8CDBD182}"/>
          </ac:spMkLst>
        </pc:spChg>
        <pc:spChg chg="mod">
          <ac:chgData name="Julie Plesner Thomsen" userId="b57990ff-7c9a-49be-8d57-e62f9c41c990" providerId="ADAL" clId="{DA5828B4-4500-514E-9D31-371A94D05FBE}" dt="2025-11-27T15:31:38.824" v="1238" actId="1036"/>
          <ac:spMkLst>
            <pc:docMk/>
            <pc:sldMk cId="3916167478" sldId="2147483059"/>
            <ac:spMk id="98" creationId="{A04BA322-8CA1-54EB-0120-393426C81513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99" creationId="{DC10DB01-A82F-43BC-B55F-85E8DFB6B535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00" creationId="{4200CC33-1738-BC21-85F9-872EF996D793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03" creationId="{A1285932-01D5-32B4-2473-B231C84B7DE9}"/>
          </ac:spMkLst>
        </pc:spChg>
        <pc:spChg chg="mod">
          <ac:chgData name="Julie Plesner Thomsen" userId="b57990ff-7c9a-49be-8d57-e62f9c41c990" providerId="ADAL" clId="{DA5828B4-4500-514E-9D31-371A94D05FBE}" dt="2025-11-27T15:31:38.824" v="1238" actId="1036"/>
          <ac:spMkLst>
            <pc:docMk/>
            <pc:sldMk cId="3916167478" sldId="2147483059"/>
            <ac:spMk id="106" creationId="{F4080D4A-8CCF-F3A4-EA52-7A34228DFC01}"/>
          </ac:spMkLst>
        </pc:spChg>
        <pc:spChg chg="mod">
          <ac:chgData name="Julie Plesner Thomsen" userId="b57990ff-7c9a-49be-8d57-e62f9c41c990" providerId="ADAL" clId="{DA5828B4-4500-514E-9D31-371A94D05FBE}" dt="2025-11-27T15:32:29.572" v="1258" actId="20577"/>
          <ac:spMkLst>
            <pc:docMk/>
            <pc:sldMk cId="3916167478" sldId="2147483059"/>
            <ac:spMk id="107" creationId="{88C9AA38-7B68-A2C2-50C3-FC07E3AC0E0F}"/>
          </ac:spMkLst>
        </pc:spChg>
        <pc:spChg chg="mod">
          <ac:chgData name="Julie Plesner Thomsen" userId="b57990ff-7c9a-49be-8d57-e62f9c41c990" providerId="ADAL" clId="{DA5828B4-4500-514E-9D31-371A94D05FBE}" dt="2025-11-27T15:31:38.824" v="1238" actId="1036"/>
          <ac:spMkLst>
            <pc:docMk/>
            <pc:sldMk cId="3916167478" sldId="2147483059"/>
            <ac:spMk id="112" creationId="{31236880-7FF7-5403-0CE5-B2F45ADE41A7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15" creationId="{64D5C6B6-0D5A-3AFF-EF01-D6AE979362AD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17" creationId="{5D4FB802-7C50-33DB-9042-941B4CD48CE7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21" creationId="{6006B8A6-2010-BADF-9C49-27F401D6B48A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24" creationId="{CBF208C2-8BC8-7B3A-2E1B-DD589BEED06F}"/>
          </ac:spMkLst>
        </pc:spChg>
        <pc:spChg chg="mod">
          <ac:chgData name="Julie Plesner Thomsen" userId="b57990ff-7c9a-49be-8d57-e62f9c41c990" providerId="ADAL" clId="{DA5828B4-4500-514E-9D31-371A94D05FBE}" dt="2025-11-27T15:32:49.613" v="1259" actId="404"/>
          <ac:spMkLst>
            <pc:docMk/>
            <pc:sldMk cId="3916167478" sldId="2147483059"/>
            <ac:spMk id="125" creationId="{03D5EA8A-170A-40B1-9CD9-7B6D392E6C55}"/>
          </ac:spMkLst>
        </pc:spChg>
        <pc:spChg chg="mod">
          <ac:chgData name="Julie Plesner Thomsen" userId="b57990ff-7c9a-49be-8d57-e62f9c41c990" providerId="ADAL" clId="{DA5828B4-4500-514E-9D31-371A94D05FBE}" dt="2025-11-27T15:31:47.793" v="1241" actId="403"/>
          <ac:spMkLst>
            <pc:docMk/>
            <pc:sldMk cId="3916167478" sldId="2147483059"/>
            <ac:spMk id="127" creationId="{D5B91F10-AA03-DC38-6880-5C3BA229A263}"/>
          </ac:spMkLst>
        </pc:spChg>
        <pc:spChg chg="mod">
          <ac:chgData name="Julie Plesner Thomsen" userId="b57990ff-7c9a-49be-8d57-e62f9c41c990" providerId="ADAL" clId="{DA5828B4-4500-514E-9D31-371A94D05FBE}" dt="2025-11-27T15:31:47.793" v="1241" actId="403"/>
          <ac:spMkLst>
            <pc:docMk/>
            <pc:sldMk cId="3916167478" sldId="2147483059"/>
            <ac:spMk id="128" creationId="{F2F2BBC7-F8E4-B6D9-C82D-0CBBBDB281BC}"/>
          </ac:spMkLst>
        </pc:spChg>
        <pc:spChg chg="mod">
          <ac:chgData name="Julie Plesner Thomsen" userId="b57990ff-7c9a-49be-8d57-e62f9c41c990" providerId="ADAL" clId="{DA5828B4-4500-514E-9D31-371A94D05FBE}" dt="2025-11-27T15:31:47.793" v="1241" actId="403"/>
          <ac:spMkLst>
            <pc:docMk/>
            <pc:sldMk cId="3916167478" sldId="2147483059"/>
            <ac:spMk id="130" creationId="{AF2F8FB8-E3D2-CD77-0086-1E801061E836}"/>
          </ac:spMkLst>
        </pc:spChg>
        <pc:spChg chg="mod">
          <ac:chgData name="Julie Plesner Thomsen" userId="b57990ff-7c9a-49be-8d57-e62f9c41c990" providerId="ADAL" clId="{DA5828B4-4500-514E-9D31-371A94D05FBE}" dt="2025-11-27T15:31:47.793" v="1241" actId="403"/>
          <ac:spMkLst>
            <pc:docMk/>
            <pc:sldMk cId="3916167478" sldId="2147483059"/>
            <ac:spMk id="131" creationId="{D7712967-D8F8-0331-BD49-070B0D8D5C75}"/>
          </ac:spMkLst>
        </pc:spChg>
        <pc:spChg chg="mod">
          <ac:chgData name="Julie Plesner Thomsen" userId="b57990ff-7c9a-49be-8d57-e62f9c41c990" providerId="ADAL" clId="{DA5828B4-4500-514E-9D31-371A94D05FBE}" dt="2025-11-27T15:31:47.793" v="1241" actId="403"/>
          <ac:spMkLst>
            <pc:docMk/>
            <pc:sldMk cId="3916167478" sldId="2147483059"/>
            <ac:spMk id="133" creationId="{220B1203-E522-65A3-6C76-7A185D65CF5D}"/>
          </ac:spMkLst>
        </pc:spChg>
        <pc:spChg chg="mod">
          <ac:chgData name="Julie Plesner Thomsen" userId="b57990ff-7c9a-49be-8d57-e62f9c41c990" providerId="ADAL" clId="{DA5828B4-4500-514E-9D31-371A94D05FBE}" dt="2025-11-27T15:31:47.793" v="1241" actId="403"/>
          <ac:spMkLst>
            <pc:docMk/>
            <pc:sldMk cId="3916167478" sldId="2147483059"/>
            <ac:spMk id="134" creationId="{746A8F49-2211-BC41-9AD0-81680EE408EE}"/>
          </ac:spMkLst>
        </pc:spChg>
        <pc:grpChg chg="mod">
          <ac:chgData name="Julie Plesner Thomsen" userId="b57990ff-7c9a-49be-8d57-e62f9c41c990" providerId="ADAL" clId="{DA5828B4-4500-514E-9D31-371A94D05FBE}" dt="2025-11-27T15:32:07.607" v="1254" actId="1038"/>
          <ac:grpSpMkLst>
            <pc:docMk/>
            <pc:sldMk cId="3916167478" sldId="2147483059"/>
            <ac:grpSpMk id="126" creationId="{D82E0F65-93FF-5FC6-4B3E-C62FAD70FD14}"/>
          </ac:grpSpMkLst>
        </pc:grpChg>
        <pc:grpChg chg="mod">
          <ac:chgData name="Julie Plesner Thomsen" userId="b57990ff-7c9a-49be-8d57-e62f9c41c990" providerId="ADAL" clId="{DA5828B4-4500-514E-9D31-371A94D05FBE}" dt="2025-11-27T15:32:14.142" v="1255" actId="1076"/>
          <ac:grpSpMkLst>
            <pc:docMk/>
            <pc:sldMk cId="3916167478" sldId="2147483059"/>
            <ac:grpSpMk id="129" creationId="{6C2CB7B0-1D2B-B290-C220-316DE1170FE3}"/>
          </ac:grpSpMkLst>
        </pc:grpChg>
        <pc:grpChg chg="mod">
          <ac:chgData name="Julie Plesner Thomsen" userId="b57990ff-7c9a-49be-8d57-e62f9c41c990" providerId="ADAL" clId="{DA5828B4-4500-514E-9D31-371A94D05FBE}" dt="2025-11-27T15:32:20.425" v="1256" actId="1076"/>
          <ac:grpSpMkLst>
            <pc:docMk/>
            <pc:sldMk cId="3916167478" sldId="2147483059"/>
            <ac:grpSpMk id="132" creationId="{2EBCEA7C-5A33-E814-3E2B-904910B90F81}"/>
          </ac:grpSpMkLst>
        </pc:grpChg>
        <pc:graphicFrameChg chg="mod">
          <ac:chgData name="Julie Plesner Thomsen" userId="b57990ff-7c9a-49be-8d57-e62f9c41c990" providerId="ADAL" clId="{DA5828B4-4500-514E-9D31-371A94D05FBE}" dt="2025-11-27T15:34:12.774" v="1285"/>
          <ac:graphicFrameMkLst>
            <pc:docMk/>
            <pc:sldMk cId="3916167478" sldId="2147483059"/>
            <ac:graphicFrameMk id="8" creationId="{22EF8EBA-F7C9-11A2-F0E0-50686C676216}"/>
          </ac:graphicFrameMkLst>
        </pc:graphicFrameChg>
      </pc:sldChg>
      <pc:sldChg chg="addSp delSp modSp mod">
        <pc:chgData name="Julie Plesner Thomsen" userId="b57990ff-7c9a-49be-8d57-e62f9c41c990" providerId="ADAL" clId="{DA5828B4-4500-514E-9D31-371A94D05FBE}" dt="2025-11-27T16:01:30.775" v="2441" actId="1037"/>
        <pc:sldMkLst>
          <pc:docMk/>
          <pc:sldMk cId="450657045" sldId="2147483060"/>
        </pc:sldMkLst>
        <pc:spChg chg="mod">
          <ac:chgData name="Julie Plesner Thomsen" userId="b57990ff-7c9a-49be-8d57-e62f9c41c990" providerId="ADAL" clId="{DA5828B4-4500-514E-9D31-371A94D05FBE}" dt="2025-11-27T16:00:03.671" v="2320"/>
          <ac:spMkLst>
            <pc:docMk/>
            <pc:sldMk cId="450657045" sldId="2147483060"/>
            <ac:spMk id="2" creationId="{F1678FCA-806A-70F1-2157-5CE20C63F0CE}"/>
          </ac:spMkLst>
        </pc:spChg>
        <pc:spChg chg="add del mod">
          <ac:chgData name="Julie Plesner Thomsen" userId="b57990ff-7c9a-49be-8d57-e62f9c41c990" providerId="ADAL" clId="{DA5828B4-4500-514E-9D31-371A94D05FBE}" dt="2025-11-27T16:00:03.671" v="2321"/>
          <ac:spMkLst>
            <pc:docMk/>
            <pc:sldMk cId="450657045" sldId="2147483060"/>
            <ac:spMk id="4" creationId="{8812AF91-49C1-FACE-F978-9643366DA823}"/>
          </ac:spMkLst>
        </pc:spChg>
        <pc:spChg chg="mod">
          <ac:chgData name="Julie Plesner Thomsen" userId="b57990ff-7c9a-49be-8d57-e62f9c41c990" providerId="ADAL" clId="{DA5828B4-4500-514E-9D31-371A94D05FBE}" dt="2025-11-27T16:00:03.672" v="2322"/>
          <ac:spMkLst>
            <pc:docMk/>
            <pc:sldMk cId="450657045" sldId="2147483060"/>
            <ac:spMk id="6" creationId="{6AA511C4-3E2B-3EFA-DE37-CB09D7210BF5}"/>
          </ac:spMkLst>
        </pc:spChg>
        <pc:spChg chg="add mod">
          <ac:chgData name="Julie Plesner Thomsen" userId="b57990ff-7c9a-49be-8d57-e62f9c41c990" providerId="ADAL" clId="{DA5828B4-4500-514E-9D31-371A94D05FBE}" dt="2025-11-27T16:00:03.673" v="2328"/>
          <ac:spMkLst>
            <pc:docMk/>
            <pc:sldMk cId="450657045" sldId="2147483060"/>
            <ac:spMk id="8" creationId="{FFF81705-BA60-B21F-9E0D-CE3D0ACCF3F1}"/>
          </ac:spMkLst>
        </pc:spChg>
        <pc:spChg chg="mod">
          <ac:chgData name="Julie Plesner Thomsen" userId="b57990ff-7c9a-49be-8d57-e62f9c41c990" providerId="ADAL" clId="{DA5828B4-4500-514E-9D31-371A94D05FBE}" dt="2025-11-27T16:01:30.775" v="2441" actId="1037"/>
          <ac:spMkLst>
            <pc:docMk/>
            <pc:sldMk cId="450657045" sldId="2147483060"/>
            <ac:spMk id="9" creationId="{D033AFC7-F802-ECB4-7C80-D527013FE3ED}"/>
          </ac:spMkLst>
        </pc:spChg>
        <pc:spChg chg="mod">
          <ac:chgData name="Julie Plesner Thomsen" userId="b57990ff-7c9a-49be-8d57-e62f9c41c990" providerId="ADAL" clId="{DA5828B4-4500-514E-9D31-371A94D05FBE}" dt="2025-11-27T16:01:30.775" v="2441" actId="1037"/>
          <ac:spMkLst>
            <pc:docMk/>
            <pc:sldMk cId="450657045" sldId="2147483060"/>
            <ac:spMk id="10" creationId="{5842AED6-21D5-8488-D19D-DCE12F625EBF}"/>
          </ac:spMkLst>
        </pc:spChg>
        <pc:spChg chg="add mod">
          <ac:chgData name="Julie Plesner Thomsen" userId="b57990ff-7c9a-49be-8d57-e62f9c41c990" providerId="ADAL" clId="{DA5828B4-4500-514E-9D31-371A94D05FBE}" dt="2025-11-27T16:01:30.775" v="2441" actId="1037"/>
          <ac:spMkLst>
            <pc:docMk/>
            <pc:sldMk cId="450657045" sldId="2147483060"/>
            <ac:spMk id="17" creationId="{00115BF5-9AF7-E8EB-D66B-BE697B5BF01E}"/>
          </ac:spMkLst>
        </pc:spChg>
        <pc:graphicFrameChg chg="add mod modVis">
          <ac:chgData name="Julie Plesner Thomsen" userId="b57990ff-7c9a-49be-8d57-e62f9c41c990" providerId="ADAL" clId="{DA5828B4-4500-514E-9D31-371A94D05FBE}" dt="2025-11-27T16:00:03.676" v="2342"/>
          <ac:graphicFrameMkLst>
            <pc:docMk/>
            <pc:sldMk cId="450657045" sldId="2147483060"/>
            <ac:graphicFrameMk id="16" creationId="{E7E56753-FEE0-3F49-F37A-F287E3CCC751}"/>
          </ac:graphicFrameMkLst>
        </pc:graphicFrameChg>
        <pc:picChg chg="mod">
          <ac:chgData name="Julie Plesner Thomsen" userId="b57990ff-7c9a-49be-8d57-e62f9c41c990" providerId="ADAL" clId="{DA5828B4-4500-514E-9D31-371A94D05FBE}" dt="2025-11-27T16:00:09.290" v="2344" actId="1076"/>
          <ac:picMkLst>
            <pc:docMk/>
            <pc:sldMk cId="450657045" sldId="2147483060"/>
            <ac:picMk id="12" creationId="{66B72AC3-2AC1-D822-E6DE-5B54CC081397}"/>
          </ac:picMkLst>
        </pc:picChg>
        <pc:picChg chg="mod">
          <ac:chgData name="Julie Plesner Thomsen" userId="b57990ff-7c9a-49be-8d57-e62f9c41c990" providerId="ADAL" clId="{DA5828B4-4500-514E-9D31-371A94D05FBE}" dt="2025-11-27T16:00:10.006" v="2345" actId="1076"/>
          <ac:picMkLst>
            <pc:docMk/>
            <pc:sldMk cId="450657045" sldId="2147483060"/>
            <ac:picMk id="13" creationId="{8CB840FF-448E-D60A-982B-CF61770C61B2}"/>
          </ac:picMkLst>
        </pc:picChg>
        <pc:picChg chg="mod">
          <ac:chgData name="Julie Plesner Thomsen" userId="b57990ff-7c9a-49be-8d57-e62f9c41c990" providerId="ADAL" clId="{DA5828B4-4500-514E-9D31-371A94D05FBE}" dt="2025-11-27T16:00:12.726" v="2348" actId="1076"/>
          <ac:picMkLst>
            <pc:docMk/>
            <pc:sldMk cId="450657045" sldId="2147483060"/>
            <ac:picMk id="14" creationId="{169C0DF3-DF9C-9730-7494-F40AEFEFE5EE}"/>
          </ac:picMkLst>
        </pc:picChg>
      </pc:sldChg>
      <pc:sldChg chg="addSp delSp modSp mod">
        <pc:chgData name="Julie Plesner Thomsen" userId="b57990ff-7c9a-49be-8d57-e62f9c41c990" providerId="ADAL" clId="{DA5828B4-4500-514E-9D31-371A94D05FBE}" dt="2025-11-27T15:46:36.570" v="1516" actId="1036"/>
        <pc:sldMkLst>
          <pc:docMk/>
          <pc:sldMk cId="3339230474" sldId="2147483061"/>
        </pc:sldMkLst>
        <pc:spChg chg="mod">
          <ac:chgData name="Julie Plesner Thomsen" userId="b57990ff-7c9a-49be-8d57-e62f9c41c990" providerId="ADAL" clId="{DA5828B4-4500-514E-9D31-371A94D05FBE}" dt="2025-11-27T15:46:28.775" v="1481"/>
          <ac:spMkLst>
            <pc:docMk/>
            <pc:sldMk cId="3339230474" sldId="2147483061"/>
            <ac:spMk id="2" creationId="{9C3AB9EA-DE91-3E6C-03A9-7E7E628E5080}"/>
          </ac:spMkLst>
        </pc:spChg>
        <pc:spChg chg="mod">
          <ac:chgData name="Julie Plesner Thomsen" userId="b57990ff-7c9a-49be-8d57-e62f9c41c990" providerId="ADAL" clId="{DA5828B4-4500-514E-9D31-371A94D05FBE}" dt="2025-11-27T15:46:28.777" v="1491"/>
          <ac:spMkLst>
            <pc:docMk/>
            <pc:sldMk cId="3339230474" sldId="2147483061"/>
            <ac:spMk id="3" creationId="{F4BB9EDA-F271-5E58-1E54-467599A33427}"/>
          </ac:spMkLst>
        </pc:spChg>
        <pc:spChg chg="mod">
          <ac:chgData name="Julie Plesner Thomsen" userId="b57990ff-7c9a-49be-8d57-e62f9c41c990" providerId="ADAL" clId="{DA5828B4-4500-514E-9D31-371A94D05FBE}" dt="2025-11-27T15:46:28.775" v="1482"/>
          <ac:spMkLst>
            <pc:docMk/>
            <pc:sldMk cId="3339230474" sldId="2147483061"/>
            <ac:spMk id="4" creationId="{D38AC516-3162-1A2D-6563-EFA07B3C5612}"/>
          </ac:spMkLst>
        </pc:spChg>
        <pc:spChg chg="add 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6" creationId="{4157BA4E-F213-8122-CEC1-9FD5CFB6D4B0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7" creationId="{076E7261-41C7-03E7-0DB2-F0A44D592054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8" creationId="{3D7CFB01-E5E5-1A1B-6E8B-071C4BE51971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18" creationId="{7D1F4175-6FAC-4EE8-FD68-EF1B9131B1BE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19" creationId="{B14F1783-7154-74FF-C65E-B0496B58E2E6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20" creationId="{A595F78A-582A-2E36-DAC5-E38B53988E69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30" creationId="{BBF27E6D-CB41-CD23-98C2-3D0FBBC0D307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31" creationId="{DCEB4413-6F68-7034-CDF8-04C5BFF1083D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39" creationId="{D20975F9-FD8E-B28B-A27B-9E1A9D54889E}"/>
          </ac:spMkLst>
        </pc:spChg>
        <pc:spChg chg="mod">
          <ac:chgData name="Julie Plesner Thomsen" userId="b57990ff-7c9a-49be-8d57-e62f9c41c990" providerId="ADAL" clId="{DA5828B4-4500-514E-9D31-371A94D05FBE}" dt="2025-11-27T15:46:36.570" v="1516" actId="1036"/>
          <ac:spMkLst>
            <pc:docMk/>
            <pc:sldMk cId="3339230474" sldId="2147483061"/>
            <ac:spMk id="40" creationId="{EC33656B-AA45-46DF-3693-045809BE47B4}"/>
          </ac:spMkLst>
        </pc:spChg>
        <pc:grpChg chg="mod">
          <ac:chgData name="Julie Plesner Thomsen" userId="b57990ff-7c9a-49be-8d57-e62f9c41c990" providerId="ADAL" clId="{DA5828B4-4500-514E-9D31-371A94D05FBE}" dt="2025-11-27T15:46:28.776" v="1486"/>
          <ac:grpSpMkLst>
            <pc:docMk/>
            <pc:sldMk cId="3339230474" sldId="2147483061"/>
            <ac:grpSpMk id="21" creationId="{0C300612-24E9-E1AD-0CA8-DA66564FABB2}"/>
          </ac:grpSpMkLst>
        </pc:grpChg>
        <pc:grpChg chg="mod">
          <ac:chgData name="Julie Plesner Thomsen" userId="b57990ff-7c9a-49be-8d57-e62f9c41c990" providerId="ADAL" clId="{DA5828B4-4500-514E-9D31-371A94D05FBE}" dt="2025-11-27T15:46:28.776" v="1487"/>
          <ac:grpSpMkLst>
            <pc:docMk/>
            <pc:sldMk cId="3339230474" sldId="2147483061"/>
            <ac:grpSpMk id="24" creationId="{180E4086-752F-B746-DD78-F9574EAF41DD}"/>
          </ac:grpSpMkLst>
        </pc:grpChg>
        <pc:grpChg chg="mod">
          <ac:chgData name="Julie Plesner Thomsen" userId="b57990ff-7c9a-49be-8d57-e62f9c41c990" providerId="ADAL" clId="{DA5828B4-4500-514E-9D31-371A94D05FBE}" dt="2025-11-27T15:46:28.777" v="1488"/>
          <ac:grpSpMkLst>
            <pc:docMk/>
            <pc:sldMk cId="3339230474" sldId="2147483061"/>
            <ac:grpSpMk id="27" creationId="{65B85DEA-3683-FCF1-6413-E1856B2785CD}"/>
          </ac:grpSpMkLst>
        </pc:grpChg>
        <pc:graphicFrameChg chg="mod">
          <ac:chgData name="Julie Plesner Thomsen" userId="b57990ff-7c9a-49be-8d57-e62f9c41c990" providerId="ADAL" clId="{DA5828B4-4500-514E-9D31-371A94D05FBE}" dt="2025-11-27T15:46:28.778" v="1495"/>
          <ac:graphicFrameMkLst>
            <pc:docMk/>
            <pc:sldMk cId="3339230474" sldId="2147483061"/>
            <ac:graphicFrameMk id="5" creationId="{557CBF4A-DE5D-7DC4-2EB7-24DCA66C0904}"/>
          </ac:graphicFrameMkLst>
        </pc:graphicFrameChg>
      </pc:sldChg>
      <pc:sldChg chg="addSp delSp modSp mod">
        <pc:chgData name="Julie Plesner Thomsen" userId="b57990ff-7c9a-49be-8d57-e62f9c41c990" providerId="ADAL" clId="{DA5828B4-4500-514E-9D31-371A94D05FBE}" dt="2025-11-27T15:51:49.333" v="1714" actId="1076"/>
        <pc:sldMkLst>
          <pc:docMk/>
          <pc:sldMk cId="2786602722" sldId="2147483064"/>
        </pc:sldMkLst>
        <pc:spChg chg="mod">
          <ac:chgData name="Julie Plesner Thomsen" userId="b57990ff-7c9a-49be-8d57-e62f9c41c990" providerId="ADAL" clId="{DA5828B4-4500-514E-9D31-371A94D05FBE}" dt="2025-11-27T15:51:12.840" v="1665"/>
          <ac:spMkLst>
            <pc:docMk/>
            <pc:sldMk cId="2786602722" sldId="2147483064"/>
            <ac:spMk id="2" creationId="{6868FCA1-29DF-EE6B-D0D3-034843E62D3E}"/>
          </ac:spMkLst>
        </pc:spChg>
        <pc:spChg chg="mod">
          <ac:chgData name="Julie Plesner Thomsen" userId="b57990ff-7c9a-49be-8d57-e62f9c41c990" providerId="ADAL" clId="{DA5828B4-4500-514E-9D31-371A94D05FBE}" dt="2025-11-27T15:51:12.841" v="1666"/>
          <ac:spMkLst>
            <pc:docMk/>
            <pc:sldMk cId="2786602722" sldId="2147483064"/>
            <ac:spMk id="4" creationId="{9498E61E-3D6E-1397-FA0A-CE3F10A80834}"/>
          </ac:spMkLst>
        </pc:spChg>
        <pc:spChg chg="mod">
          <ac:chgData name="Julie Plesner Thomsen" userId="b57990ff-7c9a-49be-8d57-e62f9c41c990" providerId="ADAL" clId="{DA5828B4-4500-514E-9D31-371A94D05FBE}" dt="2025-11-27T15:51:18.840" v="1696" actId="1076"/>
          <ac:spMkLst>
            <pc:docMk/>
            <pc:sldMk cId="2786602722" sldId="2147483064"/>
            <ac:spMk id="6" creationId="{3BC85071-1FE9-5649-45EA-15782142E252}"/>
          </ac:spMkLst>
        </pc:spChg>
        <pc:spChg chg="mod">
          <ac:chgData name="Julie Plesner Thomsen" userId="b57990ff-7c9a-49be-8d57-e62f9c41c990" providerId="ADAL" clId="{DA5828B4-4500-514E-9D31-371A94D05FBE}" dt="2025-11-27T15:51:12.842" v="1668"/>
          <ac:spMkLst>
            <pc:docMk/>
            <pc:sldMk cId="2786602722" sldId="2147483064"/>
            <ac:spMk id="9" creationId="{76E1782A-F74B-9A16-85EC-D4E686D31C75}"/>
          </ac:spMkLst>
        </pc:spChg>
        <pc:spChg chg="mod">
          <ac:chgData name="Julie Plesner Thomsen" userId="b57990ff-7c9a-49be-8d57-e62f9c41c990" providerId="ADAL" clId="{DA5828B4-4500-514E-9D31-371A94D05FBE}" dt="2025-11-27T15:51:12.844" v="1677"/>
          <ac:spMkLst>
            <pc:docMk/>
            <pc:sldMk cId="2786602722" sldId="2147483064"/>
            <ac:spMk id="18" creationId="{17F420FE-A3E2-9881-ED34-2E7BF0EA7A78}"/>
          </ac:spMkLst>
        </pc:spChg>
        <pc:spChg chg="add mod">
          <ac:chgData name="Julie Plesner Thomsen" userId="b57990ff-7c9a-49be-8d57-e62f9c41c990" providerId="ADAL" clId="{DA5828B4-4500-514E-9D31-371A94D05FBE}" dt="2025-11-27T15:51:12.844" v="1678"/>
          <ac:spMkLst>
            <pc:docMk/>
            <pc:sldMk cId="2786602722" sldId="2147483064"/>
            <ac:spMk id="30" creationId="{3BF28572-CCC5-6D40-0302-5ACD68A1E31D}"/>
          </ac:spMkLst>
        </pc:spChg>
        <pc:spChg chg="add mod">
          <ac:chgData name="Julie Plesner Thomsen" userId="b57990ff-7c9a-49be-8d57-e62f9c41c990" providerId="ADAL" clId="{DA5828B4-4500-514E-9D31-371A94D05FBE}" dt="2025-11-27T15:51:12.845" v="1679"/>
          <ac:spMkLst>
            <pc:docMk/>
            <pc:sldMk cId="2786602722" sldId="2147483064"/>
            <ac:spMk id="31" creationId="{EA20735F-43EE-A058-57EA-09D2BF7FF159}"/>
          </ac:spMkLst>
        </pc:spChg>
        <pc:spChg chg="add mod">
          <ac:chgData name="Julie Plesner Thomsen" userId="b57990ff-7c9a-49be-8d57-e62f9c41c990" providerId="ADAL" clId="{DA5828B4-4500-514E-9D31-371A94D05FBE}" dt="2025-11-27T15:51:12.845" v="1680"/>
          <ac:spMkLst>
            <pc:docMk/>
            <pc:sldMk cId="2786602722" sldId="2147483064"/>
            <ac:spMk id="32" creationId="{9721F8F1-D546-AD76-6C99-2E3964968896}"/>
          </ac:spMkLst>
        </pc:spChg>
        <pc:spChg chg="add mod">
          <ac:chgData name="Julie Plesner Thomsen" userId="b57990ff-7c9a-49be-8d57-e62f9c41c990" providerId="ADAL" clId="{DA5828B4-4500-514E-9D31-371A94D05FBE}" dt="2025-11-27T15:51:12.846" v="1681"/>
          <ac:spMkLst>
            <pc:docMk/>
            <pc:sldMk cId="2786602722" sldId="2147483064"/>
            <ac:spMk id="33" creationId="{CC9650A2-1334-E4B9-6203-922E92AB6B1B}"/>
          </ac:spMkLst>
        </pc:spChg>
        <pc:spChg chg="add mod">
          <ac:chgData name="Julie Plesner Thomsen" userId="b57990ff-7c9a-49be-8d57-e62f9c41c990" providerId="ADAL" clId="{DA5828B4-4500-514E-9D31-371A94D05FBE}" dt="2025-11-27T15:51:12.846" v="1682"/>
          <ac:spMkLst>
            <pc:docMk/>
            <pc:sldMk cId="2786602722" sldId="2147483064"/>
            <ac:spMk id="34" creationId="{A4D6063D-C823-948E-BA83-F91DE67F4781}"/>
          </ac:spMkLst>
        </pc:spChg>
        <pc:spChg chg="add mod">
          <ac:chgData name="Julie Plesner Thomsen" userId="b57990ff-7c9a-49be-8d57-e62f9c41c990" providerId="ADAL" clId="{DA5828B4-4500-514E-9D31-371A94D05FBE}" dt="2025-11-27T15:51:12.846" v="1683"/>
          <ac:spMkLst>
            <pc:docMk/>
            <pc:sldMk cId="2786602722" sldId="2147483064"/>
            <ac:spMk id="35" creationId="{6CC9AF9F-2DFF-3EFD-F207-FC17829ACB90}"/>
          </ac:spMkLst>
        </pc:spChg>
        <pc:spChg chg="add mod">
          <ac:chgData name="Julie Plesner Thomsen" userId="b57990ff-7c9a-49be-8d57-e62f9c41c990" providerId="ADAL" clId="{DA5828B4-4500-514E-9D31-371A94D05FBE}" dt="2025-11-27T15:51:12.847" v="1684"/>
          <ac:spMkLst>
            <pc:docMk/>
            <pc:sldMk cId="2786602722" sldId="2147483064"/>
            <ac:spMk id="36" creationId="{C8684B26-3B4D-85C2-7F87-407B18D6A5EF}"/>
          </ac:spMkLst>
        </pc:spChg>
        <pc:spChg chg="add del mod">
          <ac:chgData name="Julie Plesner Thomsen" userId="b57990ff-7c9a-49be-8d57-e62f9c41c990" providerId="ADAL" clId="{DA5828B4-4500-514E-9D31-371A94D05FBE}" dt="2025-11-27T15:51:12.847" v="1686"/>
          <ac:spMkLst>
            <pc:docMk/>
            <pc:sldMk cId="2786602722" sldId="2147483064"/>
            <ac:spMk id="38" creationId="{FEEDD0EB-AB3F-E82E-3742-60F06873A815}"/>
          </ac:spMkLst>
        </pc:spChg>
        <pc:spChg chg="mod">
          <ac:chgData name="Julie Plesner Thomsen" userId="b57990ff-7c9a-49be-8d57-e62f9c41c990" providerId="ADAL" clId="{DA5828B4-4500-514E-9D31-371A94D05FBE}" dt="2025-11-27T15:26:32.150" v="925" actId="20577"/>
          <ac:spMkLst>
            <pc:docMk/>
            <pc:sldMk cId="2786602722" sldId="2147483064"/>
            <ac:spMk id="40" creationId="{6007D519-4318-E762-F102-3DA5DA200504}"/>
          </ac:spMkLst>
        </pc:spChg>
        <pc:spChg chg="mod">
          <ac:chgData name="Julie Plesner Thomsen" userId="b57990ff-7c9a-49be-8d57-e62f9c41c990" providerId="ADAL" clId="{DA5828B4-4500-514E-9D31-371A94D05FBE}" dt="2025-11-27T15:26:25.462" v="917"/>
          <ac:spMkLst>
            <pc:docMk/>
            <pc:sldMk cId="2786602722" sldId="2147483064"/>
            <ac:spMk id="41" creationId="{074EDFE6-E25F-20DB-EFF7-4E2102133306}"/>
          </ac:spMkLst>
        </pc:spChg>
        <pc:grpChg chg="add mod">
          <ac:chgData name="Julie Plesner Thomsen" userId="b57990ff-7c9a-49be-8d57-e62f9c41c990" providerId="ADAL" clId="{DA5828B4-4500-514E-9D31-371A94D05FBE}" dt="2025-11-27T15:51:12.847" v="1687"/>
          <ac:grpSpMkLst>
            <pc:docMk/>
            <pc:sldMk cId="2786602722" sldId="2147483064"/>
            <ac:grpSpMk id="39" creationId="{32807787-EC37-C6C0-8D67-CB8066FAB311}"/>
          </ac:grpSpMkLst>
        </pc:grpChg>
        <pc:graphicFrameChg chg="add mod modVis">
          <ac:chgData name="Julie Plesner Thomsen" userId="b57990ff-7c9a-49be-8d57-e62f9c41c990" providerId="ADAL" clId="{DA5828B4-4500-514E-9D31-371A94D05FBE}" dt="2025-11-27T15:51:12.849" v="1689"/>
          <ac:graphicFrameMkLst>
            <pc:docMk/>
            <pc:sldMk cId="2786602722" sldId="2147483064"/>
            <ac:graphicFrameMk id="19" creationId="{526B86E1-CE69-5F7B-A38C-87A9072D1F5F}"/>
          </ac:graphicFrameMkLst>
        </pc:graphicFrameChg>
        <pc:picChg chg="mod">
          <ac:chgData name="Julie Plesner Thomsen" userId="b57990ff-7c9a-49be-8d57-e62f9c41c990" providerId="ADAL" clId="{DA5828B4-4500-514E-9D31-371A94D05FBE}" dt="2025-11-27T15:51:44.896" v="1713" actId="1037"/>
          <ac:picMkLst>
            <pc:docMk/>
            <pc:sldMk cId="2786602722" sldId="2147483064"/>
            <ac:picMk id="15" creationId="{8F302D3D-EAFA-151B-383E-9D77A9FB2770}"/>
          </ac:picMkLst>
        </pc:picChg>
        <pc:picChg chg="mod">
          <ac:chgData name="Julie Plesner Thomsen" userId="b57990ff-7c9a-49be-8d57-e62f9c41c990" providerId="ADAL" clId="{DA5828B4-4500-514E-9D31-371A94D05FBE}" dt="2025-11-27T15:51:44.896" v="1713" actId="1037"/>
          <ac:picMkLst>
            <pc:docMk/>
            <pc:sldMk cId="2786602722" sldId="2147483064"/>
            <ac:picMk id="25" creationId="{5A6BBC47-0483-26DB-32B6-2E5B43981797}"/>
          </ac:picMkLst>
        </pc:picChg>
        <pc:picChg chg="mod">
          <ac:chgData name="Julie Plesner Thomsen" userId="b57990ff-7c9a-49be-8d57-e62f9c41c990" providerId="ADAL" clId="{DA5828B4-4500-514E-9D31-371A94D05FBE}" dt="2025-11-27T15:51:44.896" v="1713" actId="1037"/>
          <ac:picMkLst>
            <pc:docMk/>
            <pc:sldMk cId="2786602722" sldId="2147483064"/>
            <ac:picMk id="26" creationId="{F0B1A74B-93F3-1935-B339-4EE663FFB889}"/>
          </ac:picMkLst>
        </pc:picChg>
        <pc:picChg chg="mod">
          <ac:chgData name="Julie Plesner Thomsen" userId="b57990ff-7c9a-49be-8d57-e62f9c41c990" providerId="ADAL" clId="{DA5828B4-4500-514E-9D31-371A94D05FBE}" dt="2025-11-27T15:51:49.333" v="1714" actId="1076"/>
          <ac:picMkLst>
            <pc:docMk/>
            <pc:sldMk cId="2786602722" sldId="2147483064"/>
            <ac:picMk id="27" creationId="{CDC6413C-0084-ECCC-56B0-6BF30F3C8C6E}"/>
          </ac:picMkLst>
        </pc:picChg>
        <pc:picChg chg="mod">
          <ac:chgData name="Julie Plesner Thomsen" userId="b57990ff-7c9a-49be-8d57-e62f9c41c990" providerId="ADAL" clId="{DA5828B4-4500-514E-9D31-371A94D05FBE}" dt="2025-11-27T15:51:49.333" v="1714" actId="1076"/>
          <ac:picMkLst>
            <pc:docMk/>
            <pc:sldMk cId="2786602722" sldId="2147483064"/>
            <ac:picMk id="28" creationId="{72113830-5BB4-C1D1-71D2-1C05CA2180E2}"/>
          </ac:picMkLst>
        </pc:picChg>
        <pc:picChg chg="mod">
          <ac:chgData name="Julie Plesner Thomsen" userId="b57990ff-7c9a-49be-8d57-e62f9c41c990" providerId="ADAL" clId="{DA5828B4-4500-514E-9D31-371A94D05FBE}" dt="2025-11-27T15:51:49.333" v="1714" actId="1076"/>
          <ac:picMkLst>
            <pc:docMk/>
            <pc:sldMk cId="2786602722" sldId="2147483064"/>
            <ac:picMk id="29" creationId="{3F175A55-CFE4-4ED2-50F3-85635D21EC45}"/>
          </ac:picMkLst>
        </pc:picChg>
        <pc:picChg chg="add mod">
          <ac:chgData name="Julie Plesner Thomsen" userId="b57990ff-7c9a-49be-8d57-e62f9c41c990" providerId="ADAL" clId="{DA5828B4-4500-514E-9D31-371A94D05FBE}" dt="2025-11-27T15:51:12.847" v="1685"/>
          <ac:picMkLst>
            <pc:docMk/>
            <pc:sldMk cId="2786602722" sldId="2147483064"/>
            <ac:picMk id="37" creationId="{BF3BA9A8-BD51-D369-1840-F4D6845315B0}"/>
          </ac:picMkLst>
        </pc:picChg>
      </pc:sldChg>
      <pc:sldChg chg="addSp delSp modSp mod">
        <pc:chgData name="Julie Plesner Thomsen" userId="b57990ff-7c9a-49be-8d57-e62f9c41c990" providerId="ADAL" clId="{DA5828B4-4500-514E-9D31-371A94D05FBE}" dt="2025-11-27T15:54:57.024" v="1968" actId="207"/>
        <pc:sldMkLst>
          <pc:docMk/>
          <pc:sldMk cId="185005860" sldId="2147483065"/>
        </pc:sldMkLst>
        <pc:spChg chg="mod">
          <ac:chgData name="Julie Plesner Thomsen" userId="b57990ff-7c9a-49be-8d57-e62f9c41c990" providerId="ADAL" clId="{DA5828B4-4500-514E-9D31-371A94D05FBE}" dt="2025-11-27T15:53:39.365" v="1889"/>
          <ac:spMkLst>
            <pc:docMk/>
            <pc:sldMk cId="185005860" sldId="2147483065"/>
            <ac:spMk id="2" creationId="{CE095C48-A1DB-F2DF-CC46-7D75C59E6E61}"/>
          </ac:spMkLst>
        </pc:spChg>
        <pc:spChg chg="mod">
          <ac:chgData name="Julie Plesner Thomsen" userId="b57990ff-7c9a-49be-8d57-e62f9c41c990" providerId="ADAL" clId="{DA5828B4-4500-514E-9D31-371A94D05FBE}" dt="2025-11-27T15:53:39.365" v="1890"/>
          <ac:spMkLst>
            <pc:docMk/>
            <pc:sldMk cId="185005860" sldId="2147483065"/>
            <ac:spMk id="4" creationId="{87C59435-53CF-7AEC-BD35-50CBBF0B0284}"/>
          </ac:spMkLst>
        </pc:spChg>
        <pc:spChg chg="mod">
          <ac:chgData name="Julie Plesner Thomsen" userId="b57990ff-7c9a-49be-8d57-e62f9c41c990" providerId="ADAL" clId="{DA5828B4-4500-514E-9D31-371A94D05FBE}" dt="2025-11-27T15:53:39.366" v="1891"/>
          <ac:spMkLst>
            <pc:docMk/>
            <pc:sldMk cId="185005860" sldId="2147483065"/>
            <ac:spMk id="6" creationId="{C833256A-639E-B092-81A1-6CB3780EF6C3}"/>
          </ac:spMkLst>
        </pc:spChg>
        <pc:spChg chg="mod">
          <ac:chgData name="Julie Plesner Thomsen" userId="b57990ff-7c9a-49be-8d57-e62f9c41c990" providerId="ADAL" clId="{DA5828B4-4500-514E-9D31-371A94D05FBE}" dt="2025-11-27T15:53:39.366" v="1892"/>
          <ac:spMkLst>
            <pc:docMk/>
            <pc:sldMk cId="185005860" sldId="2147483065"/>
            <ac:spMk id="9" creationId="{87745142-DE4A-F094-4C7F-5EC4D889A9F7}"/>
          </ac:spMkLst>
        </pc:spChg>
        <pc:spChg chg="mod">
          <ac:chgData name="Julie Plesner Thomsen" userId="b57990ff-7c9a-49be-8d57-e62f9c41c990" providerId="ADAL" clId="{DA5828B4-4500-514E-9D31-371A94D05FBE}" dt="2025-11-27T15:53:39.367" v="1893"/>
          <ac:spMkLst>
            <pc:docMk/>
            <pc:sldMk cId="185005860" sldId="2147483065"/>
            <ac:spMk id="22" creationId="{3E760424-0D73-5534-2D4A-CA409F6460A1}"/>
          </ac:spMkLst>
        </pc:spChg>
        <pc:spChg chg="add mod">
          <ac:chgData name="Julie Plesner Thomsen" userId="b57990ff-7c9a-49be-8d57-e62f9c41c990" providerId="ADAL" clId="{DA5828B4-4500-514E-9D31-371A94D05FBE}" dt="2025-11-27T15:53:39.367" v="1894"/>
          <ac:spMkLst>
            <pc:docMk/>
            <pc:sldMk cId="185005860" sldId="2147483065"/>
            <ac:spMk id="23" creationId="{7667DCC8-E738-ED7D-5CED-293B5C277CCF}"/>
          </ac:spMkLst>
        </pc:spChg>
        <pc:spChg chg="add mod">
          <ac:chgData name="Julie Plesner Thomsen" userId="b57990ff-7c9a-49be-8d57-e62f9c41c990" providerId="ADAL" clId="{DA5828B4-4500-514E-9D31-371A94D05FBE}" dt="2025-11-27T15:53:39.368" v="1896"/>
          <ac:spMkLst>
            <pc:docMk/>
            <pc:sldMk cId="185005860" sldId="2147483065"/>
            <ac:spMk id="25" creationId="{E7D2E563-BE07-F25B-CDBA-07A7E8B67243}"/>
          </ac:spMkLst>
        </pc:spChg>
        <pc:spChg chg="mod">
          <ac:chgData name="Julie Plesner Thomsen" userId="b57990ff-7c9a-49be-8d57-e62f9c41c990" providerId="ADAL" clId="{DA5828B4-4500-514E-9D31-371A94D05FBE}" dt="2025-11-27T15:27:40.441" v="985" actId="2711"/>
          <ac:spMkLst>
            <pc:docMk/>
            <pc:sldMk cId="185005860" sldId="2147483065"/>
            <ac:spMk id="27" creationId="{CB6AC782-812B-7FD2-F3CE-B5C86AFAC0A7}"/>
          </ac:spMkLst>
        </pc:spChg>
        <pc:spChg chg="mod">
          <ac:chgData name="Julie Plesner Thomsen" userId="b57990ff-7c9a-49be-8d57-e62f9c41c990" providerId="ADAL" clId="{DA5828B4-4500-514E-9D31-371A94D05FBE}" dt="2025-11-27T15:27:40.441" v="985" actId="2711"/>
          <ac:spMkLst>
            <pc:docMk/>
            <pc:sldMk cId="185005860" sldId="2147483065"/>
            <ac:spMk id="28" creationId="{1C6B97FD-4C2D-3B7F-2627-955226AA66EB}"/>
          </ac:spMkLst>
        </pc:spChg>
        <pc:spChg chg="add mod">
          <ac:chgData name="Julie Plesner Thomsen" userId="b57990ff-7c9a-49be-8d57-e62f9c41c990" providerId="ADAL" clId="{DA5828B4-4500-514E-9D31-371A94D05FBE}" dt="2025-11-27T15:54:21.236" v="1948" actId="14100"/>
          <ac:spMkLst>
            <pc:docMk/>
            <pc:sldMk cId="185005860" sldId="2147483065"/>
            <ac:spMk id="69" creationId="{03B3F83A-6EA7-721B-5190-6A65409B23C4}"/>
          </ac:spMkLst>
        </pc:spChg>
        <pc:spChg chg="add mod">
          <ac:chgData name="Julie Plesner Thomsen" userId="b57990ff-7c9a-49be-8d57-e62f9c41c990" providerId="ADAL" clId="{DA5828B4-4500-514E-9D31-371A94D05FBE}" dt="2025-11-27T15:54:21.236" v="1948" actId="14100"/>
          <ac:spMkLst>
            <pc:docMk/>
            <pc:sldMk cId="185005860" sldId="2147483065"/>
            <ac:spMk id="70" creationId="{BAC18B8A-6548-A11A-770D-CB38B61C0C2A}"/>
          </ac:spMkLst>
        </pc:spChg>
        <pc:spChg chg="add mod">
          <ac:chgData name="Julie Plesner Thomsen" userId="b57990ff-7c9a-49be-8d57-e62f9c41c990" providerId="ADAL" clId="{DA5828B4-4500-514E-9D31-371A94D05FBE}" dt="2025-11-27T15:54:21.236" v="1948" actId="14100"/>
          <ac:spMkLst>
            <pc:docMk/>
            <pc:sldMk cId="185005860" sldId="2147483065"/>
            <ac:spMk id="71" creationId="{1864A448-C5F7-F085-CFFC-0FBBD424B141}"/>
          </ac:spMkLst>
        </pc:spChg>
        <pc:spChg chg="add mod">
          <ac:chgData name="Julie Plesner Thomsen" userId="b57990ff-7c9a-49be-8d57-e62f9c41c990" providerId="ADAL" clId="{DA5828B4-4500-514E-9D31-371A94D05FBE}" dt="2025-11-27T15:54:35.453" v="1958" actId="1076"/>
          <ac:spMkLst>
            <pc:docMk/>
            <pc:sldMk cId="185005860" sldId="2147483065"/>
            <ac:spMk id="72" creationId="{19DD1C1A-F8AA-5FF0-225A-4B4665280D14}"/>
          </ac:spMkLst>
        </pc:spChg>
        <pc:spChg chg="add mod">
          <ac:chgData name="Julie Plesner Thomsen" userId="b57990ff-7c9a-49be-8d57-e62f9c41c990" providerId="ADAL" clId="{DA5828B4-4500-514E-9D31-371A94D05FBE}" dt="2025-11-27T15:54:46.706" v="1963" actId="207"/>
          <ac:spMkLst>
            <pc:docMk/>
            <pc:sldMk cId="185005860" sldId="2147483065"/>
            <ac:spMk id="78" creationId="{1C8B4F41-92ED-2F84-78DF-9597F677AA39}"/>
          </ac:spMkLst>
        </pc:spChg>
        <pc:spChg chg="add mod">
          <ac:chgData name="Julie Plesner Thomsen" userId="b57990ff-7c9a-49be-8d57-e62f9c41c990" providerId="ADAL" clId="{DA5828B4-4500-514E-9D31-371A94D05FBE}" dt="2025-11-27T15:54:57.024" v="1968" actId="207"/>
          <ac:spMkLst>
            <pc:docMk/>
            <pc:sldMk cId="185005860" sldId="2147483065"/>
            <ac:spMk id="79" creationId="{E5AB5F38-6BEA-2662-F8A2-9148DAA1C8FB}"/>
          </ac:spMkLst>
        </pc:spChg>
        <pc:grpChg chg="add mod">
          <ac:chgData name="Julie Plesner Thomsen" userId="b57990ff-7c9a-49be-8d57-e62f9c41c990" providerId="ADAL" clId="{DA5828B4-4500-514E-9D31-371A94D05FBE}" dt="2025-11-27T15:53:39.368" v="1897"/>
          <ac:grpSpMkLst>
            <pc:docMk/>
            <pc:sldMk cId="185005860" sldId="2147483065"/>
            <ac:grpSpMk id="26" creationId="{6C7F70EF-B834-8CDD-D649-5F2AFB62C511}"/>
          </ac:grpSpMkLst>
        </pc:grpChg>
        <pc:graphicFrameChg chg="add mod modVis">
          <ac:chgData name="Julie Plesner Thomsen" userId="b57990ff-7c9a-49be-8d57-e62f9c41c990" providerId="ADAL" clId="{DA5828B4-4500-514E-9D31-371A94D05FBE}" dt="2025-11-27T15:53:39.373" v="1918"/>
          <ac:graphicFrameMkLst>
            <pc:docMk/>
            <pc:sldMk cId="185005860" sldId="2147483065"/>
            <ac:graphicFrameMk id="30" creationId="{E7BE6436-F94F-572E-F040-033C0359293D}"/>
          </ac:graphicFrameMkLst>
        </pc:graphicFrameChg>
        <pc:picChg chg="add mod">
          <ac:chgData name="Julie Plesner Thomsen" userId="b57990ff-7c9a-49be-8d57-e62f9c41c990" providerId="ADAL" clId="{DA5828B4-4500-514E-9D31-371A94D05FBE}" dt="2025-11-27T15:53:44.226" v="1926" actId="1038"/>
          <ac:picMkLst>
            <pc:docMk/>
            <pc:sldMk cId="185005860" sldId="2147483065"/>
            <ac:picMk id="5" creationId="{110A7488-3CEC-4D47-C9F8-D37AED230C49}"/>
          </ac:picMkLst>
        </pc:picChg>
        <pc:picChg chg="add mod">
          <ac:chgData name="Julie Plesner Thomsen" userId="b57990ff-7c9a-49be-8d57-e62f9c41c990" providerId="ADAL" clId="{DA5828B4-4500-514E-9D31-371A94D05FBE}" dt="2025-11-27T15:53:44.226" v="1926" actId="1038"/>
          <ac:picMkLst>
            <pc:docMk/>
            <pc:sldMk cId="185005860" sldId="2147483065"/>
            <ac:picMk id="7" creationId="{7FD364C0-413B-F181-CF39-3FE62458E5C3}"/>
          </ac:picMkLst>
        </pc:picChg>
        <pc:picChg chg="add mod">
          <ac:chgData name="Julie Plesner Thomsen" userId="b57990ff-7c9a-49be-8d57-e62f9c41c990" providerId="ADAL" clId="{DA5828B4-4500-514E-9D31-371A94D05FBE}" dt="2025-11-27T15:53:39.367" v="1895"/>
          <ac:picMkLst>
            <pc:docMk/>
            <pc:sldMk cId="185005860" sldId="2147483065"/>
            <ac:picMk id="24" creationId="{48BE04E7-D04C-5FC8-B878-8A0447FC3114}"/>
          </ac:picMkLst>
        </pc:picChg>
        <pc:picChg chg="add mod">
          <ac:chgData name="Julie Plesner Thomsen" userId="b57990ff-7c9a-49be-8d57-e62f9c41c990" providerId="ADAL" clId="{DA5828B4-4500-514E-9D31-371A94D05FBE}" dt="2025-11-27T15:53:44.226" v="1926" actId="1038"/>
          <ac:picMkLst>
            <pc:docMk/>
            <pc:sldMk cId="185005860" sldId="2147483065"/>
            <ac:picMk id="29" creationId="{73AD5EDA-265B-5F73-DB03-E9649CEAC5C6}"/>
          </ac:picMkLst>
        </pc:picChg>
        <pc:picChg chg="add mod">
          <ac:chgData name="Julie Plesner Thomsen" userId="b57990ff-7c9a-49be-8d57-e62f9c41c990" providerId="ADAL" clId="{DA5828B4-4500-514E-9D31-371A94D05FBE}" dt="2025-11-27T15:54:13.129" v="1945" actId="1038"/>
          <ac:picMkLst>
            <pc:docMk/>
            <pc:sldMk cId="185005860" sldId="2147483065"/>
            <ac:picMk id="33" creationId="{2DB714CD-B320-3A99-1568-748742535E11}"/>
          </ac:picMkLst>
        </pc:picChg>
        <pc:picChg chg="add mod">
          <ac:chgData name="Julie Plesner Thomsen" userId="b57990ff-7c9a-49be-8d57-e62f9c41c990" providerId="ADAL" clId="{DA5828B4-4500-514E-9D31-371A94D05FBE}" dt="2025-11-27T15:54:13.129" v="1945" actId="1038"/>
          <ac:picMkLst>
            <pc:docMk/>
            <pc:sldMk cId="185005860" sldId="2147483065"/>
            <ac:picMk id="34" creationId="{410A00D4-CCD1-C7B8-B6EB-493804629825}"/>
          </ac:picMkLst>
        </pc:picChg>
        <pc:picChg chg="add mod">
          <ac:chgData name="Julie Plesner Thomsen" userId="b57990ff-7c9a-49be-8d57-e62f9c41c990" providerId="ADAL" clId="{DA5828B4-4500-514E-9D31-371A94D05FBE}" dt="2025-11-27T15:54:13.129" v="1945" actId="1038"/>
          <ac:picMkLst>
            <pc:docMk/>
            <pc:sldMk cId="185005860" sldId="2147483065"/>
            <ac:picMk id="35" creationId="{2C8EF1F5-55A2-0480-F1FD-768D46E0376E}"/>
          </ac:picMkLst>
        </pc:picChg>
        <pc:picChg chg="add mod">
          <ac:chgData name="Julie Plesner Thomsen" userId="b57990ff-7c9a-49be-8d57-e62f9c41c990" providerId="ADAL" clId="{DA5828B4-4500-514E-9D31-371A94D05FBE}" dt="2025-11-27T15:54:13.129" v="1945" actId="1038"/>
          <ac:picMkLst>
            <pc:docMk/>
            <pc:sldMk cId="185005860" sldId="2147483065"/>
            <ac:picMk id="38" creationId="{5EEC12DE-F67A-E2BA-05CC-5C52386AE7B8}"/>
          </ac:picMkLst>
        </pc:picChg>
        <pc:picChg chg="add mod">
          <ac:chgData name="Julie Plesner Thomsen" userId="b57990ff-7c9a-49be-8d57-e62f9c41c990" providerId="ADAL" clId="{DA5828B4-4500-514E-9D31-371A94D05FBE}" dt="2025-11-27T15:54:17.184" v="1947" actId="1038"/>
          <ac:picMkLst>
            <pc:docMk/>
            <pc:sldMk cId="185005860" sldId="2147483065"/>
            <ac:picMk id="42" creationId="{DAA1F230-CF41-8C71-86C5-B5A665CFBBE4}"/>
          </ac:picMkLst>
        </pc:picChg>
        <pc:picChg chg="add mod">
          <ac:chgData name="Julie Plesner Thomsen" userId="b57990ff-7c9a-49be-8d57-e62f9c41c990" providerId="ADAL" clId="{DA5828B4-4500-514E-9D31-371A94D05FBE}" dt="2025-11-27T15:54:17.184" v="1947" actId="1038"/>
          <ac:picMkLst>
            <pc:docMk/>
            <pc:sldMk cId="185005860" sldId="2147483065"/>
            <ac:picMk id="43" creationId="{D5D8CC26-FF3A-851B-56A8-21051AB1C518}"/>
          </ac:picMkLst>
        </pc:picChg>
        <pc:picChg chg="add mod">
          <ac:chgData name="Julie Plesner Thomsen" userId="b57990ff-7c9a-49be-8d57-e62f9c41c990" providerId="ADAL" clId="{DA5828B4-4500-514E-9D31-371A94D05FBE}" dt="2025-11-27T15:54:17.184" v="1947" actId="1038"/>
          <ac:picMkLst>
            <pc:docMk/>
            <pc:sldMk cId="185005860" sldId="2147483065"/>
            <ac:picMk id="45" creationId="{39465EFE-DCD7-B6AC-12F4-8AF567A2FB91}"/>
          </ac:picMkLst>
        </pc:picChg>
        <pc:picChg chg="add mod">
          <ac:chgData name="Julie Plesner Thomsen" userId="b57990ff-7c9a-49be-8d57-e62f9c41c990" providerId="ADAL" clId="{DA5828B4-4500-514E-9D31-371A94D05FBE}" dt="2025-11-27T15:54:17.184" v="1947" actId="1038"/>
          <ac:picMkLst>
            <pc:docMk/>
            <pc:sldMk cId="185005860" sldId="2147483065"/>
            <ac:picMk id="46" creationId="{BDC06D50-2373-0A91-A1F0-1B898E6BE2F4}"/>
          </ac:picMkLst>
        </pc:picChg>
        <pc:picChg chg="add mod">
          <ac:chgData name="Julie Plesner Thomsen" userId="b57990ff-7c9a-49be-8d57-e62f9c41c990" providerId="ADAL" clId="{DA5828B4-4500-514E-9D31-371A94D05FBE}" dt="2025-11-27T15:54:17.184" v="1947" actId="1038"/>
          <ac:picMkLst>
            <pc:docMk/>
            <pc:sldMk cId="185005860" sldId="2147483065"/>
            <ac:picMk id="68" creationId="{CDCDA6B8-18AD-458E-E8B5-DFA573DC0427}"/>
          </ac:picMkLst>
        </pc:picChg>
      </pc:sldChg>
      <pc:sldChg chg="modSp mod">
        <pc:chgData name="Julie Plesner Thomsen" userId="b57990ff-7c9a-49be-8d57-e62f9c41c990" providerId="ADAL" clId="{DA5828B4-4500-514E-9D31-371A94D05FBE}" dt="2025-11-27T15:11:18.593" v="299" actId="14100"/>
        <pc:sldMkLst>
          <pc:docMk/>
          <pc:sldMk cId="293540493" sldId="2147483079"/>
        </pc:sldMkLst>
        <pc:spChg chg="mod">
          <ac:chgData name="Julie Plesner Thomsen" userId="b57990ff-7c9a-49be-8d57-e62f9c41c990" providerId="ADAL" clId="{DA5828B4-4500-514E-9D31-371A94D05FBE}" dt="2025-11-27T15:11:18.593" v="299" actId="14100"/>
          <ac:spMkLst>
            <pc:docMk/>
            <pc:sldMk cId="293540493" sldId="2147483079"/>
            <ac:spMk id="12" creationId="{A38F6E3C-1A64-B02A-E0AE-7D786F9B5608}"/>
          </ac:spMkLst>
        </pc:spChg>
      </pc:sldChg>
      <pc:sldChg chg="addSp delSp modSp mod">
        <pc:chgData name="Julie Plesner Thomsen" userId="b57990ff-7c9a-49be-8d57-e62f9c41c990" providerId="ADAL" clId="{DA5828B4-4500-514E-9D31-371A94D05FBE}" dt="2025-11-27T17:25:01.003" v="2473" actId="207"/>
        <pc:sldMkLst>
          <pc:docMk/>
          <pc:sldMk cId="3677720009" sldId="2147483081"/>
        </pc:sldMkLst>
        <pc:spChg chg="mod">
          <ac:chgData name="Julie Plesner Thomsen" userId="b57990ff-7c9a-49be-8d57-e62f9c41c990" providerId="ADAL" clId="{DA5828B4-4500-514E-9D31-371A94D05FBE}" dt="2025-11-27T15:57:43.087" v="2148"/>
          <ac:spMkLst>
            <pc:docMk/>
            <pc:sldMk cId="3677720009" sldId="2147483081"/>
            <ac:spMk id="2" creationId="{AD646718-33A2-4BF8-253F-FBCD29F95806}"/>
          </ac:spMkLst>
        </pc:spChg>
        <pc:spChg chg="mod">
          <ac:chgData name="Julie Plesner Thomsen" userId="b57990ff-7c9a-49be-8d57-e62f9c41c990" providerId="ADAL" clId="{DA5828B4-4500-514E-9D31-371A94D05FBE}" dt="2025-11-27T15:57:43.090" v="2151"/>
          <ac:spMkLst>
            <pc:docMk/>
            <pc:sldMk cId="3677720009" sldId="2147483081"/>
            <ac:spMk id="3" creationId="{2D62F097-AD09-3B3E-439C-269ACE550CEA}"/>
          </ac:spMkLst>
        </pc:spChg>
        <pc:spChg chg="mod">
          <ac:chgData name="Julie Plesner Thomsen" userId="b57990ff-7c9a-49be-8d57-e62f9c41c990" providerId="ADAL" clId="{DA5828B4-4500-514E-9D31-371A94D05FBE}" dt="2025-11-27T15:57:43.089" v="2149"/>
          <ac:spMkLst>
            <pc:docMk/>
            <pc:sldMk cId="3677720009" sldId="2147483081"/>
            <ac:spMk id="4" creationId="{5E25D717-AED0-BE85-1EDE-B0F6E97FFF65}"/>
          </ac:spMkLst>
        </pc:spChg>
        <pc:spChg chg="mod">
          <ac:chgData name="Julie Plesner Thomsen" userId="b57990ff-7c9a-49be-8d57-e62f9c41c990" providerId="ADAL" clId="{DA5828B4-4500-514E-9D31-371A94D05FBE}" dt="2025-11-27T15:57:43.089" v="2150"/>
          <ac:spMkLst>
            <pc:docMk/>
            <pc:sldMk cId="3677720009" sldId="2147483081"/>
            <ac:spMk id="6" creationId="{D1852AA0-516B-E713-BAE7-FCAF62F7519E}"/>
          </ac:spMkLst>
        </pc:spChg>
        <pc:spChg chg="mod">
          <ac:chgData name="Julie Plesner Thomsen" userId="b57990ff-7c9a-49be-8d57-e62f9c41c990" providerId="ADAL" clId="{DA5828B4-4500-514E-9D31-371A94D05FBE}" dt="2025-11-27T17:25:01.003" v="2473" actId="207"/>
          <ac:spMkLst>
            <pc:docMk/>
            <pc:sldMk cId="3677720009" sldId="2147483081"/>
            <ac:spMk id="7" creationId="{98790934-06AB-1AB8-AB9F-2C794BB3E148}"/>
          </ac:spMkLst>
        </pc:spChg>
        <pc:spChg chg="mod">
          <ac:chgData name="Julie Plesner Thomsen" userId="b57990ff-7c9a-49be-8d57-e62f9c41c990" providerId="ADAL" clId="{DA5828B4-4500-514E-9D31-371A94D05FBE}" dt="2025-11-27T17:25:01.003" v="2473" actId="207"/>
          <ac:spMkLst>
            <pc:docMk/>
            <pc:sldMk cId="3677720009" sldId="2147483081"/>
            <ac:spMk id="8" creationId="{D2845BA4-D8DA-7966-11E3-E72CDE4F01B1}"/>
          </ac:spMkLst>
        </pc:spChg>
        <pc:spChg chg="mod">
          <ac:chgData name="Julie Plesner Thomsen" userId="b57990ff-7c9a-49be-8d57-e62f9c41c990" providerId="ADAL" clId="{DA5828B4-4500-514E-9D31-371A94D05FBE}" dt="2025-11-27T15:57:43.091" v="2157"/>
          <ac:spMkLst>
            <pc:docMk/>
            <pc:sldMk cId="3677720009" sldId="2147483081"/>
            <ac:spMk id="16" creationId="{9BADB335-AF5F-B11A-A67B-BD04BDDC518C}"/>
          </ac:spMkLst>
        </pc:spChg>
        <pc:spChg chg="mod">
          <ac:chgData name="Julie Plesner Thomsen" userId="b57990ff-7c9a-49be-8d57-e62f9c41c990" providerId="ADAL" clId="{DA5828B4-4500-514E-9D31-371A94D05FBE}" dt="2025-11-27T15:57:43.091" v="2156"/>
          <ac:spMkLst>
            <pc:docMk/>
            <pc:sldMk cId="3677720009" sldId="2147483081"/>
            <ac:spMk id="23" creationId="{309F6A59-6B3D-ED6C-345F-69FC2230F3B3}"/>
          </ac:spMkLst>
        </pc:spChg>
        <pc:spChg chg="mod">
          <ac:chgData name="Julie Plesner Thomsen" userId="b57990ff-7c9a-49be-8d57-e62f9c41c990" providerId="ADAL" clId="{DA5828B4-4500-514E-9D31-371A94D05FBE}" dt="2025-11-27T15:58:37.421" v="2240" actId="14100"/>
          <ac:spMkLst>
            <pc:docMk/>
            <pc:sldMk cId="3677720009" sldId="2147483081"/>
            <ac:spMk id="25" creationId="{A2F584A1-A718-5ECA-494D-B9A3EDB9B52A}"/>
          </ac:spMkLst>
        </pc:spChg>
        <pc:spChg chg="mod">
          <ac:chgData name="Julie Plesner Thomsen" userId="b57990ff-7c9a-49be-8d57-e62f9c41c990" providerId="ADAL" clId="{DA5828B4-4500-514E-9D31-371A94D05FBE}" dt="2025-11-27T15:57:43.092" v="2161"/>
          <ac:spMkLst>
            <pc:docMk/>
            <pc:sldMk cId="3677720009" sldId="2147483081"/>
            <ac:spMk id="29" creationId="{FD4A7718-7683-CE1B-C787-B86EAEBA37C7}"/>
          </ac:spMkLst>
        </pc:spChg>
        <pc:spChg chg="mod">
          <ac:chgData name="Julie Plesner Thomsen" userId="b57990ff-7c9a-49be-8d57-e62f9c41c990" providerId="ADAL" clId="{DA5828B4-4500-514E-9D31-371A94D05FBE}" dt="2025-11-27T16:45:05.965" v="2455" actId="20577"/>
          <ac:spMkLst>
            <pc:docMk/>
            <pc:sldMk cId="3677720009" sldId="2147483081"/>
            <ac:spMk id="31" creationId="{9128ABBB-9266-4347-0E5A-9DFA610AE747}"/>
          </ac:spMkLst>
        </pc:spChg>
        <pc:spChg chg="mod">
          <ac:chgData name="Julie Plesner Thomsen" userId="b57990ff-7c9a-49be-8d57-e62f9c41c990" providerId="ADAL" clId="{DA5828B4-4500-514E-9D31-371A94D05FBE}" dt="2025-11-27T15:57:43.090" v="2153"/>
          <ac:spMkLst>
            <pc:docMk/>
            <pc:sldMk cId="3677720009" sldId="2147483081"/>
            <ac:spMk id="83" creationId="{D10DCEDA-A7D3-4C29-BF81-696DC83D04B0}"/>
          </ac:spMkLst>
        </pc:spChg>
        <pc:grpChg chg="mod">
          <ac:chgData name="Julie Plesner Thomsen" userId="b57990ff-7c9a-49be-8d57-e62f9c41c990" providerId="ADAL" clId="{DA5828B4-4500-514E-9D31-371A94D05FBE}" dt="2025-11-27T17:25:01.003" v="2473" actId="207"/>
          <ac:grpSpMkLst>
            <pc:docMk/>
            <pc:sldMk cId="3677720009" sldId="2147483081"/>
            <ac:grpSpMk id="5" creationId="{F083ED0D-F21B-2D62-FE4B-5B78D16FE8A6}"/>
          </ac:grpSpMkLst>
        </pc:grpChg>
        <pc:graphicFrameChg chg="add mod modVis">
          <ac:chgData name="Julie Plesner Thomsen" userId="b57990ff-7c9a-49be-8d57-e62f9c41c990" providerId="ADAL" clId="{DA5828B4-4500-514E-9D31-371A94D05FBE}" dt="2025-11-27T15:57:43.101" v="2192"/>
          <ac:graphicFrameMkLst>
            <pc:docMk/>
            <pc:sldMk cId="3677720009" sldId="2147483081"/>
            <ac:graphicFrameMk id="28" creationId="{0F569747-6077-F5BB-33B7-D4544FE629EF}"/>
          </ac:graphicFrameMkLst>
        </pc:graphicFrameChg>
        <pc:picChg chg="mod">
          <ac:chgData name="Julie Plesner Thomsen" userId="b57990ff-7c9a-49be-8d57-e62f9c41c990" providerId="ADAL" clId="{DA5828B4-4500-514E-9D31-371A94D05FBE}" dt="2025-11-27T15:57:43.092" v="2160"/>
          <ac:picMkLst>
            <pc:docMk/>
            <pc:sldMk cId="3677720009" sldId="2147483081"/>
            <ac:picMk id="27" creationId="{BA7BE0B6-9D64-DB80-4818-8288550D66B3}"/>
          </ac:picMkLst>
        </pc:picChg>
        <pc:picChg chg="mod">
          <ac:chgData name="Julie Plesner Thomsen" userId="b57990ff-7c9a-49be-8d57-e62f9c41c990" providerId="ADAL" clId="{DA5828B4-4500-514E-9D31-371A94D05FBE}" dt="2025-11-27T15:57:43.091" v="2154"/>
          <ac:picMkLst>
            <pc:docMk/>
            <pc:sldMk cId="3677720009" sldId="2147483081"/>
            <ac:picMk id="84" creationId="{778CB50E-8E96-F0FB-5CD2-48A38EBCEA8B}"/>
          </ac:picMkLst>
        </pc:picChg>
      </pc:sldChg>
      <pc:sldChg chg="addSp delSp modSp mod">
        <pc:chgData name="Julie Plesner Thomsen" userId="b57990ff-7c9a-49be-8d57-e62f9c41c990" providerId="ADAL" clId="{DA5828B4-4500-514E-9D31-371A94D05FBE}" dt="2025-11-27T15:50:41.729" v="1620" actId="1076"/>
        <pc:sldMkLst>
          <pc:docMk/>
          <pc:sldMk cId="3654293944" sldId="2147483083"/>
        </pc:sldMkLst>
        <pc:spChg chg="mod">
          <ac:chgData name="Julie Plesner Thomsen" userId="b57990ff-7c9a-49be-8d57-e62f9c41c990" providerId="ADAL" clId="{DA5828B4-4500-514E-9D31-371A94D05FBE}" dt="2025-11-27T15:20:15.151" v="698" actId="948"/>
          <ac:spMkLst>
            <pc:docMk/>
            <pc:sldMk cId="3654293944" sldId="2147483083"/>
            <ac:spMk id="2" creationId="{E34170E7-1FE1-65F3-0F42-315A030EC56F}"/>
          </ac:spMkLst>
        </pc:spChg>
        <pc:spChg chg="mod">
          <ac:chgData name="Julie Plesner Thomsen" userId="b57990ff-7c9a-49be-8d57-e62f9c41c990" providerId="ADAL" clId="{DA5828B4-4500-514E-9D31-371A94D05FBE}" dt="2025-11-27T15:20:14.601" v="697" actId="2711"/>
          <ac:spMkLst>
            <pc:docMk/>
            <pc:sldMk cId="3654293944" sldId="2147483083"/>
            <ac:spMk id="6" creationId="{E606D334-37C7-2B9D-4932-DEBCE6FED9C3}"/>
          </ac:spMkLst>
        </pc:spChg>
        <pc:spChg chg="mod">
          <ac:chgData name="Julie Plesner Thomsen" userId="b57990ff-7c9a-49be-8d57-e62f9c41c990" providerId="ADAL" clId="{DA5828B4-4500-514E-9D31-371A94D05FBE}" dt="2025-11-27T15:22:47.800" v="744" actId="20577"/>
          <ac:spMkLst>
            <pc:docMk/>
            <pc:sldMk cId="3654293944" sldId="2147483083"/>
            <ac:spMk id="9" creationId="{EAFC7E56-CBBC-50E4-63B6-7043D8327C6E}"/>
          </ac:spMkLst>
        </pc:spChg>
        <pc:spChg chg="mod">
          <ac:chgData name="Julie Plesner Thomsen" userId="b57990ff-7c9a-49be-8d57-e62f9c41c990" providerId="ADAL" clId="{DA5828B4-4500-514E-9D31-371A94D05FBE}" dt="2025-11-27T15:24:04.852" v="827" actId="404"/>
          <ac:spMkLst>
            <pc:docMk/>
            <pc:sldMk cId="3654293944" sldId="2147483083"/>
            <ac:spMk id="17" creationId="{D4DA5771-9942-4AD7-2B12-2C6413138753}"/>
          </ac:spMkLst>
        </pc:spChg>
        <pc:spChg chg="mod">
          <ac:chgData name="Julie Plesner Thomsen" userId="b57990ff-7c9a-49be-8d57-e62f9c41c990" providerId="ADAL" clId="{DA5828B4-4500-514E-9D31-371A94D05FBE}" dt="2025-11-27T15:20:14.601" v="697" actId="2711"/>
          <ac:spMkLst>
            <pc:docMk/>
            <pc:sldMk cId="3654293944" sldId="2147483083"/>
            <ac:spMk id="18" creationId="{B91C89E7-9543-3FD3-C307-43D74E5F0259}"/>
          </ac:spMkLst>
        </pc:spChg>
        <pc:spChg chg="add mod">
          <ac:chgData name="Julie Plesner Thomsen" userId="b57990ff-7c9a-49be-8d57-e62f9c41c990" providerId="ADAL" clId="{DA5828B4-4500-514E-9D31-371A94D05FBE}" dt="2025-11-27T15:20:40.771" v="718" actId="20577"/>
          <ac:spMkLst>
            <pc:docMk/>
            <pc:sldMk cId="3654293944" sldId="2147483083"/>
            <ac:spMk id="22" creationId="{82E80C83-E8DA-2779-55AE-83E5E365503E}"/>
          </ac:spMkLst>
        </pc:spChg>
        <pc:spChg chg="mod">
          <ac:chgData name="Julie Plesner Thomsen" userId="b57990ff-7c9a-49be-8d57-e62f9c41c990" providerId="ADAL" clId="{DA5828B4-4500-514E-9D31-371A94D05FBE}" dt="2025-11-27T15:22:20.099" v="732" actId="20577"/>
          <ac:spMkLst>
            <pc:docMk/>
            <pc:sldMk cId="3654293944" sldId="2147483083"/>
            <ac:spMk id="24" creationId="{582C43D5-78FD-F9F0-5D27-8CC7E71C7A84}"/>
          </ac:spMkLst>
        </pc:spChg>
        <pc:spChg chg="add mod">
          <ac:chgData name="Julie Plesner Thomsen" userId="b57990ff-7c9a-49be-8d57-e62f9c41c990" providerId="ADAL" clId="{DA5828B4-4500-514E-9D31-371A94D05FBE}" dt="2025-11-27T15:21:56.036" v="721"/>
          <ac:spMkLst>
            <pc:docMk/>
            <pc:sldMk cId="3654293944" sldId="2147483083"/>
            <ac:spMk id="27" creationId="{74682D14-B098-25D7-424A-D284A90FF35E}"/>
          </ac:spMkLst>
        </pc:spChg>
        <pc:spChg chg="mod">
          <ac:chgData name="Julie Plesner Thomsen" userId="b57990ff-7c9a-49be-8d57-e62f9c41c990" providerId="ADAL" clId="{DA5828B4-4500-514E-9D31-371A94D05FBE}" dt="2025-11-27T15:22:02.085" v="727" actId="20577"/>
          <ac:spMkLst>
            <pc:docMk/>
            <pc:sldMk cId="3654293944" sldId="2147483083"/>
            <ac:spMk id="29" creationId="{565EB165-7E93-A60B-2842-00D15CC3ABE4}"/>
          </ac:spMkLst>
        </pc:spChg>
        <pc:spChg chg="mod">
          <ac:chgData name="Julie Plesner Thomsen" userId="b57990ff-7c9a-49be-8d57-e62f9c41c990" providerId="ADAL" clId="{DA5828B4-4500-514E-9D31-371A94D05FBE}" dt="2025-11-27T15:21:56.036" v="721"/>
          <ac:spMkLst>
            <pc:docMk/>
            <pc:sldMk cId="3654293944" sldId="2147483083"/>
            <ac:spMk id="30" creationId="{4F5092EF-3613-90C5-590D-E3ADAF1C8269}"/>
          </ac:spMkLst>
        </pc:spChg>
        <pc:spChg chg="mod">
          <ac:chgData name="Julie Plesner Thomsen" userId="b57990ff-7c9a-49be-8d57-e62f9c41c990" providerId="ADAL" clId="{DA5828B4-4500-514E-9D31-371A94D05FBE}" dt="2025-11-27T15:24:04.852" v="827" actId="404"/>
          <ac:spMkLst>
            <pc:docMk/>
            <pc:sldMk cId="3654293944" sldId="2147483083"/>
            <ac:spMk id="32" creationId="{15171F41-A2DA-0D96-0EE2-FA0B9E4CFA7C}"/>
          </ac:spMkLst>
        </pc:spChg>
        <pc:spChg chg="mod">
          <ac:chgData name="Julie Plesner Thomsen" userId="b57990ff-7c9a-49be-8d57-e62f9c41c990" providerId="ADAL" clId="{DA5828B4-4500-514E-9D31-371A94D05FBE}" dt="2025-11-27T15:24:35.273" v="846" actId="465"/>
          <ac:spMkLst>
            <pc:docMk/>
            <pc:sldMk cId="3654293944" sldId="2147483083"/>
            <ac:spMk id="34" creationId="{07213592-7FD1-017E-52EB-39CB4E6B55B8}"/>
          </ac:spMkLst>
        </pc:spChg>
        <pc:spChg chg="mod">
          <ac:chgData name="Julie Plesner Thomsen" userId="b57990ff-7c9a-49be-8d57-e62f9c41c990" providerId="ADAL" clId="{DA5828B4-4500-514E-9D31-371A94D05FBE}" dt="2025-11-27T15:24:35.273" v="846" actId="465"/>
          <ac:spMkLst>
            <pc:docMk/>
            <pc:sldMk cId="3654293944" sldId="2147483083"/>
            <ac:spMk id="35" creationId="{6146C4A2-9703-BFB9-3E0E-30FCC9B20BD3}"/>
          </ac:spMkLst>
        </pc:spChg>
        <pc:spChg chg="mod">
          <ac:chgData name="Julie Plesner Thomsen" userId="b57990ff-7c9a-49be-8d57-e62f9c41c990" providerId="ADAL" clId="{DA5828B4-4500-514E-9D31-371A94D05FBE}" dt="2025-11-27T15:24:04.852" v="827" actId="404"/>
          <ac:spMkLst>
            <pc:docMk/>
            <pc:sldMk cId="3654293944" sldId="2147483083"/>
            <ac:spMk id="37" creationId="{15F6DB09-FABC-3902-C3BB-645C4ADD7820}"/>
          </ac:spMkLst>
        </pc:spChg>
        <pc:spChg chg="mod">
          <ac:chgData name="Julie Plesner Thomsen" userId="b57990ff-7c9a-49be-8d57-e62f9c41c990" providerId="ADAL" clId="{DA5828B4-4500-514E-9D31-371A94D05FBE}" dt="2025-11-27T15:24:04.852" v="827" actId="404"/>
          <ac:spMkLst>
            <pc:docMk/>
            <pc:sldMk cId="3654293944" sldId="2147483083"/>
            <ac:spMk id="38" creationId="{EBF7B291-35FC-88D2-6D55-A6BB070DA74D}"/>
          </ac:spMkLst>
        </pc:spChg>
        <pc:grpChg chg="mod">
          <ac:chgData name="Julie Plesner Thomsen" userId="b57990ff-7c9a-49be-8d57-e62f9c41c990" providerId="ADAL" clId="{DA5828B4-4500-514E-9D31-371A94D05FBE}" dt="2025-11-27T15:24:48.052" v="856" actId="1076"/>
          <ac:grpSpMkLst>
            <pc:docMk/>
            <pc:sldMk cId="3654293944" sldId="2147483083"/>
            <ac:grpSpMk id="16" creationId="{A61F28A7-0674-CB02-E4C3-DB3CEDC4D5CA}"/>
          </ac:grpSpMkLst>
        </pc:grpChg>
        <pc:grpChg chg="add mod">
          <ac:chgData name="Julie Plesner Thomsen" userId="b57990ff-7c9a-49be-8d57-e62f9c41c990" providerId="ADAL" clId="{DA5828B4-4500-514E-9D31-371A94D05FBE}" dt="2025-11-27T15:21:56.036" v="721"/>
          <ac:grpSpMkLst>
            <pc:docMk/>
            <pc:sldMk cId="3654293944" sldId="2147483083"/>
            <ac:grpSpMk id="28" creationId="{CAE54813-9F3D-77BC-20F7-D2D6DD78A2C7}"/>
          </ac:grpSpMkLst>
        </pc:grpChg>
        <pc:grpChg chg="mod">
          <ac:chgData name="Julie Plesner Thomsen" userId="b57990ff-7c9a-49be-8d57-e62f9c41c990" providerId="ADAL" clId="{DA5828B4-4500-514E-9D31-371A94D05FBE}" dt="2025-11-27T15:24:48.052" v="856" actId="1076"/>
          <ac:grpSpMkLst>
            <pc:docMk/>
            <pc:sldMk cId="3654293944" sldId="2147483083"/>
            <ac:grpSpMk id="33" creationId="{540FC509-60E1-DC3B-3DFB-551DDFDB4DC3}"/>
          </ac:grpSpMkLst>
        </pc:grpChg>
        <pc:grpChg chg="mod">
          <ac:chgData name="Julie Plesner Thomsen" userId="b57990ff-7c9a-49be-8d57-e62f9c41c990" providerId="ADAL" clId="{DA5828B4-4500-514E-9D31-371A94D05FBE}" dt="2025-11-27T15:24:48.052" v="856" actId="1076"/>
          <ac:grpSpMkLst>
            <pc:docMk/>
            <pc:sldMk cId="3654293944" sldId="2147483083"/>
            <ac:grpSpMk id="36" creationId="{FD5AA884-66DE-09AF-2BD1-B47F28294971}"/>
          </ac:grpSpMkLst>
        </pc:grpChg>
        <pc:graphicFrameChg chg="add mod modVis">
          <ac:chgData name="Julie Plesner Thomsen" userId="b57990ff-7c9a-49be-8d57-e62f9c41c990" providerId="ADAL" clId="{DA5828B4-4500-514E-9D31-371A94D05FBE}" dt="2025-11-27T15:20:15.172" v="711"/>
          <ac:graphicFrameMkLst>
            <pc:docMk/>
            <pc:sldMk cId="3654293944" sldId="2147483083"/>
            <ac:graphicFrameMk id="20" creationId="{86E9155F-43E4-6D18-9EF3-D59CC8DCD303}"/>
          </ac:graphicFrameMkLst>
        </pc:graphicFrameChg>
        <pc:picChg chg="add mod">
          <ac:chgData name="Julie Plesner Thomsen" userId="b57990ff-7c9a-49be-8d57-e62f9c41c990" providerId="ADAL" clId="{DA5828B4-4500-514E-9D31-371A94D05FBE}" dt="2025-11-27T15:20:36.601" v="712"/>
          <ac:picMkLst>
            <pc:docMk/>
            <pc:sldMk cId="3654293944" sldId="2147483083"/>
            <ac:picMk id="26" creationId="{CCF7CD4D-7D69-944B-6D94-09747DF4B343}"/>
          </ac:picMkLst>
        </pc:picChg>
      </pc:sldChg>
      <pc:sldChg chg="addSp delSp modSp mod">
        <pc:chgData name="Julie Plesner Thomsen" userId="b57990ff-7c9a-49be-8d57-e62f9c41c990" providerId="ADAL" clId="{DA5828B4-4500-514E-9D31-371A94D05FBE}" dt="2025-12-09T09:51:23.278" v="2509" actId="20577"/>
        <pc:sldMkLst>
          <pc:docMk/>
          <pc:sldMk cId="74673094" sldId="2147483088"/>
        </pc:sldMkLst>
        <pc:spChg chg="mod">
          <ac:chgData name="Julie Plesner Thomsen" userId="b57990ff-7c9a-49be-8d57-e62f9c41c990" providerId="ADAL" clId="{DA5828B4-4500-514E-9D31-371A94D05FBE}" dt="2025-11-27T15:29:32.278" v="1110"/>
          <ac:spMkLst>
            <pc:docMk/>
            <pc:sldMk cId="74673094" sldId="2147483088"/>
            <ac:spMk id="2" creationId="{BDD15D3D-DB51-A6D9-B99F-7F79D797487C}"/>
          </ac:spMkLst>
        </pc:spChg>
        <pc:spChg chg="mod">
          <ac:chgData name="Julie Plesner Thomsen" userId="b57990ff-7c9a-49be-8d57-e62f9c41c990" providerId="ADAL" clId="{DA5828B4-4500-514E-9D31-371A94D05FBE}" dt="2025-11-27T15:29:32.278" v="1111"/>
          <ac:spMkLst>
            <pc:docMk/>
            <pc:sldMk cId="74673094" sldId="2147483088"/>
            <ac:spMk id="4" creationId="{2884770E-8E87-AC76-7784-7119B41CDD7A}"/>
          </ac:spMkLst>
        </pc:spChg>
        <pc:spChg chg="mod">
          <ac:chgData name="Julie Plesner Thomsen" userId="b57990ff-7c9a-49be-8d57-e62f9c41c990" providerId="ADAL" clId="{DA5828B4-4500-514E-9D31-371A94D05FBE}" dt="2025-11-27T15:29:32.279" v="1114"/>
          <ac:spMkLst>
            <pc:docMk/>
            <pc:sldMk cId="74673094" sldId="2147483088"/>
            <ac:spMk id="6" creationId="{548ECDDB-BD1F-2658-17B6-3B9BF94C2022}"/>
          </ac:spMkLst>
        </pc:spChg>
        <pc:spChg chg="mod">
          <ac:chgData name="Julie Plesner Thomsen" userId="b57990ff-7c9a-49be-8d57-e62f9c41c990" providerId="ADAL" clId="{DA5828B4-4500-514E-9D31-371A94D05FBE}" dt="2025-12-09T09:51:23.278" v="2509" actId="20577"/>
          <ac:spMkLst>
            <pc:docMk/>
            <pc:sldMk cId="74673094" sldId="2147483088"/>
            <ac:spMk id="9" creationId="{330A04FC-EAEF-6D71-FCA5-846E5DEA1E96}"/>
          </ac:spMkLst>
        </pc:spChg>
        <pc:spChg chg="add mod">
          <ac:chgData name="Julie Plesner Thomsen" userId="b57990ff-7c9a-49be-8d57-e62f9c41c990" providerId="ADAL" clId="{DA5828B4-4500-514E-9D31-371A94D05FBE}" dt="2025-11-27T15:29:32.280" v="1115"/>
          <ac:spMkLst>
            <pc:docMk/>
            <pc:sldMk cId="74673094" sldId="2147483088"/>
            <ac:spMk id="10" creationId="{A70AE6F4-ED5E-A9A6-2154-9311EFACA0F0}"/>
          </ac:spMkLst>
        </pc:spChg>
        <pc:spChg chg="mod">
          <ac:chgData name="Julie Plesner Thomsen" userId="b57990ff-7c9a-49be-8d57-e62f9c41c990" providerId="ADAL" clId="{DA5828B4-4500-514E-9D31-371A94D05FBE}" dt="2025-11-27T15:29:47.365" v="1125" actId="14100"/>
          <ac:spMkLst>
            <pc:docMk/>
            <pc:sldMk cId="74673094" sldId="2147483088"/>
            <ac:spMk id="11" creationId="{BB5335DE-85D6-3943-01EA-A2EADFFF4F6D}"/>
          </ac:spMkLst>
        </pc:spChg>
        <pc:spChg chg="add mod">
          <ac:chgData name="Julie Plesner Thomsen" userId="b57990ff-7c9a-49be-8d57-e62f9c41c990" providerId="ADAL" clId="{DA5828B4-4500-514E-9D31-371A94D05FBE}" dt="2025-11-27T15:29:32.280" v="1117"/>
          <ac:spMkLst>
            <pc:docMk/>
            <pc:sldMk cId="74673094" sldId="2147483088"/>
            <ac:spMk id="13" creationId="{69248FC2-1B14-9ADE-8ACA-3776FA1849AB}"/>
          </ac:spMkLst>
        </pc:spChg>
        <pc:spChg chg="mod">
          <ac:chgData name="Julie Plesner Thomsen" userId="b57990ff-7c9a-49be-8d57-e62f9c41c990" providerId="ADAL" clId="{DA5828B4-4500-514E-9D31-371A94D05FBE}" dt="2025-11-27T15:29:05.989" v="1064" actId="2711"/>
          <ac:spMkLst>
            <pc:docMk/>
            <pc:sldMk cId="74673094" sldId="2147483088"/>
            <ac:spMk id="15" creationId="{79CF4945-986A-DA2A-10E9-825F64715064}"/>
          </ac:spMkLst>
        </pc:spChg>
        <pc:spChg chg="mod">
          <ac:chgData name="Julie Plesner Thomsen" userId="b57990ff-7c9a-49be-8d57-e62f9c41c990" providerId="ADAL" clId="{DA5828B4-4500-514E-9D31-371A94D05FBE}" dt="2025-11-27T15:29:05.989" v="1064" actId="2711"/>
          <ac:spMkLst>
            <pc:docMk/>
            <pc:sldMk cId="74673094" sldId="2147483088"/>
            <ac:spMk id="16" creationId="{89F5C04C-8B40-2A9C-663B-05159E42B285}"/>
          </ac:spMkLst>
        </pc:spChg>
        <pc:spChg chg="add mod">
          <ac:chgData name="Julie Plesner Thomsen" userId="b57990ff-7c9a-49be-8d57-e62f9c41c990" providerId="ADAL" clId="{DA5828B4-4500-514E-9D31-371A94D05FBE}" dt="2025-11-27T15:29:42.790" v="1124" actId="164"/>
          <ac:spMkLst>
            <pc:docMk/>
            <pc:sldMk cId="74673094" sldId="2147483088"/>
            <ac:spMk id="19" creationId="{55C4923C-0B25-E86A-F316-B348B983D1CB}"/>
          </ac:spMkLst>
        </pc:spChg>
        <pc:grpChg chg="add mod">
          <ac:chgData name="Julie Plesner Thomsen" userId="b57990ff-7c9a-49be-8d57-e62f9c41c990" providerId="ADAL" clId="{DA5828B4-4500-514E-9D31-371A94D05FBE}" dt="2025-11-27T15:29:32.281" v="1118"/>
          <ac:grpSpMkLst>
            <pc:docMk/>
            <pc:sldMk cId="74673094" sldId="2147483088"/>
            <ac:grpSpMk id="14" creationId="{CB73BF9B-614B-AAE6-EC8E-BC6E45B739D9}"/>
          </ac:grpSpMkLst>
        </pc:grpChg>
        <pc:grpChg chg="add mod">
          <ac:chgData name="Julie Plesner Thomsen" userId="b57990ff-7c9a-49be-8d57-e62f9c41c990" providerId="ADAL" clId="{DA5828B4-4500-514E-9D31-371A94D05FBE}" dt="2025-11-27T15:29:42.790" v="1124" actId="164"/>
          <ac:grpSpMkLst>
            <pc:docMk/>
            <pc:sldMk cId="74673094" sldId="2147483088"/>
            <ac:grpSpMk id="20" creationId="{90407D78-9219-C108-6512-2E42CE7B3EC2}"/>
          </ac:grpSpMkLst>
        </pc:grpChg>
        <pc:graphicFrameChg chg="add mod modVis">
          <ac:chgData name="Julie Plesner Thomsen" userId="b57990ff-7c9a-49be-8d57-e62f9c41c990" providerId="ADAL" clId="{DA5828B4-4500-514E-9D31-371A94D05FBE}" dt="2025-11-27T15:29:32.282" v="1120"/>
          <ac:graphicFrameMkLst>
            <pc:docMk/>
            <pc:sldMk cId="74673094" sldId="2147483088"/>
            <ac:graphicFrameMk id="18" creationId="{75AE98D0-47AF-7091-211D-EEAF75AF546F}"/>
          </ac:graphicFrameMkLst>
        </pc:graphicFrameChg>
        <pc:picChg chg="del">
          <ac:chgData name="Julie Plesner Thomsen" userId="b57990ff-7c9a-49be-8d57-e62f9c41c990" providerId="ADAL" clId="{DA5828B4-4500-514E-9D31-371A94D05FBE}" dt="2025-12-09T09:50:40.207" v="2474" actId="478"/>
          <ac:picMkLst>
            <pc:docMk/>
            <pc:sldMk cId="74673094" sldId="2147483088"/>
            <ac:picMk id="3" creationId="{E19B21CC-F42F-88B1-2043-996C1292268A}"/>
          </ac:picMkLst>
        </pc:picChg>
        <pc:picChg chg="add mod">
          <ac:chgData name="Julie Plesner Thomsen" userId="b57990ff-7c9a-49be-8d57-e62f9c41c990" providerId="ADAL" clId="{DA5828B4-4500-514E-9D31-371A94D05FBE}" dt="2025-11-27T15:29:32.280" v="1116"/>
          <ac:picMkLst>
            <pc:docMk/>
            <pc:sldMk cId="74673094" sldId="2147483088"/>
            <ac:picMk id="12" creationId="{F1C07B89-C7BD-5769-73C1-BBEE93507F4C}"/>
          </ac:picMkLst>
        </pc:picChg>
      </pc:sldChg>
      <pc:sldChg chg="addSp modSp mod">
        <pc:chgData name="Julie Plesner Thomsen" userId="b57990ff-7c9a-49be-8d57-e62f9c41c990" providerId="ADAL" clId="{DA5828B4-4500-514E-9D31-371A94D05FBE}" dt="2025-11-27T15:25:44.171" v="882" actId="14100"/>
        <pc:sldMkLst>
          <pc:docMk/>
          <pc:sldMk cId="3258928946" sldId="2147483099"/>
        </pc:sldMkLst>
        <pc:spChg chg="mod">
          <ac:chgData name="Julie Plesner Thomsen" userId="b57990ff-7c9a-49be-8d57-e62f9c41c990" providerId="ADAL" clId="{DA5828B4-4500-514E-9D31-371A94D05FBE}" dt="2025-11-27T15:23:27.237" v="767" actId="948"/>
          <ac:spMkLst>
            <pc:docMk/>
            <pc:sldMk cId="3258928946" sldId="2147483099"/>
            <ac:spMk id="2" creationId="{DC3C06CB-A611-968A-19E9-320560AE6EAC}"/>
          </ac:spMkLst>
        </pc:spChg>
        <pc:spChg chg="mod">
          <ac:chgData name="Julie Plesner Thomsen" userId="b57990ff-7c9a-49be-8d57-e62f9c41c990" providerId="ADAL" clId="{DA5828B4-4500-514E-9D31-371A94D05FBE}" dt="2025-11-27T15:23:26.722" v="766" actId="2711"/>
          <ac:spMkLst>
            <pc:docMk/>
            <pc:sldMk cId="3258928946" sldId="2147483099"/>
            <ac:spMk id="4" creationId="{7E19DCFE-58F9-934A-5220-43D9B9EA0F10}"/>
          </ac:spMkLst>
        </pc:spChg>
        <pc:spChg chg="mod">
          <ac:chgData name="Julie Plesner Thomsen" userId="b57990ff-7c9a-49be-8d57-e62f9c41c990" providerId="ADAL" clId="{DA5828B4-4500-514E-9D31-371A94D05FBE}" dt="2025-11-27T15:23:26.722" v="766" actId="2711"/>
          <ac:spMkLst>
            <pc:docMk/>
            <pc:sldMk cId="3258928946" sldId="2147483099"/>
            <ac:spMk id="6" creationId="{EA85A5A8-7764-5076-E7C8-6B2AB5402D8E}"/>
          </ac:spMkLst>
        </pc:spChg>
        <pc:spChg chg="mod">
          <ac:chgData name="Julie Plesner Thomsen" userId="b57990ff-7c9a-49be-8d57-e62f9c41c990" providerId="ADAL" clId="{DA5828B4-4500-514E-9D31-371A94D05FBE}" dt="2025-11-27T15:25:44.171" v="882" actId="14100"/>
          <ac:spMkLst>
            <pc:docMk/>
            <pc:sldMk cId="3258928946" sldId="2147483099"/>
            <ac:spMk id="11" creationId="{4BFEBD08-5C40-2724-8345-7289640834CE}"/>
          </ac:spMkLst>
        </pc:spChg>
        <pc:spChg chg="mod">
          <ac:chgData name="Julie Plesner Thomsen" userId="b57990ff-7c9a-49be-8d57-e62f9c41c990" providerId="ADAL" clId="{DA5828B4-4500-514E-9D31-371A94D05FBE}" dt="2025-11-27T15:25:40.788" v="881" actId="1037"/>
          <ac:spMkLst>
            <pc:docMk/>
            <pc:sldMk cId="3258928946" sldId="2147483099"/>
            <ac:spMk id="12" creationId="{72697098-AC58-F291-1398-4A51D18669F6}"/>
          </ac:spMkLst>
        </pc:spChg>
        <pc:spChg chg="mod">
          <ac:chgData name="Julie Plesner Thomsen" userId="b57990ff-7c9a-49be-8d57-e62f9c41c990" providerId="ADAL" clId="{DA5828B4-4500-514E-9D31-371A94D05FBE}" dt="2025-11-27T15:25:40.788" v="881" actId="1037"/>
          <ac:spMkLst>
            <pc:docMk/>
            <pc:sldMk cId="3258928946" sldId="2147483099"/>
            <ac:spMk id="13" creationId="{FF354E31-E670-E5E7-A6B1-B20E7612260A}"/>
          </ac:spMkLst>
        </pc:spChg>
        <pc:spChg chg="mod">
          <ac:chgData name="Julie Plesner Thomsen" userId="b57990ff-7c9a-49be-8d57-e62f9c41c990" providerId="ADAL" clId="{DA5828B4-4500-514E-9D31-371A94D05FBE}" dt="2025-11-27T15:25:40.788" v="881" actId="1037"/>
          <ac:spMkLst>
            <pc:docMk/>
            <pc:sldMk cId="3258928946" sldId="2147483099"/>
            <ac:spMk id="20" creationId="{9D7EFCD3-B599-BF6E-9B92-58C4088B5AFE}"/>
          </ac:spMkLst>
        </pc:spChg>
        <pc:spChg chg="mod">
          <ac:chgData name="Julie Plesner Thomsen" userId="b57990ff-7c9a-49be-8d57-e62f9c41c990" providerId="ADAL" clId="{DA5828B4-4500-514E-9D31-371A94D05FBE}" dt="2025-11-27T15:25:40.788" v="881" actId="1037"/>
          <ac:spMkLst>
            <pc:docMk/>
            <pc:sldMk cId="3258928946" sldId="2147483099"/>
            <ac:spMk id="21" creationId="{228602F3-D1AB-D1D9-4D13-75E303BBDC0C}"/>
          </ac:spMkLst>
        </pc:spChg>
        <pc:spChg chg="mod">
          <ac:chgData name="Julie Plesner Thomsen" userId="b57990ff-7c9a-49be-8d57-e62f9c41c990" providerId="ADAL" clId="{DA5828B4-4500-514E-9D31-371A94D05FBE}" dt="2025-11-27T15:25:40.788" v="881" actId="1037"/>
          <ac:spMkLst>
            <pc:docMk/>
            <pc:sldMk cId="3258928946" sldId="2147483099"/>
            <ac:spMk id="22" creationId="{56787FC5-9140-C568-2C9D-7D2D7BE22695}"/>
          </ac:spMkLst>
        </pc:spChg>
        <pc:spChg chg="mod">
          <ac:chgData name="Julie Plesner Thomsen" userId="b57990ff-7c9a-49be-8d57-e62f9c41c990" providerId="ADAL" clId="{DA5828B4-4500-514E-9D31-371A94D05FBE}" dt="2025-11-27T15:24:57.970" v="857" actId="14100"/>
          <ac:spMkLst>
            <pc:docMk/>
            <pc:sldMk cId="3258928946" sldId="2147483099"/>
            <ac:spMk id="26" creationId="{14561693-7D77-AD58-C935-9588CE86D03A}"/>
          </ac:spMkLst>
        </pc:spChg>
        <pc:spChg chg="mod">
          <ac:chgData name="Julie Plesner Thomsen" userId="b57990ff-7c9a-49be-8d57-e62f9c41c990" providerId="ADAL" clId="{DA5828B4-4500-514E-9D31-371A94D05FBE}" dt="2025-11-27T15:23:26.722" v="766" actId="2711"/>
          <ac:spMkLst>
            <pc:docMk/>
            <pc:sldMk cId="3258928946" sldId="2147483099"/>
            <ac:spMk id="27" creationId="{A9EF3437-D24D-EB94-C8B3-CA2F5C906C56}"/>
          </ac:spMkLst>
        </pc:spChg>
        <pc:graphicFrameChg chg="add mod modVis">
          <ac:chgData name="Julie Plesner Thomsen" userId="b57990ff-7c9a-49be-8d57-e62f9c41c990" providerId="ADAL" clId="{DA5828B4-4500-514E-9D31-371A94D05FBE}" dt="2025-11-27T15:23:27.278" v="780"/>
          <ac:graphicFrameMkLst>
            <pc:docMk/>
            <pc:sldMk cId="3258928946" sldId="2147483099"/>
            <ac:graphicFrameMk id="5" creationId="{D539C885-BF58-4C9B-987B-A3DCA69F6A72}"/>
          </ac:graphicFrameMkLst>
        </pc:graphicFrameChg>
      </pc:sldChg>
      <pc:sldChg chg="modSp mod">
        <pc:chgData name="Julie Plesner Thomsen" userId="b57990ff-7c9a-49be-8d57-e62f9c41c990" providerId="ADAL" clId="{DA5828B4-4500-514E-9D31-371A94D05FBE}" dt="2025-11-27T15:09:16.460" v="290" actId="404"/>
        <pc:sldMkLst>
          <pc:docMk/>
          <pc:sldMk cId="3459812072" sldId="2147483102"/>
        </pc:sldMkLst>
        <pc:spChg chg="mod">
          <ac:chgData name="Julie Plesner Thomsen" userId="b57990ff-7c9a-49be-8d57-e62f9c41c990" providerId="ADAL" clId="{DA5828B4-4500-514E-9D31-371A94D05FBE}" dt="2025-11-27T15:09:16.460" v="290" actId="404"/>
          <ac:spMkLst>
            <pc:docMk/>
            <pc:sldMk cId="3459812072" sldId="2147483102"/>
            <ac:spMk id="11" creationId="{A7B844F6-BBF8-1F79-3A34-6430A58D018C}"/>
          </ac:spMkLst>
        </pc:spChg>
      </pc:sldChg>
      <pc:sldChg chg="addSp delSp modSp mod">
        <pc:chgData name="Julie Plesner Thomsen" userId="b57990ff-7c9a-49be-8d57-e62f9c41c990" providerId="ADAL" clId="{DA5828B4-4500-514E-9D31-371A94D05FBE}" dt="2025-11-27T15:41:47.643" v="1325"/>
        <pc:sldMkLst>
          <pc:docMk/>
          <pc:sldMk cId="259707920" sldId="2147483103"/>
        </pc:sldMkLst>
        <pc:spChg chg="mod">
          <ac:chgData name="Julie Plesner Thomsen" userId="b57990ff-7c9a-49be-8d57-e62f9c41c990" providerId="ADAL" clId="{DA5828B4-4500-514E-9D31-371A94D05FBE}" dt="2025-11-27T15:12:20.761" v="447" actId="2711"/>
          <ac:spMkLst>
            <pc:docMk/>
            <pc:sldMk cId="259707920" sldId="2147483103"/>
            <ac:spMk id="12" creationId="{F1A6A574-E36B-BF8C-F8EC-2C872A48AD0A}"/>
          </ac:spMkLst>
        </pc:spChg>
        <pc:picChg chg="add del">
          <ac:chgData name="Julie Plesner Thomsen" userId="b57990ff-7c9a-49be-8d57-e62f9c41c990" providerId="ADAL" clId="{DA5828B4-4500-514E-9D31-371A94D05FBE}" dt="2025-11-27T15:41:45.627" v="1324" actId="478"/>
          <ac:picMkLst>
            <pc:docMk/>
            <pc:sldMk cId="259707920" sldId="2147483103"/>
            <ac:picMk id="13" creationId="{70352342-6E6D-69CC-677B-E043F8C346CD}"/>
          </ac:picMkLst>
        </pc:picChg>
      </pc:sldChg>
      <pc:sldChg chg="addSp delSp modSp mod">
        <pc:chgData name="Julie Plesner Thomsen" userId="b57990ff-7c9a-49be-8d57-e62f9c41c990" providerId="ADAL" clId="{DA5828B4-4500-514E-9D31-371A94D05FBE}" dt="2025-11-27T15:42:43.768" v="1340" actId="14100"/>
        <pc:sldMkLst>
          <pc:docMk/>
          <pc:sldMk cId="2733735426" sldId="2147483104"/>
        </pc:sldMkLst>
        <pc:spChg chg="mod">
          <ac:chgData name="Julie Plesner Thomsen" userId="b57990ff-7c9a-49be-8d57-e62f9c41c990" providerId="ADAL" clId="{DA5828B4-4500-514E-9D31-371A94D05FBE}" dt="2025-11-27T15:11:32.206" v="353" actId="948"/>
          <ac:spMkLst>
            <pc:docMk/>
            <pc:sldMk cId="2733735426" sldId="2147483104"/>
            <ac:spMk id="2" creationId="{E9EFFCAF-2DFA-9F76-B86B-A305026C25FD}"/>
          </ac:spMkLst>
        </pc:spChg>
        <pc:spChg chg="mod">
          <ac:chgData name="Julie Plesner Thomsen" userId="b57990ff-7c9a-49be-8d57-e62f9c41c990" providerId="ADAL" clId="{DA5828B4-4500-514E-9D31-371A94D05FBE}" dt="2025-11-27T15:42:43.768" v="1340" actId="14100"/>
          <ac:spMkLst>
            <pc:docMk/>
            <pc:sldMk cId="2733735426" sldId="2147483104"/>
            <ac:spMk id="6" creationId="{93DBC19C-64BB-C023-2480-15D1A41FA04C}"/>
          </ac:spMkLst>
        </pc:spChg>
        <pc:graphicFrameChg chg="mod">
          <ac:chgData name="Julie Plesner Thomsen" userId="b57990ff-7c9a-49be-8d57-e62f9c41c990" providerId="ADAL" clId="{DA5828B4-4500-514E-9D31-371A94D05FBE}" dt="2025-11-27T15:11:32.228" v="377"/>
          <ac:graphicFrameMkLst>
            <pc:docMk/>
            <pc:sldMk cId="2733735426" sldId="2147483104"/>
            <ac:graphicFrameMk id="8" creationId="{857A93F3-A6C8-F5A2-5B13-128E738FD89F}"/>
          </ac:graphicFrameMkLst>
        </pc:graphicFrameChg>
      </pc:sldChg>
      <pc:sldChg chg="addSp delSp modSp mod">
        <pc:chgData name="Julie Plesner Thomsen" userId="b57990ff-7c9a-49be-8d57-e62f9c41c990" providerId="ADAL" clId="{DA5828B4-4500-514E-9D31-371A94D05FBE}" dt="2025-11-27T15:43:36.999" v="1347" actId="478"/>
        <pc:sldMkLst>
          <pc:docMk/>
          <pc:sldMk cId="4266786097" sldId="2147483106"/>
        </pc:sldMkLst>
        <pc:spChg chg="mod">
          <ac:chgData name="Julie Plesner Thomsen" userId="b57990ff-7c9a-49be-8d57-e62f9c41c990" providerId="ADAL" clId="{DA5828B4-4500-514E-9D31-371A94D05FBE}" dt="2025-11-27T15:34:32.619" v="1287" actId="948"/>
          <ac:spMkLst>
            <pc:docMk/>
            <pc:sldMk cId="4266786097" sldId="2147483106"/>
            <ac:spMk id="5" creationId="{E8F478AF-6CE8-FCF3-E3E5-0E08A3AFADEC}"/>
          </ac:spMkLst>
        </pc:spChg>
        <pc:spChg chg="add mod">
          <ac:chgData name="Julie Plesner Thomsen" userId="b57990ff-7c9a-49be-8d57-e62f9c41c990" providerId="ADAL" clId="{DA5828B4-4500-514E-9D31-371A94D05FBE}" dt="2025-11-27T15:41:31.109" v="1319"/>
          <ac:spMkLst>
            <pc:docMk/>
            <pc:sldMk cId="4266786097" sldId="2147483106"/>
            <ac:spMk id="6" creationId="{D3790810-02E9-D9C5-A497-81067F1A5577}"/>
          </ac:spMkLst>
        </pc:spChg>
        <pc:graphicFrameChg chg="mod">
          <ac:chgData name="Julie Plesner Thomsen" userId="b57990ff-7c9a-49be-8d57-e62f9c41c990" providerId="ADAL" clId="{DA5828B4-4500-514E-9D31-371A94D05FBE}" dt="2025-11-27T15:34:32.652" v="1310"/>
          <ac:graphicFrameMkLst>
            <pc:docMk/>
            <pc:sldMk cId="4266786097" sldId="2147483106"/>
            <ac:graphicFrameMk id="8" creationId="{61FE5359-6A70-AC4D-F99C-7603CFB67C09}"/>
          </ac:graphicFrameMkLst>
        </pc:graphicFrameChg>
        <pc:picChg chg="add mod">
          <ac:chgData name="Julie Plesner Thomsen" userId="b57990ff-7c9a-49be-8d57-e62f9c41c990" providerId="ADAL" clId="{DA5828B4-4500-514E-9D31-371A94D05FBE}" dt="2025-11-27T15:41:25.333" v="1318" actId="1037"/>
          <ac:picMkLst>
            <pc:docMk/>
            <pc:sldMk cId="4266786097" sldId="2147483106"/>
            <ac:picMk id="4" creationId="{DFF7C7C2-7BFF-EE2E-622D-89D2BD3AAA93}"/>
          </ac:picMkLst>
        </pc:picChg>
      </pc:sldChg>
      <pc:sldChg chg="modSp add mod">
        <pc:chgData name="Julie Plesner Thomsen" userId="b57990ff-7c9a-49be-8d57-e62f9c41c990" providerId="ADAL" clId="{DA5828B4-4500-514E-9D31-371A94D05FBE}" dt="2025-11-27T15:42:32.753" v="1336" actId="1037"/>
        <pc:sldMkLst>
          <pc:docMk/>
          <pc:sldMk cId="3868127164" sldId="2147483107"/>
        </pc:sldMkLst>
        <pc:spChg chg="mod">
          <ac:chgData name="Julie Plesner Thomsen" userId="b57990ff-7c9a-49be-8d57-e62f9c41c990" providerId="ADAL" clId="{DA5828B4-4500-514E-9D31-371A94D05FBE}" dt="2025-11-27T15:42:32.753" v="1336" actId="1037"/>
          <ac:spMkLst>
            <pc:docMk/>
            <pc:sldMk cId="3868127164" sldId="2147483107"/>
            <ac:spMk id="12" creationId="{91A067B7-E2DC-B69C-A5D0-EA4DCE4A6E5D}"/>
          </ac:spMkLst>
        </pc:spChg>
      </pc:sldChg>
      <pc:sldMasterChg chg="delSp mod">
        <pc:chgData name="Julie Plesner Thomsen" userId="b57990ff-7c9a-49be-8d57-e62f9c41c990" providerId="ADAL" clId="{DA5828B4-4500-514E-9D31-371A94D05FBE}" dt="2025-11-26T11:10:04.073" v="33" actId="33475"/>
        <pc:sldMasterMkLst>
          <pc:docMk/>
          <pc:sldMasterMk cId="970544556" sldId="2147483660"/>
        </pc:sldMasterMkLst>
      </pc:sldMasterChg>
      <pc:sldMasterChg chg="addSp delSp modSp mod">
        <pc:chgData name="Julie Plesner Thomsen" userId="b57990ff-7c9a-49be-8d57-e62f9c41c990" providerId="ADAL" clId="{DA5828B4-4500-514E-9D31-371A94D05FBE}" dt="2025-11-26T11:31:46.110" v="188"/>
        <pc:sldMasterMkLst>
          <pc:docMk/>
          <pc:sldMasterMk cId="2366463022" sldId="2147483666"/>
        </pc:sldMasterMkLst>
        <pc:spChg chg="mod">
          <ac:chgData name="Julie Plesner Thomsen" userId="b57990ff-7c9a-49be-8d57-e62f9c41c990" providerId="ADAL" clId="{DA5828B4-4500-514E-9D31-371A94D05FBE}" dt="2025-11-26T11:31:45.993" v="92" actId="948"/>
          <ac:spMkLst>
            <pc:docMk/>
            <pc:sldMasterMk cId="2366463022" sldId="2147483666"/>
            <ac:spMk id="2" creationId="{6F117676-AA7A-723A-726A-6B4FB7B90692}"/>
          </ac:spMkLst>
        </pc:spChg>
        <pc:graphicFrameChg chg="add mod modVis">
          <ac:chgData name="Julie Plesner Thomsen" userId="b57990ff-7c9a-49be-8d57-e62f9c41c990" providerId="ADAL" clId="{DA5828B4-4500-514E-9D31-371A94D05FBE}" dt="2025-11-26T11:31:46.110" v="188"/>
          <ac:graphicFrameMkLst>
            <pc:docMk/>
            <pc:sldMasterMk cId="2366463022" sldId="2147483666"/>
            <ac:graphicFrameMk id="8" creationId="{3B452688-1CFE-ACF2-75C9-B4752941CC85}"/>
          </ac:graphicFrameMkLst>
        </pc:graphicFrameChg>
      </pc:sldMasterChg>
      <pc:sldMasterChg chg="addSp delSp modSp mod">
        <pc:chgData name="Julie Plesner Thomsen" userId="b57990ff-7c9a-49be-8d57-e62f9c41c990" providerId="ADAL" clId="{DA5828B4-4500-514E-9D31-371A94D05FBE}" dt="2025-11-26T11:31:46.090" v="173"/>
        <pc:sldMasterMkLst>
          <pc:docMk/>
          <pc:sldMasterMk cId="1500497984" sldId="2147483678"/>
        </pc:sldMasterMkLst>
        <pc:spChg chg="mod">
          <ac:chgData name="Julie Plesner Thomsen" userId="b57990ff-7c9a-49be-8d57-e62f9c41c990" providerId="ADAL" clId="{DA5828B4-4500-514E-9D31-371A94D05FBE}" dt="2025-11-26T11:31:45.982" v="72" actId="948"/>
          <ac:spMkLst>
            <pc:docMk/>
            <pc:sldMasterMk cId="1500497984" sldId="2147483678"/>
            <ac:spMk id="2" creationId="{31965533-0463-B362-AFDE-AC0F048FFA73}"/>
          </ac:spMkLst>
        </pc:spChg>
        <pc:graphicFrameChg chg="add mod modVis">
          <ac:chgData name="Julie Plesner Thomsen" userId="b57990ff-7c9a-49be-8d57-e62f9c41c990" providerId="ADAL" clId="{DA5828B4-4500-514E-9D31-371A94D05FBE}" dt="2025-11-26T11:31:46.090" v="173"/>
          <ac:graphicFrameMkLst>
            <pc:docMk/>
            <pc:sldMasterMk cId="1500497984" sldId="2147483678"/>
            <ac:graphicFrameMk id="8" creationId="{4E9FB26E-053A-3485-7BFD-F56A41F221DE}"/>
          </ac:graphicFrameMkLst>
        </pc:graphicFrameChg>
      </pc:sldMasterChg>
      <pc:sldMasterChg chg="addSp delSp modSp mod">
        <pc:chgData name="Julie Plesner Thomsen" userId="b57990ff-7c9a-49be-8d57-e62f9c41c990" providerId="ADAL" clId="{DA5828B4-4500-514E-9D31-371A94D05FBE}" dt="2025-11-26T11:31:46.069" v="158"/>
        <pc:sldMasterMkLst>
          <pc:docMk/>
          <pc:sldMasterMk cId="238204726" sldId="2147483690"/>
        </pc:sldMasterMkLst>
        <pc:spChg chg="mod">
          <ac:chgData name="Julie Plesner Thomsen" userId="b57990ff-7c9a-49be-8d57-e62f9c41c990" providerId="ADAL" clId="{DA5828B4-4500-514E-9D31-371A94D05FBE}" dt="2025-11-26T11:31:45.965" v="52" actId="948"/>
          <ac:spMkLst>
            <pc:docMk/>
            <pc:sldMasterMk cId="238204726" sldId="2147483690"/>
            <ac:spMk id="2" creationId="{1E54FEEC-478E-8D90-02A4-C6B3F8DF0DFD}"/>
          </ac:spMkLst>
        </pc:spChg>
        <pc:graphicFrameChg chg="add mod modVis">
          <ac:chgData name="Julie Plesner Thomsen" userId="b57990ff-7c9a-49be-8d57-e62f9c41c990" providerId="ADAL" clId="{DA5828B4-4500-514E-9D31-371A94D05FBE}" dt="2025-11-26T11:31:46.069" v="158"/>
          <ac:graphicFrameMkLst>
            <pc:docMk/>
            <pc:sldMasterMk cId="238204726" sldId="2147483690"/>
            <ac:graphicFrameMk id="8" creationId="{BC72E9BA-32CA-2B95-50AF-1BD74BC73009}"/>
          </ac:graphicFrameMkLst>
        </pc:graphicFrameChg>
      </pc:sldMasterChg>
      <pc:sldMasterChg chg="addSp delSp modSp mod">
        <pc:chgData name="Julie Plesner Thomsen" userId="b57990ff-7c9a-49be-8d57-e62f9c41c990" providerId="ADAL" clId="{DA5828B4-4500-514E-9D31-371A94D05FBE}" dt="2025-11-26T11:31:46.130" v="203"/>
        <pc:sldMasterMkLst>
          <pc:docMk/>
          <pc:sldMasterMk cId="773222790" sldId="2147483702"/>
        </pc:sldMasterMkLst>
        <pc:spChg chg="mod">
          <ac:chgData name="Julie Plesner Thomsen" userId="b57990ff-7c9a-49be-8d57-e62f9c41c990" providerId="ADAL" clId="{DA5828B4-4500-514E-9D31-371A94D05FBE}" dt="2025-11-26T11:31:46.003" v="112" actId="948"/>
          <ac:spMkLst>
            <pc:docMk/>
            <pc:sldMasterMk cId="773222790" sldId="2147483702"/>
            <ac:spMk id="2" creationId="{CC60E799-4F72-A835-6473-0DEF530B0351}"/>
          </ac:spMkLst>
        </pc:spChg>
        <pc:graphicFrameChg chg="add mod modVis">
          <ac:chgData name="Julie Plesner Thomsen" userId="b57990ff-7c9a-49be-8d57-e62f9c41c990" providerId="ADAL" clId="{DA5828B4-4500-514E-9D31-371A94D05FBE}" dt="2025-11-26T11:31:46.130" v="203"/>
          <ac:graphicFrameMkLst>
            <pc:docMk/>
            <pc:sldMasterMk cId="773222790" sldId="2147483702"/>
            <ac:graphicFrameMk id="8" creationId="{6007F8D5-D836-EC65-11C7-69DE989A61A0}"/>
          </ac:graphicFrameMkLst>
        </pc:graphicFrameChg>
      </pc:sldMasterChg>
    </pc:docChg>
  </pc:docChgLst>
  <pc:docChgLst>
    <pc:chgData name="Helene Arnfred" userId="05a8b423-6e7f-4e71-b601-f56a99db3ed5" providerId="ADAL" clId="{42463379-4CAF-567F-880D-F4B19B25CC71}"/>
    <pc:docChg chg="undo custSel addSld delSld modSld sldOrd">
      <pc:chgData name="Helene Arnfred" userId="05a8b423-6e7f-4e71-b601-f56a99db3ed5" providerId="ADAL" clId="{42463379-4CAF-567F-880D-F4B19B25CC71}" dt="2025-11-27T16:49:26.582" v="521" actId="2711"/>
      <pc:docMkLst>
        <pc:docMk/>
      </pc:docMkLst>
      <pc:sldChg chg="addSp delSp modSp mod">
        <pc:chgData name="Helene Arnfred" userId="05a8b423-6e7f-4e71-b601-f56a99db3ed5" providerId="ADAL" clId="{42463379-4CAF-567F-880D-F4B19B25CC71}" dt="2025-11-26T09:00:34.457" v="249" actId="208"/>
        <pc:sldMkLst>
          <pc:docMk/>
          <pc:sldMk cId="450657045" sldId="2147483060"/>
        </pc:sldMkLst>
      </pc:sldChg>
      <pc:sldChg chg="addSp modSp mod">
        <pc:chgData name="Helene Arnfred" userId="05a8b423-6e7f-4e71-b601-f56a99db3ed5" providerId="ADAL" clId="{42463379-4CAF-567F-880D-F4B19B25CC71}" dt="2025-11-27T16:49:15.498" v="519" actId="2711"/>
        <pc:sldMkLst>
          <pc:docMk/>
          <pc:sldMk cId="2786602722" sldId="2147483064"/>
        </pc:sldMkLst>
        <pc:spChg chg="mod">
          <ac:chgData name="Helene Arnfred" userId="05a8b423-6e7f-4e71-b601-f56a99db3ed5" providerId="ADAL" clId="{42463379-4CAF-567F-880D-F4B19B25CC71}" dt="2025-11-27T16:49:15.498" v="519" actId="2711"/>
          <ac:spMkLst>
            <pc:docMk/>
            <pc:sldMk cId="2786602722" sldId="2147483064"/>
            <ac:spMk id="9" creationId="{76E1782A-F74B-9A16-85EC-D4E686D31C75}"/>
          </ac:spMkLst>
        </pc:spChg>
        <pc:picChg chg="add mod">
          <ac:chgData name="Helene Arnfred" userId="05a8b423-6e7f-4e71-b601-f56a99db3ed5" providerId="ADAL" clId="{42463379-4CAF-567F-880D-F4B19B25CC71}" dt="2025-11-26T08:59:13.364" v="233" actId="14100"/>
          <ac:picMkLst>
            <pc:docMk/>
            <pc:sldMk cId="2786602722" sldId="2147483064"/>
            <ac:picMk id="15" creationId="{8F302D3D-EAFA-151B-383E-9D77A9FB2770}"/>
          </ac:picMkLst>
        </pc:picChg>
        <pc:picChg chg="mod">
          <ac:chgData name="Helene Arnfred" userId="05a8b423-6e7f-4e71-b601-f56a99db3ed5" providerId="ADAL" clId="{42463379-4CAF-567F-880D-F4B19B25CC71}" dt="2025-11-26T08:52:48.647" v="35" actId="1076"/>
          <ac:picMkLst>
            <pc:docMk/>
            <pc:sldMk cId="2786602722" sldId="2147483064"/>
            <ac:picMk id="25" creationId="{5A6BBC47-0483-26DB-32B6-2E5B43981797}"/>
          </ac:picMkLst>
        </pc:picChg>
        <pc:picChg chg="mod">
          <ac:chgData name="Helene Arnfred" userId="05a8b423-6e7f-4e71-b601-f56a99db3ed5" providerId="ADAL" clId="{42463379-4CAF-567F-880D-F4B19B25CC71}" dt="2025-11-26T08:52:47.489" v="34" actId="1076"/>
          <ac:picMkLst>
            <pc:docMk/>
            <pc:sldMk cId="2786602722" sldId="2147483064"/>
            <ac:picMk id="26" creationId="{F0B1A74B-93F3-1935-B339-4EE663FFB889}"/>
          </ac:picMkLst>
        </pc:picChg>
        <pc:picChg chg="mod">
          <ac:chgData name="Helene Arnfred" userId="05a8b423-6e7f-4e71-b601-f56a99db3ed5" providerId="ADAL" clId="{42463379-4CAF-567F-880D-F4B19B25CC71}" dt="2025-11-26T08:53:02.287" v="39" actId="14100"/>
          <ac:picMkLst>
            <pc:docMk/>
            <pc:sldMk cId="2786602722" sldId="2147483064"/>
            <ac:picMk id="27" creationId="{CDC6413C-0084-ECCC-56B0-6BF30F3C8C6E}"/>
          </ac:picMkLst>
        </pc:picChg>
        <pc:picChg chg="mod">
          <ac:chgData name="Helene Arnfred" userId="05a8b423-6e7f-4e71-b601-f56a99db3ed5" providerId="ADAL" clId="{42463379-4CAF-567F-880D-F4B19B25CC71}" dt="2025-11-26T08:53:04.130" v="40" actId="1076"/>
          <ac:picMkLst>
            <pc:docMk/>
            <pc:sldMk cId="2786602722" sldId="2147483064"/>
            <ac:picMk id="28" creationId="{72113830-5BB4-C1D1-71D2-1C05CA2180E2}"/>
          </ac:picMkLst>
        </pc:picChg>
        <pc:picChg chg="mod">
          <ac:chgData name="Helene Arnfred" userId="05a8b423-6e7f-4e71-b601-f56a99db3ed5" providerId="ADAL" clId="{42463379-4CAF-567F-880D-F4B19B25CC71}" dt="2025-11-26T08:53:06.962" v="41" actId="1076"/>
          <ac:picMkLst>
            <pc:docMk/>
            <pc:sldMk cId="2786602722" sldId="2147483064"/>
            <ac:picMk id="29" creationId="{3F175A55-CFE4-4ED2-50F3-85635D21EC45}"/>
          </ac:picMkLst>
        </pc:picChg>
      </pc:sldChg>
      <pc:sldChg chg="addSp modSp mod">
        <pc:chgData name="Helene Arnfred" userId="05a8b423-6e7f-4e71-b601-f56a99db3ed5" providerId="ADAL" clId="{42463379-4CAF-567F-880D-F4B19B25CC71}" dt="2025-11-27T16:49:21.599" v="520" actId="2711"/>
        <pc:sldMkLst>
          <pc:docMk/>
          <pc:sldMk cId="185005860" sldId="2147483065"/>
        </pc:sldMkLst>
        <pc:spChg chg="mod">
          <ac:chgData name="Helene Arnfred" userId="05a8b423-6e7f-4e71-b601-f56a99db3ed5" providerId="ADAL" clId="{42463379-4CAF-567F-880D-F4B19B25CC71}" dt="2025-11-27T16:49:21.599" v="520" actId="2711"/>
          <ac:spMkLst>
            <pc:docMk/>
            <pc:sldMk cId="185005860" sldId="2147483065"/>
            <ac:spMk id="9" creationId="{87745142-DE4A-F094-4C7F-5EC4D889A9F7}"/>
          </ac:spMkLst>
        </pc:spChg>
      </pc:sldChg>
      <pc:sldChg chg="addSp delSp modSp mod">
        <pc:chgData name="Helene Arnfred" userId="05a8b423-6e7f-4e71-b601-f56a99db3ed5" providerId="ADAL" clId="{42463379-4CAF-567F-880D-F4B19B25CC71}" dt="2025-11-27T16:49:04.295" v="517" actId="2711"/>
        <pc:sldMkLst>
          <pc:docMk/>
          <pc:sldMk cId="3677720009" sldId="2147483081"/>
        </pc:sldMkLst>
        <pc:spChg chg="mod">
          <ac:chgData name="Helene Arnfred" userId="05a8b423-6e7f-4e71-b601-f56a99db3ed5" providerId="ADAL" clId="{42463379-4CAF-567F-880D-F4B19B25CC71}" dt="2025-11-26T09:09:50.013" v="440" actId="1076"/>
          <ac:spMkLst>
            <pc:docMk/>
            <pc:sldMk cId="3677720009" sldId="2147483081"/>
            <ac:spMk id="16" creationId="{9BADB335-AF5F-B11A-A67B-BD04BDDC518C}"/>
          </ac:spMkLst>
        </pc:spChg>
        <pc:spChg chg="mod">
          <ac:chgData name="Helene Arnfred" userId="05a8b423-6e7f-4e71-b601-f56a99db3ed5" providerId="ADAL" clId="{42463379-4CAF-567F-880D-F4B19B25CC71}" dt="2025-11-26T09:09:29.963" v="434" actId="1076"/>
          <ac:spMkLst>
            <pc:docMk/>
            <pc:sldMk cId="3677720009" sldId="2147483081"/>
            <ac:spMk id="23" creationId="{309F6A59-6B3D-ED6C-345F-69FC2230F3B3}"/>
          </ac:spMkLst>
        </pc:spChg>
        <pc:spChg chg="mod">
          <ac:chgData name="Helene Arnfred" userId="05a8b423-6e7f-4e71-b601-f56a99db3ed5" providerId="ADAL" clId="{42463379-4CAF-567F-880D-F4B19B25CC71}" dt="2025-11-27T16:49:04.295" v="517" actId="2711"/>
          <ac:spMkLst>
            <pc:docMk/>
            <pc:sldMk cId="3677720009" sldId="2147483081"/>
            <ac:spMk id="31" creationId="{9128ABBB-9266-4347-0E5A-9DFA610AE747}"/>
          </ac:spMkLst>
        </pc:spChg>
        <pc:picChg chg="add mod">
          <ac:chgData name="Helene Arnfred" userId="05a8b423-6e7f-4e71-b601-f56a99db3ed5" providerId="ADAL" clId="{42463379-4CAF-567F-880D-F4B19B25CC71}" dt="2025-11-26T09:09:47.898" v="439" actId="1076"/>
          <ac:picMkLst>
            <pc:docMk/>
            <pc:sldMk cId="3677720009" sldId="2147483081"/>
            <ac:picMk id="27" creationId="{BA7BE0B6-9D64-DB80-4818-8288550D66B3}"/>
          </ac:picMkLst>
        </pc:picChg>
      </pc:sldChg>
      <pc:sldChg chg="addSp modSp mod">
        <pc:chgData name="Helene Arnfred" userId="05a8b423-6e7f-4e71-b601-f56a99db3ed5" providerId="ADAL" clId="{42463379-4CAF-567F-880D-F4B19B25CC71}" dt="2025-11-27T16:49:10.253" v="518" actId="2711"/>
        <pc:sldMkLst>
          <pc:docMk/>
          <pc:sldMk cId="3654293944" sldId="2147483083"/>
        </pc:sldMkLst>
        <pc:spChg chg="mod">
          <ac:chgData name="Helene Arnfred" userId="05a8b423-6e7f-4e71-b601-f56a99db3ed5" providerId="ADAL" clId="{42463379-4CAF-567F-880D-F4B19B25CC71}" dt="2025-11-26T08:53:58.288" v="51" actId="1076"/>
          <ac:spMkLst>
            <pc:docMk/>
            <pc:sldMk cId="3654293944" sldId="2147483083"/>
            <ac:spMk id="6" creationId="{E606D334-37C7-2B9D-4932-DEBCE6FED9C3}"/>
          </ac:spMkLst>
        </pc:spChg>
        <pc:spChg chg="mod">
          <ac:chgData name="Helene Arnfred" userId="05a8b423-6e7f-4e71-b601-f56a99db3ed5" providerId="ADAL" clId="{42463379-4CAF-567F-880D-F4B19B25CC71}" dt="2025-11-27T16:49:10.253" v="518" actId="2711"/>
          <ac:spMkLst>
            <pc:docMk/>
            <pc:sldMk cId="3654293944" sldId="2147483083"/>
            <ac:spMk id="9" creationId="{EAFC7E56-CBBC-50E4-63B6-7043D8327C6E}"/>
          </ac:spMkLst>
        </pc:spChg>
        <pc:spChg chg="mod">
          <ac:chgData name="Helene Arnfred" userId="05a8b423-6e7f-4e71-b601-f56a99db3ed5" providerId="ADAL" clId="{42463379-4CAF-567F-880D-F4B19B25CC71}" dt="2025-11-26T08:57:18.817" v="199" actId="1076"/>
          <ac:spMkLst>
            <pc:docMk/>
            <pc:sldMk cId="3654293944" sldId="2147483083"/>
            <ac:spMk id="17" creationId="{D4DA5771-9942-4AD7-2B12-2C6413138753}"/>
          </ac:spMkLst>
        </pc:spChg>
        <pc:spChg chg="add mod">
          <ac:chgData name="Helene Arnfred" userId="05a8b423-6e7f-4e71-b601-f56a99db3ed5" providerId="ADAL" clId="{42463379-4CAF-567F-880D-F4B19B25CC71}" dt="2025-11-26T08:58:28.437" v="225" actId="20577"/>
          <ac:spMkLst>
            <pc:docMk/>
            <pc:sldMk cId="3654293944" sldId="2147483083"/>
            <ac:spMk id="24" creationId="{582C43D5-78FD-F9F0-5D27-8CC7E71C7A84}"/>
          </ac:spMkLst>
        </pc:spChg>
        <pc:grpChg chg="mod">
          <ac:chgData name="Helene Arnfred" userId="05a8b423-6e7f-4e71-b601-f56a99db3ed5" providerId="ADAL" clId="{42463379-4CAF-567F-880D-F4B19B25CC71}" dt="2025-11-26T08:57:23.092" v="200" actId="1076"/>
          <ac:grpSpMkLst>
            <pc:docMk/>
            <pc:sldMk cId="3654293944" sldId="2147483083"/>
            <ac:grpSpMk id="16" creationId="{A61F28A7-0674-CB02-E4C3-DB3CEDC4D5CA}"/>
          </ac:grpSpMkLst>
        </pc:grpChg>
        <pc:grpChg chg="mod">
          <ac:chgData name="Helene Arnfred" userId="05a8b423-6e7f-4e71-b601-f56a99db3ed5" providerId="ADAL" clId="{42463379-4CAF-567F-880D-F4B19B25CC71}" dt="2025-11-26T08:57:15.871" v="197" actId="1076"/>
          <ac:grpSpMkLst>
            <pc:docMk/>
            <pc:sldMk cId="3654293944" sldId="2147483083"/>
            <ac:grpSpMk id="33" creationId="{540FC509-60E1-DC3B-3DFB-551DDFDB4DC3}"/>
          </ac:grpSpMkLst>
        </pc:grpChg>
        <pc:grpChg chg="mod">
          <ac:chgData name="Helene Arnfred" userId="05a8b423-6e7f-4e71-b601-f56a99db3ed5" providerId="ADAL" clId="{42463379-4CAF-567F-880D-F4B19B25CC71}" dt="2025-11-26T08:57:26.685" v="201" actId="1076"/>
          <ac:grpSpMkLst>
            <pc:docMk/>
            <pc:sldMk cId="3654293944" sldId="2147483083"/>
            <ac:grpSpMk id="36" creationId="{FD5AA884-66DE-09AF-2BD1-B47F28294971}"/>
          </ac:grpSpMkLst>
        </pc:grpChg>
      </pc:sldChg>
      <pc:sldChg chg="modSp mod">
        <pc:chgData name="Helene Arnfred" userId="05a8b423-6e7f-4e71-b601-f56a99db3ed5" providerId="ADAL" clId="{42463379-4CAF-567F-880D-F4B19B25CC71}" dt="2025-11-27T16:49:26.582" v="521" actId="2711"/>
        <pc:sldMkLst>
          <pc:docMk/>
          <pc:sldMk cId="74673094" sldId="2147483088"/>
        </pc:sldMkLst>
        <pc:spChg chg="mod">
          <ac:chgData name="Helene Arnfred" userId="05a8b423-6e7f-4e71-b601-f56a99db3ed5" providerId="ADAL" clId="{42463379-4CAF-567F-880D-F4B19B25CC71}" dt="2025-11-27T16:49:26.582" v="521" actId="2711"/>
          <ac:spMkLst>
            <pc:docMk/>
            <pc:sldMk cId="74673094" sldId="2147483088"/>
            <ac:spMk id="9" creationId="{330A04FC-EAEF-6D71-FCA5-846E5DEA1E96}"/>
          </ac:spMkLst>
        </pc:spChg>
      </pc:sldChg>
      <pc:sldChg chg="addSp delSp modSp mod ord">
        <pc:chgData name="Helene Arnfred" userId="05a8b423-6e7f-4e71-b601-f56a99db3ed5" providerId="ADAL" clId="{42463379-4CAF-567F-880D-F4B19B25CC71}" dt="2025-11-26T09:03:16.127" v="313" actId="20578"/>
        <pc:sldMkLst>
          <pc:docMk/>
          <pc:sldMk cId="3258928946" sldId="2147483099"/>
        </pc:sldMkLst>
        <pc:spChg chg="add mod">
          <ac:chgData name="Helene Arnfred" userId="05a8b423-6e7f-4e71-b601-f56a99db3ed5" providerId="ADAL" clId="{42463379-4CAF-567F-880D-F4B19B25CC71}" dt="2025-11-26T09:02:42.155" v="303" actId="1076"/>
          <ac:spMkLst>
            <pc:docMk/>
            <pc:sldMk cId="3258928946" sldId="2147483099"/>
            <ac:spMk id="26" creationId="{14561693-7D77-AD58-C935-9588CE86D03A}"/>
          </ac:spMkLst>
        </pc:spChg>
        <pc:spChg chg="add mod">
          <ac:chgData name="Helene Arnfred" userId="05a8b423-6e7f-4e71-b601-f56a99db3ed5" providerId="ADAL" clId="{42463379-4CAF-567F-880D-F4B19B25CC71}" dt="2025-11-26T09:03:09.696" v="312" actId="14100"/>
          <ac:spMkLst>
            <pc:docMk/>
            <pc:sldMk cId="3258928946" sldId="2147483099"/>
            <ac:spMk id="27" creationId="{A9EF3437-D24D-EB94-C8B3-CA2F5C906C56}"/>
          </ac:spMkLst>
        </pc:spChg>
        <pc:picChg chg="add mod">
          <ac:chgData name="Helene Arnfred" userId="05a8b423-6e7f-4e71-b601-f56a99db3ed5" providerId="ADAL" clId="{42463379-4CAF-567F-880D-F4B19B25CC71}" dt="2025-11-26T09:02:19.630" v="288" actId="208"/>
          <ac:picMkLst>
            <pc:docMk/>
            <pc:sldMk cId="3258928946" sldId="2147483099"/>
            <ac:picMk id="15" creationId="{6EAE5FC4-77F5-3610-219D-72DEA1073FB2}"/>
          </ac:picMkLst>
        </pc:picChg>
        <pc:picChg chg="add mod">
          <ac:chgData name="Helene Arnfred" userId="05a8b423-6e7f-4e71-b601-f56a99db3ed5" providerId="ADAL" clId="{42463379-4CAF-567F-880D-F4B19B25CC71}" dt="2025-11-26T09:02:19.630" v="288" actId="208"/>
          <ac:picMkLst>
            <pc:docMk/>
            <pc:sldMk cId="3258928946" sldId="2147483099"/>
            <ac:picMk id="23" creationId="{66D5042D-C986-020D-EA69-B0CEE4348BCE}"/>
          </ac:picMkLst>
        </pc:picChg>
        <pc:picChg chg="add mod">
          <ac:chgData name="Helene Arnfred" userId="05a8b423-6e7f-4e71-b601-f56a99db3ed5" providerId="ADAL" clId="{42463379-4CAF-567F-880D-F4B19B25CC71}" dt="2025-11-26T09:02:19.630" v="288" actId="208"/>
          <ac:picMkLst>
            <pc:docMk/>
            <pc:sldMk cId="3258928946" sldId="2147483099"/>
            <ac:picMk id="25" creationId="{A4A139E9-9881-3437-6A2C-2DE957830933}"/>
          </ac:picMkLst>
        </pc:picChg>
      </pc:sldChg>
    </pc:docChg>
  </pc:docChgLst>
</pc:chgInfo>
</file>

<file path=ppt/comments/modernComment_7FFFFDB4_1ADC7B1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050C1D1-9B1A-4234-9D1A-F8160D843F61}" authorId="{6162575C-AE88-C58D-D025-F1966F325B03}" status="resolved" created="2025-11-27T13:35:27.058" complete="100000">
    <pc:sldMkLst xmlns:pc="http://schemas.microsoft.com/office/powerpoint/2013/main/command">
      <pc:docMk/>
      <pc:sldMk cId="450657045" sldId="2147483060"/>
    </pc:sldMkLst>
    <p188:txBody>
      <a:bodyPr/>
      <a:lstStyle/>
      <a:p>
        <a:r>
          <a:rPr lang="en-US"/>
          <a:t>Ensret med oversigts slide fra prio</a:t>
        </a:r>
      </a:p>
    </p188:txBody>
  </p188:cm>
</p188:cmLst>
</file>

<file path=ppt/comments/modernComment_7FFFFDC9_DB358DC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C9AF21E-F5E3-4CAE-A953-090015CE4C5F}" authorId="{EE1F3168-F072-5979-E5E1-FE6AF3A3A016}" status="resolved" created="2025-11-27T13:40:52.678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677720009" sldId="2147483081"/>
      <ac:spMk id="15" creationId="{04DE36ED-56EC-0C00-FEEA-2E7F08615337}"/>
    </ac:deMkLst>
    <p188:txBody>
      <a:bodyPr/>
      <a:lstStyle/>
      <a:p>
        <a:r>
          <a:rPr lang="da-DK"/>
          <a:t>Sæt tal på alle steps/trin</a:t>
        </a:r>
      </a:p>
    </p188:txBody>
  </p188:cm>
</p188:cmLst>
</file>

<file path=ppt/comments/modernComment_7FFFFDE2_FE51FD3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07B30AB-0BCD-44A2-81BE-63257668FF87}" authorId="{EE1F3168-F072-5979-E5E1-FE6AF3A3A016}" status="resolved" created="2025-11-27T15:01:28.083" complete="100000">
    <pc:sldMkLst xmlns:pc="http://schemas.microsoft.com/office/powerpoint/2013/main/command">
      <pc:docMk/>
      <pc:sldMk cId="4266786097" sldId="2147483106"/>
    </pc:sldMkLst>
    <p188:txBody>
      <a:bodyPr/>
      <a:lstStyle/>
      <a:p>
        <a:r>
          <a:rPr lang="da-DK"/>
          <a:t>Skal have screengrab billede af Dashboardet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419A51-653E-4736-9997-ECADA31549A4}" type="datetimeFigureOut">
              <a:rPr lang="en-US" smtClean="0"/>
              <a:t>12/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ACB292-C318-4F3F-BBDC-A0DD195E30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01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24339-9E93-A974-E870-B107C57D5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00A295-8440-55A8-33A9-40A8D08E3A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EDD2CA-B929-A6E3-3889-8195891E0A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18159D-DAC1-950C-6061-C7A85CBD4A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988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A262ED-2858-444A-9973-FD64E535CD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133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ACB292-C318-4F3F-BBDC-A0DD195E305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672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4" Type="http://schemas.openxmlformats.org/officeDocument/2006/relationships/image" Target="../media/image13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2561774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C9D292-E27C-6B3E-1DFD-B5B580AB0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64C776F-1D75-230F-2280-F2C1D7357A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6DE48DC3-BB82-B537-41E4-7D8F6A0C37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DE0346A-3B75-0B31-D4F5-DB82C3F73C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A417BFB1-667E-26D7-6B2E-7616BA967D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1A5C368D-4E81-D8A0-C6EE-CF446ACF4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9F854A2D-A16C-2F7D-E2FA-45CBC9680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473A4EB-3152-83FD-B723-E6ED20B27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66604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341628-2A8F-EB11-F5EE-65D0FDFA3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A829E77-6955-207B-DB78-BD6D1D764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68D4764-E7E8-E7B5-3314-9F9B423E5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CA0CA3B5-2205-7EA6-8CCD-9E12D9E4B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7492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F05AD0E-032D-EDD6-8418-BA804E472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F065FAE-1970-EEEB-36CA-B8D087FE9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DE89D1A-94C7-ADE1-8D9C-C70337C05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52449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97CC09-7AEE-6D4F-9D79-172FC6162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6D8F2A6-C213-0451-BB49-DC04E005F3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1725724-AF83-3844-4CDC-C54A534233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3909598-67D1-47DC-47E4-871485CE5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F8603D9-A2A1-B3EC-80FF-329B75708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BAFBBBF-2318-C9A5-5DE4-B87495F0D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8455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CE387-43D6-C4B7-B8F6-4D709A827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2FD98DA9-4A29-B9DC-CDD4-C444126651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F7828ED-C7EE-647F-9BDA-0F4FCC0A3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D51DD77-1E62-B0D8-8430-409B93DAA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AA0819FA-2BFE-0F12-B0A0-C476D5CBBF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565F0DC-A8FD-0EF9-3030-EDD314942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71183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2E814C-6DE2-DA33-4C29-90A5E0277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94DA1B53-9BA4-8F01-7665-8E2ED11396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8B540FC-1A25-5D9A-9502-5200876BE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5BACA39-7175-3FF4-35F1-4F963FD24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D98EE04-200D-CAAB-4EAD-D90F527CF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03700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5378D1E-7AA6-EBD4-AD97-6C9CFC49C4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CCBD4C13-C843-D53E-1105-6FB33CF34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6A4EFAE-2593-9C7C-A39B-05B87BCB48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7B6F5C6-9B51-E5E9-A99C-28CD8B5B1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6C30F05-7B6C-9F36-6EEC-A25053E6E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47954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3110EA-78A0-8DAD-12FD-00DF524801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941F303-A38C-4BDF-4CFD-9C157916F9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77C7582-8967-3B7B-732E-FF26C1AC1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E4B6DEC-F16B-D328-7F0F-D21C70D40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CCC13DE-22B3-A3D8-31F2-2F71A52F4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40668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A2835-123F-60CA-ECB1-AC8E6ABFD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A3B56D6-9C4A-5E91-02F4-5957CB2FB4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E5951E-2B1D-5CB5-79DC-E73FC6BEE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5329D67-9ADA-1EC5-A44B-BE6D5C12A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F8DB982-1CF0-063C-4F19-5096FD967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83693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804C8-3E23-1BB3-C3E0-AABC56A84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896FF4D-59D1-AF03-90F0-ADBA5A83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2A921EF-A4D3-8468-0FCF-449F44DD6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399C0F9-1EE5-F42C-8EE9-E6E4CC6E3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DB59440-E422-83BC-539D-76DFBE4BA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64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1691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6F869-B9F2-254E-1156-57F18EC95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6515C40-C259-34A7-0DBA-FA74582133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45D81C3-3F96-4D4D-ECB9-D5E549A315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756D726-D162-8D52-C8EA-B75781E6E7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EE19DDC4-F26D-1ADC-3642-C7E7C6F69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E3A1FEE-4C2E-7DA9-463F-ACFA989EA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4277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D976C1-8632-D080-1A91-E96A94869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CF541C7-981E-E3F5-B8DD-6C0493B0A9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EC1C433F-E842-8C5C-E7AF-0AC3CBF87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D2BAE2-2CF0-7A30-19D1-9BBF41E6A0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91CBDF8-D84E-CD5C-557B-1F3D7CB1BF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75699DF4-DA1B-59E2-288F-85FE4112C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CABEF77-AB2E-0C81-CB5D-18365E153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0FAF38EF-8161-E084-04C9-DF7646AF5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0663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3BA8A9-08AB-3DEA-96CE-2CA8F869A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4C204E45-5934-C0E9-D566-D4E40D5DBE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16ED49A-28D9-4C18-3283-6B0C8B93C8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F1E1E80-83F0-5BA2-538B-6E7531F5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20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680A3F6-3DE0-5747-D84C-AAF0B19F0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87629C5-D0BB-80BA-4409-47F859845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544F5A1-076D-90FF-225F-53ADBF06E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852980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C5F4F3-9799-21BA-E228-712120F45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E06DC79-B4FF-4555-6166-D00748F2C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09D1DF9-90CD-5973-008E-6DA437AB15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30F7AA9-0809-B569-6C0D-2AF52657BB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3157B7D-22B0-2C4E-5DC0-77114EDB7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65A657-C0F9-37C2-76BE-D1CFFC25B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963301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A18CE3-660E-56AC-8646-070079ECD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D0B9138F-7497-774F-8ABD-32B47DA036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BF55F731-19F0-65BB-58C4-FFC3178982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A52D5AD3-E51F-CEBD-A723-346BEFB93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97303FFD-68F8-5E23-C2BF-D73EAF49F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A9C5345-7F9A-659D-E4C9-5303E326A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614713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FC5ABB-0271-268A-31A5-4F6DBDC7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06A3052F-A3D7-5C6A-3784-DF414EA1BA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B7EA839-7615-9F14-7486-1D9C3081E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4E1D340-DBDA-3912-6D94-1B34B0D05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89CB32-5DA8-66D2-A5A0-886E6D8A5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46025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5F61441E-A778-FFB4-A13D-ACE4DBC9CC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26F9FA9-AC0F-5D4C-8F82-0C5787411F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A2DB744-417D-0C7B-0485-A5369E1B4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292ED66-EB67-8ACD-0335-2D5CE7DCB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4A4C738-C50C-E006-7C39-9432BFD75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4884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2DBF06-CE89-B886-7AD0-FB4E303D2D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843A4DE-CD50-9D96-2044-A9846294F1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4A7CE0C-812C-22F5-96BB-0DCED2142A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2707B1A-6849-DCCC-3338-008F03969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D31FE8F-534F-6ED2-A99F-E25FE8848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538447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F12BE6-8EAA-0A8D-7FDC-B36C7A817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95CC725-B864-E238-7EE1-F4FD0C423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1845A0A-81B3-2C93-469A-B438C41B3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0A07094-0010-FB67-3E3F-8276A1A5A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09E7805-6DF6-DDDD-D2E0-14B76D6A1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7644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4344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E4DB99-8FC8-90D4-3D9C-78D5B3E03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1168622-58D5-49E3-2BE0-DD8AAE1563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271E808-FE8A-C4E7-C0E7-CEB5DC8CD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C6170AA-533F-90F5-76F3-8A5BE1A3B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DF95FC4-53B6-4AC4-EC6F-8BE178F2C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1623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04CAE1-2631-52DF-9118-3EDE41218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216697C-1CAA-B2F9-A7EA-564E44D6E9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FD8D3DB-074D-0A77-647E-BFF8A15CC4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7444450-27FE-D69D-1FF2-3E886F1E3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694E141-D772-F053-0354-1AE6590EA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D51B224-F7CE-E402-FE6D-C86FA1220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82840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CCD5CB-AD60-1392-47AF-C11B977C4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31FC92D-4918-A505-477D-6758A71359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C88B404-4992-54E4-9CBD-6A520CA2DC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496C1CF-95B4-93E2-734C-07D0869DF0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77A2A2E-69D9-24DD-3245-24ED8E0A19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0D909019-D00C-3030-D622-0D07AC3A0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76502A43-A2E9-CB03-C1F2-DBAFB2E46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41B3FE80-81CD-93D0-CF95-465CD8705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759911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712523-2F1D-0805-5B5D-206C1A934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8331DDC-0272-CA1F-449A-677C5DCC3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088DB1E-CAC4-47B7-8397-FB2D76B8E0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9AB839E-1EE2-4FA8-0ECC-549B62B94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51012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9C033FF-6EFA-D7E9-6BA4-F215BFA73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207E7CA8-FBA1-F414-633B-2380C964C1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115973B-F7AB-2EE5-2BFA-74ABF1786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38140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12DAC6-884B-954C-5FC2-B63A0BA68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8E1A5B1-8AD3-DAD4-1F47-C772F9CFE9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982CB17-4592-F3B0-0A58-0A3C66902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958A597-A597-B518-F08D-60104813B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6E21DF1-7E46-DC6A-7CB4-2417250C9A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413ADBB-2B47-BDF6-55C4-9D3F33446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43758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800F94-48A1-3400-AC86-25599C78D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1FF9674D-2102-6D00-C07A-C0E236F3DF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8B43ABC-1061-445B-6E28-09DDF4F6D0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4040371-1BC9-3A11-E7A1-B7D4504E6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B803E59-422C-CA73-6D05-8DF84B144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08A13E3-E7BE-B648-27D7-B49F91AD5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73896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20FF4B-4F38-C28C-E64E-699627C55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3CCF9855-E88B-BF76-E583-0E32029ADC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4BB97BC-3DAB-9F63-7EF5-AA80973D1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EF9AB12-DCDB-6EFE-1F0A-14173058C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F064B19-F11F-7C1C-8560-7AF266D16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257612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0ADED319-CB71-C948-D226-2292422EAB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E14960A0-8014-72F4-AEB4-4EC6F47EA3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47383C2-56D7-F902-B5A4-57A9CFC4F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B49FF60-EB9D-63F9-FF85-595CF9B90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EA7C164-BF9B-FBD2-80A0-1C497A522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9400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4B211E-B60C-25C3-3837-8F6A4A0A0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0547AB2-1F93-9EFF-25F3-C9840BB3A2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7ED12C9-5E19-0807-39D9-52907E64F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69652E4-9CC6-F06A-A3D8-191D4C737C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A0F473D-E984-91BE-3F43-D0120D419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95441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9513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194940-8BFF-6DA8-C836-8F6A850B0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6ACD57A-F3C9-7396-A305-99E200CABA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11EBCB9-6B0F-376C-2F5D-6C11C8C9F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0504463-C240-C28B-1591-0FF0F3ADB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5F3E659-9ED9-0E35-1DB6-ABD8EC7BC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625722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226B3E-6B75-9391-1FDD-4A2884525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0533D26-0971-7674-0609-DB054AA77A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4AE80F6-0127-E33F-852C-52A518288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D643CB2-17B1-7EE1-98CB-D22852D7F2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A382364-8CB2-5DBB-7A51-4B5DD5804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9219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362AE8-C0A6-328E-568F-F0AC3DC6F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9D52ECC-9BD1-AD3D-3BD1-4B34FF8857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075755B5-4AA8-B483-522F-3BCA847A7F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DAB067C7-8DFA-A869-370F-7C2585F5E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FB759B7-C3CF-8390-D1FD-1EBDC40AA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65CBF79-BFB2-5F19-7EB6-00D6FC14C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42488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E6A1F1-E65B-689B-AE68-3619CFD96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25FEA70-7EAF-0CD5-4E70-52A4DE5C93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298DA12-C3FE-2E57-7FF2-04DDA5984E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4D2C27C1-AC7F-F7EA-E900-34F583E551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C5F1CA7-1252-0303-E1D3-04CF7B44BC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5EFE737B-107D-C426-444B-42AF2FDC7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0EC07338-93D0-AB8B-DE03-E4CA19415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A44BC51D-E26F-A907-6224-CE75A9C9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531851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A3C9B1-6F18-41C3-A9B8-FB13B52E9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E4B2D90-B1DD-F40D-883B-3D977B541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B4202BE-FCE7-3F31-89DB-F1301842F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3F8129E-9799-AA48-A046-72A260F81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34832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7928EDE-7AAF-8EE7-8614-F68829DC1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E097E20F-5878-56FE-C119-6CC7B1E241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078BDD2-0FCC-8C37-C41B-9854FE15B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88087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422602-33D8-C096-2227-474AB426E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6FC0002-710C-1CEE-8E65-3004FD82C8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E1C968C-8ABA-FA4C-9161-CB94CD3DB6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5F74A69-11EE-21DB-069B-AD307F6AA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743A8E6-0EB5-4CA0-2E47-7E23FABA8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E026EB5-2B84-C3FE-36FB-B2A959B0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6666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23E8D-ED3C-93C8-113A-8852B92FF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6BFDA52A-22E3-8AE8-5324-3AE2B5B59F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DAF652A-27CE-65D1-2281-71B2DD8075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22440BD5-1321-31B9-8168-246BA8AF8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B739D44D-D9A9-00DE-A17E-9C9C4615C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8944BCA-0EE9-5440-B042-F4D329A0A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21657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739813-D2B2-638F-46FA-26412B605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60D58B92-DCB6-D053-1143-FA5248EF33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9A21DFB-C05F-E68A-19A4-FC2871FA7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12BE73-B579-0190-F668-15C9BFB73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FB051F9-05D4-E8B8-5575-32AB817FC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44033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36893B5F-7737-7419-80DF-F5AED77E59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2AE26F1C-CF20-8C18-CC0C-64F0CE21D4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131B433-EFF9-9B11-8895-960F8856F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9947C67-2B4A-ECD3-8846-8A9D40D49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EC3469B-BB0D-AD49-CEAC-53C60FB31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4696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F05AD0E-032D-EDD6-8418-BA804E472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F065FAE-1970-EEEB-36CA-B8D087FE9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DE89D1A-94C7-ADE1-8D9C-C70337C05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55499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36648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3507244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502850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3222191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1B3374-721C-DA35-EAB5-51F36F8F4B4F}"/>
              </a:ext>
            </a:extLst>
          </p:cNvPr>
          <p:cNvGrpSpPr/>
          <p:nvPr userDrawn="1"/>
        </p:nvGrpSpPr>
        <p:grpSpPr>
          <a:xfrm>
            <a:off x="6159984" y="916886"/>
            <a:ext cx="4708276" cy="4957523"/>
            <a:chOff x="2321514" y="434564"/>
            <a:chExt cx="4708276" cy="495752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4B125EC-7481-2234-B824-3284FE6E3F83}"/>
                </a:ext>
              </a:extLst>
            </p:cNvPr>
            <p:cNvSpPr/>
            <p:nvPr/>
          </p:nvSpPr>
          <p:spPr>
            <a:xfrm>
              <a:off x="3856876" y="2200105"/>
              <a:ext cx="2743949" cy="2342989"/>
            </a:xfrm>
            <a:custGeom>
              <a:avLst/>
              <a:gdLst>
                <a:gd name="connsiteX0" fmla="*/ 2742815 w 2743949"/>
                <a:gd name="connsiteY0" fmla="*/ 0 h 2342989"/>
                <a:gd name="connsiteX1" fmla="*/ 2742815 w 2743949"/>
                <a:gd name="connsiteY1" fmla="*/ 1385546 h 2342989"/>
                <a:gd name="connsiteX2" fmla="*/ 2743949 w 2743949"/>
                <a:gd name="connsiteY2" fmla="*/ 1385543 h 2342989"/>
                <a:gd name="connsiteX3" fmla="*/ 2743949 w 2743949"/>
                <a:gd name="connsiteY3" fmla="*/ 2342989 h 2342989"/>
                <a:gd name="connsiteX4" fmla="*/ 2742815 w 2743949"/>
                <a:gd name="connsiteY4" fmla="*/ 2342976 h 2342989"/>
                <a:gd name="connsiteX5" fmla="*/ 0 w 2743949"/>
                <a:gd name="connsiteY5" fmla="*/ 2342976 h 2342989"/>
                <a:gd name="connsiteX6" fmla="*/ 0 w 2743949"/>
                <a:gd name="connsiteY6" fmla="*/ 1902955 h 2342989"/>
                <a:gd name="connsiteX7" fmla="*/ 44151 w 2743949"/>
                <a:gd name="connsiteY7" fmla="*/ 1902955 h 2342989"/>
                <a:gd name="connsiteX8" fmla="*/ 44151 w 2743949"/>
                <a:gd name="connsiteY8" fmla="*/ 1889561 h 2342989"/>
                <a:gd name="connsiteX9" fmla="*/ 0 w 2743949"/>
                <a:gd name="connsiteY9" fmla="*/ 1888072 h 2342989"/>
                <a:gd name="connsiteX10" fmla="*/ 0 w 2743949"/>
                <a:gd name="connsiteY10" fmla="*/ 53080 h 2342989"/>
                <a:gd name="connsiteX11" fmla="*/ 2690231 w 2743949"/>
                <a:gd name="connsiteY11" fmla="*/ 53080 h 234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43949" h="2342989">
                  <a:moveTo>
                    <a:pt x="2742815" y="0"/>
                  </a:moveTo>
                  <a:lnTo>
                    <a:pt x="2742815" y="1385546"/>
                  </a:lnTo>
                  <a:lnTo>
                    <a:pt x="2743949" y="1385543"/>
                  </a:lnTo>
                  <a:lnTo>
                    <a:pt x="2743949" y="2342989"/>
                  </a:lnTo>
                  <a:lnTo>
                    <a:pt x="2742815" y="2342976"/>
                  </a:lnTo>
                  <a:lnTo>
                    <a:pt x="0" y="2342976"/>
                  </a:lnTo>
                  <a:lnTo>
                    <a:pt x="0" y="1902955"/>
                  </a:lnTo>
                  <a:lnTo>
                    <a:pt x="44151" y="1902955"/>
                  </a:lnTo>
                  <a:lnTo>
                    <a:pt x="44151" y="1889561"/>
                  </a:lnTo>
                  <a:lnTo>
                    <a:pt x="0" y="1888072"/>
                  </a:lnTo>
                  <a:lnTo>
                    <a:pt x="0" y="53080"/>
                  </a:lnTo>
                  <a:lnTo>
                    <a:pt x="2690231" y="53080"/>
                  </a:lnTo>
                  <a:close/>
                </a:path>
              </a:pathLst>
            </a:custGeom>
            <a:solidFill>
              <a:srgbClr val="FFFFF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E94F6F-F061-C0F9-DD8C-DD8A755BEDC4}"/>
                </a:ext>
              </a:extLst>
            </p:cNvPr>
            <p:cNvSpPr/>
            <p:nvPr/>
          </p:nvSpPr>
          <p:spPr>
            <a:xfrm>
              <a:off x="3735336" y="4170030"/>
              <a:ext cx="136421" cy="378507"/>
            </a:xfrm>
            <a:custGeom>
              <a:avLst/>
              <a:gdLst>
                <a:gd name="connsiteX0" fmla="*/ 0 w 136421"/>
                <a:gd name="connsiteY0" fmla="*/ 0 h 378507"/>
                <a:gd name="connsiteX1" fmla="*/ 136421 w 136421"/>
                <a:gd name="connsiteY1" fmla="*/ 0 h 378507"/>
                <a:gd name="connsiteX2" fmla="*/ 136421 w 136421"/>
                <a:gd name="connsiteY2" fmla="*/ 378507 h 378507"/>
                <a:gd name="connsiteX3" fmla="*/ 0 w 136421"/>
                <a:gd name="connsiteY3" fmla="*/ 378507 h 37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421" h="378507">
                  <a:moveTo>
                    <a:pt x="0" y="0"/>
                  </a:moveTo>
                  <a:lnTo>
                    <a:pt x="136421" y="0"/>
                  </a:lnTo>
                  <a:lnTo>
                    <a:pt x="136421" y="378507"/>
                  </a:lnTo>
                  <a:lnTo>
                    <a:pt x="0" y="37850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9D105D9-5CFF-EF76-9BF3-79600647E2DF}"/>
                </a:ext>
              </a:extLst>
            </p:cNvPr>
            <p:cNvSpPr/>
            <p:nvPr/>
          </p:nvSpPr>
          <p:spPr>
            <a:xfrm>
              <a:off x="6454340" y="887979"/>
              <a:ext cx="537010" cy="892444"/>
            </a:xfrm>
            <a:custGeom>
              <a:avLst/>
              <a:gdLst>
                <a:gd name="connsiteX0" fmla="*/ 509472 w 537010"/>
                <a:gd name="connsiteY0" fmla="*/ 0 h 892444"/>
                <a:gd name="connsiteX1" fmla="*/ 537010 w 537010"/>
                <a:gd name="connsiteY1" fmla="*/ 2778 h 892444"/>
                <a:gd name="connsiteX2" fmla="*/ 537010 w 537010"/>
                <a:gd name="connsiteY2" fmla="*/ 891521 h 892444"/>
                <a:gd name="connsiteX3" fmla="*/ 173627 w 537010"/>
                <a:gd name="connsiteY3" fmla="*/ 892444 h 892444"/>
                <a:gd name="connsiteX4" fmla="*/ 0 w 537010"/>
                <a:gd name="connsiteY4" fmla="*/ 509472 h 892444"/>
                <a:gd name="connsiteX5" fmla="*/ 509472 w 537010"/>
                <a:gd name="connsiteY5" fmla="*/ 0 h 89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010" h="892444">
                  <a:moveTo>
                    <a:pt x="509472" y="0"/>
                  </a:moveTo>
                  <a:lnTo>
                    <a:pt x="537010" y="2778"/>
                  </a:lnTo>
                  <a:lnTo>
                    <a:pt x="537010" y="891521"/>
                  </a:lnTo>
                  <a:lnTo>
                    <a:pt x="173627" y="892444"/>
                  </a:lnTo>
                  <a:cubicBezTo>
                    <a:pt x="66971" y="799182"/>
                    <a:pt x="0" y="662264"/>
                    <a:pt x="0" y="509472"/>
                  </a:cubicBezTo>
                  <a:cubicBezTo>
                    <a:pt x="0" y="228196"/>
                    <a:pt x="228196" y="0"/>
                    <a:pt x="509472" y="0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151C77A-2874-63FC-ABB5-CB5B72F6709D}"/>
                </a:ext>
              </a:extLst>
            </p:cNvPr>
            <p:cNvSpPr/>
            <p:nvPr/>
          </p:nvSpPr>
          <p:spPr>
            <a:xfrm>
              <a:off x="5855573" y="3586643"/>
              <a:ext cx="859552" cy="956438"/>
            </a:xfrm>
            <a:custGeom>
              <a:avLst/>
              <a:gdLst>
                <a:gd name="connsiteX0" fmla="*/ 0 w 764302"/>
                <a:gd name="connsiteY0" fmla="*/ 0 h 956438"/>
                <a:gd name="connsiteX1" fmla="*/ 764302 w 764302"/>
                <a:gd name="connsiteY1" fmla="*/ 0 h 956438"/>
                <a:gd name="connsiteX2" fmla="*/ 764302 w 764302"/>
                <a:gd name="connsiteY2" fmla="*/ 956438 h 956438"/>
                <a:gd name="connsiteX3" fmla="*/ 0 w 764302"/>
                <a:gd name="connsiteY3" fmla="*/ 956438 h 956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302" h="956438">
                  <a:moveTo>
                    <a:pt x="0" y="0"/>
                  </a:moveTo>
                  <a:lnTo>
                    <a:pt x="764302" y="0"/>
                  </a:lnTo>
                  <a:lnTo>
                    <a:pt x="764302" y="956438"/>
                  </a:lnTo>
                  <a:lnTo>
                    <a:pt x="0" y="95643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8B2D0F3-9D96-090F-A4D5-298B6C5DFFDA}"/>
                </a:ext>
              </a:extLst>
            </p:cNvPr>
            <p:cNvSpPr/>
            <p:nvPr/>
          </p:nvSpPr>
          <p:spPr>
            <a:xfrm>
              <a:off x="4258050" y="1276904"/>
              <a:ext cx="1673048" cy="503595"/>
            </a:xfrm>
            <a:custGeom>
              <a:avLst/>
              <a:gdLst>
                <a:gd name="connsiteX0" fmla="*/ 4121 w 1673048"/>
                <a:gd name="connsiteY0" fmla="*/ 502527 h 503595"/>
                <a:gd name="connsiteX1" fmla="*/ 29917 w 1673048"/>
                <a:gd name="connsiteY1" fmla="*/ 277308 h 503595"/>
                <a:gd name="connsiteX2" fmla="*/ 435709 w 1673048"/>
                <a:gd name="connsiteY2" fmla="*/ 0 h 503595"/>
                <a:gd name="connsiteX3" fmla="*/ 791893 w 1673048"/>
                <a:gd name="connsiteY3" fmla="*/ 238117 h 503595"/>
                <a:gd name="connsiteX4" fmla="*/ 1322200 w 1673048"/>
                <a:gd name="connsiteY4" fmla="*/ 96735 h 503595"/>
                <a:gd name="connsiteX5" fmla="*/ 1360399 w 1673048"/>
                <a:gd name="connsiteY5" fmla="*/ 320962 h 503595"/>
                <a:gd name="connsiteX6" fmla="*/ 1636218 w 1673048"/>
                <a:gd name="connsiteY6" fmla="*/ 503519 h 503595"/>
                <a:gd name="connsiteX7" fmla="*/ 4121 w 1673048"/>
                <a:gd name="connsiteY7" fmla="*/ 502527 h 5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3048" h="503595">
                  <a:moveTo>
                    <a:pt x="4121" y="502527"/>
                  </a:moveTo>
                  <a:cubicBezTo>
                    <a:pt x="4121" y="502527"/>
                    <a:pt x="-15226" y="395374"/>
                    <a:pt x="29917" y="277308"/>
                  </a:cubicBezTo>
                  <a:cubicBezTo>
                    <a:pt x="81013" y="144855"/>
                    <a:pt x="209001" y="0"/>
                    <a:pt x="435709" y="0"/>
                  </a:cubicBezTo>
                  <a:cubicBezTo>
                    <a:pt x="771058" y="0"/>
                    <a:pt x="791893" y="238117"/>
                    <a:pt x="791893" y="238117"/>
                  </a:cubicBezTo>
                  <a:cubicBezTo>
                    <a:pt x="791893" y="238117"/>
                    <a:pt x="1130714" y="-34725"/>
                    <a:pt x="1322200" y="96735"/>
                  </a:cubicBezTo>
                  <a:cubicBezTo>
                    <a:pt x="1388675" y="142374"/>
                    <a:pt x="1389667" y="222243"/>
                    <a:pt x="1360399" y="320962"/>
                  </a:cubicBezTo>
                  <a:cubicBezTo>
                    <a:pt x="1715590" y="218274"/>
                    <a:pt x="1702196" y="508976"/>
                    <a:pt x="1636218" y="503519"/>
                  </a:cubicBezTo>
                  <a:lnTo>
                    <a:pt x="4121" y="50252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1BEA090-F8BC-4DFE-06C8-66F6EDB8DB1E}"/>
                </a:ext>
              </a:extLst>
            </p:cNvPr>
            <p:cNvSpPr/>
            <p:nvPr/>
          </p:nvSpPr>
          <p:spPr>
            <a:xfrm>
              <a:off x="3719462" y="1715933"/>
              <a:ext cx="3298422" cy="538244"/>
            </a:xfrm>
            <a:custGeom>
              <a:avLst/>
              <a:gdLst>
                <a:gd name="connsiteX0" fmla="*/ 0 w 3298422"/>
                <a:gd name="connsiteY0" fmla="*/ 538245 h 538244"/>
                <a:gd name="connsiteX1" fmla="*/ 474251 w 3298422"/>
                <a:gd name="connsiteY1" fmla="*/ 63994 h 538244"/>
                <a:gd name="connsiteX2" fmla="*/ 1617710 w 3298422"/>
                <a:gd name="connsiteY2" fmla="*/ 63994 h 538244"/>
                <a:gd name="connsiteX3" fmla="*/ 1621679 w 3298422"/>
                <a:gd name="connsiteY3" fmla="*/ 0 h 538244"/>
                <a:gd name="connsiteX4" fmla="*/ 1847394 w 3298422"/>
                <a:gd name="connsiteY4" fmla="*/ 0 h 538244"/>
                <a:gd name="connsiteX5" fmla="*/ 1847394 w 3298422"/>
                <a:gd name="connsiteY5" fmla="*/ 64986 h 538244"/>
                <a:gd name="connsiteX6" fmla="*/ 3298422 w 3298422"/>
                <a:gd name="connsiteY6" fmla="*/ 63994 h 538244"/>
                <a:gd name="connsiteX7" fmla="*/ 2824172 w 3298422"/>
                <a:gd name="connsiteY7" fmla="*/ 538245 h 53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98422" h="538244">
                  <a:moveTo>
                    <a:pt x="0" y="538245"/>
                  </a:moveTo>
                  <a:lnTo>
                    <a:pt x="474251" y="63994"/>
                  </a:lnTo>
                  <a:lnTo>
                    <a:pt x="1617710" y="63994"/>
                  </a:lnTo>
                  <a:lnTo>
                    <a:pt x="1621679" y="0"/>
                  </a:lnTo>
                  <a:lnTo>
                    <a:pt x="1847394" y="0"/>
                  </a:lnTo>
                  <a:lnTo>
                    <a:pt x="1847394" y="64986"/>
                  </a:lnTo>
                  <a:lnTo>
                    <a:pt x="3298422" y="63994"/>
                  </a:lnTo>
                  <a:lnTo>
                    <a:pt x="2824172" y="538245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C2B3CA7-5F47-3F7F-2591-23D9FA23BB5B}"/>
                </a:ext>
              </a:extLst>
            </p:cNvPr>
            <p:cNvSpPr/>
            <p:nvPr/>
          </p:nvSpPr>
          <p:spPr>
            <a:xfrm>
              <a:off x="5810926" y="3095030"/>
              <a:ext cx="913724" cy="491613"/>
            </a:xfrm>
            <a:custGeom>
              <a:avLst/>
              <a:gdLst>
                <a:gd name="connsiteX0" fmla="*/ 491614 w 913724"/>
                <a:gd name="connsiteY0" fmla="*/ 0 h 491613"/>
                <a:gd name="connsiteX1" fmla="*/ 913724 w 913724"/>
                <a:gd name="connsiteY1" fmla="*/ 0 h 491613"/>
                <a:gd name="connsiteX2" fmla="*/ 913724 w 913724"/>
                <a:gd name="connsiteY2" fmla="*/ 490650 h 491613"/>
                <a:gd name="connsiteX3" fmla="*/ 0 w 913724"/>
                <a:gd name="connsiteY3" fmla="*/ 491613 h 49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3724" h="491613">
                  <a:moveTo>
                    <a:pt x="491614" y="0"/>
                  </a:moveTo>
                  <a:lnTo>
                    <a:pt x="913724" y="0"/>
                  </a:lnTo>
                  <a:lnTo>
                    <a:pt x="913724" y="490650"/>
                  </a:lnTo>
                  <a:lnTo>
                    <a:pt x="0" y="491613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784101C-13FB-7933-1022-B6FF2DA3D6C1}"/>
                </a:ext>
              </a:extLst>
            </p:cNvPr>
            <p:cNvSpPr/>
            <p:nvPr/>
          </p:nvSpPr>
          <p:spPr>
            <a:xfrm>
              <a:off x="3692674" y="3952748"/>
              <a:ext cx="130964" cy="82349"/>
            </a:xfrm>
            <a:custGeom>
              <a:avLst/>
              <a:gdLst>
                <a:gd name="connsiteX0" fmla="*/ 0 w 130964"/>
                <a:gd name="connsiteY0" fmla="*/ 82349 h 82349"/>
                <a:gd name="connsiteX1" fmla="*/ 95247 w 130964"/>
                <a:gd name="connsiteY1" fmla="*/ 82349 h 82349"/>
                <a:gd name="connsiteX2" fmla="*/ 130964 w 130964"/>
                <a:gd name="connsiteY2" fmla="*/ 992 h 82349"/>
                <a:gd name="connsiteX3" fmla="*/ 46135 w 130964"/>
                <a:gd name="connsiteY3" fmla="*/ 0 h 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82349">
                  <a:moveTo>
                    <a:pt x="0" y="82349"/>
                  </a:moveTo>
                  <a:lnTo>
                    <a:pt x="95247" y="82349"/>
                  </a:lnTo>
                  <a:lnTo>
                    <a:pt x="130964" y="992"/>
                  </a:lnTo>
                  <a:lnTo>
                    <a:pt x="46135" y="0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BB2CC0F-DED4-5639-3CD2-5FA75AB8809D}"/>
                </a:ext>
              </a:extLst>
            </p:cNvPr>
            <p:cNvSpPr/>
            <p:nvPr/>
          </p:nvSpPr>
          <p:spPr>
            <a:xfrm>
              <a:off x="5469129" y="1779927"/>
              <a:ext cx="328899" cy="173131"/>
            </a:xfrm>
            <a:custGeom>
              <a:avLst/>
              <a:gdLst>
                <a:gd name="connsiteX0" fmla="*/ 0 w 328899"/>
                <a:gd name="connsiteY0" fmla="*/ 173131 h 173131"/>
                <a:gd name="connsiteX1" fmla="*/ 262425 w 328899"/>
                <a:gd name="connsiteY1" fmla="*/ 62010 h 173131"/>
                <a:gd name="connsiteX2" fmla="*/ 328900 w 328899"/>
                <a:gd name="connsiteY2" fmla="*/ 992 h 173131"/>
                <a:gd name="connsiteX3" fmla="*/ 98720 w 328899"/>
                <a:gd name="connsiteY3" fmla="*/ 0 h 173131"/>
                <a:gd name="connsiteX4" fmla="*/ 99216 w 328899"/>
                <a:gd name="connsiteY4" fmla="*/ 48616 h 173131"/>
                <a:gd name="connsiteX5" fmla="*/ 99216 w 328899"/>
                <a:gd name="connsiteY5" fmla="*/ 75404 h 17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99" h="173131">
                  <a:moveTo>
                    <a:pt x="0" y="173131"/>
                  </a:moveTo>
                  <a:lnTo>
                    <a:pt x="262425" y="62010"/>
                  </a:lnTo>
                  <a:lnTo>
                    <a:pt x="328900" y="992"/>
                  </a:lnTo>
                  <a:lnTo>
                    <a:pt x="98720" y="0"/>
                  </a:lnTo>
                  <a:lnTo>
                    <a:pt x="99216" y="48616"/>
                  </a:lnTo>
                  <a:lnTo>
                    <a:pt x="99216" y="75404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CCF7985-547B-C54F-831A-D72CD7C99588}"/>
                </a:ext>
              </a:extLst>
            </p:cNvPr>
            <p:cNvSpPr/>
            <p:nvPr/>
          </p:nvSpPr>
          <p:spPr>
            <a:xfrm>
              <a:off x="3182616" y="2474187"/>
              <a:ext cx="799210" cy="859155"/>
            </a:xfrm>
            <a:custGeom>
              <a:avLst/>
              <a:gdLst>
                <a:gd name="connsiteX0" fmla="*/ 143456 w 799210"/>
                <a:gd name="connsiteY0" fmla="*/ 209099 h 859155"/>
                <a:gd name="connsiteX1" fmla="*/ 393479 w 799210"/>
                <a:gd name="connsiteY1" fmla="*/ 73173 h 859155"/>
                <a:gd name="connsiteX2" fmla="*/ 599351 w 799210"/>
                <a:gd name="connsiteY2" fmla="*/ 104922 h 859155"/>
                <a:gd name="connsiteX3" fmla="*/ 699559 w 799210"/>
                <a:gd name="connsiteY3" fmla="*/ 286983 h 859155"/>
                <a:gd name="connsiteX4" fmla="*/ 672275 w 799210"/>
                <a:gd name="connsiteY4" fmla="*/ 316251 h 859155"/>
                <a:gd name="connsiteX5" fmla="*/ 674259 w 799210"/>
                <a:gd name="connsiteY5" fmla="*/ 522124 h 859155"/>
                <a:gd name="connsiteX6" fmla="*/ 721387 w 799210"/>
                <a:gd name="connsiteY6" fmla="*/ 531549 h 859155"/>
                <a:gd name="connsiteX7" fmla="*/ 763553 w 799210"/>
                <a:gd name="connsiteY7" fmla="*/ 607945 h 859155"/>
                <a:gd name="connsiteX8" fmla="*/ 760081 w 799210"/>
                <a:gd name="connsiteY8" fmla="*/ 720059 h 859155"/>
                <a:gd name="connsiteX9" fmla="*/ 728332 w 799210"/>
                <a:gd name="connsiteY9" fmla="*/ 781076 h 859155"/>
                <a:gd name="connsiteX10" fmla="*/ 684181 w 799210"/>
                <a:gd name="connsiteY10" fmla="*/ 791494 h 859155"/>
                <a:gd name="connsiteX11" fmla="*/ 622171 w 799210"/>
                <a:gd name="connsiteY11" fmla="*/ 803400 h 859155"/>
                <a:gd name="connsiteX12" fmla="*/ 473348 w 799210"/>
                <a:gd name="connsiteY12" fmla="*/ 808857 h 859155"/>
                <a:gd name="connsiteX13" fmla="*/ 344864 w 799210"/>
                <a:gd name="connsiteY13" fmla="*/ 809353 h 859155"/>
                <a:gd name="connsiteX14" fmla="*/ 318075 w 799210"/>
                <a:gd name="connsiteY14" fmla="*/ 683349 h 859155"/>
                <a:gd name="connsiteX15" fmla="*/ 293271 w 799210"/>
                <a:gd name="connsiteY15" fmla="*/ 678884 h 859155"/>
                <a:gd name="connsiteX16" fmla="*/ 268467 w 799210"/>
                <a:gd name="connsiteY16" fmla="*/ 650112 h 859155"/>
                <a:gd name="connsiteX17" fmla="*/ 140975 w 799210"/>
                <a:gd name="connsiteY17" fmla="*/ 651104 h 859155"/>
                <a:gd name="connsiteX18" fmla="*/ 140975 w 799210"/>
                <a:gd name="connsiteY18" fmla="*/ 509722 h 859155"/>
                <a:gd name="connsiteX19" fmla="*/ 89 w 799210"/>
                <a:gd name="connsiteY19" fmla="*/ 369332 h 859155"/>
                <a:gd name="connsiteX20" fmla="*/ 143456 w 799210"/>
                <a:gd name="connsiteY20" fmla="*/ 209099 h 85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9210" h="859155">
                  <a:moveTo>
                    <a:pt x="143456" y="209099"/>
                  </a:moveTo>
                  <a:cubicBezTo>
                    <a:pt x="112203" y="100953"/>
                    <a:pt x="259538" y="-42909"/>
                    <a:pt x="393479" y="73173"/>
                  </a:cubicBezTo>
                  <a:cubicBezTo>
                    <a:pt x="453504" y="-62752"/>
                    <a:pt x="610265" y="16124"/>
                    <a:pt x="599351" y="104922"/>
                  </a:cubicBezTo>
                  <a:cubicBezTo>
                    <a:pt x="731308" y="114844"/>
                    <a:pt x="730812" y="246800"/>
                    <a:pt x="699559" y="286983"/>
                  </a:cubicBezTo>
                  <a:cubicBezTo>
                    <a:pt x="677236" y="317739"/>
                    <a:pt x="672275" y="316251"/>
                    <a:pt x="672275" y="316251"/>
                  </a:cubicBezTo>
                  <a:lnTo>
                    <a:pt x="674259" y="522124"/>
                  </a:lnTo>
                  <a:cubicBezTo>
                    <a:pt x="691622" y="521131"/>
                    <a:pt x="707496" y="524604"/>
                    <a:pt x="721387" y="531549"/>
                  </a:cubicBezTo>
                  <a:cubicBezTo>
                    <a:pt x="747183" y="545439"/>
                    <a:pt x="763057" y="569747"/>
                    <a:pt x="763553" y="607945"/>
                  </a:cubicBezTo>
                  <a:cubicBezTo>
                    <a:pt x="809192" y="625804"/>
                    <a:pt x="814153" y="692278"/>
                    <a:pt x="760081" y="720059"/>
                  </a:cubicBezTo>
                  <a:cubicBezTo>
                    <a:pt x="787365" y="751808"/>
                    <a:pt x="760577" y="782565"/>
                    <a:pt x="728332" y="781076"/>
                  </a:cubicBezTo>
                  <a:cubicBezTo>
                    <a:pt x="736765" y="821259"/>
                    <a:pt x="691622" y="824731"/>
                    <a:pt x="684181" y="791494"/>
                  </a:cubicBezTo>
                  <a:cubicBezTo>
                    <a:pt x="684181" y="791494"/>
                    <a:pt x="633581" y="769667"/>
                    <a:pt x="622171" y="803400"/>
                  </a:cubicBezTo>
                  <a:cubicBezTo>
                    <a:pt x="617210" y="845566"/>
                    <a:pt x="521467" y="901623"/>
                    <a:pt x="473348" y="808857"/>
                  </a:cubicBezTo>
                  <a:cubicBezTo>
                    <a:pt x="471363" y="812825"/>
                    <a:pt x="418283" y="861441"/>
                    <a:pt x="344864" y="809353"/>
                  </a:cubicBezTo>
                  <a:cubicBezTo>
                    <a:pt x="281862" y="750815"/>
                    <a:pt x="318075" y="683349"/>
                    <a:pt x="318075" y="683349"/>
                  </a:cubicBezTo>
                  <a:lnTo>
                    <a:pt x="293271" y="678884"/>
                  </a:lnTo>
                  <a:cubicBezTo>
                    <a:pt x="293271" y="678884"/>
                    <a:pt x="273924" y="669459"/>
                    <a:pt x="268467" y="650112"/>
                  </a:cubicBezTo>
                  <a:cubicBezTo>
                    <a:pt x="211914" y="695255"/>
                    <a:pt x="158834" y="668467"/>
                    <a:pt x="140975" y="651104"/>
                  </a:cubicBezTo>
                  <a:cubicBezTo>
                    <a:pt x="123117" y="633741"/>
                    <a:pt x="78470" y="565778"/>
                    <a:pt x="140975" y="509722"/>
                  </a:cubicBezTo>
                  <a:cubicBezTo>
                    <a:pt x="101289" y="503769"/>
                    <a:pt x="11499" y="478469"/>
                    <a:pt x="89" y="369332"/>
                  </a:cubicBezTo>
                  <a:cubicBezTo>
                    <a:pt x="-407" y="356930"/>
                    <a:pt x="-3383" y="224477"/>
                    <a:pt x="143456" y="209099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8EF810D-EED6-E46C-D555-F455C1B35854}"/>
                </a:ext>
              </a:extLst>
            </p:cNvPr>
            <p:cNvSpPr/>
            <p:nvPr/>
          </p:nvSpPr>
          <p:spPr>
            <a:xfrm>
              <a:off x="3207412" y="2502703"/>
              <a:ext cx="774415" cy="830639"/>
            </a:xfrm>
            <a:custGeom>
              <a:avLst/>
              <a:gdLst>
                <a:gd name="connsiteX0" fmla="*/ 143464 w 774415"/>
                <a:gd name="connsiteY0" fmla="*/ 199929 h 830639"/>
                <a:gd name="connsiteX1" fmla="*/ 378605 w 774415"/>
                <a:gd name="connsiteY1" fmla="*/ 84343 h 830639"/>
                <a:gd name="connsiteX2" fmla="*/ 554713 w 774415"/>
                <a:gd name="connsiteY2" fmla="*/ 86327 h 830639"/>
                <a:gd name="connsiteX3" fmla="*/ 674764 w 774415"/>
                <a:gd name="connsiteY3" fmla="*/ 258466 h 830639"/>
                <a:gd name="connsiteX4" fmla="*/ 647479 w 774415"/>
                <a:gd name="connsiteY4" fmla="*/ 287735 h 830639"/>
                <a:gd name="connsiteX5" fmla="*/ 649463 w 774415"/>
                <a:gd name="connsiteY5" fmla="*/ 493607 h 830639"/>
                <a:gd name="connsiteX6" fmla="*/ 696591 w 774415"/>
                <a:gd name="connsiteY6" fmla="*/ 503033 h 830639"/>
                <a:gd name="connsiteX7" fmla="*/ 738758 w 774415"/>
                <a:gd name="connsiteY7" fmla="*/ 579429 h 830639"/>
                <a:gd name="connsiteX8" fmla="*/ 735285 w 774415"/>
                <a:gd name="connsiteY8" fmla="*/ 691542 h 830639"/>
                <a:gd name="connsiteX9" fmla="*/ 703536 w 774415"/>
                <a:gd name="connsiteY9" fmla="*/ 752560 h 830639"/>
                <a:gd name="connsiteX10" fmla="*/ 659385 w 774415"/>
                <a:gd name="connsiteY10" fmla="*/ 762977 h 830639"/>
                <a:gd name="connsiteX11" fmla="*/ 597375 w 774415"/>
                <a:gd name="connsiteY11" fmla="*/ 774883 h 830639"/>
                <a:gd name="connsiteX12" fmla="*/ 448552 w 774415"/>
                <a:gd name="connsiteY12" fmla="*/ 780340 h 830639"/>
                <a:gd name="connsiteX13" fmla="*/ 320068 w 774415"/>
                <a:gd name="connsiteY13" fmla="*/ 780836 h 830639"/>
                <a:gd name="connsiteX14" fmla="*/ 293280 w 774415"/>
                <a:gd name="connsiteY14" fmla="*/ 654833 h 830639"/>
                <a:gd name="connsiteX15" fmla="*/ 268476 w 774415"/>
                <a:gd name="connsiteY15" fmla="*/ 650368 h 830639"/>
                <a:gd name="connsiteX16" fmla="*/ 243672 w 774415"/>
                <a:gd name="connsiteY16" fmla="*/ 621595 h 830639"/>
                <a:gd name="connsiteX17" fmla="*/ 116180 w 774415"/>
                <a:gd name="connsiteY17" fmla="*/ 622587 h 830639"/>
                <a:gd name="connsiteX18" fmla="*/ 116180 w 774415"/>
                <a:gd name="connsiteY18" fmla="*/ 481205 h 830639"/>
                <a:gd name="connsiteX19" fmla="*/ 97 w 774415"/>
                <a:gd name="connsiteY19" fmla="*/ 340815 h 830639"/>
                <a:gd name="connsiteX20" fmla="*/ 143464 w 774415"/>
                <a:gd name="connsiteY20" fmla="*/ 199929 h 83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4415" h="830639">
                  <a:moveTo>
                    <a:pt x="143464" y="199929"/>
                  </a:moveTo>
                  <a:cubicBezTo>
                    <a:pt x="112211" y="91784"/>
                    <a:pt x="244664" y="-31739"/>
                    <a:pt x="378605" y="84343"/>
                  </a:cubicBezTo>
                  <a:cubicBezTo>
                    <a:pt x="438630" y="-51582"/>
                    <a:pt x="565627" y="-2471"/>
                    <a:pt x="554713" y="86327"/>
                  </a:cubicBezTo>
                  <a:cubicBezTo>
                    <a:pt x="686669" y="96249"/>
                    <a:pt x="706016" y="218284"/>
                    <a:pt x="674764" y="258466"/>
                  </a:cubicBezTo>
                  <a:cubicBezTo>
                    <a:pt x="652440" y="289223"/>
                    <a:pt x="647479" y="287735"/>
                    <a:pt x="647479" y="287735"/>
                  </a:cubicBezTo>
                  <a:lnTo>
                    <a:pt x="649463" y="493607"/>
                  </a:lnTo>
                  <a:cubicBezTo>
                    <a:pt x="666826" y="492615"/>
                    <a:pt x="682701" y="496088"/>
                    <a:pt x="696591" y="503033"/>
                  </a:cubicBezTo>
                  <a:cubicBezTo>
                    <a:pt x="722387" y="516923"/>
                    <a:pt x="738262" y="541231"/>
                    <a:pt x="738758" y="579429"/>
                  </a:cubicBezTo>
                  <a:cubicBezTo>
                    <a:pt x="784397" y="597288"/>
                    <a:pt x="789358" y="663762"/>
                    <a:pt x="735285" y="691542"/>
                  </a:cubicBezTo>
                  <a:cubicBezTo>
                    <a:pt x="762569" y="723291"/>
                    <a:pt x="735781" y="754048"/>
                    <a:pt x="703536" y="752560"/>
                  </a:cubicBezTo>
                  <a:cubicBezTo>
                    <a:pt x="711969" y="792742"/>
                    <a:pt x="666826" y="796215"/>
                    <a:pt x="659385" y="762977"/>
                  </a:cubicBezTo>
                  <a:cubicBezTo>
                    <a:pt x="659385" y="762977"/>
                    <a:pt x="608785" y="741150"/>
                    <a:pt x="597375" y="774883"/>
                  </a:cubicBezTo>
                  <a:cubicBezTo>
                    <a:pt x="592415" y="817050"/>
                    <a:pt x="496672" y="873107"/>
                    <a:pt x="448552" y="780340"/>
                  </a:cubicBezTo>
                  <a:cubicBezTo>
                    <a:pt x="446568" y="784309"/>
                    <a:pt x="393487" y="832925"/>
                    <a:pt x="320068" y="780836"/>
                  </a:cubicBezTo>
                  <a:cubicBezTo>
                    <a:pt x="257066" y="722299"/>
                    <a:pt x="293280" y="654833"/>
                    <a:pt x="293280" y="654833"/>
                  </a:cubicBezTo>
                  <a:lnTo>
                    <a:pt x="268476" y="650368"/>
                  </a:lnTo>
                  <a:cubicBezTo>
                    <a:pt x="268476" y="650368"/>
                    <a:pt x="249129" y="640942"/>
                    <a:pt x="243672" y="621595"/>
                  </a:cubicBezTo>
                  <a:cubicBezTo>
                    <a:pt x="187119" y="666739"/>
                    <a:pt x="134039" y="639950"/>
                    <a:pt x="116180" y="622587"/>
                  </a:cubicBezTo>
                  <a:cubicBezTo>
                    <a:pt x="98321" y="605225"/>
                    <a:pt x="53674" y="537262"/>
                    <a:pt x="116180" y="481205"/>
                  </a:cubicBezTo>
                  <a:cubicBezTo>
                    <a:pt x="76493" y="475252"/>
                    <a:pt x="11507" y="449952"/>
                    <a:pt x="97" y="340815"/>
                  </a:cubicBezTo>
                  <a:cubicBezTo>
                    <a:pt x="-399" y="328413"/>
                    <a:pt x="-3871" y="214811"/>
                    <a:pt x="143464" y="199929"/>
                  </a:cubicBezTo>
                  <a:close/>
                </a:path>
              </a:pathLst>
            </a:custGeom>
            <a:solidFill>
              <a:srgbClr val="88BCAC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FA54A9-1C30-C42F-9B0B-C965E9E4DE09}"/>
                </a:ext>
              </a:extLst>
            </p:cNvPr>
            <p:cNvSpPr/>
            <p:nvPr/>
          </p:nvSpPr>
          <p:spPr>
            <a:xfrm>
              <a:off x="3177671" y="3921991"/>
              <a:ext cx="258107" cy="495086"/>
            </a:xfrm>
            <a:custGeom>
              <a:avLst/>
              <a:gdLst>
                <a:gd name="connsiteX0" fmla="*/ 129054 w 258107"/>
                <a:gd name="connsiteY0" fmla="*/ 495086 h 495086"/>
                <a:gd name="connsiteX1" fmla="*/ 218348 w 258107"/>
                <a:gd name="connsiteY1" fmla="*/ 405792 h 495086"/>
                <a:gd name="connsiteX2" fmla="*/ 245632 w 258107"/>
                <a:gd name="connsiteY2" fmla="*/ 252504 h 495086"/>
                <a:gd name="connsiteX3" fmla="*/ 129550 w 258107"/>
                <a:gd name="connsiteY3" fmla="*/ 0 h 495086"/>
                <a:gd name="connsiteX4" fmla="*/ 128558 w 258107"/>
                <a:gd name="connsiteY4" fmla="*/ 0 h 495086"/>
                <a:gd name="connsiteX5" fmla="*/ 12475 w 258107"/>
                <a:gd name="connsiteY5" fmla="*/ 252504 h 495086"/>
                <a:gd name="connsiteX6" fmla="*/ 39760 w 258107"/>
                <a:gd name="connsiteY6" fmla="*/ 405792 h 495086"/>
                <a:gd name="connsiteX7" fmla="*/ 86887 w 258107"/>
                <a:gd name="connsiteY7" fmla="*/ 452919 h 495086"/>
                <a:gd name="connsiteX8" fmla="*/ 129054 w 258107"/>
                <a:gd name="connsiteY8" fmla="*/ 495086 h 4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07" h="495086">
                  <a:moveTo>
                    <a:pt x="129054" y="495086"/>
                  </a:moveTo>
                  <a:lnTo>
                    <a:pt x="218348" y="405792"/>
                  </a:lnTo>
                  <a:cubicBezTo>
                    <a:pt x="258530" y="365610"/>
                    <a:pt x="269444" y="304096"/>
                    <a:pt x="245632" y="252504"/>
                  </a:cubicBezTo>
                  <a:lnTo>
                    <a:pt x="129550" y="0"/>
                  </a:lnTo>
                  <a:lnTo>
                    <a:pt x="128558" y="0"/>
                  </a:lnTo>
                  <a:lnTo>
                    <a:pt x="12475" y="252504"/>
                  </a:lnTo>
                  <a:cubicBezTo>
                    <a:pt x="-11336" y="304096"/>
                    <a:pt x="-423" y="365610"/>
                    <a:pt x="39760" y="405792"/>
                  </a:cubicBezTo>
                  <a:lnTo>
                    <a:pt x="86887" y="452919"/>
                  </a:lnTo>
                  <a:lnTo>
                    <a:pt x="129054" y="495086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AD68EE8-7C9F-F4BC-19CC-A79FA771A985}"/>
                </a:ext>
              </a:extLst>
            </p:cNvPr>
            <p:cNvSpPr/>
            <p:nvPr/>
          </p:nvSpPr>
          <p:spPr>
            <a:xfrm>
              <a:off x="4058779" y="2634173"/>
              <a:ext cx="295166" cy="161225"/>
            </a:xfrm>
            <a:custGeom>
              <a:avLst/>
              <a:gdLst>
                <a:gd name="connsiteX0" fmla="*/ 294670 w 295166"/>
                <a:gd name="connsiteY0" fmla="*/ 159241 h 161225"/>
                <a:gd name="connsiteX1" fmla="*/ 215794 w 295166"/>
                <a:gd name="connsiteY1" fmla="*/ 161225 h 161225"/>
                <a:gd name="connsiteX2" fmla="*/ 211825 w 295166"/>
                <a:gd name="connsiteY2" fmla="*/ 138406 h 161225"/>
                <a:gd name="connsiteX3" fmla="*/ 115090 w 295166"/>
                <a:gd name="connsiteY3" fmla="*/ 133941 h 161225"/>
                <a:gd name="connsiteX4" fmla="*/ 99712 w 295166"/>
                <a:gd name="connsiteY4" fmla="*/ 140390 h 161225"/>
                <a:gd name="connsiteX5" fmla="*/ 62506 w 295166"/>
                <a:gd name="connsiteY5" fmla="*/ 153288 h 161225"/>
                <a:gd name="connsiteX6" fmla="*/ 48616 w 295166"/>
                <a:gd name="connsiteY6" fmla="*/ 159241 h 161225"/>
                <a:gd name="connsiteX7" fmla="*/ 0 w 295166"/>
                <a:gd name="connsiteY7" fmla="*/ 159241 h 161225"/>
                <a:gd name="connsiteX8" fmla="*/ 0 w 295166"/>
                <a:gd name="connsiteY8" fmla="*/ 0 h 161225"/>
                <a:gd name="connsiteX9" fmla="*/ 295166 w 295166"/>
                <a:gd name="connsiteY9" fmla="*/ 0 h 161225"/>
                <a:gd name="connsiteX10" fmla="*/ 295166 w 295166"/>
                <a:gd name="connsiteY10" fmla="*/ 159241 h 1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6" h="161225">
                  <a:moveTo>
                    <a:pt x="294670" y="159241"/>
                  </a:moveTo>
                  <a:lnTo>
                    <a:pt x="215794" y="161225"/>
                  </a:lnTo>
                  <a:lnTo>
                    <a:pt x="211825" y="138406"/>
                  </a:lnTo>
                  <a:cubicBezTo>
                    <a:pt x="211825" y="138406"/>
                    <a:pt x="135925" y="124019"/>
                    <a:pt x="115090" y="133941"/>
                  </a:cubicBezTo>
                  <a:cubicBezTo>
                    <a:pt x="110129" y="136421"/>
                    <a:pt x="104672" y="138406"/>
                    <a:pt x="99712" y="140390"/>
                  </a:cubicBezTo>
                  <a:cubicBezTo>
                    <a:pt x="81853" y="139894"/>
                    <a:pt x="70939" y="147831"/>
                    <a:pt x="62506" y="153288"/>
                  </a:cubicBezTo>
                  <a:cubicBezTo>
                    <a:pt x="55561" y="157257"/>
                    <a:pt x="48616" y="159241"/>
                    <a:pt x="48616" y="159241"/>
                  </a:cubicBezTo>
                  <a:lnTo>
                    <a:pt x="0" y="159241"/>
                  </a:lnTo>
                  <a:lnTo>
                    <a:pt x="0" y="0"/>
                  </a:lnTo>
                  <a:lnTo>
                    <a:pt x="295166" y="0"/>
                  </a:lnTo>
                  <a:lnTo>
                    <a:pt x="295166" y="159241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5FE0DBB-FD31-1991-3DF2-351CB2B1861C}"/>
                </a:ext>
              </a:extLst>
            </p:cNvPr>
            <p:cNvSpPr/>
            <p:nvPr/>
          </p:nvSpPr>
          <p:spPr>
            <a:xfrm>
              <a:off x="4533526" y="2634669"/>
              <a:ext cx="141382" cy="161721"/>
            </a:xfrm>
            <a:custGeom>
              <a:avLst/>
              <a:gdLst>
                <a:gd name="connsiteX0" fmla="*/ 121539 w 141382"/>
                <a:gd name="connsiteY0" fmla="*/ 161225 h 161721"/>
                <a:gd name="connsiteX1" fmla="*/ 0 w 141382"/>
                <a:gd name="connsiteY1" fmla="*/ 159737 h 161721"/>
                <a:gd name="connsiteX2" fmla="*/ 0 w 141382"/>
                <a:gd name="connsiteY2" fmla="*/ 0 h 161721"/>
                <a:gd name="connsiteX3" fmla="*/ 87806 w 141382"/>
                <a:gd name="connsiteY3" fmla="*/ 0 h 161721"/>
                <a:gd name="connsiteX4" fmla="*/ 85821 w 141382"/>
                <a:gd name="connsiteY4" fmla="*/ 21332 h 161721"/>
                <a:gd name="connsiteX5" fmla="*/ 82349 w 141382"/>
                <a:gd name="connsiteY5" fmla="*/ 40678 h 161721"/>
                <a:gd name="connsiteX6" fmla="*/ 90286 w 141382"/>
                <a:gd name="connsiteY6" fmla="*/ 52584 h 161721"/>
                <a:gd name="connsiteX7" fmla="*/ 101696 w 141382"/>
                <a:gd name="connsiteY7" fmla="*/ 52584 h 161721"/>
                <a:gd name="connsiteX8" fmla="*/ 107153 w 141382"/>
                <a:gd name="connsiteY8" fmla="*/ 78381 h 161721"/>
                <a:gd name="connsiteX9" fmla="*/ 122531 w 141382"/>
                <a:gd name="connsiteY9" fmla="*/ 106161 h 161721"/>
                <a:gd name="connsiteX10" fmla="*/ 126004 w 141382"/>
                <a:gd name="connsiteY10" fmla="*/ 130965 h 161721"/>
                <a:gd name="connsiteX11" fmla="*/ 110129 w 141382"/>
                <a:gd name="connsiteY11" fmla="*/ 130965 h 161721"/>
                <a:gd name="connsiteX12" fmla="*/ 106160 w 141382"/>
                <a:gd name="connsiteY12" fmla="*/ 147335 h 161721"/>
                <a:gd name="connsiteX13" fmla="*/ 109137 w 141382"/>
                <a:gd name="connsiteY13" fmla="*/ 151800 h 161721"/>
                <a:gd name="connsiteX14" fmla="*/ 128980 w 141382"/>
                <a:gd name="connsiteY14" fmla="*/ 150808 h 161721"/>
                <a:gd name="connsiteX15" fmla="*/ 141382 w 141382"/>
                <a:gd name="connsiteY15" fmla="*/ 161722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1382" h="161721">
                  <a:moveTo>
                    <a:pt x="121539" y="161225"/>
                  </a:moveTo>
                  <a:lnTo>
                    <a:pt x="0" y="159737"/>
                  </a:lnTo>
                  <a:lnTo>
                    <a:pt x="0" y="0"/>
                  </a:lnTo>
                  <a:lnTo>
                    <a:pt x="87806" y="0"/>
                  </a:lnTo>
                  <a:lnTo>
                    <a:pt x="85821" y="21332"/>
                  </a:lnTo>
                  <a:lnTo>
                    <a:pt x="82349" y="40678"/>
                  </a:lnTo>
                  <a:lnTo>
                    <a:pt x="90286" y="52584"/>
                  </a:lnTo>
                  <a:lnTo>
                    <a:pt x="101696" y="52584"/>
                  </a:lnTo>
                  <a:lnTo>
                    <a:pt x="107153" y="78381"/>
                  </a:lnTo>
                  <a:lnTo>
                    <a:pt x="122531" y="106161"/>
                  </a:lnTo>
                  <a:lnTo>
                    <a:pt x="126004" y="130965"/>
                  </a:lnTo>
                  <a:lnTo>
                    <a:pt x="110129" y="130965"/>
                  </a:lnTo>
                  <a:lnTo>
                    <a:pt x="106160" y="147335"/>
                  </a:lnTo>
                  <a:lnTo>
                    <a:pt x="109137" y="151800"/>
                  </a:lnTo>
                  <a:lnTo>
                    <a:pt x="128980" y="150808"/>
                  </a:lnTo>
                  <a:lnTo>
                    <a:pt x="141382" y="16172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7FFE6A-58CD-4245-E0BE-9894A81FD0ED}"/>
                </a:ext>
              </a:extLst>
            </p:cNvPr>
            <p:cNvSpPr/>
            <p:nvPr/>
          </p:nvSpPr>
          <p:spPr>
            <a:xfrm>
              <a:off x="4554857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22BB1B-5B77-249C-11C5-6D9B3492C284}"/>
                </a:ext>
              </a:extLst>
            </p:cNvPr>
            <p:cNvSpPr/>
            <p:nvPr/>
          </p:nvSpPr>
          <p:spPr>
            <a:xfrm>
              <a:off x="5557431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45CD34-A1C2-DD25-E29A-972588E20A6C}"/>
                </a:ext>
              </a:extLst>
            </p:cNvPr>
            <p:cNvSpPr/>
            <p:nvPr/>
          </p:nvSpPr>
          <p:spPr>
            <a:xfrm>
              <a:off x="3796850" y="3953741"/>
              <a:ext cx="66474" cy="216289"/>
            </a:xfrm>
            <a:custGeom>
              <a:avLst/>
              <a:gdLst>
                <a:gd name="connsiteX0" fmla="*/ 0 w 66474"/>
                <a:gd name="connsiteY0" fmla="*/ 65978 h 216289"/>
                <a:gd name="connsiteX1" fmla="*/ 26788 w 66474"/>
                <a:gd name="connsiteY1" fmla="*/ 0 h 216289"/>
                <a:gd name="connsiteX2" fmla="*/ 65482 w 66474"/>
                <a:gd name="connsiteY2" fmla="*/ 55561 h 216289"/>
                <a:gd name="connsiteX3" fmla="*/ 65978 w 66474"/>
                <a:gd name="connsiteY3" fmla="*/ 132949 h 216289"/>
                <a:gd name="connsiteX4" fmla="*/ 32245 w 66474"/>
                <a:gd name="connsiteY4" fmla="*/ 132949 h 216289"/>
                <a:gd name="connsiteX5" fmla="*/ 29765 w 66474"/>
                <a:gd name="connsiteY5" fmla="*/ 141382 h 216289"/>
                <a:gd name="connsiteX6" fmla="*/ 30757 w 66474"/>
                <a:gd name="connsiteY6" fmla="*/ 147831 h 216289"/>
                <a:gd name="connsiteX7" fmla="*/ 66474 w 66474"/>
                <a:gd name="connsiteY7" fmla="*/ 150312 h 216289"/>
                <a:gd name="connsiteX8" fmla="*/ 65482 w 66474"/>
                <a:gd name="connsiteY8" fmla="*/ 214306 h 216289"/>
                <a:gd name="connsiteX9" fmla="*/ 0 w 66474"/>
                <a:gd name="connsiteY9" fmla="*/ 216290 h 21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74" h="216289">
                  <a:moveTo>
                    <a:pt x="0" y="65978"/>
                  </a:moveTo>
                  <a:lnTo>
                    <a:pt x="26788" y="0"/>
                  </a:lnTo>
                  <a:lnTo>
                    <a:pt x="65482" y="55561"/>
                  </a:lnTo>
                  <a:lnTo>
                    <a:pt x="65978" y="132949"/>
                  </a:lnTo>
                  <a:lnTo>
                    <a:pt x="32245" y="132949"/>
                  </a:lnTo>
                  <a:lnTo>
                    <a:pt x="29765" y="141382"/>
                  </a:lnTo>
                  <a:lnTo>
                    <a:pt x="30757" y="147831"/>
                  </a:lnTo>
                  <a:lnTo>
                    <a:pt x="66474" y="150312"/>
                  </a:lnTo>
                  <a:lnTo>
                    <a:pt x="65482" y="214306"/>
                  </a:lnTo>
                  <a:lnTo>
                    <a:pt x="0" y="216290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A6D0D17-C5B5-5206-51BB-83A118238932}"/>
                </a:ext>
              </a:extLst>
            </p:cNvPr>
            <p:cNvSpPr/>
            <p:nvPr/>
          </p:nvSpPr>
          <p:spPr>
            <a:xfrm>
              <a:off x="3528968" y="4920100"/>
              <a:ext cx="52088" cy="96735"/>
            </a:xfrm>
            <a:custGeom>
              <a:avLst/>
              <a:gdLst>
                <a:gd name="connsiteX0" fmla="*/ 0 w 52088"/>
                <a:gd name="connsiteY0" fmla="*/ 96735 h 96735"/>
                <a:gd name="connsiteX1" fmla="*/ 496 w 52088"/>
                <a:gd name="connsiteY1" fmla="*/ 24308 h 96735"/>
                <a:gd name="connsiteX2" fmla="*/ 24804 w 52088"/>
                <a:gd name="connsiteY2" fmla="*/ 0 h 96735"/>
                <a:gd name="connsiteX3" fmla="*/ 52088 w 52088"/>
                <a:gd name="connsiteY3" fmla="*/ 25300 h 96735"/>
                <a:gd name="connsiteX4" fmla="*/ 52088 w 52088"/>
                <a:gd name="connsiteY4" fmla="*/ 96735 h 9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88" h="96735">
                  <a:moveTo>
                    <a:pt x="0" y="96735"/>
                  </a:moveTo>
                  <a:lnTo>
                    <a:pt x="496" y="24308"/>
                  </a:lnTo>
                  <a:lnTo>
                    <a:pt x="24804" y="0"/>
                  </a:lnTo>
                  <a:lnTo>
                    <a:pt x="52088" y="25300"/>
                  </a:lnTo>
                  <a:lnTo>
                    <a:pt x="52088" y="96735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186056-5C26-854D-2F02-F88C611F1F5A}"/>
                </a:ext>
              </a:extLst>
            </p:cNvPr>
            <p:cNvSpPr/>
            <p:nvPr/>
          </p:nvSpPr>
          <p:spPr>
            <a:xfrm>
              <a:off x="4298881" y="4522437"/>
              <a:ext cx="437053" cy="864472"/>
            </a:xfrm>
            <a:custGeom>
              <a:avLst/>
              <a:gdLst>
                <a:gd name="connsiteX0" fmla="*/ 127988 w 437053"/>
                <a:gd name="connsiteY0" fmla="*/ 786092 h 864472"/>
                <a:gd name="connsiteX1" fmla="*/ 0 w 437053"/>
                <a:gd name="connsiteY1" fmla="*/ 853063 h 864472"/>
                <a:gd name="connsiteX2" fmla="*/ 86814 w 437053"/>
                <a:gd name="connsiteY2" fmla="*/ 863480 h 864472"/>
                <a:gd name="connsiteX3" fmla="*/ 98719 w 437053"/>
                <a:gd name="connsiteY3" fmla="*/ 844630 h 864472"/>
                <a:gd name="connsiteX4" fmla="*/ 112609 w 437053"/>
                <a:gd name="connsiteY4" fmla="*/ 864473 h 864472"/>
                <a:gd name="connsiteX5" fmla="*/ 127988 w 437053"/>
                <a:gd name="connsiteY5" fmla="*/ 864473 h 864472"/>
                <a:gd name="connsiteX6" fmla="*/ 134437 w 437053"/>
                <a:gd name="connsiteY6" fmla="*/ 831732 h 864472"/>
                <a:gd name="connsiteX7" fmla="*/ 160729 w 437053"/>
                <a:gd name="connsiteY7" fmla="*/ 828259 h 864472"/>
                <a:gd name="connsiteX8" fmla="*/ 166682 w 437053"/>
                <a:gd name="connsiteY8" fmla="*/ 863977 h 864472"/>
                <a:gd name="connsiteX9" fmla="*/ 182060 w 437053"/>
                <a:gd name="connsiteY9" fmla="*/ 860504 h 864472"/>
                <a:gd name="connsiteX10" fmla="*/ 197935 w 437053"/>
                <a:gd name="connsiteY10" fmla="*/ 838676 h 864472"/>
                <a:gd name="connsiteX11" fmla="*/ 208849 w 437053"/>
                <a:gd name="connsiteY11" fmla="*/ 860504 h 864472"/>
                <a:gd name="connsiteX12" fmla="*/ 294670 w 437053"/>
                <a:gd name="connsiteY12" fmla="*/ 851078 h 864472"/>
                <a:gd name="connsiteX13" fmla="*/ 166186 w 437053"/>
                <a:gd name="connsiteY13" fmla="*/ 782620 h 864472"/>
                <a:gd name="connsiteX14" fmla="*/ 221251 w 437053"/>
                <a:gd name="connsiteY14" fmla="*/ 508785 h 864472"/>
                <a:gd name="connsiteX15" fmla="*/ 416705 w 437053"/>
                <a:gd name="connsiteY15" fmla="*/ 509281 h 864472"/>
                <a:gd name="connsiteX16" fmla="*/ 416705 w 437053"/>
                <a:gd name="connsiteY16" fmla="*/ 460169 h 864472"/>
                <a:gd name="connsiteX17" fmla="*/ 437045 w 437053"/>
                <a:gd name="connsiteY17" fmla="*/ 421475 h 864472"/>
                <a:gd name="connsiteX18" fmla="*/ 416209 w 437053"/>
                <a:gd name="connsiteY18" fmla="*/ 387742 h 864472"/>
                <a:gd name="connsiteX19" fmla="*/ 417201 w 437053"/>
                <a:gd name="connsiteY19" fmla="*/ 326228 h 864472"/>
                <a:gd name="connsiteX20" fmla="*/ 376523 w 437053"/>
                <a:gd name="connsiteY20" fmla="*/ 285550 h 864472"/>
                <a:gd name="connsiteX21" fmla="*/ 418690 w 437053"/>
                <a:gd name="connsiteY21" fmla="*/ 201216 h 864472"/>
                <a:gd name="connsiteX22" fmla="*/ 378011 w 437053"/>
                <a:gd name="connsiteY22" fmla="*/ 191791 h 864472"/>
                <a:gd name="connsiteX23" fmla="*/ 341798 w 437053"/>
                <a:gd name="connsiteY23" fmla="*/ 263226 h 864472"/>
                <a:gd name="connsiteX24" fmla="*/ 309552 w 437053"/>
                <a:gd name="connsiteY24" fmla="*/ 263226 h 864472"/>
                <a:gd name="connsiteX25" fmla="*/ 303599 w 437053"/>
                <a:gd name="connsiteY25" fmla="*/ 269179 h 864472"/>
                <a:gd name="connsiteX26" fmla="*/ 302111 w 437053"/>
                <a:gd name="connsiteY26" fmla="*/ 287534 h 864472"/>
                <a:gd name="connsiteX27" fmla="*/ 286733 w 437053"/>
                <a:gd name="connsiteY27" fmla="*/ 268187 h 864472"/>
                <a:gd name="connsiteX28" fmla="*/ 266394 w 437053"/>
                <a:gd name="connsiteY28" fmla="*/ 261738 h 864472"/>
                <a:gd name="connsiteX29" fmla="*/ 213314 w 437053"/>
                <a:gd name="connsiteY29" fmla="*/ 220563 h 864472"/>
                <a:gd name="connsiteX30" fmla="*/ 206368 w 437053"/>
                <a:gd name="connsiteY30" fmla="*/ 16675 h 864472"/>
                <a:gd name="connsiteX31" fmla="*/ 101200 w 437053"/>
                <a:gd name="connsiteY31" fmla="*/ 212130 h 864472"/>
                <a:gd name="connsiteX32" fmla="*/ 73915 w 437053"/>
                <a:gd name="connsiteY32" fmla="*/ 267195 h 864472"/>
                <a:gd name="connsiteX33" fmla="*/ 30261 w 437053"/>
                <a:gd name="connsiteY33" fmla="*/ 408577 h 864472"/>
                <a:gd name="connsiteX34" fmla="*/ 64986 w 437053"/>
                <a:gd name="connsiteY34" fmla="*/ 430405 h 864472"/>
                <a:gd name="connsiteX35" fmla="*/ 64986 w 437053"/>
                <a:gd name="connsiteY35" fmla="*/ 512753 h 864472"/>
                <a:gd name="connsiteX36" fmla="*/ 127988 w 437053"/>
                <a:gd name="connsiteY36" fmla="*/ 786092 h 86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053" h="864472">
                  <a:moveTo>
                    <a:pt x="127988" y="786092"/>
                  </a:moveTo>
                  <a:cubicBezTo>
                    <a:pt x="127988" y="786092"/>
                    <a:pt x="19347" y="829747"/>
                    <a:pt x="0" y="853063"/>
                  </a:cubicBezTo>
                  <a:cubicBezTo>
                    <a:pt x="5457" y="863977"/>
                    <a:pt x="45639" y="864969"/>
                    <a:pt x="86814" y="863480"/>
                  </a:cubicBezTo>
                  <a:lnTo>
                    <a:pt x="98719" y="844630"/>
                  </a:lnTo>
                  <a:lnTo>
                    <a:pt x="112609" y="864473"/>
                  </a:lnTo>
                  <a:lnTo>
                    <a:pt x="127988" y="864473"/>
                  </a:lnTo>
                  <a:lnTo>
                    <a:pt x="134437" y="831732"/>
                  </a:lnTo>
                  <a:lnTo>
                    <a:pt x="160729" y="828259"/>
                  </a:lnTo>
                  <a:lnTo>
                    <a:pt x="166682" y="863977"/>
                  </a:lnTo>
                  <a:lnTo>
                    <a:pt x="182060" y="860504"/>
                  </a:lnTo>
                  <a:lnTo>
                    <a:pt x="197935" y="838676"/>
                  </a:lnTo>
                  <a:lnTo>
                    <a:pt x="208849" y="860504"/>
                  </a:lnTo>
                  <a:cubicBezTo>
                    <a:pt x="208849" y="860504"/>
                    <a:pt x="284749" y="863480"/>
                    <a:pt x="294670" y="851078"/>
                  </a:cubicBezTo>
                  <a:cubicBezTo>
                    <a:pt x="304592" y="838180"/>
                    <a:pt x="166186" y="782620"/>
                    <a:pt x="166186" y="782620"/>
                  </a:cubicBezTo>
                  <a:lnTo>
                    <a:pt x="221251" y="508785"/>
                  </a:lnTo>
                  <a:lnTo>
                    <a:pt x="416705" y="509281"/>
                  </a:lnTo>
                  <a:lnTo>
                    <a:pt x="416705" y="460169"/>
                  </a:lnTo>
                  <a:cubicBezTo>
                    <a:pt x="416705" y="460169"/>
                    <a:pt x="437541" y="456697"/>
                    <a:pt x="437045" y="421475"/>
                  </a:cubicBezTo>
                  <a:cubicBezTo>
                    <a:pt x="436549" y="386253"/>
                    <a:pt x="416209" y="387742"/>
                    <a:pt x="416209" y="387742"/>
                  </a:cubicBezTo>
                  <a:lnTo>
                    <a:pt x="417201" y="326228"/>
                  </a:lnTo>
                  <a:lnTo>
                    <a:pt x="376523" y="285550"/>
                  </a:lnTo>
                  <a:lnTo>
                    <a:pt x="418690" y="201216"/>
                  </a:lnTo>
                  <a:cubicBezTo>
                    <a:pt x="418690" y="201216"/>
                    <a:pt x="405792" y="182862"/>
                    <a:pt x="378011" y="191791"/>
                  </a:cubicBezTo>
                  <a:lnTo>
                    <a:pt x="341798" y="263226"/>
                  </a:lnTo>
                  <a:lnTo>
                    <a:pt x="309552" y="263226"/>
                  </a:lnTo>
                  <a:lnTo>
                    <a:pt x="303599" y="269179"/>
                  </a:lnTo>
                  <a:lnTo>
                    <a:pt x="302111" y="287534"/>
                  </a:lnTo>
                  <a:lnTo>
                    <a:pt x="286733" y="268187"/>
                  </a:lnTo>
                  <a:lnTo>
                    <a:pt x="266394" y="261738"/>
                  </a:lnTo>
                  <a:lnTo>
                    <a:pt x="213314" y="220563"/>
                  </a:lnTo>
                  <a:cubicBezTo>
                    <a:pt x="229684" y="212130"/>
                    <a:pt x="296158" y="102001"/>
                    <a:pt x="206368" y="16675"/>
                  </a:cubicBezTo>
                  <a:cubicBezTo>
                    <a:pt x="98719" y="-56744"/>
                    <a:pt x="24308" y="131269"/>
                    <a:pt x="101200" y="212130"/>
                  </a:cubicBezTo>
                  <a:cubicBezTo>
                    <a:pt x="89790" y="239415"/>
                    <a:pt x="73915" y="267195"/>
                    <a:pt x="73915" y="267195"/>
                  </a:cubicBezTo>
                  <a:cubicBezTo>
                    <a:pt x="73915" y="267195"/>
                    <a:pt x="15378" y="388238"/>
                    <a:pt x="30261" y="408577"/>
                  </a:cubicBezTo>
                  <a:cubicBezTo>
                    <a:pt x="44647" y="428916"/>
                    <a:pt x="64986" y="430405"/>
                    <a:pt x="64986" y="430405"/>
                  </a:cubicBezTo>
                  <a:lnTo>
                    <a:pt x="64986" y="512753"/>
                  </a:lnTo>
                  <a:lnTo>
                    <a:pt x="127988" y="78609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36F5BDC-5ABA-8737-819E-016DBBDE8941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E5594BE-B8CA-2D25-8B83-3C551D53D5A1}"/>
                </a:ext>
              </a:extLst>
            </p:cNvPr>
            <p:cNvSpPr/>
            <p:nvPr/>
          </p:nvSpPr>
          <p:spPr>
            <a:xfrm>
              <a:off x="4363371" y="5034694"/>
              <a:ext cx="153784" cy="298142"/>
            </a:xfrm>
            <a:custGeom>
              <a:avLst/>
              <a:gdLst>
                <a:gd name="connsiteX0" fmla="*/ 0 w 153784"/>
                <a:gd name="connsiteY0" fmla="*/ 0 h 298142"/>
                <a:gd name="connsiteX1" fmla="*/ 67962 w 153784"/>
                <a:gd name="connsiteY1" fmla="*/ 292190 h 298142"/>
                <a:gd name="connsiteX2" fmla="*/ 69947 w 153784"/>
                <a:gd name="connsiteY2" fmla="*/ 298143 h 298142"/>
                <a:gd name="connsiteX3" fmla="*/ 96735 w 153784"/>
                <a:gd name="connsiteY3" fmla="*/ 296654 h 298142"/>
                <a:gd name="connsiteX4" fmla="*/ 153784 w 153784"/>
                <a:gd name="connsiteY4" fmla="*/ 17363 h 298142"/>
                <a:gd name="connsiteX5" fmla="*/ 145847 w 153784"/>
                <a:gd name="connsiteY5" fmla="*/ 11410 h 298142"/>
                <a:gd name="connsiteX6" fmla="*/ 0 w 153784"/>
                <a:gd name="connsiteY6" fmla="*/ 0 h 29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784" h="298142">
                  <a:moveTo>
                    <a:pt x="0" y="0"/>
                  </a:moveTo>
                  <a:lnTo>
                    <a:pt x="67962" y="292190"/>
                  </a:lnTo>
                  <a:lnTo>
                    <a:pt x="69947" y="298143"/>
                  </a:lnTo>
                  <a:lnTo>
                    <a:pt x="96735" y="296654"/>
                  </a:lnTo>
                  <a:lnTo>
                    <a:pt x="153784" y="17363"/>
                  </a:lnTo>
                  <a:cubicBezTo>
                    <a:pt x="153784" y="17363"/>
                    <a:pt x="149815" y="11906"/>
                    <a:pt x="145847" y="11410"/>
                  </a:cubicBezTo>
                  <a:cubicBezTo>
                    <a:pt x="142374" y="114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C03439F7-AB7B-16C0-C20F-B4B6EF2378B1}"/>
                </a:ext>
              </a:extLst>
            </p:cNvPr>
            <p:cNvSpPr/>
            <p:nvPr/>
          </p:nvSpPr>
          <p:spPr>
            <a:xfrm>
              <a:off x="5818766" y="4589119"/>
              <a:ext cx="76095" cy="65677"/>
            </a:xfrm>
            <a:custGeom>
              <a:avLst/>
              <a:gdLst>
                <a:gd name="connsiteX0" fmla="*/ 64588 w 76095"/>
                <a:gd name="connsiteY0" fmla="*/ 45241 h 65677"/>
                <a:gd name="connsiteX1" fmla="*/ 37304 w 76095"/>
                <a:gd name="connsiteY1" fmla="*/ 62107 h 65677"/>
                <a:gd name="connsiteX2" fmla="*/ 3570 w 76095"/>
                <a:gd name="connsiteY2" fmla="*/ 54170 h 65677"/>
                <a:gd name="connsiteX3" fmla="*/ 3570 w 76095"/>
                <a:gd name="connsiteY3" fmla="*/ 54170 h 65677"/>
                <a:gd name="connsiteX4" fmla="*/ 11507 w 76095"/>
                <a:gd name="connsiteY4" fmla="*/ 20437 h 65677"/>
                <a:gd name="connsiteX5" fmla="*/ 38792 w 76095"/>
                <a:gd name="connsiteY5" fmla="*/ 3570 h 65677"/>
                <a:gd name="connsiteX6" fmla="*/ 72525 w 76095"/>
                <a:gd name="connsiteY6" fmla="*/ 11508 h 65677"/>
                <a:gd name="connsiteX7" fmla="*/ 72525 w 76095"/>
                <a:gd name="connsiteY7" fmla="*/ 11508 h 65677"/>
                <a:gd name="connsiteX8" fmla="*/ 64588 w 76095"/>
                <a:gd name="connsiteY8" fmla="*/ 45241 h 6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95" h="65677">
                  <a:moveTo>
                    <a:pt x="64588" y="45241"/>
                  </a:moveTo>
                  <a:lnTo>
                    <a:pt x="37304" y="62107"/>
                  </a:lnTo>
                  <a:cubicBezTo>
                    <a:pt x="25894" y="69053"/>
                    <a:pt x="10516" y="65580"/>
                    <a:pt x="3570" y="54170"/>
                  </a:cubicBezTo>
                  <a:lnTo>
                    <a:pt x="3570" y="54170"/>
                  </a:lnTo>
                  <a:cubicBezTo>
                    <a:pt x="-3375" y="42761"/>
                    <a:pt x="98" y="27382"/>
                    <a:pt x="11507" y="20437"/>
                  </a:cubicBezTo>
                  <a:lnTo>
                    <a:pt x="38792" y="3570"/>
                  </a:lnTo>
                  <a:cubicBezTo>
                    <a:pt x="50202" y="-3375"/>
                    <a:pt x="65580" y="98"/>
                    <a:pt x="72525" y="11508"/>
                  </a:cubicBezTo>
                  <a:lnTo>
                    <a:pt x="72525" y="11508"/>
                  </a:lnTo>
                  <a:cubicBezTo>
                    <a:pt x="79471" y="22917"/>
                    <a:pt x="75998" y="37800"/>
                    <a:pt x="64588" y="45241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139CA7B2-3C10-010E-FDBE-80A519EDCBB7}"/>
                </a:ext>
              </a:extLst>
            </p:cNvPr>
            <p:cNvSpPr/>
            <p:nvPr/>
          </p:nvSpPr>
          <p:spPr>
            <a:xfrm>
              <a:off x="5785682" y="4561786"/>
              <a:ext cx="51040" cy="44296"/>
            </a:xfrm>
            <a:custGeom>
              <a:avLst/>
              <a:gdLst>
                <a:gd name="connsiteX0" fmla="*/ 28717 w 51040"/>
                <a:gd name="connsiteY0" fmla="*/ 7091 h 44296"/>
                <a:gd name="connsiteX1" fmla="*/ 51040 w 51040"/>
                <a:gd name="connsiteY1" fmla="*/ 44297 h 44296"/>
                <a:gd name="connsiteX2" fmla="*/ 10361 w 51040"/>
                <a:gd name="connsiteY2" fmla="*/ 29910 h 44296"/>
                <a:gd name="connsiteX3" fmla="*/ 3417 w 51040"/>
                <a:gd name="connsiteY3" fmla="*/ 5603 h 44296"/>
                <a:gd name="connsiteX4" fmla="*/ 28717 w 51040"/>
                <a:gd name="connsiteY4" fmla="*/ 7091 h 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40" h="44296">
                  <a:moveTo>
                    <a:pt x="28717" y="7091"/>
                  </a:moveTo>
                  <a:cubicBezTo>
                    <a:pt x="41615" y="18004"/>
                    <a:pt x="51040" y="44297"/>
                    <a:pt x="51040" y="44297"/>
                  </a:cubicBezTo>
                  <a:cubicBezTo>
                    <a:pt x="51040" y="44297"/>
                    <a:pt x="23756" y="40824"/>
                    <a:pt x="10361" y="29910"/>
                  </a:cubicBezTo>
                  <a:cubicBezTo>
                    <a:pt x="-2536" y="18997"/>
                    <a:pt x="-1544" y="11556"/>
                    <a:pt x="3417" y="5603"/>
                  </a:cubicBezTo>
                  <a:cubicBezTo>
                    <a:pt x="8378" y="-350"/>
                    <a:pt x="15322" y="-3823"/>
                    <a:pt x="28717" y="709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3D6B519D-BB40-BA7D-D633-1FA08442CE13}"/>
                </a:ext>
              </a:extLst>
            </p:cNvPr>
            <p:cNvSpPr/>
            <p:nvPr/>
          </p:nvSpPr>
          <p:spPr>
            <a:xfrm>
              <a:off x="5820012" y="4536480"/>
              <a:ext cx="34261" cy="71090"/>
            </a:xfrm>
            <a:custGeom>
              <a:avLst/>
              <a:gdLst>
                <a:gd name="connsiteX0" fmla="*/ 34074 w 34261"/>
                <a:gd name="connsiteY0" fmla="*/ 22475 h 71090"/>
                <a:gd name="connsiteX1" fmla="*/ 21672 w 34261"/>
                <a:gd name="connsiteY1" fmla="*/ 71091 h 71090"/>
                <a:gd name="connsiteX2" fmla="*/ 340 w 34261"/>
                <a:gd name="connsiteY2" fmla="*/ 25948 h 71090"/>
                <a:gd name="connsiteX3" fmla="*/ 14727 w 34261"/>
                <a:gd name="connsiteY3" fmla="*/ 152 h 71090"/>
                <a:gd name="connsiteX4" fmla="*/ 34074 w 34261"/>
                <a:gd name="connsiteY4" fmla="*/ 22475 h 7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61" h="71090">
                  <a:moveTo>
                    <a:pt x="34074" y="22475"/>
                  </a:moveTo>
                  <a:cubicBezTo>
                    <a:pt x="36058" y="41823"/>
                    <a:pt x="21672" y="71091"/>
                    <a:pt x="21672" y="71091"/>
                  </a:cubicBezTo>
                  <a:cubicBezTo>
                    <a:pt x="21672" y="71091"/>
                    <a:pt x="2325" y="45295"/>
                    <a:pt x="340" y="25948"/>
                  </a:cubicBezTo>
                  <a:cubicBezTo>
                    <a:pt x="-1644" y="6601"/>
                    <a:pt x="5301" y="1144"/>
                    <a:pt x="14727" y="152"/>
                  </a:cubicBezTo>
                  <a:cubicBezTo>
                    <a:pt x="24152" y="-840"/>
                    <a:pt x="32089" y="2632"/>
                    <a:pt x="34074" y="22475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618B1893-3C4A-C28D-3C80-A5BDC82A49E6}"/>
                </a:ext>
              </a:extLst>
            </p:cNvPr>
            <p:cNvSpPr/>
            <p:nvPr/>
          </p:nvSpPr>
          <p:spPr>
            <a:xfrm>
              <a:off x="6021318" y="4735529"/>
              <a:ext cx="77860" cy="63062"/>
            </a:xfrm>
            <a:custGeom>
              <a:avLst/>
              <a:gdLst>
                <a:gd name="connsiteX0" fmla="*/ 13836 w 77860"/>
                <a:gd name="connsiteY0" fmla="*/ 46662 h 63062"/>
                <a:gd name="connsiteX1" fmla="*/ 42608 w 77860"/>
                <a:gd name="connsiteY1" fmla="*/ 60552 h 63062"/>
                <a:gd name="connsiteX2" fmla="*/ 75350 w 77860"/>
                <a:gd name="connsiteY2" fmla="*/ 49142 h 63062"/>
                <a:gd name="connsiteX3" fmla="*/ 75350 w 77860"/>
                <a:gd name="connsiteY3" fmla="*/ 49142 h 63062"/>
                <a:gd name="connsiteX4" fmla="*/ 63940 w 77860"/>
                <a:gd name="connsiteY4" fmla="*/ 16401 h 63062"/>
                <a:gd name="connsiteX5" fmla="*/ 35167 w 77860"/>
                <a:gd name="connsiteY5" fmla="*/ 2511 h 63062"/>
                <a:gd name="connsiteX6" fmla="*/ 2426 w 77860"/>
                <a:gd name="connsiteY6" fmla="*/ 13921 h 63062"/>
                <a:gd name="connsiteX7" fmla="*/ 2426 w 77860"/>
                <a:gd name="connsiteY7" fmla="*/ 13921 h 63062"/>
                <a:gd name="connsiteX8" fmla="*/ 13836 w 77860"/>
                <a:gd name="connsiteY8" fmla="*/ 46662 h 6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60" h="63062">
                  <a:moveTo>
                    <a:pt x="13836" y="46662"/>
                  </a:moveTo>
                  <a:lnTo>
                    <a:pt x="42608" y="60552"/>
                  </a:lnTo>
                  <a:cubicBezTo>
                    <a:pt x="55010" y="66505"/>
                    <a:pt x="69396" y="61544"/>
                    <a:pt x="75350" y="49142"/>
                  </a:cubicBezTo>
                  <a:lnTo>
                    <a:pt x="75350" y="49142"/>
                  </a:lnTo>
                  <a:cubicBezTo>
                    <a:pt x="81302" y="36740"/>
                    <a:pt x="76342" y="22354"/>
                    <a:pt x="63940" y="16401"/>
                  </a:cubicBezTo>
                  <a:lnTo>
                    <a:pt x="35167" y="2511"/>
                  </a:lnTo>
                  <a:cubicBezTo>
                    <a:pt x="22765" y="-3442"/>
                    <a:pt x="8379" y="1519"/>
                    <a:pt x="2426" y="13921"/>
                  </a:cubicBezTo>
                  <a:lnTo>
                    <a:pt x="2426" y="13921"/>
                  </a:lnTo>
                  <a:cubicBezTo>
                    <a:pt x="-3527" y="26323"/>
                    <a:pt x="1930" y="40709"/>
                    <a:pt x="13836" y="46662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98092DDA-73BB-D8D6-3053-0B63664C57E5}"/>
                </a:ext>
              </a:extLst>
            </p:cNvPr>
            <p:cNvSpPr/>
            <p:nvPr/>
          </p:nvSpPr>
          <p:spPr>
            <a:xfrm>
              <a:off x="6078808" y="4700616"/>
              <a:ext cx="47396" cy="48337"/>
            </a:xfrm>
            <a:custGeom>
              <a:avLst/>
              <a:gdLst>
                <a:gd name="connsiteX0" fmla="*/ 17859 w 47396"/>
                <a:gd name="connsiteY0" fmla="*/ 9147 h 48337"/>
                <a:gd name="connsiteX1" fmla="*/ 0 w 47396"/>
                <a:gd name="connsiteY1" fmla="*/ 48337 h 48337"/>
                <a:gd name="connsiteX2" fmla="*/ 38694 w 47396"/>
                <a:gd name="connsiteY2" fmla="*/ 29486 h 48337"/>
                <a:gd name="connsiteX3" fmla="*/ 42663 w 47396"/>
                <a:gd name="connsiteY3" fmla="*/ 4683 h 48337"/>
                <a:gd name="connsiteX4" fmla="*/ 17859 w 47396"/>
                <a:gd name="connsiteY4" fmla="*/ 9147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96" h="48337">
                  <a:moveTo>
                    <a:pt x="17859" y="9147"/>
                  </a:moveTo>
                  <a:cubicBezTo>
                    <a:pt x="5953" y="21053"/>
                    <a:pt x="0" y="48337"/>
                    <a:pt x="0" y="48337"/>
                  </a:cubicBezTo>
                  <a:cubicBezTo>
                    <a:pt x="0" y="48337"/>
                    <a:pt x="26788" y="41888"/>
                    <a:pt x="38694" y="29486"/>
                  </a:cubicBezTo>
                  <a:cubicBezTo>
                    <a:pt x="50600" y="17580"/>
                    <a:pt x="48616" y="10139"/>
                    <a:pt x="42663" y="4683"/>
                  </a:cubicBezTo>
                  <a:cubicBezTo>
                    <a:pt x="37206" y="-1270"/>
                    <a:pt x="29765" y="-3255"/>
                    <a:pt x="17859" y="9147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AC9108BF-BC2F-7817-ED5E-2C8E42CF5A42}"/>
                </a:ext>
              </a:extLst>
            </p:cNvPr>
            <p:cNvSpPr/>
            <p:nvPr/>
          </p:nvSpPr>
          <p:spPr>
            <a:xfrm>
              <a:off x="6055989" y="4680459"/>
              <a:ext cx="33744" cy="70975"/>
            </a:xfrm>
            <a:custGeom>
              <a:avLst/>
              <a:gdLst>
                <a:gd name="connsiteX0" fmla="*/ 0 w 33744"/>
                <a:gd name="connsiteY0" fmla="*/ 23848 h 70975"/>
                <a:gd name="connsiteX1" fmla="*/ 17363 w 33744"/>
                <a:gd name="connsiteY1" fmla="*/ 70975 h 70975"/>
                <a:gd name="connsiteX2" fmla="*/ 33734 w 33744"/>
                <a:gd name="connsiteY2" fmla="*/ 23848 h 70975"/>
                <a:gd name="connsiteX3" fmla="*/ 16371 w 33744"/>
                <a:gd name="connsiteY3" fmla="*/ 36 h 70975"/>
                <a:gd name="connsiteX4" fmla="*/ 0 w 33744"/>
                <a:gd name="connsiteY4" fmla="*/ 23848 h 7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44" h="70975">
                  <a:moveTo>
                    <a:pt x="0" y="23848"/>
                  </a:moveTo>
                  <a:cubicBezTo>
                    <a:pt x="0" y="43691"/>
                    <a:pt x="17363" y="70975"/>
                    <a:pt x="17363" y="70975"/>
                  </a:cubicBezTo>
                  <a:cubicBezTo>
                    <a:pt x="17363" y="70975"/>
                    <a:pt x="34230" y="43195"/>
                    <a:pt x="33734" y="23848"/>
                  </a:cubicBezTo>
                  <a:cubicBezTo>
                    <a:pt x="33238" y="4501"/>
                    <a:pt x="25796" y="36"/>
                    <a:pt x="16371" y="36"/>
                  </a:cubicBezTo>
                  <a:cubicBezTo>
                    <a:pt x="7441" y="-460"/>
                    <a:pt x="0" y="4005"/>
                    <a:pt x="0" y="23848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903FD3C1-575A-F608-4888-6099A796E77D}"/>
                </a:ext>
              </a:extLst>
            </p:cNvPr>
            <p:cNvSpPr/>
            <p:nvPr/>
          </p:nvSpPr>
          <p:spPr>
            <a:xfrm>
              <a:off x="6017295" y="4900753"/>
              <a:ext cx="103679" cy="112113"/>
            </a:xfrm>
            <a:custGeom>
              <a:avLst/>
              <a:gdLst>
                <a:gd name="connsiteX0" fmla="*/ 90286 w 103679"/>
                <a:gd name="connsiteY0" fmla="*/ 56057 h 112113"/>
                <a:gd name="connsiteX1" fmla="*/ 103680 w 103679"/>
                <a:gd name="connsiteY1" fmla="*/ 37702 h 112113"/>
                <a:gd name="connsiteX2" fmla="*/ 84333 w 103679"/>
                <a:gd name="connsiteY2" fmla="*/ 18851 h 112113"/>
                <a:gd name="connsiteX3" fmla="*/ 70939 w 103679"/>
                <a:gd name="connsiteY3" fmla="*/ 24308 h 112113"/>
                <a:gd name="connsiteX4" fmla="*/ 71435 w 103679"/>
                <a:gd name="connsiteY4" fmla="*/ 19347 h 112113"/>
                <a:gd name="connsiteX5" fmla="*/ 52088 w 103679"/>
                <a:gd name="connsiteY5" fmla="*/ 0 h 112113"/>
                <a:gd name="connsiteX6" fmla="*/ 32741 w 103679"/>
                <a:gd name="connsiteY6" fmla="*/ 19347 h 112113"/>
                <a:gd name="connsiteX7" fmla="*/ 33237 w 103679"/>
                <a:gd name="connsiteY7" fmla="*/ 23812 h 112113"/>
                <a:gd name="connsiteX8" fmla="*/ 19843 w 103679"/>
                <a:gd name="connsiteY8" fmla="*/ 18355 h 112113"/>
                <a:gd name="connsiteX9" fmla="*/ 496 w 103679"/>
                <a:gd name="connsiteY9" fmla="*/ 37702 h 112113"/>
                <a:gd name="connsiteX10" fmla="*/ 14386 w 103679"/>
                <a:gd name="connsiteY10" fmla="*/ 56057 h 112113"/>
                <a:gd name="connsiteX11" fmla="*/ 0 w 103679"/>
                <a:gd name="connsiteY11" fmla="*/ 74412 h 112113"/>
                <a:gd name="connsiteX12" fmla="*/ 19347 w 103679"/>
                <a:gd name="connsiteY12" fmla="*/ 93759 h 112113"/>
                <a:gd name="connsiteX13" fmla="*/ 32741 w 103679"/>
                <a:gd name="connsiteY13" fmla="*/ 88302 h 112113"/>
                <a:gd name="connsiteX14" fmla="*/ 32245 w 103679"/>
                <a:gd name="connsiteY14" fmla="*/ 92766 h 112113"/>
                <a:gd name="connsiteX15" fmla="*/ 51592 w 103679"/>
                <a:gd name="connsiteY15" fmla="*/ 112113 h 112113"/>
                <a:gd name="connsiteX16" fmla="*/ 70939 w 103679"/>
                <a:gd name="connsiteY16" fmla="*/ 92766 h 112113"/>
                <a:gd name="connsiteX17" fmla="*/ 70443 w 103679"/>
                <a:gd name="connsiteY17" fmla="*/ 87806 h 112113"/>
                <a:gd name="connsiteX18" fmla="*/ 83837 w 103679"/>
                <a:gd name="connsiteY18" fmla="*/ 93263 h 112113"/>
                <a:gd name="connsiteX19" fmla="*/ 103184 w 103679"/>
                <a:gd name="connsiteY19" fmla="*/ 73915 h 112113"/>
                <a:gd name="connsiteX20" fmla="*/ 90286 w 103679"/>
                <a:gd name="connsiteY20" fmla="*/ 56057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3679" h="112113">
                  <a:moveTo>
                    <a:pt x="90286" y="56057"/>
                  </a:moveTo>
                  <a:cubicBezTo>
                    <a:pt x="98223" y="53576"/>
                    <a:pt x="103680" y="46631"/>
                    <a:pt x="103680" y="37702"/>
                  </a:cubicBezTo>
                  <a:cubicBezTo>
                    <a:pt x="103680" y="27284"/>
                    <a:pt x="95247" y="18851"/>
                    <a:pt x="84333" y="18851"/>
                  </a:cubicBezTo>
                  <a:cubicBezTo>
                    <a:pt x="79372" y="18851"/>
                    <a:pt x="74412" y="20835"/>
                    <a:pt x="70939" y="24308"/>
                  </a:cubicBezTo>
                  <a:cubicBezTo>
                    <a:pt x="71435" y="22819"/>
                    <a:pt x="71435" y="21331"/>
                    <a:pt x="71435" y="19347"/>
                  </a:cubicBezTo>
                  <a:cubicBezTo>
                    <a:pt x="71435" y="8929"/>
                    <a:pt x="63002" y="0"/>
                    <a:pt x="52088" y="0"/>
                  </a:cubicBezTo>
                  <a:cubicBezTo>
                    <a:pt x="41670" y="0"/>
                    <a:pt x="32741" y="8433"/>
                    <a:pt x="32741" y="19347"/>
                  </a:cubicBezTo>
                  <a:cubicBezTo>
                    <a:pt x="32741" y="20835"/>
                    <a:pt x="32741" y="22324"/>
                    <a:pt x="33237" y="23812"/>
                  </a:cubicBezTo>
                  <a:cubicBezTo>
                    <a:pt x="29765" y="20339"/>
                    <a:pt x="25300" y="18355"/>
                    <a:pt x="19843" y="18355"/>
                  </a:cubicBezTo>
                  <a:cubicBezTo>
                    <a:pt x="9425" y="18355"/>
                    <a:pt x="496" y="26788"/>
                    <a:pt x="496" y="37702"/>
                  </a:cubicBezTo>
                  <a:cubicBezTo>
                    <a:pt x="496" y="46631"/>
                    <a:pt x="6449" y="54072"/>
                    <a:pt x="14386" y="56057"/>
                  </a:cubicBezTo>
                  <a:cubicBezTo>
                    <a:pt x="6449" y="58041"/>
                    <a:pt x="0" y="65482"/>
                    <a:pt x="0" y="74412"/>
                  </a:cubicBezTo>
                  <a:cubicBezTo>
                    <a:pt x="0" y="84829"/>
                    <a:pt x="8433" y="93759"/>
                    <a:pt x="19347" y="93759"/>
                  </a:cubicBezTo>
                  <a:cubicBezTo>
                    <a:pt x="24307" y="93759"/>
                    <a:pt x="29268" y="91774"/>
                    <a:pt x="32741" y="88302"/>
                  </a:cubicBezTo>
                  <a:cubicBezTo>
                    <a:pt x="32245" y="89790"/>
                    <a:pt x="32245" y="91278"/>
                    <a:pt x="32245" y="92766"/>
                  </a:cubicBezTo>
                  <a:cubicBezTo>
                    <a:pt x="32245" y="103184"/>
                    <a:pt x="40678" y="112113"/>
                    <a:pt x="51592" y="112113"/>
                  </a:cubicBezTo>
                  <a:cubicBezTo>
                    <a:pt x="62010" y="112113"/>
                    <a:pt x="70939" y="103680"/>
                    <a:pt x="70939" y="92766"/>
                  </a:cubicBezTo>
                  <a:cubicBezTo>
                    <a:pt x="70939" y="91278"/>
                    <a:pt x="70939" y="89294"/>
                    <a:pt x="70443" y="87806"/>
                  </a:cubicBezTo>
                  <a:cubicBezTo>
                    <a:pt x="73915" y="91278"/>
                    <a:pt x="78380" y="93263"/>
                    <a:pt x="83837" y="93263"/>
                  </a:cubicBezTo>
                  <a:cubicBezTo>
                    <a:pt x="94255" y="93263"/>
                    <a:pt x="103184" y="84829"/>
                    <a:pt x="103184" y="73915"/>
                  </a:cubicBezTo>
                  <a:cubicBezTo>
                    <a:pt x="103680" y="65978"/>
                    <a:pt x="98223" y="58537"/>
                    <a:pt x="90286" y="56057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09590594-C333-C534-2DA2-8B866F0FB9A7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734D49E5-BA0C-C32E-0FF7-9BD1DC123684}"/>
                </a:ext>
              </a:extLst>
            </p:cNvPr>
            <p:cNvSpPr/>
            <p:nvPr/>
          </p:nvSpPr>
          <p:spPr>
            <a:xfrm>
              <a:off x="6062762" y="5091144"/>
              <a:ext cx="49455" cy="49386"/>
            </a:xfrm>
            <a:custGeom>
              <a:avLst/>
              <a:gdLst>
                <a:gd name="connsiteX0" fmla="*/ 172 w 49455"/>
                <a:gd name="connsiteY0" fmla="*/ 49215 h 49386"/>
                <a:gd name="connsiteX1" fmla="*/ 11582 w 49455"/>
                <a:gd name="connsiteY1" fmla="*/ 11513 h 49386"/>
                <a:gd name="connsiteX2" fmla="*/ 49284 w 49455"/>
                <a:gd name="connsiteY2" fmla="*/ 104 h 49386"/>
                <a:gd name="connsiteX3" fmla="*/ 37874 w 49455"/>
                <a:gd name="connsiteY3" fmla="*/ 37805 h 49386"/>
                <a:gd name="connsiteX4" fmla="*/ 172 w 49455"/>
                <a:gd name="connsiteY4" fmla="*/ 49215 h 4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5" h="49386">
                  <a:moveTo>
                    <a:pt x="172" y="49215"/>
                  </a:moveTo>
                  <a:cubicBezTo>
                    <a:pt x="172" y="49215"/>
                    <a:pt x="-2309" y="24908"/>
                    <a:pt x="11582" y="11513"/>
                  </a:cubicBezTo>
                  <a:cubicBezTo>
                    <a:pt x="25472" y="-1881"/>
                    <a:pt x="49284" y="104"/>
                    <a:pt x="49284" y="104"/>
                  </a:cubicBezTo>
                  <a:cubicBezTo>
                    <a:pt x="49284" y="104"/>
                    <a:pt x="51764" y="24411"/>
                    <a:pt x="37874" y="37805"/>
                  </a:cubicBezTo>
                  <a:cubicBezTo>
                    <a:pt x="24480" y="51695"/>
                    <a:pt x="172" y="49215"/>
                    <a:pt x="172" y="49215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D4ABA20F-1BE4-5C8C-F634-38E85F3B041A}"/>
                </a:ext>
              </a:extLst>
            </p:cNvPr>
            <p:cNvSpPr/>
            <p:nvPr/>
          </p:nvSpPr>
          <p:spPr>
            <a:xfrm>
              <a:off x="5900545" y="4925315"/>
              <a:ext cx="69793" cy="69935"/>
            </a:xfrm>
            <a:custGeom>
              <a:avLst/>
              <a:gdLst>
                <a:gd name="connsiteX0" fmla="*/ 172 w 69793"/>
                <a:gd name="connsiteY0" fmla="*/ 69693 h 69935"/>
                <a:gd name="connsiteX1" fmla="*/ 16046 w 69793"/>
                <a:gd name="connsiteY1" fmla="*/ 16117 h 69935"/>
                <a:gd name="connsiteX2" fmla="*/ 69622 w 69793"/>
                <a:gd name="connsiteY2" fmla="*/ 242 h 69935"/>
                <a:gd name="connsiteX3" fmla="*/ 53748 w 69793"/>
                <a:gd name="connsiteY3" fmla="*/ 53819 h 69935"/>
                <a:gd name="connsiteX4" fmla="*/ 172 w 69793"/>
                <a:gd name="connsiteY4" fmla="*/ 69693 h 6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93" h="69935">
                  <a:moveTo>
                    <a:pt x="172" y="69693"/>
                  </a:moveTo>
                  <a:cubicBezTo>
                    <a:pt x="172" y="69693"/>
                    <a:pt x="-2805" y="35464"/>
                    <a:pt x="16046" y="16117"/>
                  </a:cubicBezTo>
                  <a:cubicBezTo>
                    <a:pt x="34897" y="-3230"/>
                    <a:pt x="69622" y="242"/>
                    <a:pt x="69622" y="242"/>
                  </a:cubicBezTo>
                  <a:cubicBezTo>
                    <a:pt x="69622" y="242"/>
                    <a:pt x="72599" y="34472"/>
                    <a:pt x="53748" y="53819"/>
                  </a:cubicBezTo>
                  <a:cubicBezTo>
                    <a:pt x="34897" y="73166"/>
                    <a:pt x="172" y="69693"/>
                    <a:pt x="172" y="69693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FABC9B76-DAD8-90AA-A406-807098E4A4C1}"/>
                </a:ext>
              </a:extLst>
            </p:cNvPr>
            <p:cNvSpPr/>
            <p:nvPr/>
          </p:nvSpPr>
          <p:spPr>
            <a:xfrm>
              <a:off x="6012163" y="5157054"/>
              <a:ext cx="49454" cy="49387"/>
            </a:xfrm>
            <a:custGeom>
              <a:avLst/>
              <a:gdLst>
                <a:gd name="connsiteX0" fmla="*/ 172 w 49454"/>
                <a:gd name="connsiteY0" fmla="*/ 172 h 49387"/>
                <a:gd name="connsiteX1" fmla="*/ 11581 w 49454"/>
                <a:gd name="connsiteY1" fmla="*/ 37874 h 49387"/>
                <a:gd name="connsiteX2" fmla="*/ 49283 w 49454"/>
                <a:gd name="connsiteY2" fmla="*/ 49284 h 49387"/>
                <a:gd name="connsiteX3" fmla="*/ 37874 w 49454"/>
                <a:gd name="connsiteY3" fmla="*/ 11582 h 49387"/>
                <a:gd name="connsiteX4" fmla="*/ 172 w 49454"/>
                <a:gd name="connsiteY4" fmla="*/ 172 h 4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4" h="49387">
                  <a:moveTo>
                    <a:pt x="172" y="172"/>
                  </a:moveTo>
                  <a:cubicBezTo>
                    <a:pt x="172" y="172"/>
                    <a:pt x="-2309" y="24480"/>
                    <a:pt x="11581" y="37874"/>
                  </a:cubicBezTo>
                  <a:cubicBezTo>
                    <a:pt x="24976" y="51268"/>
                    <a:pt x="49283" y="49284"/>
                    <a:pt x="49283" y="49284"/>
                  </a:cubicBezTo>
                  <a:cubicBezTo>
                    <a:pt x="49283" y="49284"/>
                    <a:pt x="51763" y="24976"/>
                    <a:pt x="37874" y="11582"/>
                  </a:cubicBezTo>
                  <a:cubicBezTo>
                    <a:pt x="24479" y="-2309"/>
                    <a:pt x="172" y="172"/>
                    <a:pt x="172" y="172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299812B0-F36B-1959-2764-B595636356CF}"/>
                </a:ext>
              </a:extLst>
            </p:cNvPr>
            <p:cNvSpPr/>
            <p:nvPr/>
          </p:nvSpPr>
          <p:spPr>
            <a:xfrm>
              <a:off x="5560407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3C202FB6-D40A-F59F-987A-E31D24A68A06}"/>
                </a:ext>
              </a:extLst>
            </p:cNvPr>
            <p:cNvSpPr/>
            <p:nvPr/>
          </p:nvSpPr>
          <p:spPr>
            <a:xfrm>
              <a:off x="4058779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C53A1E7C-E93A-0D33-6F26-F724160759EB}"/>
                </a:ext>
              </a:extLst>
            </p:cNvPr>
            <p:cNvSpPr/>
            <p:nvPr/>
          </p:nvSpPr>
          <p:spPr>
            <a:xfrm>
              <a:off x="4533526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02023E6A-AA10-97CC-43E9-1AF9353D739E}"/>
                </a:ext>
              </a:extLst>
            </p:cNvPr>
            <p:cNvSpPr/>
            <p:nvPr/>
          </p:nvSpPr>
          <p:spPr>
            <a:xfrm>
              <a:off x="6080793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4EB50BF3-F2BD-C719-C52C-5CEEC711B1C7}"/>
                </a:ext>
              </a:extLst>
            </p:cNvPr>
            <p:cNvSpPr/>
            <p:nvPr/>
          </p:nvSpPr>
          <p:spPr>
            <a:xfrm>
              <a:off x="6254420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98BCD595-48FF-6301-95A2-F8B0D3AB58B4}"/>
                </a:ext>
              </a:extLst>
            </p:cNvPr>
            <p:cNvSpPr/>
            <p:nvPr/>
          </p:nvSpPr>
          <p:spPr>
            <a:xfrm>
              <a:off x="6080793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D39288D-8353-9F65-7780-3992D6B6EDE2}"/>
                </a:ext>
              </a:extLst>
            </p:cNvPr>
            <p:cNvSpPr/>
            <p:nvPr/>
          </p:nvSpPr>
          <p:spPr>
            <a:xfrm>
              <a:off x="6254420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201841F-605E-9E6E-3FA7-65485613BD1E}"/>
                </a:ext>
              </a:extLst>
            </p:cNvPr>
            <p:cNvSpPr/>
            <p:nvPr/>
          </p:nvSpPr>
          <p:spPr>
            <a:xfrm>
              <a:off x="4067709" y="3121818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87DDABF0-4F7F-91D2-27CC-E138CBC4F6B7}"/>
                </a:ext>
              </a:extLst>
            </p:cNvPr>
            <p:cNvSpPr/>
            <p:nvPr/>
          </p:nvSpPr>
          <p:spPr>
            <a:xfrm>
              <a:off x="4241336" y="3121818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56E5F8D7-7769-14A8-1950-E2B89C2385A0}"/>
                </a:ext>
              </a:extLst>
            </p:cNvPr>
            <p:cNvSpPr/>
            <p:nvPr/>
          </p:nvSpPr>
          <p:spPr>
            <a:xfrm>
              <a:off x="4067709" y="3266177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4A63CCBA-2D4D-2B32-0F1C-07252351E226}"/>
                </a:ext>
              </a:extLst>
            </p:cNvPr>
            <p:cNvSpPr/>
            <p:nvPr/>
          </p:nvSpPr>
          <p:spPr>
            <a:xfrm>
              <a:off x="4241336" y="3266177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44623CCB-2A89-6BDE-6BD3-04BAC8B27992}"/>
                </a:ext>
              </a:extLst>
            </p:cNvPr>
            <p:cNvSpPr/>
            <p:nvPr/>
          </p:nvSpPr>
          <p:spPr>
            <a:xfrm>
              <a:off x="5033076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8C1D091-3676-755B-461C-47A614C31AD9}"/>
                </a:ext>
              </a:extLst>
            </p:cNvPr>
            <p:cNvSpPr/>
            <p:nvPr/>
          </p:nvSpPr>
          <p:spPr>
            <a:xfrm>
              <a:off x="5206704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6 w 124515"/>
                <a:gd name="connsiteY1" fmla="*/ 0 h 106160"/>
                <a:gd name="connsiteX2" fmla="*/ 124516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6" y="0"/>
                  </a:lnTo>
                  <a:lnTo>
                    <a:pt x="124516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549DB407-0349-EF38-44E6-9B9933247F4E}"/>
                </a:ext>
              </a:extLst>
            </p:cNvPr>
            <p:cNvSpPr/>
            <p:nvPr/>
          </p:nvSpPr>
          <p:spPr>
            <a:xfrm>
              <a:off x="5033076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601DCC46-CBC0-12AA-525D-6ACD8C30124B}"/>
                </a:ext>
              </a:extLst>
            </p:cNvPr>
            <p:cNvSpPr/>
            <p:nvPr/>
          </p:nvSpPr>
          <p:spPr>
            <a:xfrm>
              <a:off x="5206704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6 w 124515"/>
                <a:gd name="connsiteY1" fmla="*/ 0 h 152295"/>
                <a:gd name="connsiteX2" fmla="*/ 124516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6" y="0"/>
                  </a:lnTo>
                  <a:lnTo>
                    <a:pt x="124516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28D6BCB4-93BA-65A4-ECB5-38299ABFA1B3}"/>
                </a:ext>
              </a:extLst>
            </p:cNvPr>
            <p:cNvSpPr/>
            <p:nvPr/>
          </p:nvSpPr>
          <p:spPr>
            <a:xfrm>
              <a:off x="4801096" y="4611540"/>
              <a:ext cx="388921" cy="777354"/>
            </a:xfrm>
            <a:custGeom>
              <a:avLst/>
              <a:gdLst>
                <a:gd name="connsiteX0" fmla="*/ 119866 w 388921"/>
                <a:gd name="connsiteY0" fmla="*/ 777354 h 777354"/>
                <a:gd name="connsiteX1" fmla="*/ 173939 w 388921"/>
                <a:gd name="connsiteY1" fmla="*/ 698974 h 777354"/>
                <a:gd name="connsiteX2" fmla="*/ 119866 w 388921"/>
                <a:gd name="connsiteY2" fmla="*/ 464329 h 777354"/>
                <a:gd name="connsiteX3" fmla="*/ 123339 w 388921"/>
                <a:gd name="connsiteY3" fmla="*/ 308561 h 777354"/>
                <a:gd name="connsiteX4" fmla="*/ 115402 w 388921"/>
                <a:gd name="connsiteY4" fmla="*/ 290206 h 777354"/>
                <a:gd name="connsiteX5" fmla="*/ 37021 w 388921"/>
                <a:gd name="connsiteY5" fmla="*/ 294174 h 777354"/>
                <a:gd name="connsiteX6" fmla="*/ 1304 w 388921"/>
                <a:gd name="connsiteY6" fmla="*/ 130965 h 777354"/>
                <a:gd name="connsiteX7" fmla="*/ 55872 w 388921"/>
                <a:gd name="connsiteY7" fmla="*/ 257961 h 777354"/>
                <a:gd name="connsiteX8" fmla="*/ 122843 w 388921"/>
                <a:gd name="connsiteY8" fmla="*/ 243078 h 777354"/>
                <a:gd name="connsiteX9" fmla="*/ 122843 w 388921"/>
                <a:gd name="connsiteY9" fmla="*/ 208849 h 777354"/>
                <a:gd name="connsiteX10" fmla="*/ 94566 w 388921"/>
                <a:gd name="connsiteY10" fmla="*/ 117075 h 777354"/>
                <a:gd name="connsiteX11" fmla="*/ 185349 w 388921"/>
                <a:gd name="connsiteY11" fmla="*/ 0 h 777354"/>
                <a:gd name="connsiteX12" fmla="*/ 273650 w 388921"/>
                <a:gd name="connsiteY12" fmla="*/ 95247 h 777354"/>
                <a:gd name="connsiteX13" fmla="*/ 296470 w 388921"/>
                <a:gd name="connsiteY13" fmla="*/ 184045 h 777354"/>
                <a:gd name="connsiteX14" fmla="*/ 387748 w 388921"/>
                <a:gd name="connsiteY14" fmla="*/ 215298 h 777354"/>
                <a:gd name="connsiteX15" fmla="*/ 273650 w 388921"/>
                <a:gd name="connsiteY15" fmla="*/ 283757 h 777354"/>
                <a:gd name="connsiteX16" fmla="*/ 271170 w 388921"/>
                <a:gd name="connsiteY16" fmla="*/ 291694 h 777354"/>
                <a:gd name="connsiteX17" fmla="*/ 339133 w 388921"/>
                <a:gd name="connsiteY17" fmla="*/ 383964 h 777354"/>
                <a:gd name="connsiteX18" fmla="*/ 267201 w 388921"/>
                <a:gd name="connsiteY18" fmla="*/ 500047 h 777354"/>
                <a:gd name="connsiteX19" fmla="*/ 297958 w 388921"/>
                <a:gd name="connsiteY19" fmla="*/ 378011 h 777354"/>
                <a:gd name="connsiteX20" fmla="*/ 229996 w 388921"/>
                <a:gd name="connsiteY20" fmla="*/ 306576 h 777354"/>
                <a:gd name="connsiteX21" fmla="*/ 209656 w 388921"/>
                <a:gd name="connsiteY21" fmla="*/ 477227 h 777354"/>
                <a:gd name="connsiteX22" fmla="*/ 189813 w 388921"/>
                <a:gd name="connsiteY22" fmla="*/ 695998 h 777354"/>
                <a:gd name="connsiteX23" fmla="*/ 256288 w 388921"/>
                <a:gd name="connsiteY23" fmla="*/ 775370 h 777354"/>
                <a:gd name="connsiteX24" fmla="*/ 207176 w 388921"/>
                <a:gd name="connsiteY24" fmla="*/ 762968 h 777354"/>
                <a:gd name="connsiteX25" fmla="*/ 198246 w 388921"/>
                <a:gd name="connsiteY25" fmla="*/ 744613 h 777354"/>
                <a:gd name="connsiteX26" fmla="*/ 191302 w 388921"/>
                <a:gd name="connsiteY26" fmla="*/ 763960 h 777354"/>
                <a:gd name="connsiteX27" fmla="*/ 180884 w 388921"/>
                <a:gd name="connsiteY27" fmla="*/ 702446 h 777354"/>
                <a:gd name="connsiteX28" fmla="*/ 177411 w 388921"/>
                <a:gd name="connsiteY28" fmla="*/ 757511 h 777354"/>
                <a:gd name="connsiteX29" fmla="*/ 173443 w 388921"/>
                <a:gd name="connsiteY29" fmla="*/ 748582 h 777354"/>
                <a:gd name="connsiteX30" fmla="*/ 158064 w 388921"/>
                <a:gd name="connsiteY30" fmla="*/ 769417 h 777354"/>
                <a:gd name="connsiteX31" fmla="*/ 119866 w 388921"/>
                <a:gd name="connsiteY31" fmla="*/ 777354 h 77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8921" h="777354">
                  <a:moveTo>
                    <a:pt x="119866" y="777354"/>
                  </a:moveTo>
                  <a:lnTo>
                    <a:pt x="173939" y="698974"/>
                  </a:lnTo>
                  <a:lnTo>
                    <a:pt x="119866" y="464329"/>
                  </a:lnTo>
                  <a:lnTo>
                    <a:pt x="123339" y="308561"/>
                  </a:lnTo>
                  <a:lnTo>
                    <a:pt x="115402" y="290206"/>
                  </a:lnTo>
                  <a:cubicBezTo>
                    <a:pt x="115402" y="290206"/>
                    <a:pt x="60833" y="306080"/>
                    <a:pt x="37021" y="294174"/>
                  </a:cubicBezTo>
                  <a:cubicBezTo>
                    <a:pt x="13209" y="282268"/>
                    <a:pt x="-5146" y="156761"/>
                    <a:pt x="1304" y="130965"/>
                  </a:cubicBezTo>
                  <a:cubicBezTo>
                    <a:pt x="7753" y="105169"/>
                    <a:pt x="35037" y="239606"/>
                    <a:pt x="55872" y="257961"/>
                  </a:cubicBezTo>
                  <a:cubicBezTo>
                    <a:pt x="71747" y="253992"/>
                    <a:pt x="122843" y="243078"/>
                    <a:pt x="122843" y="243078"/>
                  </a:cubicBezTo>
                  <a:lnTo>
                    <a:pt x="122843" y="208849"/>
                  </a:lnTo>
                  <a:cubicBezTo>
                    <a:pt x="122843" y="208849"/>
                    <a:pt x="94566" y="182557"/>
                    <a:pt x="94566" y="117075"/>
                  </a:cubicBezTo>
                  <a:cubicBezTo>
                    <a:pt x="94566" y="51592"/>
                    <a:pt x="138717" y="0"/>
                    <a:pt x="185349" y="0"/>
                  </a:cubicBezTo>
                  <a:cubicBezTo>
                    <a:pt x="231980" y="0"/>
                    <a:pt x="273650" y="55065"/>
                    <a:pt x="273650" y="95247"/>
                  </a:cubicBezTo>
                  <a:cubicBezTo>
                    <a:pt x="279107" y="99712"/>
                    <a:pt x="301431" y="133445"/>
                    <a:pt x="296470" y="184045"/>
                  </a:cubicBezTo>
                  <a:cubicBezTo>
                    <a:pt x="291509" y="234645"/>
                    <a:pt x="391221" y="297151"/>
                    <a:pt x="387748" y="215298"/>
                  </a:cubicBezTo>
                  <a:cubicBezTo>
                    <a:pt x="395189" y="255480"/>
                    <a:pt x="368401" y="370074"/>
                    <a:pt x="273650" y="283757"/>
                  </a:cubicBezTo>
                  <a:lnTo>
                    <a:pt x="271170" y="291694"/>
                  </a:lnTo>
                  <a:cubicBezTo>
                    <a:pt x="271170" y="291694"/>
                    <a:pt x="339133" y="377019"/>
                    <a:pt x="339133" y="383964"/>
                  </a:cubicBezTo>
                  <a:cubicBezTo>
                    <a:pt x="335660" y="391902"/>
                    <a:pt x="277123" y="505999"/>
                    <a:pt x="267201" y="500047"/>
                  </a:cubicBezTo>
                  <a:cubicBezTo>
                    <a:pt x="268194" y="483180"/>
                    <a:pt x="297958" y="378011"/>
                    <a:pt x="297958" y="378011"/>
                  </a:cubicBezTo>
                  <a:lnTo>
                    <a:pt x="229996" y="306576"/>
                  </a:lnTo>
                  <a:lnTo>
                    <a:pt x="209656" y="477227"/>
                  </a:lnTo>
                  <a:lnTo>
                    <a:pt x="189813" y="695998"/>
                  </a:lnTo>
                  <a:lnTo>
                    <a:pt x="256288" y="775370"/>
                  </a:lnTo>
                  <a:lnTo>
                    <a:pt x="207176" y="762968"/>
                  </a:lnTo>
                  <a:lnTo>
                    <a:pt x="198246" y="744613"/>
                  </a:lnTo>
                  <a:lnTo>
                    <a:pt x="191302" y="763960"/>
                  </a:lnTo>
                  <a:lnTo>
                    <a:pt x="180884" y="702446"/>
                  </a:lnTo>
                  <a:lnTo>
                    <a:pt x="177411" y="757511"/>
                  </a:lnTo>
                  <a:lnTo>
                    <a:pt x="173443" y="748582"/>
                  </a:lnTo>
                  <a:lnTo>
                    <a:pt x="158064" y="769417"/>
                  </a:lnTo>
                  <a:lnTo>
                    <a:pt x="119866" y="777354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E136558A-EB07-1D65-09E3-00519AD29CE6}"/>
                </a:ext>
              </a:extLst>
            </p:cNvPr>
            <p:cNvSpPr/>
            <p:nvPr/>
          </p:nvSpPr>
          <p:spPr>
            <a:xfrm>
              <a:off x="5560407" y="2633677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0 w 294670"/>
                <a:gd name="connsiteY1" fmla="*/ 0 h 161721"/>
                <a:gd name="connsiteX2" fmla="*/ 294670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0" y="0"/>
                  </a:lnTo>
                  <a:lnTo>
                    <a:pt x="294670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52647AAC-74F4-592B-574A-3AFF303EB534}"/>
                </a:ext>
              </a:extLst>
            </p:cNvPr>
            <p:cNvSpPr/>
            <p:nvPr/>
          </p:nvSpPr>
          <p:spPr>
            <a:xfrm>
              <a:off x="5905677" y="3637739"/>
              <a:ext cx="423650" cy="791244"/>
            </a:xfrm>
            <a:custGeom>
              <a:avLst/>
              <a:gdLst>
                <a:gd name="connsiteX0" fmla="*/ 0 w 423650"/>
                <a:gd name="connsiteY0" fmla="*/ 0 h 791244"/>
                <a:gd name="connsiteX1" fmla="*/ 423651 w 423650"/>
                <a:gd name="connsiteY1" fmla="*/ 0 h 791244"/>
                <a:gd name="connsiteX2" fmla="*/ 423651 w 423650"/>
                <a:gd name="connsiteY2" fmla="*/ 791244 h 791244"/>
                <a:gd name="connsiteX3" fmla="*/ 0 w 423650"/>
                <a:gd name="connsiteY3" fmla="*/ 791244 h 79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650" h="791244">
                  <a:moveTo>
                    <a:pt x="0" y="0"/>
                  </a:moveTo>
                  <a:lnTo>
                    <a:pt x="423651" y="0"/>
                  </a:lnTo>
                  <a:lnTo>
                    <a:pt x="423651" y="791244"/>
                  </a:lnTo>
                  <a:lnTo>
                    <a:pt x="0" y="7912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410259C9-428B-4222-5AD0-C13784514941}"/>
                </a:ext>
              </a:extLst>
            </p:cNvPr>
            <p:cNvSpPr/>
            <p:nvPr/>
          </p:nvSpPr>
          <p:spPr>
            <a:xfrm>
              <a:off x="5030596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1 w 294670"/>
                <a:gd name="connsiteY1" fmla="*/ 0 h 106160"/>
                <a:gd name="connsiteX2" fmla="*/ 294671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1" y="0"/>
                  </a:lnTo>
                  <a:lnTo>
                    <a:pt x="294671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74B1C180-4003-CD46-CD32-DA7F5286A108}"/>
                </a:ext>
              </a:extLst>
            </p:cNvPr>
            <p:cNvSpPr/>
            <p:nvPr/>
          </p:nvSpPr>
          <p:spPr>
            <a:xfrm>
              <a:off x="5557431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B40EBB4C-42E3-8E76-D0BF-049F8295D2E1}"/>
                </a:ext>
              </a:extLst>
            </p:cNvPr>
            <p:cNvSpPr/>
            <p:nvPr/>
          </p:nvSpPr>
          <p:spPr>
            <a:xfrm>
              <a:off x="4552873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5A3EE06C-DCF0-CD56-497B-FCDDE82CB935}"/>
                </a:ext>
              </a:extLst>
            </p:cNvPr>
            <p:cNvSpPr/>
            <p:nvPr/>
          </p:nvSpPr>
          <p:spPr>
            <a:xfrm>
              <a:off x="5030596" y="3265184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1 w 294670"/>
                <a:gd name="connsiteY1" fmla="*/ 0 h 161721"/>
                <a:gd name="connsiteX2" fmla="*/ 294671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1" y="0"/>
                  </a:lnTo>
                  <a:lnTo>
                    <a:pt x="294671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C4F7FAF-B826-0C50-6028-C40D1AA785A7}"/>
                </a:ext>
              </a:extLst>
            </p:cNvPr>
            <p:cNvSpPr/>
            <p:nvPr/>
          </p:nvSpPr>
          <p:spPr>
            <a:xfrm>
              <a:off x="4627781" y="1856323"/>
              <a:ext cx="385948" cy="341797"/>
            </a:xfrm>
            <a:custGeom>
              <a:avLst/>
              <a:gdLst>
                <a:gd name="connsiteX0" fmla="*/ 0 w 385948"/>
                <a:gd name="connsiteY0" fmla="*/ 341798 h 341797"/>
                <a:gd name="connsiteX1" fmla="*/ 44151 w 385948"/>
                <a:gd name="connsiteY1" fmla="*/ 341798 h 341797"/>
                <a:gd name="connsiteX2" fmla="*/ 385949 w 385948"/>
                <a:gd name="connsiteY2" fmla="*/ 0 h 341797"/>
                <a:gd name="connsiteX3" fmla="*/ 345766 w 385948"/>
                <a:gd name="connsiteY3" fmla="*/ 0 h 3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948" h="341797">
                  <a:moveTo>
                    <a:pt x="0" y="341798"/>
                  </a:moveTo>
                  <a:lnTo>
                    <a:pt x="44151" y="341798"/>
                  </a:lnTo>
                  <a:lnTo>
                    <a:pt x="385949" y="0"/>
                  </a:lnTo>
                  <a:lnTo>
                    <a:pt x="345766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4575242D-5AD2-1973-EE46-DD4CD8398B1F}"/>
                </a:ext>
              </a:extLst>
            </p:cNvPr>
            <p:cNvSpPr/>
            <p:nvPr/>
          </p:nvSpPr>
          <p:spPr>
            <a:xfrm>
              <a:off x="5048951" y="1988280"/>
              <a:ext cx="252503" cy="214305"/>
            </a:xfrm>
            <a:custGeom>
              <a:avLst/>
              <a:gdLst>
                <a:gd name="connsiteX0" fmla="*/ 0 w 252503"/>
                <a:gd name="connsiteY0" fmla="*/ 214306 h 214305"/>
                <a:gd name="connsiteX1" fmla="*/ 44151 w 252503"/>
                <a:gd name="connsiteY1" fmla="*/ 214306 h 214305"/>
                <a:gd name="connsiteX2" fmla="*/ 252504 w 252503"/>
                <a:gd name="connsiteY2" fmla="*/ 0 h 214305"/>
                <a:gd name="connsiteX3" fmla="*/ 212322 w 252503"/>
                <a:gd name="connsiteY3" fmla="*/ 0 h 21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503" h="214305">
                  <a:moveTo>
                    <a:pt x="0" y="214306"/>
                  </a:moveTo>
                  <a:lnTo>
                    <a:pt x="44151" y="214306"/>
                  </a:lnTo>
                  <a:lnTo>
                    <a:pt x="252504" y="0"/>
                  </a:lnTo>
                  <a:lnTo>
                    <a:pt x="212322" y="0"/>
                  </a:lnTo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C53A8C9B-3C91-CA98-2D28-C1009B8F63F3}"/>
                </a:ext>
              </a:extLst>
            </p:cNvPr>
            <p:cNvSpPr/>
            <p:nvPr/>
          </p:nvSpPr>
          <p:spPr>
            <a:xfrm>
              <a:off x="6394314" y="3200198"/>
              <a:ext cx="345270" cy="307568"/>
            </a:xfrm>
            <a:custGeom>
              <a:avLst/>
              <a:gdLst>
                <a:gd name="connsiteX0" fmla="*/ 0 w 345270"/>
                <a:gd name="connsiteY0" fmla="*/ 307568 h 307568"/>
                <a:gd name="connsiteX1" fmla="*/ 44150 w 345270"/>
                <a:gd name="connsiteY1" fmla="*/ 307568 h 307568"/>
                <a:gd name="connsiteX2" fmla="*/ 345270 w 345270"/>
                <a:gd name="connsiteY2" fmla="*/ 0 h 307568"/>
                <a:gd name="connsiteX3" fmla="*/ 305088 w 345270"/>
                <a:gd name="connsiteY3" fmla="*/ 0 h 3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270" h="307568">
                  <a:moveTo>
                    <a:pt x="0" y="307568"/>
                  </a:moveTo>
                  <a:lnTo>
                    <a:pt x="44150" y="307568"/>
                  </a:lnTo>
                  <a:lnTo>
                    <a:pt x="345270" y="0"/>
                  </a:lnTo>
                  <a:lnTo>
                    <a:pt x="305088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213ACD24-DCC4-D241-FC53-D10181281653}"/>
                </a:ext>
              </a:extLst>
            </p:cNvPr>
            <p:cNvSpPr/>
            <p:nvPr/>
          </p:nvSpPr>
          <p:spPr>
            <a:xfrm>
              <a:off x="2329948" y="4544569"/>
              <a:ext cx="1164790" cy="674170"/>
            </a:xfrm>
            <a:custGeom>
              <a:avLst/>
              <a:gdLst>
                <a:gd name="connsiteX0" fmla="*/ 1078474 w 1164790"/>
                <a:gd name="connsiteY0" fmla="*/ 472266 h 674170"/>
                <a:gd name="connsiteX1" fmla="*/ 854742 w 1164790"/>
                <a:gd name="connsiteY1" fmla="*/ 674170 h 674170"/>
                <a:gd name="connsiteX2" fmla="*/ 274827 w 1164790"/>
                <a:gd name="connsiteY2" fmla="*/ 674170 h 674170"/>
                <a:gd name="connsiteX3" fmla="*/ 0 w 1164790"/>
                <a:gd name="connsiteY3" fmla="*/ 483676 h 674170"/>
                <a:gd name="connsiteX4" fmla="*/ 0 w 1164790"/>
                <a:gd name="connsiteY4" fmla="*/ 483676 h 674170"/>
                <a:gd name="connsiteX5" fmla="*/ 274827 w 1164790"/>
                <a:gd name="connsiteY5" fmla="*/ 293182 h 674170"/>
                <a:gd name="connsiteX6" fmla="*/ 517409 w 1164790"/>
                <a:gd name="connsiteY6" fmla="*/ 293182 h 674170"/>
                <a:gd name="connsiteX7" fmla="*/ 552631 w 1164790"/>
                <a:gd name="connsiteY7" fmla="*/ 268874 h 674170"/>
                <a:gd name="connsiteX8" fmla="*/ 552631 w 1164790"/>
                <a:gd name="connsiteY8" fmla="*/ 268874 h 674170"/>
                <a:gd name="connsiteX9" fmla="*/ 517409 w 1164790"/>
                <a:gd name="connsiteY9" fmla="*/ 244567 h 674170"/>
                <a:gd name="connsiteX10" fmla="*/ 510960 w 1164790"/>
                <a:gd name="connsiteY10" fmla="*/ 244567 h 674170"/>
                <a:gd name="connsiteX11" fmla="*/ 337333 w 1164790"/>
                <a:gd name="connsiteY11" fmla="*/ 124019 h 674170"/>
                <a:gd name="connsiteX12" fmla="*/ 337333 w 1164790"/>
                <a:gd name="connsiteY12" fmla="*/ 124019 h 674170"/>
                <a:gd name="connsiteX13" fmla="*/ 510960 w 1164790"/>
                <a:gd name="connsiteY13" fmla="*/ 3473 h 674170"/>
                <a:gd name="connsiteX14" fmla="*/ 1121632 w 1164790"/>
                <a:gd name="connsiteY14" fmla="*/ 0 h 674170"/>
                <a:gd name="connsiteX15" fmla="*/ 1164791 w 1164790"/>
                <a:gd name="connsiteY15" fmla="*/ 82845 h 674170"/>
                <a:gd name="connsiteX16" fmla="*/ 1113695 w 1164790"/>
                <a:gd name="connsiteY16" fmla="*/ 329396 h 674170"/>
                <a:gd name="connsiteX17" fmla="*/ 1107246 w 1164790"/>
                <a:gd name="connsiteY17" fmla="*/ 375531 h 674170"/>
                <a:gd name="connsiteX18" fmla="*/ 1039283 w 1164790"/>
                <a:gd name="connsiteY18" fmla="*/ 375531 h 674170"/>
                <a:gd name="connsiteX19" fmla="*/ 1013983 w 1164790"/>
                <a:gd name="connsiteY19" fmla="*/ 400831 h 674170"/>
                <a:gd name="connsiteX20" fmla="*/ 1013487 w 1164790"/>
                <a:gd name="connsiteY20" fmla="*/ 473258 h 674170"/>
                <a:gd name="connsiteX21" fmla="*/ 1078474 w 1164790"/>
                <a:gd name="connsiteY21" fmla="*/ 472266 h 674170"/>
                <a:gd name="connsiteX22" fmla="*/ 1078474 w 1164790"/>
                <a:gd name="connsiteY22" fmla="*/ 472266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4790" h="674170">
                  <a:moveTo>
                    <a:pt x="1078474" y="472266"/>
                  </a:moveTo>
                  <a:cubicBezTo>
                    <a:pt x="1066568" y="586860"/>
                    <a:pt x="970328" y="674170"/>
                    <a:pt x="854742" y="674170"/>
                  </a:cubicBezTo>
                  <a:lnTo>
                    <a:pt x="274827" y="674170"/>
                  </a:lnTo>
                  <a:cubicBezTo>
                    <a:pt x="123027" y="674170"/>
                    <a:pt x="0" y="588845"/>
                    <a:pt x="0" y="483676"/>
                  </a:cubicBezTo>
                  <a:lnTo>
                    <a:pt x="0" y="483676"/>
                  </a:lnTo>
                  <a:cubicBezTo>
                    <a:pt x="0" y="378508"/>
                    <a:pt x="123027" y="293182"/>
                    <a:pt x="274827" y="293182"/>
                  </a:cubicBezTo>
                  <a:lnTo>
                    <a:pt x="517409" y="293182"/>
                  </a:lnTo>
                  <a:cubicBezTo>
                    <a:pt x="536756" y="293182"/>
                    <a:pt x="552631" y="282268"/>
                    <a:pt x="552631" y="268874"/>
                  </a:cubicBezTo>
                  <a:lnTo>
                    <a:pt x="552631" y="268874"/>
                  </a:lnTo>
                  <a:cubicBezTo>
                    <a:pt x="552631" y="255480"/>
                    <a:pt x="536756" y="244567"/>
                    <a:pt x="517409" y="244567"/>
                  </a:cubicBezTo>
                  <a:lnTo>
                    <a:pt x="510960" y="244567"/>
                  </a:lnTo>
                  <a:cubicBezTo>
                    <a:pt x="414721" y="244567"/>
                    <a:pt x="337333" y="190494"/>
                    <a:pt x="337333" y="124019"/>
                  </a:cubicBezTo>
                  <a:lnTo>
                    <a:pt x="337333" y="124019"/>
                  </a:lnTo>
                  <a:cubicBezTo>
                    <a:pt x="337333" y="57545"/>
                    <a:pt x="415217" y="3473"/>
                    <a:pt x="510960" y="3473"/>
                  </a:cubicBezTo>
                  <a:lnTo>
                    <a:pt x="1121632" y="0"/>
                  </a:lnTo>
                  <a:cubicBezTo>
                    <a:pt x="1129073" y="51096"/>
                    <a:pt x="1164791" y="82845"/>
                    <a:pt x="1164791" y="82845"/>
                  </a:cubicBezTo>
                  <a:cubicBezTo>
                    <a:pt x="1135026" y="177100"/>
                    <a:pt x="1114687" y="262425"/>
                    <a:pt x="1113695" y="329396"/>
                  </a:cubicBezTo>
                  <a:lnTo>
                    <a:pt x="1107246" y="375531"/>
                  </a:lnTo>
                  <a:lnTo>
                    <a:pt x="1039283" y="375531"/>
                  </a:lnTo>
                  <a:lnTo>
                    <a:pt x="1013983" y="400831"/>
                  </a:lnTo>
                  <a:lnTo>
                    <a:pt x="1013487" y="473258"/>
                  </a:lnTo>
                  <a:lnTo>
                    <a:pt x="1078474" y="472266"/>
                  </a:lnTo>
                  <a:lnTo>
                    <a:pt x="1078474" y="472266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66A6CF20-AA7D-859E-41FC-44DABEE2C688}"/>
                </a:ext>
              </a:extLst>
            </p:cNvPr>
            <p:cNvSpPr/>
            <p:nvPr/>
          </p:nvSpPr>
          <p:spPr>
            <a:xfrm>
              <a:off x="4655065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0E6AD8E8-CD00-E230-352B-5D633CB5DC2D}"/>
                </a:ext>
              </a:extLst>
            </p:cNvPr>
            <p:cNvSpPr/>
            <p:nvPr/>
          </p:nvSpPr>
          <p:spPr>
            <a:xfrm>
              <a:off x="4012644" y="3762255"/>
              <a:ext cx="120546" cy="47623"/>
            </a:xfrm>
            <a:custGeom>
              <a:avLst/>
              <a:gdLst>
                <a:gd name="connsiteX0" fmla="*/ 120547 w 120546"/>
                <a:gd name="connsiteY0" fmla="*/ 35717 h 47623"/>
                <a:gd name="connsiteX1" fmla="*/ 40182 w 120546"/>
                <a:gd name="connsiteY1" fmla="*/ 35717 h 47623"/>
                <a:gd name="connsiteX2" fmla="*/ 0 w 120546"/>
                <a:gd name="connsiteY2" fmla="*/ 47623 h 47623"/>
                <a:gd name="connsiteX3" fmla="*/ 0 w 120546"/>
                <a:gd name="connsiteY3" fmla="*/ 0 h 47623"/>
                <a:gd name="connsiteX4" fmla="*/ 120547 w 120546"/>
                <a:gd name="connsiteY4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546" h="47623">
                  <a:moveTo>
                    <a:pt x="120547" y="35717"/>
                  </a:moveTo>
                  <a:lnTo>
                    <a:pt x="40182" y="35717"/>
                  </a:lnTo>
                  <a:lnTo>
                    <a:pt x="0" y="47623"/>
                  </a:lnTo>
                  <a:lnTo>
                    <a:pt x="0" y="0"/>
                  </a:lnTo>
                  <a:lnTo>
                    <a:pt x="120547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223B85F6-66E1-22E2-E3A5-B788E6D36437}"/>
                </a:ext>
              </a:extLst>
            </p:cNvPr>
            <p:cNvSpPr/>
            <p:nvPr/>
          </p:nvSpPr>
          <p:spPr>
            <a:xfrm>
              <a:off x="4655561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59279C1D-9F13-DB3E-423D-16081ECAF4B6}"/>
                </a:ext>
              </a:extLst>
            </p:cNvPr>
            <p:cNvSpPr/>
            <p:nvPr/>
          </p:nvSpPr>
          <p:spPr>
            <a:xfrm>
              <a:off x="4789502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8BEF6BDB-FAAD-55CA-3884-AF7F02F4FFBB}"/>
                </a:ext>
              </a:extLst>
            </p:cNvPr>
            <p:cNvSpPr/>
            <p:nvPr/>
          </p:nvSpPr>
          <p:spPr>
            <a:xfrm>
              <a:off x="4715586" y="389272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8D556CA1-4A62-D44D-B6AD-C3CCEE0241FF}"/>
                </a:ext>
              </a:extLst>
            </p:cNvPr>
            <p:cNvSpPr/>
            <p:nvPr/>
          </p:nvSpPr>
          <p:spPr>
            <a:xfrm>
              <a:off x="5839203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9E2DECBC-0FE7-7AF8-5817-349023461AFB}"/>
                </a:ext>
              </a:extLst>
            </p:cNvPr>
            <p:cNvSpPr/>
            <p:nvPr/>
          </p:nvSpPr>
          <p:spPr>
            <a:xfrm>
              <a:off x="5973144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0C09DA38-9974-D0F2-B1E7-5E3F5DF5E430}"/>
                </a:ext>
              </a:extLst>
            </p:cNvPr>
            <p:cNvSpPr/>
            <p:nvPr/>
          </p:nvSpPr>
          <p:spPr>
            <a:xfrm>
              <a:off x="5899228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E7F1FDB4-27AE-13AD-BD11-CFF6BB2FD27C}"/>
                </a:ext>
              </a:extLst>
            </p:cNvPr>
            <p:cNvSpPr/>
            <p:nvPr/>
          </p:nvSpPr>
          <p:spPr>
            <a:xfrm>
              <a:off x="6461781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0548ADA1-53BA-CDF5-943B-E22A952DF334}"/>
                </a:ext>
              </a:extLst>
            </p:cNvPr>
            <p:cNvSpPr/>
            <p:nvPr/>
          </p:nvSpPr>
          <p:spPr>
            <a:xfrm>
              <a:off x="6521310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1F6AFB96-D729-CE09-C5D5-6CDD063015A3}"/>
                </a:ext>
              </a:extLst>
            </p:cNvPr>
            <p:cNvSpPr/>
            <p:nvPr/>
          </p:nvSpPr>
          <p:spPr>
            <a:xfrm>
              <a:off x="4611906" y="4012774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8 h 47127"/>
                <a:gd name="connsiteX3" fmla="*/ 0 w 120546"/>
                <a:gd name="connsiteY3" fmla="*/ 47128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8"/>
                  </a:lnTo>
                  <a:lnTo>
                    <a:pt x="0" y="47128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02506891-A19F-D3B3-FED5-099C89913881}"/>
                </a:ext>
              </a:extLst>
            </p:cNvPr>
            <p:cNvSpPr/>
            <p:nvPr/>
          </p:nvSpPr>
          <p:spPr>
            <a:xfrm>
              <a:off x="4791486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819F1A62-98E8-EBDF-A5A8-88ABCCD92789}"/>
                </a:ext>
              </a:extLst>
            </p:cNvPr>
            <p:cNvSpPr/>
            <p:nvPr/>
          </p:nvSpPr>
          <p:spPr>
            <a:xfrm>
              <a:off x="4722532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9C47D63D-C20A-C865-5324-B92E7BBD16D5}"/>
                </a:ext>
              </a:extLst>
            </p:cNvPr>
            <p:cNvSpPr/>
            <p:nvPr/>
          </p:nvSpPr>
          <p:spPr>
            <a:xfrm>
              <a:off x="4531045" y="39522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41D442F1-947F-79AC-F1AB-95E363DACD35}"/>
                </a:ext>
              </a:extLst>
            </p:cNvPr>
            <p:cNvSpPr/>
            <p:nvPr/>
          </p:nvSpPr>
          <p:spPr>
            <a:xfrm>
              <a:off x="4475485" y="401178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0FF85FEA-199B-A595-42DC-1090EBBE6D9A}"/>
                </a:ext>
              </a:extLst>
            </p:cNvPr>
            <p:cNvSpPr/>
            <p:nvPr/>
          </p:nvSpPr>
          <p:spPr>
            <a:xfrm>
              <a:off x="4856969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AEB5F353-D034-96C5-5A1C-8AEE530A36C5}"/>
                </a:ext>
              </a:extLst>
            </p:cNvPr>
            <p:cNvSpPr/>
            <p:nvPr/>
          </p:nvSpPr>
          <p:spPr>
            <a:xfrm>
              <a:off x="5132739" y="3592570"/>
              <a:ext cx="721842" cy="950015"/>
            </a:xfrm>
            <a:custGeom>
              <a:avLst/>
              <a:gdLst>
                <a:gd name="connsiteX0" fmla="*/ 670746 w 721842"/>
                <a:gd name="connsiteY0" fmla="*/ 25822 h 950015"/>
                <a:gd name="connsiteX1" fmla="*/ 590381 w 721842"/>
                <a:gd name="connsiteY1" fmla="*/ 13420 h 950015"/>
                <a:gd name="connsiteX2" fmla="*/ 569546 w 721842"/>
                <a:gd name="connsiteY2" fmla="*/ 11932 h 950015"/>
                <a:gd name="connsiteX3" fmla="*/ 553176 w 721842"/>
                <a:gd name="connsiteY3" fmla="*/ 14412 h 950015"/>
                <a:gd name="connsiteX4" fmla="*/ 494638 w 721842"/>
                <a:gd name="connsiteY4" fmla="*/ 18877 h 950015"/>
                <a:gd name="connsiteX5" fmla="*/ 445527 w 721842"/>
                <a:gd name="connsiteY5" fmla="*/ 39216 h 950015"/>
                <a:gd name="connsiteX6" fmla="*/ 402368 w 721842"/>
                <a:gd name="connsiteY6" fmla="*/ 13420 h 950015"/>
                <a:gd name="connsiteX7" fmla="*/ 394927 w 721842"/>
                <a:gd name="connsiteY7" fmla="*/ 30287 h 950015"/>
                <a:gd name="connsiteX8" fmla="*/ 378556 w 721842"/>
                <a:gd name="connsiteY8" fmla="*/ 6971 h 950015"/>
                <a:gd name="connsiteX9" fmla="*/ 313074 w 721842"/>
                <a:gd name="connsiteY9" fmla="*/ 3499 h 950015"/>
                <a:gd name="connsiteX10" fmla="*/ 212866 w 721842"/>
                <a:gd name="connsiteY10" fmla="*/ 20861 h 950015"/>
                <a:gd name="connsiteX11" fmla="*/ 149864 w 721842"/>
                <a:gd name="connsiteY11" fmla="*/ 16397 h 950015"/>
                <a:gd name="connsiteX12" fmla="*/ 92815 w 721842"/>
                <a:gd name="connsiteY12" fmla="*/ 7467 h 950015"/>
                <a:gd name="connsiteX13" fmla="*/ 71980 w 721842"/>
                <a:gd name="connsiteY13" fmla="*/ 5483 h 950015"/>
                <a:gd name="connsiteX14" fmla="*/ 56602 w 721842"/>
                <a:gd name="connsiteY14" fmla="*/ 11932 h 950015"/>
                <a:gd name="connsiteX15" fmla="*/ 24357 w 721842"/>
                <a:gd name="connsiteY15" fmla="*/ 6971 h 950015"/>
                <a:gd name="connsiteX16" fmla="*/ 49 w 721842"/>
                <a:gd name="connsiteY16" fmla="*/ 21357 h 950015"/>
                <a:gd name="connsiteX17" fmla="*/ 12451 w 721842"/>
                <a:gd name="connsiteY17" fmla="*/ 35744 h 950015"/>
                <a:gd name="connsiteX18" fmla="*/ 102737 w 721842"/>
                <a:gd name="connsiteY18" fmla="*/ 64516 h 950015"/>
                <a:gd name="connsiteX19" fmla="*/ 115139 w 721842"/>
                <a:gd name="connsiteY19" fmla="*/ 90312 h 950015"/>
                <a:gd name="connsiteX20" fmla="*/ 142919 w 721842"/>
                <a:gd name="connsiteY20" fmla="*/ 107179 h 950015"/>
                <a:gd name="connsiteX21" fmla="*/ 145399 w 721842"/>
                <a:gd name="connsiteY21" fmla="*/ 114124 h 950015"/>
                <a:gd name="connsiteX22" fmla="*/ 151848 w 721842"/>
                <a:gd name="connsiteY22" fmla="*/ 129006 h 950015"/>
                <a:gd name="connsiteX23" fmla="*/ 195503 w 721842"/>
                <a:gd name="connsiteY23" fmla="*/ 154802 h 950015"/>
                <a:gd name="connsiteX24" fmla="*/ 213362 w 721842"/>
                <a:gd name="connsiteY24" fmla="*/ 117100 h 950015"/>
                <a:gd name="connsiteX25" fmla="*/ 313074 w 721842"/>
                <a:gd name="connsiteY25" fmla="*/ 125534 h 950015"/>
                <a:gd name="connsiteX26" fmla="*/ 312082 w 721842"/>
                <a:gd name="connsiteY26" fmla="*/ 144881 h 950015"/>
                <a:gd name="connsiteX27" fmla="*/ 333413 w 721842"/>
                <a:gd name="connsiteY27" fmla="*/ 157779 h 950015"/>
                <a:gd name="connsiteX28" fmla="*/ 345815 w 721842"/>
                <a:gd name="connsiteY28" fmla="*/ 180598 h 950015"/>
                <a:gd name="connsiteX29" fmla="*/ 361690 w 721842"/>
                <a:gd name="connsiteY29" fmla="*/ 194489 h 950015"/>
                <a:gd name="connsiteX30" fmla="*/ 352760 w 721842"/>
                <a:gd name="connsiteY30" fmla="*/ 221277 h 950015"/>
                <a:gd name="connsiteX31" fmla="*/ 395423 w 721842"/>
                <a:gd name="connsiteY31" fmla="*/ 279814 h 950015"/>
                <a:gd name="connsiteX32" fmla="*/ 382525 w 721842"/>
                <a:gd name="connsiteY32" fmla="*/ 310571 h 950015"/>
                <a:gd name="connsiteX33" fmla="*/ 393935 w 721842"/>
                <a:gd name="connsiteY33" fmla="*/ 314539 h 950015"/>
                <a:gd name="connsiteX34" fmla="*/ 458921 w 721842"/>
                <a:gd name="connsiteY34" fmla="*/ 319996 h 950015"/>
                <a:gd name="connsiteX35" fmla="*/ 462393 w 721842"/>
                <a:gd name="connsiteY35" fmla="*/ 394904 h 950015"/>
                <a:gd name="connsiteX36" fmla="*/ 476779 w 721842"/>
                <a:gd name="connsiteY36" fmla="*/ 407306 h 950015"/>
                <a:gd name="connsiteX37" fmla="*/ 485213 w 721842"/>
                <a:gd name="connsiteY37" fmla="*/ 422684 h 950015"/>
                <a:gd name="connsiteX38" fmla="*/ 533332 w 721842"/>
                <a:gd name="connsiteY38" fmla="*/ 455426 h 950015"/>
                <a:gd name="connsiteX39" fmla="*/ 522915 w 721842"/>
                <a:gd name="connsiteY39" fmla="*/ 507514 h 950015"/>
                <a:gd name="connsiteX40" fmla="*/ 521426 w 721842"/>
                <a:gd name="connsiteY40" fmla="*/ 523884 h 950015"/>
                <a:gd name="connsiteX41" fmla="*/ 531348 w 721842"/>
                <a:gd name="connsiteY41" fmla="*/ 548688 h 950015"/>
                <a:gd name="connsiteX42" fmla="*/ 545238 w 721842"/>
                <a:gd name="connsiteY42" fmla="*/ 639967 h 950015"/>
                <a:gd name="connsiteX43" fmla="*/ 577484 w 721842"/>
                <a:gd name="connsiteY43" fmla="*/ 724300 h 950015"/>
                <a:gd name="connsiteX44" fmla="*/ 594846 w 721842"/>
                <a:gd name="connsiteY44" fmla="*/ 748112 h 950015"/>
                <a:gd name="connsiteX45" fmla="*/ 583932 w 721842"/>
                <a:gd name="connsiteY45" fmla="*/ 769443 h 950015"/>
                <a:gd name="connsiteX46" fmla="*/ 592366 w 721842"/>
                <a:gd name="connsiteY46" fmla="*/ 790278 h 950015"/>
                <a:gd name="connsiteX47" fmla="*/ 635524 w 721842"/>
                <a:gd name="connsiteY47" fmla="*/ 887509 h 950015"/>
                <a:gd name="connsiteX48" fmla="*/ 638005 w 721842"/>
                <a:gd name="connsiteY48" fmla="*/ 950015 h 950015"/>
                <a:gd name="connsiteX49" fmla="*/ 689101 w 721842"/>
                <a:gd name="connsiteY49" fmla="*/ 950015 h 950015"/>
                <a:gd name="connsiteX50" fmla="*/ 693566 w 721842"/>
                <a:gd name="connsiteY50" fmla="*/ 945055 h 950015"/>
                <a:gd name="connsiteX51" fmla="*/ 711425 w 721842"/>
                <a:gd name="connsiteY51" fmla="*/ 943070 h 950015"/>
                <a:gd name="connsiteX52" fmla="*/ 715393 w 721842"/>
                <a:gd name="connsiteY52" fmla="*/ 950015 h 950015"/>
                <a:gd name="connsiteX53" fmla="*/ 721842 w 721842"/>
                <a:gd name="connsiteY53" fmla="*/ 950015 h 950015"/>
                <a:gd name="connsiteX54" fmla="*/ 721842 w 721842"/>
                <a:gd name="connsiteY54" fmla="*/ 35247 h 950015"/>
                <a:gd name="connsiteX55" fmla="*/ 670746 w 721842"/>
                <a:gd name="connsiteY55" fmla="*/ 25822 h 95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21842" h="950015">
                  <a:moveTo>
                    <a:pt x="670746" y="25822"/>
                  </a:moveTo>
                  <a:cubicBezTo>
                    <a:pt x="643958" y="21853"/>
                    <a:pt x="617170" y="17389"/>
                    <a:pt x="590381" y="13420"/>
                  </a:cubicBezTo>
                  <a:cubicBezTo>
                    <a:pt x="583436" y="12428"/>
                    <a:pt x="576491" y="11436"/>
                    <a:pt x="569546" y="11932"/>
                  </a:cubicBezTo>
                  <a:cubicBezTo>
                    <a:pt x="564089" y="12428"/>
                    <a:pt x="558632" y="13916"/>
                    <a:pt x="553176" y="14412"/>
                  </a:cubicBezTo>
                  <a:cubicBezTo>
                    <a:pt x="532340" y="15901"/>
                    <a:pt x="514482" y="26318"/>
                    <a:pt x="494638" y="18877"/>
                  </a:cubicBezTo>
                  <a:cubicBezTo>
                    <a:pt x="475291" y="11932"/>
                    <a:pt x="446023" y="18877"/>
                    <a:pt x="445527" y="39216"/>
                  </a:cubicBezTo>
                  <a:cubicBezTo>
                    <a:pt x="431141" y="30783"/>
                    <a:pt x="416754" y="21853"/>
                    <a:pt x="402368" y="13420"/>
                  </a:cubicBezTo>
                  <a:cubicBezTo>
                    <a:pt x="399887" y="18877"/>
                    <a:pt x="397407" y="24830"/>
                    <a:pt x="394927" y="30287"/>
                  </a:cubicBezTo>
                  <a:cubicBezTo>
                    <a:pt x="401872" y="21357"/>
                    <a:pt x="389470" y="10444"/>
                    <a:pt x="378556" y="6971"/>
                  </a:cubicBezTo>
                  <a:cubicBezTo>
                    <a:pt x="357721" y="522"/>
                    <a:pt x="334901" y="-470"/>
                    <a:pt x="313074" y="3499"/>
                  </a:cubicBezTo>
                  <a:cubicBezTo>
                    <a:pt x="281325" y="-7911"/>
                    <a:pt x="245607" y="11436"/>
                    <a:pt x="212866" y="20861"/>
                  </a:cubicBezTo>
                  <a:cubicBezTo>
                    <a:pt x="196992" y="5483"/>
                    <a:pt x="171692" y="14908"/>
                    <a:pt x="149864" y="16397"/>
                  </a:cubicBezTo>
                  <a:cubicBezTo>
                    <a:pt x="130517" y="17885"/>
                    <a:pt x="111170" y="12924"/>
                    <a:pt x="92815" y="7467"/>
                  </a:cubicBezTo>
                  <a:cubicBezTo>
                    <a:pt x="85870" y="5483"/>
                    <a:pt x="78925" y="3499"/>
                    <a:pt x="71980" y="5483"/>
                  </a:cubicBezTo>
                  <a:cubicBezTo>
                    <a:pt x="66523" y="6971"/>
                    <a:pt x="62058" y="10444"/>
                    <a:pt x="56602" y="11932"/>
                  </a:cubicBezTo>
                  <a:cubicBezTo>
                    <a:pt x="46184" y="14908"/>
                    <a:pt x="35270" y="8955"/>
                    <a:pt x="24357" y="6971"/>
                  </a:cubicBezTo>
                  <a:cubicBezTo>
                    <a:pt x="13443" y="4987"/>
                    <a:pt x="-944" y="10444"/>
                    <a:pt x="49" y="21357"/>
                  </a:cubicBezTo>
                  <a:cubicBezTo>
                    <a:pt x="545" y="27806"/>
                    <a:pt x="6994" y="32767"/>
                    <a:pt x="12451" y="35744"/>
                  </a:cubicBezTo>
                  <a:cubicBezTo>
                    <a:pt x="40231" y="52114"/>
                    <a:pt x="70988" y="58563"/>
                    <a:pt x="102737" y="64516"/>
                  </a:cubicBezTo>
                  <a:cubicBezTo>
                    <a:pt x="95296" y="72950"/>
                    <a:pt x="104721" y="85847"/>
                    <a:pt x="115139" y="90312"/>
                  </a:cubicBezTo>
                  <a:cubicBezTo>
                    <a:pt x="125556" y="94777"/>
                    <a:pt x="137958" y="97257"/>
                    <a:pt x="142919" y="107179"/>
                  </a:cubicBezTo>
                  <a:cubicBezTo>
                    <a:pt x="146888" y="115116"/>
                    <a:pt x="143415" y="105195"/>
                    <a:pt x="145399" y="114124"/>
                  </a:cubicBezTo>
                  <a:cubicBezTo>
                    <a:pt x="146392" y="119581"/>
                    <a:pt x="148872" y="124046"/>
                    <a:pt x="151848" y="129006"/>
                  </a:cubicBezTo>
                  <a:cubicBezTo>
                    <a:pt x="161274" y="144881"/>
                    <a:pt x="178637" y="162740"/>
                    <a:pt x="195503" y="154802"/>
                  </a:cubicBezTo>
                  <a:cubicBezTo>
                    <a:pt x="203441" y="151330"/>
                    <a:pt x="207905" y="123549"/>
                    <a:pt x="213362" y="117100"/>
                  </a:cubicBezTo>
                  <a:cubicBezTo>
                    <a:pt x="238662" y="90808"/>
                    <a:pt x="284798" y="102218"/>
                    <a:pt x="313074" y="125534"/>
                  </a:cubicBezTo>
                  <a:cubicBezTo>
                    <a:pt x="304641" y="126030"/>
                    <a:pt x="305137" y="139920"/>
                    <a:pt x="312082" y="144881"/>
                  </a:cubicBezTo>
                  <a:cubicBezTo>
                    <a:pt x="318531" y="150338"/>
                    <a:pt x="327956" y="151826"/>
                    <a:pt x="333413" y="157779"/>
                  </a:cubicBezTo>
                  <a:cubicBezTo>
                    <a:pt x="339366" y="164228"/>
                    <a:pt x="339862" y="174646"/>
                    <a:pt x="345815" y="180598"/>
                  </a:cubicBezTo>
                  <a:cubicBezTo>
                    <a:pt x="350776" y="185559"/>
                    <a:pt x="359209" y="188039"/>
                    <a:pt x="361690" y="194489"/>
                  </a:cubicBezTo>
                  <a:cubicBezTo>
                    <a:pt x="365162" y="203418"/>
                    <a:pt x="354248" y="211851"/>
                    <a:pt x="352760" y="221277"/>
                  </a:cubicBezTo>
                  <a:cubicBezTo>
                    <a:pt x="347799" y="247073"/>
                    <a:pt x="403856" y="255010"/>
                    <a:pt x="395423" y="279814"/>
                  </a:cubicBezTo>
                  <a:cubicBezTo>
                    <a:pt x="391454" y="291224"/>
                    <a:pt x="374588" y="301641"/>
                    <a:pt x="382525" y="310571"/>
                  </a:cubicBezTo>
                  <a:cubicBezTo>
                    <a:pt x="385005" y="313547"/>
                    <a:pt x="389966" y="314539"/>
                    <a:pt x="393935" y="314539"/>
                  </a:cubicBezTo>
                  <a:cubicBezTo>
                    <a:pt x="415762" y="316524"/>
                    <a:pt x="437093" y="318508"/>
                    <a:pt x="458921" y="319996"/>
                  </a:cubicBezTo>
                  <a:cubicBezTo>
                    <a:pt x="439078" y="339839"/>
                    <a:pt x="441062" y="376549"/>
                    <a:pt x="462393" y="394904"/>
                  </a:cubicBezTo>
                  <a:cubicBezTo>
                    <a:pt x="467354" y="398873"/>
                    <a:pt x="472811" y="402345"/>
                    <a:pt x="476779" y="407306"/>
                  </a:cubicBezTo>
                  <a:cubicBezTo>
                    <a:pt x="480748" y="411771"/>
                    <a:pt x="482236" y="417724"/>
                    <a:pt x="485213" y="422684"/>
                  </a:cubicBezTo>
                  <a:cubicBezTo>
                    <a:pt x="495134" y="439551"/>
                    <a:pt x="514978" y="447984"/>
                    <a:pt x="533332" y="455426"/>
                  </a:cubicBezTo>
                  <a:cubicBezTo>
                    <a:pt x="529860" y="472788"/>
                    <a:pt x="526387" y="490151"/>
                    <a:pt x="522915" y="507514"/>
                  </a:cubicBezTo>
                  <a:cubicBezTo>
                    <a:pt x="521923" y="512970"/>
                    <a:pt x="520931" y="518427"/>
                    <a:pt x="521426" y="523884"/>
                  </a:cubicBezTo>
                  <a:cubicBezTo>
                    <a:pt x="522419" y="532814"/>
                    <a:pt x="527379" y="540255"/>
                    <a:pt x="531348" y="548688"/>
                  </a:cubicBezTo>
                  <a:cubicBezTo>
                    <a:pt x="545238" y="576469"/>
                    <a:pt x="543750" y="609210"/>
                    <a:pt x="545238" y="639967"/>
                  </a:cubicBezTo>
                  <a:cubicBezTo>
                    <a:pt x="546727" y="670723"/>
                    <a:pt x="553176" y="704953"/>
                    <a:pt x="577484" y="724300"/>
                  </a:cubicBezTo>
                  <a:cubicBezTo>
                    <a:pt x="585421" y="730749"/>
                    <a:pt x="596334" y="738190"/>
                    <a:pt x="594846" y="748112"/>
                  </a:cubicBezTo>
                  <a:cubicBezTo>
                    <a:pt x="593854" y="756049"/>
                    <a:pt x="585421" y="761506"/>
                    <a:pt x="583932" y="769443"/>
                  </a:cubicBezTo>
                  <a:cubicBezTo>
                    <a:pt x="582444" y="776884"/>
                    <a:pt x="587901" y="784325"/>
                    <a:pt x="592366" y="790278"/>
                  </a:cubicBezTo>
                  <a:cubicBezTo>
                    <a:pt x="614193" y="818555"/>
                    <a:pt x="629075" y="852288"/>
                    <a:pt x="635524" y="887509"/>
                  </a:cubicBezTo>
                  <a:lnTo>
                    <a:pt x="638005" y="950015"/>
                  </a:lnTo>
                  <a:lnTo>
                    <a:pt x="689101" y="950015"/>
                  </a:lnTo>
                  <a:lnTo>
                    <a:pt x="693566" y="945055"/>
                  </a:lnTo>
                  <a:lnTo>
                    <a:pt x="711425" y="943070"/>
                  </a:lnTo>
                  <a:lnTo>
                    <a:pt x="715393" y="950015"/>
                  </a:lnTo>
                  <a:lnTo>
                    <a:pt x="721842" y="950015"/>
                  </a:lnTo>
                  <a:lnTo>
                    <a:pt x="721842" y="35247"/>
                  </a:lnTo>
                  <a:lnTo>
                    <a:pt x="670746" y="25822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85D29EE7-FEB6-FC47-6AFF-67D9A84926A8}"/>
                </a:ext>
              </a:extLst>
            </p:cNvPr>
            <p:cNvSpPr/>
            <p:nvPr/>
          </p:nvSpPr>
          <p:spPr>
            <a:xfrm>
              <a:off x="3528166" y="3401110"/>
              <a:ext cx="345977" cy="669705"/>
            </a:xfrm>
            <a:custGeom>
              <a:avLst/>
              <a:gdLst>
                <a:gd name="connsiteX0" fmla="*/ 118869 w 345977"/>
                <a:gd name="connsiteY0" fmla="*/ 669705 h 669705"/>
                <a:gd name="connsiteX1" fmla="*/ 306 w 345977"/>
                <a:gd name="connsiteY1" fmla="*/ 383468 h 669705"/>
                <a:gd name="connsiteX2" fmla="*/ 163516 w 345977"/>
                <a:gd name="connsiteY2" fmla="*/ 0 h 669705"/>
                <a:gd name="connsiteX3" fmla="*/ 337143 w 345977"/>
                <a:gd name="connsiteY3" fmla="*/ 267882 h 669705"/>
                <a:gd name="connsiteX4" fmla="*/ 268188 w 345977"/>
                <a:gd name="connsiteY4" fmla="*/ 551143 h 669705"/>
                <a:gd name="connsiteX5" fmla="*/ 210147 w 345977"/>
                <a:gd name="connsiteY5" fmla="*/ 551143 h 669705"/>
                <a:gd name="connsiteX6" fmla="*/ 118869 w 345977"/>
                <a:gd name="connsiteY6" fmla="*/ 669705 h 66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977" h="669705">
                  <a:moveTo>
                    <a:pt x="118869" y="669705"/>
                  </a:moveTo>
                  <a:cubicBezTo>
                    <a:pt x="40488" y="614145"/>
                    <a:pt x="-4159" y="501535"/>
                    <a:pt x="306" y="383468"/>
                  </a:cubicBezTo>
                  <a:cubicBezTo>
                    <a:pt x="6259" y="216786"/>
                    <a:pt x="91584" y="39686"/>
                    <a:pt x="163516" y="0"/>
                  </a:cubicBezTo>
                  <a:cubicBezTo>
                    <a:pt x="207667" y="22324"/>
                    <a:pt x="309859" y="148327"/>
                    <a:pt x="337143" y="267882"/>
                  </a:cubicBezTo>
                  <a:cubicBezTo>
                    <a:pt x="359962" y="370074"/>
                    <a:pt x="339127" y="510464"/>
                    <a:pt x="268188" y="551143"/>
                  </a:cubicBezTo>
                  <a:lnTo>
                    <a:pt x="210147" y="551143"/>
                  </a:lnTo>
                  <a:cubicBezTo>
                    <a:pt x="202210" y="566025"/>
                    <a:pt x="125318" y="624066"/>
                    <a:pt x="118869" y="669705"/>
                  </a:cubicBez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A6339ABD-5462-7F36-CB99-7CA6249D2FC6}"/>
                </a:ext>
              </a:extLst>
            </p:cNvPr>
            <p:cNvSpPr/>
            <p:nvPr/>
          </p:nvSpPr>
          <p:spPr>
            <a:xfrm>
              <a:off x="3593040" y="3635755"/>
              <a:ext cx="210513" cy="446966"/>
            </a:xfrm>
            <a:custGeom>
              <a:avLst/>
              <a:gdLst>
                <a:gd name="connsiteX0" fmla="*/ 53995 w 210513"/>
                <a:gd name="connsiteY0" fmla="*/ 446966 h 446966"/>
                <a:gd name="connsiteX1" fmla="*/ 53995 w 210513"/>
                <a:gd name="connsiteY1" fmla="*/ 314513 h 446966"/>
                <a:gd name="connsiteX2" fmla="*/ 418 w 210513"/>
                <a:gd name="connsiteY2" fmla="*/ 162714 h 446966"/>
                <a:gd name="connsiteX3" fmla="*/ 53499 w 210513"/>
                <a:gd name="connsiteY3" fmla="*/ 247047 h 446966"/>
                <a:gd name="connsiteX4" fmla="*/ 53995 w 210513"/>
                <a:gd name="connsiteY4" fmla="*/ 166682 h 446966"/>
                <a:gd name="connsiteX5" fmla="*/ 106579 w 210513"/>
                <a:gd name="connsiteY5" fmla="*/ 71931 h 446966"/>
                <a:gd name="connsiteX6" fmla="*/ 112532 w 210513"/>
                <a:gd name="connsiteY6" fmla="*/ 22324 h 446966"/>
                <a:gd name="connsiteX7" fmla="*/ 138328 w 210513"/>
                <a:gd name="connsiteY7" fmla="*/ 0 h 446966"/>
                <a:gd name="connsiteX8" fmla="*/ 138328 w 210513"/>
                <a:gd name="connsiteY8" fmla="*/ 183053 h 446966"/>
                <a:gd name="connsiteX9" fmla="*/ 208771 w 210513"/>
                <a:gd name="connsiteY9" fmla="*/ 63994 h 446966"/>
                <a:gd name="connsiteX10" fmla="*/ 138328 w 210513"/>
                <a:gd name="connsiteY10" fmla="*/ 258952 h 446966"/>
                <a:gd name="connsiteX11" fmla="*/ 138328 w 210513"/>
                <a:gd name="connsiteY11" fmla="*/ 333860 h 446966"/>
                <a:gd name="connsiteX12" fmla="*/ 53995 w 210513"/>
                <a:gd name="connsiteY12" fmla="*/ 446966 h 4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513" h="446966">
                  <a:moveTo>
                    <a:pt x="53995" y="446966"/>
                  </a:moveTo>
                  <a:lnTo>
                    <a:pt x="53995" y="314513"/>
                  </a:lnTo>
                  <a:cubicBezTo>
                    <a:pt x="53995" y="314513"/>
                    <a:pt x="-5535" y="165690"/>
                    <a:pt x="418" y="162714"/>
                  </a:cubicBezTo>
                  <a:cubicBezTo>
                    <a:pt x="6371" y="159737"/>
                    <a:pt x="53499" y="247047"/>
                    <a:pt x="53499" y="247047"/>
                  </a:cubicBezTo>
                  <a:lnTo>
                    <a:pt x="53995" y="166682"/>
                  </a:lnTo>
                  <a:cubicBezTo>
                    <a:pt x="53995" y="166682"/>
                    <a:pt x="128407" y="99216"/>
                    <a:pt x="106579" y="71931"/>
                  </a:cubicBezTo>
                  <a:cubicBezTo>
                    <a:pt x="84752" y="44647"/>
                    <a:pt x="112532" y="22324"/>
                    <a:pt x="112532" y="22324"/>
                  </a:cubicBezTo>
                  <a:lnTo>
                    <a:pt x="138328" y="0"/>
                  </a:lnTo>
                  <a:lnTo>
                    <a:pt x="138328" y="183053"/>
                  </a:lnTo>
                  <a:cubicBezTo>
                    <a:pt x="138328" y="183053"/>
                    <a:pt x="193889" y="79372"/>
                    <a:pt x="208771" y="63994"/>
                  </a:cubicBezTo>
                  <a:cubicBezTo>
                    <a:pt x="223654" y="48616"/>
                    <a:pt x="138328" y="258952"/>
                    <a:pt x="138328" y="258952"/>
                  </a:cubicBezTo>
                  <a:lnTo>
                    <a:pt x="138328" y="333860"/>
                  </a:lnTo>
                  <a:lnTo>
                    <a:pt x="53995" y="446966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04124004-3ABF-27FC-B757-FFA3991456F9}"/>
                </a:ext>
              </a:extLst>
            </p:cNvPr>
            <p:cNvSpPr/>
            <p:nvPr/>
          </p:nvSpPr>
          <p:spPr>
            <a:xfrm>
              <a:off x="4129718" y="2492295"/>
              <a:ext cx="199423" cy="106160"/>
            </a:xfrm>
            <a:custGeom>
              <a:avLst/>
              <a:gdLst>
                <a:gd name="connsiteX0" fmla="*/ 0 w 199423"/>
                <a:gd name="connsiteY0" fmla="*/ 106161 h 106160"/>
                <a:gd name="connsiteX1" fmla="*/ 145351 w 199423"/>
                <a:gd name="connsiteY1" fmla="*/ 0 h 106160"/>
                <a:gd name="connsiteX2" fmla="*/ 199423 w 199423"/>
                <a:gd name="connsiteY2" fmla="*/ 0 h 106160"/>
                <a:gd name="connsiteX3" fmla="*/ 68955 w 199423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23" h="106160">
                  <a:moveTo>
                    <a:pt x="0" y="106161"/>
                  </a:moveTo>
                  <a:lnTo>
                    <a:pt x="145351" y="0"/>
                  </a:lnTo>
                  <a:lnTo>
                    <a:pt x="199423" y="0"/>
                  </a:lnTo>
                  <a:lnTo>
                    <a:pt x="68955" y="106161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2079F757-0FE4-D61D-8159-CDA8E7F73567}"/>
                </a:ext>
              </a:extLst>
            </p:cNvPr>
            <p:cNvSpPr/>
            <p:nvPr/>
          </p:nvSpPr>
          <p:spPr>
            <a:xfrm>
              <a:off x="4533526" y="2492295"/>
              <a:ext cx="160729" cy="106160"/>
            </a:xfrm>
            <a:custGeom>
              <a:avLst/>
              <a:gdLst>
                <a:gd name="connsiteX0" fmla="*/ 96239 w 160729"/>
                <a:gd name="connsiteY0" fmla="*/ 0 h 106160"/>
                <a:gd name="connsiteX1" fmla="*/ 0 w 160729"/>
                <a:gd name="connsiteY1" fmla="*/ 85822 h 106160"/>
                <a:gd name="connsiteX2" fmla="*/ 0 w 160729"/>
                <a:gd name="connsiteY2" fmla="*/ 106161 h 106160"/>
                <a:gd name="connsiteX3" fmla="*/ 41670 w 160729"/>
                <a:gd name="connsiteY3" fmla="*/ 106161 h 106160"/>
                <a:gd name="connsiteX4" fmla="*/ 160729 w 160729"/>
                <a:gd name="connsiteY4" fmla="*/ 496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29" h="106160">
                  <a:moveTo>
                    <a:pt x="96239" y="0"/>
                  </a:moveTo>
                  <a:lnTo>
                    <a:pt x="0" y="85822"/>
                  </a:lnTo>
                  <a:lnTo>
                    <a:pt x="0" y="106161"/>
                  </a:lnTo>
                  <a:lnTo>
                    <a:pt x="41670" y="106161"/>
                  </a:lnTo>
                  <a:lnTo>
                    <a:pt x="160729" y="496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5683395D-86E9-271D-AE7B-37DB5B18D963}"/>
                </a:ext>
              </a:extLst>
            </p:cNvPr>
            <p:cNvSpPr/>
            <p:nvPr/>
          </p:nvSpPr>
          <p:spPr>
            <a:xfrm>
              <a:off x="5560903" y="2633181"/>
              <a:ext cx="229684" cy="163705"/>
            </a:xfrm>
            <a:custGeom>
              <a:avLst/>
              <a:gdLst>
                <a:gd name="connsiteX0" fmla="*/ 165194 w 229684"/>
                <a:gd name="connsiteY0" fmla="*/ 0 h 163705"/>
                <a:gd name="connsiteX1" fmla="*/ 0 w 229684"/>
                <a:gd name="connsiteY1" fmla="*/ 143367 h 163705"/>
                <a:gd name="connsiteX2" fmla="*/ 0 w 229684"/>
                <a:gd name="connsiteY2" fmla="*/ 163706 h 163705"/>
                <a:gd name="connsiteX3" fmla="*/ 41671 w 229684"/>
                <a:gd name="connsiteY3" fmla="*/ 163706 h 163705"/>
                <a:gd name="connsiteX4" fmla="*/ 229684 w 229684"/>
                <a:gd name="connsiteY4" fmla="*/ 992 h 16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84" h="163705">
                  <a:moveTo>
                    <a:pt x="165194" y="0"/>
                  </a:moveTo>
                  <a:lnTo>
                    <a:pt x="0" y="143367"/>
                  </a:lnTo>
                  <a:lnTo>
                    <a:pt x="0" y="163706"/>
                  </a:lnTo>
                  <a:lnTo>
                    <a:pt x="41671" y="163706"/>
                  </a:lnTo>
                  <a:lnTo>
                    <a:pt x="229684" y="99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DBB86572-9FF3-C1BD-109E-7AC60617C7D2}"/>
                </a:ext>
              </a:extLst>
            </p:cNvPr>
            <p:cNvSpPr/>
            <p:nvPr/>
          </p:nvSpPr>
          <p:spPr>
            <a:xfrm>
              <a:off x="6392330" y="4839240"/>
              <a:ext cx="153784" cy="199423"/>
            </a:xfrm>
            <a:custGeom>
              <a:avLst/>
              <a:gdLst>
                <a:gd name="connsiteX0" fmla="*/ 153784 w 153784"/>
                <a:gd name="connsiteY0" fmla="*/ 99712 h 199423"/>
                <a:gd name="connsiteX1" fmla="*/ 76892 w 153784"/>
                <a:gd name="connsiteY1" fmla="*/ 199423 h 199423"/>
                <a:gd name="connsiteX2" fmla="*/ 0 w 153784"/>
                <a:gd name="connsiteY2" fmla="*/ 99712 h 199423"/>
                <a:gd name="connsiteX3" fmla="*/ 76892 w 153784"/>
                <a:gd name="connsiteY3" fmla="*/ 0 h 199423"/>
                <a:gd name="connsiteX4" fmla="*/ 153784 w 153784"/>
                <a:gd name="connsiteY4" fmla="*/ 99712 h 19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4" h="199423">
                  <a:moveTo>
                    <a:pt x="153784" y="99712"/>
                  </a:moveTo>
                  <a:cubicBezTo>
                    <a:pt x="153784" y="154781"/>
                    <a:pt x="119359" y="199423"/>
                    <a:pt x="76892" y="199423"/>
                  </a:cubicBezTo>
                  <a:cubicBezTo>
                    <a:pt x="34426" y="199423"/>
                    <a:pt x="0" y="154781"/>
                    <a:pt x="0" y="99712"/>
                  </a:cubicBezTo>
                  <a:cubicBezTo>
                    <a:pt x="0" y="44642"/>
                    <a:pt x="34426" y="0"/>
                    <a:pt x="76892" y="0"/>
                  </a:cubicBezTo>
                  <a:cubicBezTo>
                    <a:pt x="119359" y="0"/>
                    <a:pt x="153784" y="44642"/>
                    <a:pt x="153784" y="99712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EC713A29-B4BA-E778-BB70-4B4B920373A5}"/>
                </a:ext>
              </a:extLst>
            </p:cNvPr>
            <p:cNvSpPr/>
            <p:nvPr/>
          </p:nvSpPr>
          <p:spPr>
            <a:xfrm>
              <a:off x="6396298" y="4857542"/>
              <a:ext cx="119555" cy="50652"/>
            </a:xfrm>
            <a:custGeom>
              <a:avLst/>
              <a:gdLst>
                <a:gd name="connsiteX0" fmla="*/ 0 w 119555"/>
                <a:gd name="connsiteY0" fmla="*/ 50652 h 50652"/>
                <a:gd name="connsiteX1" fmla="*/ 119555 w 119555"/>
                <a:gd name="connsiteY1" fmla="*/ 1540 h 5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55" h="50652">
                  <a:moveTo>
                    <a:pt x="0" y="50652"/>
                  </a:moveTo>
                  <a:cubicBezTo>
                    <a:pt x="0" y="50652"/>
                    <a:pt x="62010" y="-10366"/>
                    <a:pt x="119555" y="1540"/>
                  </a:cubicBez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B770D9CB-23CC-02FA-B55B-F209B914CBEE}"/>
                </a:ext>
              </a:extLst>
            </p:cNvPr>
            <p:cNvSpPr/>
            <p:nvPr/>
          </p:nvSpPr>
          <p:spPr>
            <a:xfrm>
              <a:off x="6353479" y="4870335"/>
              <a:ext cx="33551" cy="42480"/>
            </a:xfrm>
            <a:custGeom>
              <a:avLst/>
              <a:gdLst>
                <a:gd name="connsiteX0" fmla="*/ 8094 w 33551"/>
                <a:gd name="connsiteY0" fmla="*/ 41331 h 42480"/>
                <a:gd name="connsiteX1" fmla="*/ 8094 w 33551"/>
                <a:gd name="connsiteY1" fmla="*/ 41331 h 42480"/>
                <a:gd name="connsiteX2" fmla="*/ 1150 w 33551"/>
                <a:gd name="connsiteY2" fmla="*/ 23969 h 42480"/>
                <a:gd name="connsiteX3" fmla="*/ 8094 w 33551"/>
                <a:gd name="connsiteY3" fmla="*/ 8094 h 42480"/>
                <a:gd name="connsiteX4" fmla="*/ 25457 w 33551"/>
                <a:gd name="connsiteY4" fmla="*/ 1149 h 42480"/>
                <a:gd name="connsiteX5" fmla="*/ 25457 w 33551"/>
                <a:gd name="connsiteY5" fmla="*/ 1149 h 42480"/>
                <a:gd name="connsiteX6" fmla="*/ 32402 w 33551"/>
                <a:gd name="connsiteY6" fmla="*/ 18512 h 42480"/>
                <a:gd name="connsiteX7" fmla="*/ 25457 w 33551"/>
                <a:gd name="connsiteY7" fmla="*/ 34387 h 42480"/>
                <a:gd name="connsiteX8" fmla="*/ 8094 w 33551"/>
                <a:gd name="connsiteY8" fmla="*/ 41331 h 4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51" h="42480">
                  <a:moveTo>
                    <a:pt x="8094" y="41331"/>
                  </a:moveTo>
                  <a:lnTo>
                    <a:pt x="8094" y="41331"/>
                  </a:lnTo>
                  <a:cubicBezTo>
                    <a:pt x="1150" y="38355"/>
                    <a:pt x="-1827" y="30418"/>
                    <a:pt x="1150" y="23969"/>
                  </a:cubicBezTo>
                  <a:lnTo>
                    <a:pt x="8094" y="8094"/>
                  </a:lnTo>
                  <a:cubicBezTo>
                    <a:pt x="11071" y="1149"/>
                    <a:pt x="19008" y="-1827"/>
                    <a:pt x="25457" y="1149"/>
                  </a:cubicBezTo>
                  <a:lnTo>
                    <a:pt x="25457" y="1149"/>
                  </a:lnTo>
                  <a:cubicBezTo>
                    <a:pt x="32402" y="4126"/>
                    <a:pt x="35378" y="12063"/>
                    <a:pt x="32402" y="18512"/>
                  </a:cubicBezTo>
                  <a:lnTo>
                    <a:pt x="25457" y="34387"/>
                  </a:lnTo>
                  <a:cubicBezTo>
                    <a:pt x="22976" y="41331"/>
                    <a:pt x="15039" y="44308"/>
                    <a:pt x="8094" y="41331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8451A563-47D4-3C20-BA61-FB16A532EAB3}"/>
                </a:ext>
              </a:extLst>
            </p:cNvPr>
            <p:cNvSpPr/>
            <p:nvPr/>
          </p:nvSpPr>
          <p:spPr>
            <a:xfrm>
              <a:off x="6285174" y="4812860"/>
              <a:ext cx="64493" cy="57146"/>
            </a:xfrm>
            <a:custGeom>
              <a:avLst/>
              <a:gdLst>
                <a:gd name="connsiteX0" fmla="*/ 64494 w 64493"/>
                <a:gd name="connsiteY0" fmla="*/ 54656 h 57146"/>
                <a:gd name="connsiteX1" fmla="*/ 18358 w 64493"/>
                <a:gd name="connsiteY1" fmla="*/ 87 h 57146"/>
                <a:gd name="connsiteX2" fmla="*/ 64494 w 64493"/>
                <a:gd name="connsiteY2" fmla="*/ 54656 h 5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93" h="57146">
                  <a:moveTo>
                    <a:pt x="64494" y="54656"/>
                  </a:moveTo>
                  <a:cubicBezTo>
                    <a:pt x="64494" y="54656"/>
                    <a:pt x="55564" y="3560"/>
                    <a:pt x="18358" y="87"/>
                  </a:cubicBezTo>
                  <a:cubicBezTo>
                    <a:pt x="-19839" y="-2890"/>
                    <a:pt x="4468" y="71522"/>
                    <a:pt x="64494" y="54656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0EC21A49-F4CD-BC6C-F389-D963A69A37CC}"/>
                </a:ext>
              </a:extLst>
            </p:cNvPr>
            <p:cNvSpPr/>
            <p:nvPr/>
          </p:nvSpPr>
          <p:spPr>
            <a:xfrm>
              <a:off x="6356116" y="5005922"/>
              <a:ext cx="135429" cy="166682"/>
            </a:xfrm>
            <a:custGeom>
              <a:avLst/>
              <a:gdLst>
                <a:gd name="connsiteX0" fmla="*/ 56057 w 135429"/>
                <a:gd name="connsiteY0" fmla="*/ 0 h 166682"/>
                <a:gd name="connsiteX1" fmla="*/ 0 w 135429"/>
                <a:gd name="connsiteY1" fmla="*/ 119555 h 166682"/>
                <a:gd name="connsiteX2" fmla="*/ 113106 w 135429"/>
                <a:gd name="connsiteY2" fmla="*/ 166682 h 166682"/>
                <a:gd name="connsiteX3" fmla="*/ 135430 w 135429"/>
                <a:gd name="connsiteY3" fmla="*/ 18851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429" h="166682">
                  <a:moveTo>
                    <a:pt x="56057" y="0"/>
                  </a:moveTo>
                  <a:lnTo>
                    <a:pt x="0" y="119555"/>
                  </a:lnTo>
                  <a:lnTo>
                    <a:pt x="113106" y="166682"/>
                  </a:lnTo>
                  <a:lnTo>
                    <a:pt x="135430" y="18851"/>
                  </a:ln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04DAE97-C130-B12D-DEC1-F2B2A817F60B}"/>
                </a:ext>
              </a:extLst>
            </p:cNvPr>
            <p:cNvSpPr/>
            <p:nvPr/>
          </p:nvSpPr>
          <p:spPr>
            <a:xfrm>
              <a:off x="6383400" y="5136390"/>
              <a:ext cx="96241" cy="119554"/>
            </a:xfrm>
            <a:custGeom>
              <a:avLst/>
              <a:gdLst>
                <a:gd name="connsiteX0" fmla="*/ 96239 w 96241"/>
                <a:gd name="connsiteY0" fmla="*/ 119555 h 119554"/>
                <a:gd name="connsiteX1" fmla="*/ 0 w 96241"/>
                <a:gd name="connsiteY1" fmla="*/ 0 h 119554"/>
                <a:gd name="connsiteX2" fmla="*/ 86318 w 96241"/>
                <a:gd name="connsiteY2" fmla="*/ 35717 h 119554"/>
                <a:gd name="connsiteX3" fmla="*/ 96239 w 96241"/>
                <a:gd name="connsiteY3" fmla="*/ 119555 h 11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41" h="119554">
                  <a:moveTo>
                    <a:pt x="96239" y="119555"/>
                  </a:moveTo>
                  <a:cubicBezTo>
                    <a:pt x="96735" y="117074"/>
                    <a:pt x="0" y="0"/>
                    <a:pt x="0" y="0"/>
                  </a:cubicBezTo>
                  <a:lnTo>
                    <a:pt x="86318" y="35717"/>
                  </a:lnTo>
                  <a:lnTo>
                    <a:pt x="96239" y="119555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12FFDEA0-3E1F-DACC-1D3A-2E4F154A0947}"/>
                </a:ext>
              </a:extLst>
            </p:cNvPr>
            <p:cNvSpPr/>
            <p:nvPr/>
          </p:nvSpPr>
          <p:spPr>
            <a:xfrm>
              <a:off x="6271783" y="5125476"/>
              <a:ext cx="136421" cy="59529"/>
            </a:xfrm>
            <a:custGeom>
              <a:avLst/>
              <a:gdLst>
                <a:gd name="connsiteX0" fmla="*/ 0 w 136421"/>
                <a:gd name="connsiteY0" fmla="*/ 47127 h 59529"/>
                <a:gd name="connsiteX1" fmla="*/ 84333 w 136421"/>
                <a:gd name="connsiteY1" fmla="*/ 0 h 59529"/>
                <a:gd name="connsiteX2" fmla="*/ 111122 w 136421"/>
                <a:gd name="connsiteY2" fmla="*/ 11410 h 59529"/>
                <a:gd name="connsiteX3" fmla="*/ 136421 w 136421"/>
                <a:gd name="connsiteY3" fmla="*/ 42167 h 59529"/>
                <a:gd name="connsiteX4" fmla="*/ 3473 w 136421"/>
                <a:gd name="connsiteY4" fmla="*/ 59529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21" h="59529">
                  <a:moveTo>
                    <a:pt x="0" y="47127"/>
                  </a:moveTo>
                  <a:lnTo>
                    <a:pt x="84333" y="0"/>
                  </a:lnTo>
                  <a:lnTo>
                    <a:pt x="111122" y="11410"/>
                  </a:lnTo>
                  <a:lnTo>
                    <a:pt x="136421" y="42167"/>
                  </a:lnTo>
                  <a:lnTo>
                    <a:pt x="3473" y="59529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BB45EB49-358B-9170-77BF-D62242CD5116}"/>
                </a:ext>
              </a:extLst>
            </p:cNvPr>
            <p:cNvSpPr/>
            <p:nvPr/>
          </p:nvSpPr>
          <p:spPr>
            <a:xfrm>
              <a:off x="3512101" y="2745836"/>
              <a:ext cx="336837" cy="281726"/>
            </a:xfrm>
            <a:custGeom>
              <a:avLst/>
              <a:gdLst>
                <a:gd name="connsiteX0" fmla="*/ 6449 w 336837"/>
                <a:gd name="connsiteY0" fmla="*/ 5907 h 281726"/>
                <a:gd name="connsiteX1" fmla="*/ 0 w 336837"/>
                <a:gd name="connsiteY1" fmla="*/ 13845 h 281726"/>
                <a:gd name="connsiteX2" fmla="*/ 13394 w 336837"/>
                <a:gd name="connsiteY2" fmla="*/ 38152 h 281726"/>
                <a:gd name="connsiteX3" fmla="*/ 108145 w 336837"/>
                <a:gd name="connsiteY3" fmla="*/ 87760 h 281726"/>
                <a:gd name="connsiteX4" fmla="*/ 212321 w 336837"/>
                <a:gd name="connsiteY4" fmla="*/ 209299 h 281726"/>
                <a:gd name="connsiteX5" fmla="*/ 231668 w 336837"/>
                <a:gd name="connsiteY5" fmla="*/ 218229 h 281726"/>
                <a:gd name="connsiteX6" fmla="*/ 247047 w 336837"/>
                <a:gd name="connsiteY6" fmla="*/ 227654 h 281726"/>
                <a:gd name="connsiteX7" fmla="*/ 275323 w 336837"/>
                <a:gd name="connsiteY7" fmla="*/ 259403 h 281726"/>
                <a:gd name="connsiteX8" fmla="*/ 286237 w 336837"/>
                <a:gd name="connsiteY8" fmla="*/ 281727 h 281726"/>
                <a:gd name="connsiteX9" fmla="*/ 302112 w 336837"/>
                <a:gd name="connsiteY9" fmla="*/ 267837 h 281726"/>
                <a:gd name="connsiteX10" fmla="*/ 325923 w 336837"/>
                <a:gd name="connsiteY10" fmla="*/ 254442 h 281726"/>
                <a:gd name="connsiteX11" fmla="*/ 336837 w 336837"/>
                <a:gd name="connsiteY11" fmla="*/ 252954 h 281726"/>
                <a:gd name="connsiteX12" fmla="*/ 212818 w 336837"/>
                <a:gd name="connsiteY12" fmla="*/ 116037 h 281726"/>
                <a:gd name="connsiteX13" fmla="*/ 213314 w 336837"/>
                <a:gd name="connsiteY13" fmla="*/ 50058 h 281726"/>
                <a:gd name="connsiteX14" fmla="*/ 196447 w 336837"/>
                <a:gd name="connsiteY14" fmla="*/ 6403 h 281726"/>
                <a:gd name="connsiteX15" fmla="*/ 172139 w 336837"/>
                <a:gd name="connsiteY15" fmla="*/ 16325 h 281726"/>
                <a:gd name="connsiteX16" fmla="*/ 184045 w 336837"/>
                <a:gd name="connsiteY16" fmla="*/ 118517 h 281726"/>
                <a:gd name="connsiteX17" fmla="*/ 109137 w 336837"/>
                <a:gd name="connsiteY17" fmla="*/ 65437 h 281726"/>
                <a:gd name="connsiteX18" fmla="*/ 6449 w 336837"/>
                <a:gd name="connsiteY18" fmla="*/ 5907 h 28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837" h="281726">
                  <a:moveTo>
                    <a:pt x="6449" y="5907"/>
                  </a:moveTo>
                  <a:lnTo>
                    <a:pt x="0" y="13845"/>
                  </a:lnTo>
                  <a:cubicBezTo>
                    <a:pt x="0" y="13845"/>
                    <a:pt x="12402" y="27735"/>
                    <a:pt x="13394" y="38152"/>
                  </a:cubicBezTo>
                  <a:lnTo>
                    <a:pt x="108145" y="87760"/>
                  </a:lnTo>
                  <a:lnTo>
                    <a:pt x="212321" y="209299"/>
                  </a:lnTo>
                  <a:lnTo>
                    <a:pt x="231668" y="218229"/>
                  </a:lnTo>
                  <a:lnTo>
                    <a:pt x="247047" y="227654"/>
                  </a:lnTo>
                  <a:lnTo>
                    <a:pt x="275323" y="259403"/>
                  </a:lnTo>
                  <a:lnTo>
                    <a:pt x="286237" y="281727"/>
                  </a:lnTo>
                  <a:lnTo>
                    <a:pt x="302112" y="267837"/>
                  </a:lnTo>
                  <a:lnTo>
                    <a:pt x="325923" y="254442"/>
                  </a:lnTo>
                  <a:lnTo>
                    <a:pt x="336837" y="252954"/>
                  </a:lnTo>
                  <a:lnTo>
                    <a:pt x="212818" y="116037"/>
                  </a:lnTo>
                  <a:lnTo>
                    <a:pt x="213314" y="50058"/>
                  </a:lnTo>
                  <a:cubicBezTo>
                    <a:pt x="213314" y="50058"/>
                    <a:pt x="195455" y="25254"/>
                    <a:pt x="196447" y="6403"/>
                  </a:cubicBezTo>
                  <a:cubicBezTo>
                    <a:pt x="197439" y="-12448"/>
                    <a:pt x="172139" y="16325"/>
                    <a:pt x="172139" y="16325"/>
                  </a:cubicBezTo>
                  <a:lnTo>
                    <a:pt x="184045" y="118517"/>
                  </a:lnTo>
                  <a:lnTo>
                    <a:pt x="109137" y="65437"/>
                  </a:lnTo>
                  <a:lnTo>
                    <a:pt x="6449" y="5907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AB0D6E09-7E3A-7F68-0B97-261996685A8F}"/>
                </a:ext>
              </a:extLst>
            </p:cNvPr>
            <p:cNvSpPr/>
            <p:nvPr/>
          </p:nvSpPr>
          <p:spPr>
            <a:xfrm>
              <a:off x="4069197" y="3825752"/>
              <a:ext cx="127492" cy="369578"/>
            </a:xfrm>
            <a:custGeom>
              <a:avLst/>
              <a:gdLst>
                <a:gd name="connsiteX0" fmla="*/ 127492 w 127492"/>
                <a:gd name="connsiteY0" fmla="*/ 369578 h 369578"/>
                <a:gd name="connsiteX1" fmla="*/ 34230 w 127492"/>
                <a:gd name="connsiteY1" fmla="*/ 369578 h 369578"/>
                <a:gd name="connsiteX2" fmla="*/ 0 w 127492"/>
                <a:gd name="connsiteY2" fmla="*/ 312033 h 369578"/>
                <a:gd name="connsiteX3" fmla="*/ 0 w 127492"/>
                <a:gd name="connsiteY3" fmla="*/ 0 h 369578"/>
                <a:gd name="connsiteX4" fmla="*/ 127492 w 127492"/>
                <a:gd name="connsiteY4" fmla="*/ 0 h 369578"/>
                <a:gd name="connsiteX5" fmla="*/ 127492 w 127492"/>
                <a:gd name="connsiteY5" fmla="*/ 369578 h 36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2" h="369578">
                  <a:moveTo>
                    <a:pt x="127492" y="369578"/>
                  </a:moveTo>
                  <a:lnTo>
                    <a:pt x="34230" y="369578"/>
                  </a:lnTo>
                  <a:cubicBezTo>
                    <a:pt x="26292" y="349239"/>
                    <a:pt x="14882" y="329892"/>
                    <a:pt x="0" y="312033"/>
                  </a:cubicBezTo>
                  <a:lnTo>
                    <a:pt x="0" y="0"/>
                  </a:lnTo>
                  <a:lnTo>
                    <a:pt x="127492" y="0"/>
                  </a:lnTo>
                  <a:lnTo>
                    <a:pt x="127492" y="36957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14F635F5-A9A1-21F2-E8C6-585FAD6F8374}"/>
                </a:ext>
              </a:extLst>
            </p:cNvPr>
            <p:cNvSpPr/>
            <p:nvPr/>
          </p:nvSpPr>
          <p:spPr>
            <a:xfrm>
              <a:off x="3810244" y="4121003"/>
              <a:ext cx="438532" cy="907738"/>
            </a:xfrm>
            <a:custGeom>
              <a:avLst/>
              <a:gdLst>
                <a:gd name="connsiteX0" fmla="*/ 438533 w 438532"/>
                <a:gd name="connsiteY0" fmla="*/ 553043 h 907738"/>
                <a:gd name="connsiteX1" fmla="*/ 438533 w 438532"/>
                <a:gd name="connsiteY1" fmla="*/ 525262 h 907738"/>
                <a:gd name="connsiteX2" fmla="*/ 354199 w 438532"/>
                <a:gd name="connsiteY2" fmla="*/ 525262 h 907738"/>
                <a:gd name="connsiteX3" fmla="*/ 419186 w 438532"/>
                <a:gd name="connsiteY3" fmla="*/ 380408 h 907738"/>
                <a:gd name="connsiteX4" fmla="*/ 322451 w 438532"/>
                <a:gd name="connsiteY4" fmla="*/ 272263 h 907738"/>
                <a:gd name="connsiteX5" fmla="*/ 367098 w 438532"/>
                <a:gd name="connsiteY5" fmla="*/ 228112 h 907738"/>
                <a:gd name="connsiteX6" fmla="*/ 380988 w 438532"/>
                <a:gd name="connsiteY6" fmla="*/ 195370 h 907738"/>
                <a:gd name="connsiteX7" fmla="*/ 409264 w 438532"/>
                <a:gd name="connsiteY7" fmla="*/ 134353 h 907738"/>
                <a:gd name="connsiteX8" fmla="*/ 333364 w 438532"/>
                <a:gd name="connsiteY8" fmla="*/ 61429 h 907738"/>
                <a:gd name="connsiteX9" fmla="*/ 290206 w 438532"/>
                <a:gd name="connsiteY9" fmla="*/ 74328 h 907738"/>
                <a:gd name="connsiteX10" fmla="*/ 280780 w 438532"/>
                <a:gd name="connsiteY10" fmla="*/ 48036 h 907738"/>
                <a:gd name="connsiteX11" fmla="*/ 218770 w 438532"/>
                <a:gd name="connsiteY11" fmla="*/ 3389 h 907738"/>
                <a:gd name="connsiteX12" fmla="*/ 258952 w 438532"/>
                <a:gd name="connsiteY12" fmla="*/ 96155 h 907738"/>
                <a:gd name="connsiteX13" fmla="*/ 216290 w 438532"/>
                <a:gd name="connsiteY13" fmla="*/ 199339 h 907738"/>
                <a:gd name="connsiteX14" fmla="*/ 59529 w 438532"/>
                <a:gd name="connsiteY14" fmla="*/ 45555 h 907738"/>
                <a:gd name="connsiteX15" fmla="*/ 0 w 438532"/>
                <a:gd name="connsiteY15" fmla="*/ 48036 h 907738"/>
                <a:gd name="connsiteX16" fmla="*/ 41670 w 438532"/>
                <a:gd name="connsiteY16" fmla="*/ 63910 h 907738"/>
                <a:gd name="connsiteX17" fmla="*/ 206368 w 438532"/>
                <a:gd name="connsiteY17" fmla="*/ 791656 h 907738"/>
                <a:gd name="connsiteX18" fmla="*/ 115090 w 438532"/>
                <a:gd name="connsiteY18" fmla="*/ 832335 h 907738"/>
                <a:gd name="connsiteX19" fmla="*/ 200912 w 438532"/>
                <a:gd name="connsiteY19" fmla="*/ 840768 h 907738"/>
                <a:gd name="connsiteX20" fmla="*/ 210337 w 438532"/>
                <a:gd name="connsiteY20" fmla="*/ 829358 h 907738"/>
                <a:gd name="connsiteX21" fmla="*/ 224227 w 438532"/>
                <a:gd name="connsiteY21" fmla="*/ 846225 h 907738"/>
                <a:gd name="connsiteX22" fmla="*/ 238117 w 438532"/>
                <a:gd name="connsiteY22" fmla="*/ 847217 h 907738"/>
                <a:gd name="connsiteX23" fmla="*/ 239109 w 438532"/>
                <a:gd name="connsiteY23" fmla="*/ 806539 h 907738"/>
                <a:gd name="connsiteX24" fmla="*/ 285245 w 438532"/>
                <a:gd name="connsiteY24" fmla="*/ 907739 h 907738"/>
                <a:gd name="connsiteX25" fmla="*/ 323939 w 438532"/>
                <a:gd name="connsiteY25" fmla="*/ 907739 h 907738"/>
                <a:gd name="connsiteX26" fmla="*/ 319970 w 438532"/>
                <a:gd name="connsiteY26" fmla="*/ 880454 h 907738"/>
                <a:gd name="connsiteX27" fmla="*/ 268378 w 438532"/>
                <a:gd name="connsiteY27" fmla="*/ 788680 h 907738"/>
                <a:gd name="connsiteX28" fmla="*/ 307568 w 438532"/>
                <a:gd name="connsiteY28" fmla="*/ 552547 h 907738"/>
                <a:gd name="connsiteX29" fmla="*/ 438533 w 438532"/>
                <a:gd name="connsiteY29" fmla="*/ 552547 h 907738"/>
                <a:gd name="connsiteX30" fmla="*/ 319970 w 438532"/>
                <a:gd name="connsiteY30" fmla="*/ 359572 h 907738"/>
                <a:gd name="connsiteX31" fmla="*/ 357672 w 438532"/>
                <a:gd name="connsiteY31" fmla="*/ 412157 h 907738"/>
                <a:gd name="connsiteX32" fmla="*/ 343782 w 438532"/>
                <a:gd name="connsiteY32" fmla="*/ 524766 h 907738"/>
                <a:gd name="connsiteX33" fmla="*/ 309057 w 438532"/>
                <a:gd name="connsiteY33" fmla="*/ 524766 h 907738"/>
                <a:gd name="connsiteX34" fmla="*/ 319970 w 438532"/>
                <a:gd name="connsiteY34" fmla="*/ 359572 h 90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8532" h="907738">
                  <a:moveTo>
                    <a:pt x="438533" y="553043"/>
                  </a:moveTo>
                  <a:lnTo>
                    <a:pt x="438533" y="525262"/>
                  </a:lnTo>
                  <a:lnTo>
                    <a:pt x="354199" y="525262"/>
                  </a:lnTo>
                  <a:lnTo>
                    <a:pt x="419186" y="380408"/>
                  </a:lnTo>
                  <a:cubicBezTo>
                    <a:pt x="416705" y="367510"/>
                    <a:pt x="322451" y="274743"/>
                    <a:pt x="322451" y="272263"/>
                  </a:cubicBezTo>
                  <a:cubicBezTo>
                    <a:pt x="341302" y="263333"/>
                    <a:pt x="367098" y="228112"/>
                    <a:pt x="367098" y="228112"/>
                  </a:cubicBezTo>
                  <a:lnTo>
                    <a:pt x="380988" y="195370"/>
                  </a:lnTo>
                  <a:cubicBezTo>
                    <a:pt x="380988" y="195370"/>
                    <a:pt x="412241" y="166598"/>
                    <a:pt x="409264" y="134353"/>
                  </a:cubicBezTo>
                  <a:cubicBezTo>
                    <a:pt x="403311" y="74824"/>
                    <a:pt x="349735" y="63910"/>
                    <a:pt x="333364" y="61429"/>
                  </a:cubicBezTo>
                  <a:cubicBezTo>
                    <a:pt x="316994" y="58949"/>
                    <a:pt x="290206" y="74328"/>
                    <a:pt x="290206" y="74328"/>
                  </a:cubicBezTo>
                  <a:cubicBezTo>
                    <a:pt x="290206" y="74328"/>
                    <a:pt x="284253" y="64902"/>
                    <a:pt x="280780" y="48036"/>
                  </a:cubicBezTo>
                  <a:cubicBezTo>
                    <a:pt x="277307" y="31665"/>
                    <a:pt x="238117" y="-12486"/>
                    <a:pt x="218770" y="3389"/>
                  </a:cubicBezTo>
                  <a:cubicBezTo>
                    <a:pt x="199423" y="19263"/>
                    <a:pt x="233157" y="59941"/>
                    <a:pt x="258952" y="96155"/>
                  </a:cubicBezTo>
                  <a:cubicBezTo>
                    <a:pt x="216290" y="135345"/>
                    <a:pt x="216290" y="199339"/>
                    <a:pt x="216290" y="199339"/>
                  </a:cubicBezTo>
                  <a:lnTo>
                    <a:pt x="59529" y="45555"/>
                  </a:lnTo>
                  <a:lnTo>
                    <a:pt x="0" y="48036"/>
                  </a:lnTo>
                  <a:cubicBezTo>
                    <a:pt x="4465" y="58949"/>
                    <a:pt x="7937" y="56965"/>
                    <a:pt x="41670" y="63910"/>
                  </a:cubicBezTo>
                  <a:cubicBezTo>
                    <a:pt x="216290" y="378919"/>
                    <a:pt x="206368" y="791656"/>
                    <a:pt x="206368" y="791656"/>
                  </a:cubicBezTo>
                  <a:cubicBezTo>
                    <a:pt x="206368" y="791656"/>
                    <a:pt x="115586" y="829358"/>
                    <a:pt x="115090" y="832335"/>
                  </a:cubicBezTo>
                  <a:cubicBezTo>
                    <a:pt x="130964" y="840272"/>
                    <a:pt x="200912" y="840768"/>
                    <a:pt x="200912" y="840768"/>
                  </a:cubicBezTo>
                  <a:lnTo>
                    <a:pt x="210337" y="829358"/>
                  </a:lnTo>
                  <a:lnTo>
                    <a:pt x="224227" y="846225"/>
                  </a:lnTo>
                  <a:lnTo>
                    <a:pt x="238117" y="847217"/>
                  </a:lnTo>
                  <a:cubicBezTo>
                    <a:pt x="238117" y="847217"/>
                    <a:pt x="238613" y="822909"/>
                    <a:pt x="239109" y="806539"/>
                  </a:cubicBezTo>
                  <a:cubicBezTo>
                    <a:pt x="259449" y="885415"/>
                    <a:pt x="285245" y="907739"/>
                    <a:pt x="285245" y="907739"/>
                  </a:cubicBezTo>
                  <a:lnTo>
                    <a:pt x="323939" y="907739"/>
                  </a:lnTo>
                  <a:lnTo>
                    <a:pt x="319970" y="880454"/>
                  </a:lnTo>
                  <a:lnTo>
                    <a:pt x="268378" y="788680"/>
                  </a:lnTo>
                  <a:lnTo>
                    <a:pt x="307568" y="552547"/>
                  </a:lnTo>
                  <a:lnTo>
                    <a:pt x="438533" y="552547"/>
                  </a:lnTo>
                  <a:close/>
                  <a:moveTo>
                    <a:pt x="319970" y="359572"/>
                  </a:moveTo>
                  <a:cubicBezTo>
                    <a:pt x="319970" y="359572"/>
                    <a:pt x="362633" y="398762"/>
                    <a:pt x="357672" y="412157"/>
                  </a:cubicBezTo>
                  <a:cubicBezTo>
                    <a:pt x="352711" y="425551"/>
                    <a:pt x="343782" y="524766"/>
                    <a:pt x="343782" y="524766"/>
                  </a:cubicBezTo>
                  <a:lnTo>
                    <a:pt x="309057" y="524766"/>
                  </a:lnTo>
                  <a:lnTo>
                    <a:pt x="319970" y="35957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F7D319D7-751B-5EF0-BCCB-0CD4D6940A00}"/>
                </a:ext>
              </a:extLst>
            </p:cNvPr>
            <p:cNvSpPr/>
            <p:nvPr/>
          </p:nvSpPr>
          <p:spPr>
            <a:xfrm>
              <a:off x="4023282" y="4121003"/>
              <a:ext cx="196412" cy="194874"/>
            </a:xfrm>
            <a:custGeom>
              <a:avLst/>
              <a:gdLst>
                <a:gd name="connsiteX0" fmla="*/ 196226 w 196412"/>
                <a:gd name="connsiteY0" fmla="*/ 134353 h 194874"/>
                <a:gd name="connsiteX1" fmla="*/ 120326 w 196412"/>
                <a:gd name="connsiteY1" fmla="*/ 61429 h 194874"/>
                <a:gd name="connsiteX2" fmla="*/ 77168 w 196412"/>
                <a:gd name="connsiteY2" fmla="*/ 74328 h 194874"/>
                <a:gd name="connsiteX3" fmla="*/ 67742 w 196412"/>
                <a:gd name="connsiteY3" fmla="*/ 48036 h 194874"/>
                <a:gd name="connsiteX4" fmla="*/ 5732 w 196412"/>
                <a:gd name="connsiteY4" fmla="*/ 3389 h 194874"/>
                <a:gd name="connsiteX5" fmla="*/ 45915 w 196412"/>
                <a:gd name="connsiteY5" fmla="*/ 96155 h 194874"/>
                <a:gd name="connsiteX6" fmla="*/ 44426 w 196412"/>
                <a:gd name="connsiteY6" fmla="*/ 97643 h 194874"/>
                <a:gd name="connsiteX7" fmla="*/ 87585 w 196412"/>
                <a:gd name="connsiteY7" fmla="*/ 121951 h 194874"/>
                <a:gd name="connsiteX8" fmla="*/ 129752 w 196412"/>
                <a:gd name="connsiteY8" fmla="*/ 159157 h 194874"/>
                <a:gd name="connsiteX9" fmla="*/ 168446 w 196412"/>
                <a:gd name="connsiteY9" fmla="*/ 194875 h 194874"/>
                <a:gd name="connsiteX10" fmla="*/ 189281 w 196412"/>
                <a:gd name="connsiteY10" fmla="*/ 166102 h 194874"/>
                <a:gd name="connsiteX11" fmla="*/ 194738 w 196412"/>
                <a:gd name="connsiteY11" fmla="*/ 150228 h 194874"/>
                <a:gd name="connsiteX12" fmla="*/ 196226 w 196412"/>
                <a:gd name="connsiteY12" fmla="*/ 134353 h 19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412" h="194874">
                  <a:moveTo>
                    <a:pt x="196226" y="134353"/>
                  </a:moveTo>
                  <a:cubicBezTo>
                    <a:pt x="190274" y="74824"/>
                    <a:pt x="136697" y="63910"/>
                    <a:pt x="120326" y="61429"/>
                  </a:cubicBezTo>
                  <a:cubicBezTo>
                    <a:pt x="103956" y="58949"/>
                    <a:pt x="77168" y="74328"/>
                    <a:pt x="77168" y="74328"/>
                  </a:cubicBezTo>
                  <a:cubicBezTo>
                    <a:pt x="77168" y="74328"/>
                    <a:pt x="71215" y="64902"/>
                    <a:pt x="67742" y="48036"/>
                  </a:cubicBezTo>
                  <a:cubicBezTo>
                    <a:pt x="64270" y="31665"/>
                    <a:pt x="25080" y="-12486"/>
                    <a:pt x="5732" y="3389"/>
                  </a:cubicBezTo>
                  <a:cubicBezTo>
                    <a:pt x="-13615" y="19263"/>
                    <a:pt x="20119" y="59941"/>
                    <a:pt x="45915" y="96155"/>
                  </a:cubicBezTo>
                  <a:cubicBezTo>
                    <a:pt x="45419" y="96651"/>
                    <a:pt x="44923" y="97147"/>
                    <a:pt x="44426" y="97643"/>
                  </a:cubicBezTo>
                  <a:lnTo>
                    <a:pt x="87585" y="121951"/>
                  </a:lnTo>
                  <a:cubicBezTo>
                    <a:pt x="87585" y="121951"/>
                    <a:pt x="128760" y="158661"/>
                    <a:pt x="129752" y="159157"/>
                  </a:cubicBezTo>
                  <a:cubicBezTo>
                    <a:pt x="130248" y="159653"/>
                    <a:pt x="155052" y="182473"/>
                    <a:pt x="168446" y="194875"/>
                  </a:cubicBezTo>
                  <a:cubicBezTo>
                    <a:pt x="170926" y="192394"/>
                    <a:pt x="181840" y="181480"/>
                    <a:pt x="189281" y="166102"/>
                  </a:cubicBezTo>
                  <a:lnTo>
                    <a:pt x="194738" y="150228"/>
                  </a:lnTo>
                  <a:cubicBezTo>
                    <a:pt x="196226" y="145267"/>
                    <a:pt x="196722" y="139810"/>
                    <a:pt x="196226" y="13435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34F22EBD-CDA4-6C76-19C2-E260E06CC8D2}"/>
                </a:ext>
              </a:extLst>
            </p:cNvPr>
            <p:cNvSpPr/>
            <p:nvPr/>
          </p:nvSpPr>
          <p:spPr>
            <a:xfrm>
              <a:off x="3854891" y="2322140"/>
              <a:ext cx="215793" cy="1773974"/>
            </a:xfrm>
            <a:custGeom>
              <a:avLst/>
              <a:gdLst>
                <a:gd name="connsiteX0" fmla="*/ 25300 w 215793"/>
                <a:gd name="connsiteY0" fmla="*/ 967352 h 1773974"/>
                <a:gd name="connsiteX1" fmla="*/ 11410 w 215793"/>
                <a:gd name="connsiteY1" fmla="*/ 944036 h 1773974"/>
                <a:gd name="connsiteX2" fmla="*/ 0 w 215793"/>
                <a:gd name="connsiteY2" fmla="*/ 955942 h 1773974"/>
                <a:gd name="connsiteX3" fmla="*/ 1984 w 215793"/>
                <a:gd name="connsiteY3" fmla="*/ 1319567 h 1773974"/>
                <a:gd name="connsiteX4" fmla="*/ 1488 w 215793"/>
                <a:gd name="connsiteY4" fmla="*/ 1544787 h 1773974"/>
                <a:gd name="connsiteX5" fmla="*/ 1984 w 215793"/>
                <a:gd name="connsiteY5" fmla="*/ 1653924 h 1773974"/>
                <a:gd name="connsiteX6" fmla="*/ 20835 w 215793"/>
                <a:gd name="connsiteY6" fmla="*/ 1653924 h 1773974"/>
                <a:gd name="connsiteX7" fmla="*/ 181564 w 215793"/>
                <a:gd name="connsiteY7" fmla="*/ 1654420 h 1773974"/>
                <a:gd name="connsiteX8" fmla="*/ 181564 w 215793"/>
                <a:gd name="connsiteY8" fmla="*/ 1688153 h 1773974"/>
                <a:gd name="connsiteX9" fmla="*/ 197935 w 215793"/>
                <a:gd name="connsiteY9" fmla="*/ 1690634 h 1773974"/>
                <a:gd name="connsiteX10" fmla="*/ 196943 w 215793"/>
                <a:gd name="connsiteY10" fmla="*/ 1773975 h 1773974"/>
                <a:gd name="connsiteX11" fmla="*/ 196943 w 215793"/>
                <a:gd name="connsiteY11" fmla="*/ 1773975 h 1773974"/>
                <a:gd name="connsiteX12" fmla="*/ 197935 w 215793"/>
                <a:gd name="connsiteY12" fmla="*/ 1476328 h 1773974"/>
                <a:gd name="connsiteX13" fmla="*/ 205376 w 215793"/>
                <a:gd name="connsiteY13" fmla="*/ 1476328 h 1773974"/>
                <a:gd name="connsiteX14" fmla="*/ 205376 w 215793"/>
                <a:gd name="connsiteY14" fmla="*/ 1323040 h 1773974"/>
                <a:gd name="connsiteX15" fmla="*/ 155768 w 215793"/>
                <a:gd name="connsiteY15" fmla="*/ 1323536 h 1773974"/>
                <a:gd name="connsiteX16" fmla="*/ 135925 w 215793"/>
                <a:gd name="connsiteY16" fmla="*/ 1288811 h 1773974"/>
                <a:gd name="connsiteX17" fmla="*/ 144359 w 215793"/>
                <a:gd name="connsiteY17" fmla="*/ 1289802 h 1773974"/>
                <a:gd name="connsiteX18" fmla="*/ 145847 w 215793"/>
                <a:gd name="connsiteY18" fmla="*/ 1119648 h 1773974"/>
                <a:gd name="connsiteX19" fmla="*/ 138406 w 215793"/>
                <a:gd name="connsiteY19" fmla="*/ 1120640 h 1773974"/>
                <a:gd name="connsiteX20" fmla="*/ 131461 w 215793"/>
                <a:gd name="connsiteY20" fmla="*/ 1105758 h 1773974"/>
                <a:gd name="connsiteX21" fmla="*/ 205872 w 215793"/>
                <a:gd name="connsiteY21" fmla="*/ 1106254 h 1773974"/>
                <a:gd name="connsiteX22" fmla="*/ 205872 w 215793"/>
                <a:gd name="connsiteY22" fmla="*/ 533284 h 1773974"/>
                <a:gd name="connsiteX23" fmla="*/ 174619 w 215793"/>
                <a:gd name="connsiteY23" fmla="*/ 484172 h 1773974"/>
                <a:gd name="connsiteX24" fmla="*/ 174619 w 215793"/>
                <a:gd name="connsiteY24" fmla="*/ 473258 h 1773974"/>
                <a:gd name="connsiteX25" fmla="*/ 187517 w 215793"/>
                <a:gd name="connsiteY25" fmla="*/ 471770 h 1773974"/>
                <a:gd name="connsiteX26" fmla="*/ 187517 w 215793"/>
                <a:gd name="connsiteY26" fmla="*/ 142374 h 1773974"/>
                <a:gd name="connsiteX27" fmla="*/ 215794 w 215793"/>
                <a:gd name="connsiteY27" fmla="*/ 141878 h 1773974"/>
                <a:gd name="connsiteX28" fmla="*/ 215794 w 215793"/>
                <a:gd name="connsiteY28" fmla="*/ 1488 h 1773974"/>
                <a:gd name="connsiteX29" fmla="*/ 2480 w 215793"/>
                <a:gd name="connsiteY29" fmla="*/ 0 h 1773974"/>
                <a:gd name="connsiteX30" fmla="*/ 992 w 215793"/>
                <a:gd name="connsiteY30" fmla="*/ 283756 h 1773974"/>
                <a:gd name="connsiteX31" fmla="*/ 32741 w 215793"/>
                <a:gd name="connsiteY31" fmla="*/ 316002 h 1773974"/>
                <a:gd name="connsiteX32" fmla="*/ 48616 w 215793"/>
                <a:gd name="connsiteY32" fmla="*/ 365609 h 1773974"/>
                <a:gd name="connsiteX33" fmla="*/ 43159 w 215793"/>
                <a:gd name="connsiteY33" fmla="*/ 406784 h 1773974"/>
                <a:gd name="connsiteX34" fmla="*/ 2480 w 215793"/>
                <a:gd name="connsiteY34" fmla="*/ 466809 h 1773974"/>
                <a:gd name="connsiteX35" fmla="*/ 4465 w 215793"/>
                <a:gd name="connsiteY35" fmla="*/ 672682 h 1773974"/>
                <a:gd name="connsiteX36" fmla="*/ 26788 w 215793"/>
                <a:gd name="connsiteY36" fmla="*/ 674666 h 1773974"/>
                <a:gd name="connsiteX37" fmla="*/ 49608 w 215793"/>
                <a:gd name="connsiteY37" fmla="*/ 683595 h 1773974"/>
                <a:gd name="connsiteX38" fmla="*/ 71435 w 215793"/>
                <a:gd name="connsiteY38" fmla="*/ 701454 h 1773974"/>
                <a:gd name="connsiteX39" fmla="*/ 83341 w 215793"/>
                <a:gd name="connsiteY39" fmla="*/ 718817 h 1773974"/>
                <a:gd name="connsiteX40" fmla="*/ 89294 w 215793"/>
                <a:gd name="connsiteY40" fmla="*/ 739652 h 1773974"/>
                <a:gd name="connsiteX41" fmla="*/ 91774 w 215793"/>
                <a:gd name="connsiteY41" fmla="*/ 752550 h 1773974"/>
                <a:gd name="connsiteX42" fmla="*/ 91278 w 215793"/>
                <a:gd name="connsiteY42" fmla="*/ 759991 h 1773974"/>
                <a:gd name="connsiteX43" fmla="*/ 107649 w 215793"/>
                <a:gd name="connsiteY43" fmla="*/ 768921 h 1773974"/>
                <a:gd name="connsiteX44" fmla="*/ 87806 w 215793"/>
                <a:gd name="connsiteY44" fmla="*/ 872105 h 1773974"/>
                <a:gd name="connsiteX45" fmla="*/ 56057 w 215793"/>
                <a:gd name="connsiteY45" fmla="*/ 933123 h 1773974"/>
                <a:gd name="connsiteX46" fmla="*/ 25300 w 215793"/>
                <a:gd name="connsiteY46" fmla="*/ 967352 h 177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5793" h="1773974">
                  <a:moveTo>
                    <a:pt x="25300" y="967352"/>
                  </a:moveTo>
                  <a:cubicBezTo>
                    <a:pt x="13890" y="958919"/>
                    <a:pt x="11410" y="944036"/>
                    <a:pt x="11410" y="944036"/>
                  </a:cubicBezTo>
                  <a:cubicBezTo>
                    <a:pt x="4961" y="944036"/>
                    <a:pt x="0" y="949493"/>
                    <a:pt x="0" y="955942"/>
                  </a:cubicBezTo>
                  <a:lnTo>
                    <a:pt x="1984" y="1319567"/>
                  </a:lnTo>
                  <a:cubicBezTo>
                    <a:pt x="26788" y="1384057"/>
                    <a:pt x="25796" y="1482281"/>
                    <a:pt x="1488" y="1544787"/>
                  </a:cubicBezTo>
                  <a:lnTo>
                    <a:pt x="1984" y="1653924"/>
                  </a:lnTo>
                  <a:lnTo>
                    <a:pt x="20835" y="1653924"/>
                  </a:lnTo>
                  <a:cubicBezTo>
                    <a:pt x="56057" y="1653924"/>
                    <a:pt x="181564" y="1654420"/>
                    <a:pt x="181564" y="1654420"/>
                  </a:cubicBezTo>
                  <a:lnTo>
                    <a:pt x="181564" y="1688153"/>
                  </a:lnTo>
                  <a:lnTo>
                    <a:pt x="197935" y="1690634"/>
                  </a:lnTo>
                  <a:cubicBezTo>
                    <a:pt x="197935" y="1690634"/>
                    <a:pt x="197439" y="1747186"/>
                    <a:pt x="196943" y="1773975"/>
                  </a:cubicBezTo>
                  <a:lnTo>
                    <a:pt x="196943" y="1773975"/>
                  </a:lnTo>
                  <a:lnTo>
                    <a:pt x="197935" y="1476328"/>
                  </a:lnTo>
                  <a:lnTo>
                    <a:pt x="205376" y="1476328"/>
                  </a:lnTo>
                  <a:lnTo>
                    <a:pt x="205376" y="1323040"/>
                  </a:lnTo>
                  <a:lnTo>
                    <a:pt x="155768" y="1323536"/>
                  </a:lnTo>
                  <a:lnTo>
                    <a:pt x="135925" y="1288811"/>
                  </a:lnTo>
                  <a:lnTo>
                    <a:pt x="144359" y="1289802"/>
                  </a:lnTo>
                  <a:lnTo>
                    <a:pt x="145847" y="1119648"/>
                  </a:lnTo>
                  <a:lnTo>
                    <a:pt x="138406" y="1120640"/>
                  </a:lnTo>
                  <a:lnTo>
                    <a:pt x="131461" y="1105758"/>
                  </a:lnTo>
                  <a:lnTo>
                    <a:pt x="205872" y="1106254"/>
                  </a:lnTo>
                  <a:lnTo>
                    <a:pt x="205872" y="533284"/>
                  </a:lnTo>
                  <a:lnTo>
                    <a:pt x="174619" y="484172"/>
                  </a:lnTo>
                  <a:lnTo>
                    <a:pt x="174619" y="473258"/>
                  </a:lnTo>
                  <a:lnTo>
                    <a:pt x="187517" y="471770"/>
                  </a:lnTo>
                  <a:lnTo>
                    <a:pt x="187517" y="142374"/>
                  </a:lnTo>
                  <a:lnTo>
                    <a:pt x="215794" y="141878"/>
                  </a:lnTo>
                  <a:lnTo>
                    <a:pt x="215794" y="1488"/>
                  </a:lnTo>
                  <a:lnTo>
                    <a:pt x="2480" y="0"/>
                  </a:lnTo>
                  <a:lnTo>
                    <a:pt x="992" y="283756"/>
                  </a:lnTo>
                  <a:lnTo>
                    <a:pt x="32741" y="316002"/>
                  </a:lnTo>
                  <a:lnTo>
                    <a:pt x="48616" y="365609"/>
                  </a:lnTo>
                  <a:lnTo>
                    <a:pt x="43159" y="406784"/>
                  </a:lnTo>
                  <a:cubicBezTo>
                    <a:pt x="32245" y="433572"/>
                    <a:pt x="17859" y="453911"/>
                    <a:pt x="2480" y="466809"/>
                  </a:cubicBezTo>
                  <a:lnTo>
                    <a:pt x="4465" y="672682"/>
                  </a:lnTo>
                  <a:lnTo>
                    <a:pt x="26788" y="674666"/>
                  </a:lnTo>
                  <a:lnTo>
                    <a:pt x="49608" y="683595"/>
                  </a:lnTo>
                  <a:lnTo>
                    <a:pt x="71435" y="701454"/>
                  </a:lnTo>
                  <a:lnTo>
                    <a:pt x="83341" y="718817"/>
                  </a:lnTo>
                  <a:lnTo>
                    <a:pt x="89294" y="739652"/>
                  </a:lnTo>
                  <a:lnTo>
                    <a:pt x="91774" y="752550"/>
                  </a:lnTo>
                  <a:lnTo>
                    <a:pt x="91278" y="759991"/>
                  </a:lnTo>
                  <a:cubicBezTo>
                    <a:pt x="91278" y="759991"/>
                    <a:pt x="100704" y="764456"/>
                    <a:pt x="107649" y="768921"/>
                  </a:cubicBezTo>
                  <a:cubicBezTo>
                    <a:pt x="166186" y="836883"/>
                    <a:pt x="87806" y="872105"/>
                    <a:pt x="87806" y="872105"/>
                  </a:cubicBezTo>
                  <a:cubicBezTo>
                    <a:pt x="116578" y="902366"/>
                    <a:pt x="91774" y="937587"/>
                    <a:pt x="56057" y="933123"/>
                  </a:cubicBezTo>
                  <a:cubicBezTo>
                    <a:pt x="55560" y="933619"/>
                    <a:pt x="71435" y="975289"/>
                    <a:pt x="25300" y="967352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2D3E49A9-BCF7-3D38-1527-A574F8E77F74}"/>
                </a:ext>
              </a:extLst>
            </p:cNvPr>
            <p:cNvSpPr/>
            <p:nvPr/>
          </p:nvSpPr>
          <p:spPr>
            <a:xfrm>
              <a:off x="3443384" y="4350970"/>
              <a:ext cx="365372" cy="868774"/>
            </a:xfrm>
            <a:custGeom>
              <a:avLst/>
              <a:gdLst>
                <a:gd name="connsiteX0" fmla="*/ 259 w 365372"/>
                <a:gd name="connsiteY0" fmla="*/ 522003 h 868774"/>
                <a:gd name="connsiteX1" fmla="*/ 51355 w 365372"/>
                <a:gd name="connsiteY1" fmla="*/ 275452 h 868774"/>
                <a:gd name="connsiteX2" fmla="*/ 25559 w 365372"/>
                <a:gd name="connsiteY2" fmla="*/ 103809 h 868774"/>
                <a:gd name="connsiteX3" fmla="*/ 86577 w 365372"/>
                <a:gd name="connsiteY3" fmla="*/ 84958 h 868774"/>
                <a:gd name="connsiteX4" fmla="*/ 93522 w 365372"/>
                <a:gd name="connsiteY4" fmla="*/ 18980 h 868774"/>
                <a:gd name="connsiteX5" fmla="*/ 158508 w 365372"/>
                <a:gd name="connsiteY5" fmla="*/ 2113 h 868774"/>
                <a:gd name="connsiteX6" fmla="*/ 112372 w 365372"/>
                <a:gd name="connsiteY6" fmla="*/ 96368 h 868774"/>
                <a:gd name="connsiteX7" fmla="*/ 167933 w 365372"/>
                <a:gd name="connsiteY7" fmla="*/ 266026 h 868774"/>
                <a:gd name="connsiteX8" fmla="*/ 168925 w 365372"/>
                <a:gd name="connsiteY8" fmla="*/ 293807 h 868774"/>
                <a:gd name="connsiteX9" fmla="*/ 343545 w 365372"/>
                <a:gd name="connsiteY9" fmla="*/ 193103 h 868774"/>
                <a:gd name="connsiteX10" fmla="*/ 340568 w 365372"/>
                <a:gd name="connsiteY10" fmla="*/ 192607 h 868774"/>
                <a:gd name="connsiteX11" fmla="*/ 349002 w 365372"/>
                <a:gd name="connsiteY11" fmla="*/ 156393 h 868774"/>
                <a:gd name="connsiteX12" fmla="*/ 365372 w 365372"/>
                <a:gd name="connsiteY12" fmla="*/ 158873 h 868774"/>
                <a:gd name="connsiteX13" fmla="*/ 345033 w 365372"/>
                <a:gd name="connsiteY13" fmla="*/ 255113 h 868774"/>
                <a:gd name="connsiteX14" fmla="*/ 329159 w 365372"/>
                <a:gd name="connsiteY14" fmla="*/ 249160 h 868774"/>
                <a:gd name="connsiteX15" fmla="*/ 340072 w 365372"/>
                <a:gd name="connsiteY15" fmla="*/ 202529 h 868774"/>
                <a:gd name="connsiteX16" fmla="*/ 169918 w 365372"/>
                <a:gd name="connsiteY16" fmla="*/ 361273 h 868774"/>
                <a:gd name="connsiteX17" fmla="*/ 177855 w 365372"/>
                <a:gd name="connsiteY17" fmla="*/ 535893 h 868774"/>
                <a:gd name="connsiteX18" fmla="*/ 156028 w 365372"/>
                <a:gd name="connsiteY18" fmla="*/ 811712 h 868774"/>
                <a:gd name="connsiteX19" fmla="*/ 227463 w 365372"/>
                <a:gd name="connsiteY19" fmla="*/ 850406 h 868774"/>
                <a:gd name="connsiteX20" fmla="*/ 230935 w 365372"/>
                <a:gd name="connsiteY20" fmla="*/ 853383 h 868774"/>
                <a:gd name="connsiteX21" fmla="*/ 230935 w 365372"/>
                <a:gd name="connsiteY21" fmla="*/ 858343 h 868774"/>
                <a:gd name="connsiteX22" fmla="*/ 222006 w 365372"/>
                <a:gd name="connsiteY22" fmla="*/ 858343 h 868774"/>
                <a:gd name="connsiteX23" fmla="*/ 133704 w 365372"/>
                <a:gd name="connsiteY23" fmla="*/ 846437 h 868774"/>
                <a:gd name="connsiteX24" fmla="*/ 127751 w 365372"/>
                <a:gd name="connsiteY24" fmla="*/ 811712 h 868774"/>
                <a:gd name="connsiteX25" fmla="*/ 124774 w 365372"/>
                <a:gd name="connsiteY25" fmla="*/ 846437 h 868774"/>
                <a:gd name="connsiteX26" fmla="*/ 20598 w 365372"/>
                <a:gd name="connsiteY26" fmla="*/ 866777 h 868774"/>
                <a:gd name="connsiteX27" fmla="*/ 99971 w 365372"/>
                <a:gd name="connsiteY27" fmla="*/ 811712 h 868774"/>
                <a:gd name="connsiteX28" fmla="*/ 51851 w 365372"/>
                <a:gd name="connsiteY28" fmla="*/ 664873 h 868774"/>
                <a:gd name="connsiteX29" fmla="*/ 137673 w 365372"/>
                <a:gd name="connsiteY29" fmla="*/ 664873 h 868774"/>
                <a:gd name="connsiteX30" fmla="*/ 137673 w 365372"/>
                <a:gd name="connsiteY30" fmla="*/ 593438 h 868774"/>
                <a:gd name="connsiteX31" fmla="*/ 110388 w 365372"/>
                <a:gd name="connsiteY31" fmla="*/ 568138 h 868774"/>
                <a:gd name="connsiteX32" fmla="*/ 21590 w 365372"/>
                <a:gd name="connsiteY32" fmla="*/ 568138 h 868774"/>
                <a:gd name="connsiteX33" fmla="*/ 20102 w 365372"/>
                <a:gd name="connsiteY33" fmla="*/ 533412 h 868774"/>
                <a:gd name="connsiteX34" fmla="*/ 12165 w 365372"/>
                <a:gd name="connsiteY34" fmla="*/ 519026 h 868774"/>
                <a:gd name="connsiteX35" fmla="*/ 259 w 365372"/>
                <a:gd name="connsiteY35" fmla="*/ 522003 h 86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65372" h="868774">
                  <a:moveTo>
                    <a:pt x="259" y="522003"/>
                  </a:moveTo>
                  <a:cubicBezTo>
                    <a:pt x="259" y="522003"/>
                    <a:pt x="-6686" y="468426"/>
                    <a:pt x="51355" y="275452"/>
                  </a:cubicBezTo>
                  <a:cubicBezTo>
                    <a:pt x="21094" y="242711"/>
                    <a:pt x="-23553" y="176732"/>
                    <a:pt x="25559" y="103809"/>
                  </a:cubicBezTo>
                  <a:cubicBezTo>
                    <a:pt x="42922" y="77021"/>
                    <a:pt x="86577" y="84958"/>
                    <a:pt x="86577" y="84958"/>
                  </a:cubicBezTo>
                  <a:cubicBezTo>
                    <a:pt x="86577" y="84958"/>
                    <a:pt x="99475" y="55689"/>
                    <a:pt x="93522" y="18980"/>
                  </a:cubicBezTo>
                  <a:cubicBezTo>
                    <a:pt x="96994" y="-8801"/>
                    <a:pt x="158508" y="2113"/>
                    <a:pt x="158508" y="2113"/>
                  </a:cubicBezTo>
                  <a:cubicBezTo>
                    <a:pt x="158508" y="2113"/>
                    <a:pt x="150571" y="82478"/>
                    <a:pt x="112372" y="96368"/>
                  </a:cubicBezTo>
                  <a:cubicBezTo>
                    <a:pt x="134200" y="110258"/>
                    <a:pt x="204643" y="176732"/>
                    <a:pt x="167933" y="266026"/>
                  </a:cubicBezTo>
                  <a:cubicBezTo>
                    <a:pt x="168430" y="281405"/>
                    <a:pt x="168925" y="293807"/>
                    <a:pt x="168925" y="293807"/>
                  </a:cubicBezTo>
                  <a:cubicBezTo>
                    <a:pt x="168925" y="293807"/>
                    <a:pt x="300882" y="203024"/>
                    <a:pt x="343545" y="193103"/>
                  </a:cubicBezTo>
                  <a:lnTo>
                    <a:pt x="340568" y="192607"/>
                  </a:lnTo>
                  <a:lnTo>
                    <a:pt x="349002" y="156393"/>
                  </a:lnTo>
                  <a:lnTo>
                    <a:pt x="365372" y="158873"/>
                  </a:lnTo>
                  <a:lnTo>
                    <a:pt x="345033" y="255113"/>
                  </a:lnTo>
                  <a:lnTo>
                    <a:pt x="329159" y="249160"/>
                  </a:lnTo>
                  <a:lnTo>
                    <a:pt x="340072" y="202529"/>
                  </a:lnTo>
                  <a:cubicBezTo>
                    <a:pt x="340072" y="202529"/>
                    <a:pt x="202659" y="338454"/>
                    <a:pt x="169918" y="361273"/>
                  </a:cubicBezTo>
                  <a:cubicBezTo>
                    <a:pt x="171902" y="371195"/>
                    <a:pt x="177855" y="535893"/>
                    <a:pt x="177855" y="535893"/>
                  </a:cubicBezTo>
                  <a:lnTo>
                    <a:pt x="156028" y="811712"/>
                  </a:lnTo>
                  <a:lnTo>
                    <a:pt x="227463" y="850406"/>
                  </a:lnTo>
                  <a:lnTo>
                    <a:pt x="230935" y="853383"/>
                  </a:lnTo>
                  <a:lnTo>
                    <a:pt x="230935" y="858343"/>
                  </a:lnTo>
                  <a:lnTo>
                    <a:pt x="222006" y="858343"/>
                  </a:lnTo>
                  <a:cubicBezTo>
                    <a:pt x="222006" y="858343"/>
                    <a:pt x="142633" y="852391"/>
                    <a:pt x="133704" y="846437"/>
                  </a:cubicBezTo>
                  <a:cubicBezTo>
                    <a:pt x="130231" y="825106"/>
                    <a:pt x="127751" y="811712"/>
                    <a:pt x="127751" y="811712"/>
                  </a:cubicBezTo>
                  <a:lnTo>
                    <a:pt x="124774" y="846437"/>
                  </a:lnTo>
                  <a:cubicBezTo>
                    <a:pt x="124774" y="846437"/>
                    <a:pt x="33496" y="876699"/>
                    <a:pt x="20598" y="866777"/>
                  </a:cubicBezTo>
                  <a:cubicBezTo>
                    <a:pt x="7700" y="856855"/>
                    <a:pt x="99971" y="811712"/>
                    <a:pt x="99971" y="811712"/>
                  </a:cubicBezTo>
                  <a:lnTo>
                    <a:pt x="51851" y="664873"/>
                  </a:lnTo>
                  <a:lnTo>
                    <a:pt x="137673" y="664873"/>
                  </a:lnTo>
                  <a:lnTo>
                    <a:pt x="137673" y="593438"/>
                  </a:lnTo>
                  <a:lnTo>
                    <a:pt x="110388" y="568138"/>
                  </a:lnTo>
                  <a:lnTo>
                    <a:pt x="21590" y="568138"/>
                  </a:lnTo>
                  <a:lnTo>
                    <a:pt x="20102" y="533412"/>
                  </a:lnTo>
                  <a:lnTo>
                    <a:pt x="12165" y="519026"/>
                  </a:lnTo>
                  <a:lnTo>
                    <a:pt x="259" y="522003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C80A4869-3A0D-A83A-F5E5-1B79A8FC23C7}"/>
                </a:ext>
              </a:extLst>
            </p:cNvPr>
            <p:cNvSpPr/>
            <p:nvPr/>
          </p:nvSpPr>
          <p:spPr>
            <a:xfrm>
              <a:off x="5802741" y="4702074"/>
              <a:ext cx="188509" cy="188509"/>
            </a:xfrm>
            <a:custGeom>
              <a:avLst/>
              <a:gdLst>
                <a:gd name="connsiteX0" fmla="*/ 139646 w 188509"/>
                <a:gd name="connsiteY0" fmla="*/ 140142 h 188509"/>
                <a:gd name="connsiteX1" fmla="*/ 178836 w 188509"/>
                <a:gd name="connsiteY1" fmla="*/ 134189 h 188509"/>
                <a:gd name="connsiteX2" fmla="*/ 178836 w 188509"/>
                <a:gd name="connsiteY2" fmla="*/ 87558 h 188509"/>
                <a:gd name="connsiteX3" fmla="*/ 156016 w 188509"/>
                <a:gd name="connsiteY3" fmla="*/ 77636 h 188509"/>
                <a:gd name="connsiteX4" fmla="*/ 162466 w 188509"/>
                <a:gd name="connsiteY4" fmla="*/ 72675 h 188509"/>
                <a:gd name="connsiteX5" fmla="*/ 162466 w 188509"/>
                <a:gd name="connsiteY5" fmla="*/ 26044 h 188509"/>
                <a:gd name="connsiteX6" fmla="*/ 115834 w 188509"/>
                <a:gd name="connsiteY6" fmla="*/ 26044 h 188509"/>
                <a:gd name="connsiteX7" fmla="*/ 110873 w 188509"/>
                <a:gd name="connsiteY7" fmla="*/ 32493 h 188509"/>
                <a:gd name="connsiteX8" fmla="*/ 101448 w 188509"/>
                <a:gd name="connsiteY8" fmla="*/ 9673 h 188509"/>
                <a:gd name="connsiteX9" fmla="*/ 54816 w 188509"/>
                <a:gd name="connsiteY9" fmla="*/ 9673 h 188509"/>
                <a:gd name="connsiteX10" fmla="*/ 49360 w 188509"/>
                <a:gd name="connsiteY10" fmla="*/ 49360 h 188509"/>
                <a:gd name="connsiteX11" fmla="*/ 9673 w 188509"/>
                <a:gd name="connsiteY11" fmla="*/ 54817 h 188509"/>
                <a:gd name="connsiteX12" fmla="*/ 9673 w 188509"/>
                <a:gd name="connsiteY12" fmla="*/ 101448 h 188509"/>
                <a:gd name="connsiteX13" fmla="*/ 32493 w 188509"/>
                <a:gd name="connsiteY13" fmla="*/ 110873 h 188509"/>
                <a:gd name="connsiteX14" fmla="*/ 26044 w 188509"/>
                <a:gd name="connsiteY14" fmla="*/ 115834 h 188509"/>
                <a:gd name="connsiteX15" fmla="*/ 26044 w 188509"/>
                <a:gd name="connsiteY15" fmla="*/ 162465 h 188509"/>
                <a:gd name="connsiteX16" fmla="*/ 72675 w 188509"/>
                <a:gd name="connsiteY16" fmla="*/ 162465 h 188509"/>
                <a:gd name="connsiteX17" fmla="*/ 77636 w 188509"/>
                <a:gd name="connsiteY17" fmla="*/ 156016 h 188509"/>
                <a:gd name="connsiteX18" fmla="*/ 87061 w 188509"/>
                <a:gd name="connsiteY18" fmla="*/ 178836 h 188509"/>
                <a:gd name="connsiteX19" fmla="*/ 133693 w 188509"/>
                <a:gd name="connsiteY19" fmla="*/ 178836 h 188509"/>
                <a:gd name="connsiteX20" fmla="*/ 139646 w 188509"/>
                <a:gd name="connsiteY20" fmla="*/ 140142 h 18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509" h="188509">
                  <a:moveTo>
                    <a:pt x="139646" y="140142"/>
                  </a:moveTo>
                  <a:cubicBezTo>
                    <a:pt x="152048" y="147087"/>
                    <a:pt x="167922" y="145103"/>
                    <a:pt x="178836" y="134189"/>
                  </a:cubicBezTo>
                  <a:cubicBezTo>
                    <a:pt x="191734" y="121291"/>
                    <a:pt x="191734" y="100456"/>
                    <a:pt x="178836" y="87558"/>
                  </a:cubicBezTo>
                  <a:cubicBezTo>
                    <a:pt x="172387" y="81109"/>
                    <a:pt x="164450" y="78132"/>
                    <a:pt x="156016" y="77636"/>
                  </a:cubicBezTo>
                  <a:cubicBezTo>
                    <a:pt x="158497" y="76148"/>
                    <a:pt x="160481" y="74660"/>
                    <a:pt x="162466" y="72675"/>
                  </a:cubicBezTo>
                  <a:cubicBezTo>
                    <a:pt x="175364" y="59777"/>
                    <a:pt x="175364" y="38942"/>
                    <a:pt x="162466" y="26044"/>
                  </a:cubicBezTo>
                  <a:cubicBezTo>
                    <a:pt x="149567" y="13146"/>
                    <a:pt x="128732" y="13146"/>
                    <a:pt x="115834" y="26044"/>
                  </a:cubicBezTo>
                  <a:cubicBezTo>
                    <a:pt x="113850" y="28028"/>
                    <a:pt x="112361" y="30013"/>
                    <a:pt x="110873" y="32493"/>
                  </a:cubicBezTo>
                  <a:cubicBezTo>
                    <a:pt x="110873" y="24060"/>
                    <a:pt x="107401" y="16122"/>
                    <a:pt x="101448" y="9673"/>
                  </a:cubicBezTo>
                  <a:cubicBezTo>
                    <a:pt x="88550" y="-3224"/>
                    <a:pt x="67714" y="-3224"/>
                    <a:pt x="54816" y="9673"/>
                  </a:cubicBezTo>
                  <a:cubicBezTo>
                    <a:pt x="43903" y="20587"/>
                    <a:pt x="42414" y="36958"/>
                    <a:pt x="49360" y="49360"/>
                  </a:cubicBezTo>
                  <a:cubicBezTo>
                    <a:pt x="36958" y="41918"/>
                    <a:pt x="20091" y="43903"/>
                    <a:pt x="9673" y="54817"/>
                  </a:cubicBezTo>
                  <a:cubicBezTo>
                    <a:pt x="-3224" y="67715"/>
                    <a:pt x="-3224" y="88550"/>
                    <a:pt x="9673" y="101448"/>
                  </a:cubicBezTo>
                  <a:cubicBezTo>
                    <a:pt x="16123" y="107897"/>
                    <a:pt x="24060" y="110873"/>
                    <a:pt x="32493" y="110873"/>
                  </a:cubicBezTo>
                  <a:cubicBezTo>
                    <a:pt x="30013" y="112362"/>
                    <a:pt x="28028" y="113850"/>
                    <a:pt x="26044" y="115834"/>
                  </a:cubicBezTo>
                  <a:cubicBezTo>
                    <a:pt x="13146" y="128732"/>
                    <a:pt x="13146" y="149567"/>
                    <a:pt x="26044" y="162465"/>
                  </a:cubicBezTo>
                  <a:cubicBezTo>
                    <a:pt x="38942" y="175364"/>
                    <a:pt x="59777" y="175364"/>
                    <a:pt x="72675" y="162465"/>
                  </a:cubicBezTo>
                  <a:cubicBezTo>
                    <a:pt x="74660" y="160481"/>
                    <a:pt x="76148" y="158001"/>
                    <a:pt x="77636" y="156016"/>
                  </a:cubicBezTo>
                  <a:cubicBezTo>
                    <a:pt x="77636" y="164450"/>
                    <a:pt x="81109" y="172387"/>
                    <a:pt x="87061" y="178836"/>
                  </a:cubicBezTo>
                  <a:cubicBezTo>
                    <a:pt x="99959" y="191734"/>
                    <a:pt x="120795" y="191734"/>
                    <a:pt x="133693" y="178836"/>
                  </a:cubicBezTo>
                  <a:cubicBezTo>
                    <a:pt x="144110" y="168418"/>
                    <a:pt x="146095" y="152544"/>
                    <a:pt x="139646" y="140142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21504F72-A23B-291B-5051-CFF9405AA898}"/>
                </a:ext>
              </a:extLst>
            </p:cNvPr>
            <p:cNvSpPr/>
            <p:nvPr/>
          </p:nvSpPr>
          <p:spPr>
            <a:xfrm>
              <a:off x="3915413" y="395274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4B128D3A-01AD-F2F5-9339-DD03418A89D9}"/>
                </a:ext>
              </a:extLst>
            </p:cNvPr>
            <p:cNvSpPr/>
            <p:nvPr/>
          </p:nvSpPr>
          <p:spPr>
            <a:xfrm>
              <a:off x="3856876" y="3952748"/>
              <a:ext cx="39686" cy="47127"/>
            </a:xfrm>
            <a:custGeom>
              <a:avLst/>
              <a:gdLst>
                <a:gd name="connsiteX0" fmla="*/ 0 w 39686"/>
                <a:gd name="connsiteY0" fmla="*/ 0 h 47127"/>
                <a:gd name="connsiteX1" fmla="*/ 39686 w 39686"/>
                <a:gd name="connsiteY1" fmla="*/ 0 h 47127"/>
                <a:gd name="connsiteX2" fmla="*/ 39686 w 39686"/>
                <a:gd name="connsiteY2" fmla="*/ 47127 h 47127"/>
                <a:gd name="connsiteX3" fmla="*/ 0 w 3968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86" h="47127">
                  <a:moveTo>
                    <a:pt x="0" y="0"/>
                  </a:moveTo>
                  <a:lnTo>
                    <a:pt x="39686" y="0"/>
                  </a:lnTo>
                  <a:lnTo>
                    <a:pt x="39686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00B4E35B-8CCE-9A00-BDD2-91F75A8F2D40}"/>
                </a:ext>
              </a:extLst>
            </p:cNvPr>
            <p:cNvSpPr/>
            <p:nvPr/>
          </p:nvSpPr>
          <p:spPr>
            <a:xfrm>
              <a:off x="3856876" y="3884786"/>
              <a:ext cx="108641" cy="47127"/>
            </a:xfrm>
            <a:custGeom>
              <a:avLst/>
              <a:gdLst>
                <a:gd name="connsiteX0" fmla="*/ 0 w 108641"/>
                <a:gd name="connsiteY0" fmla="*/ 0 h 47127"/>
                <a:gd name="connsiteX1" fmla="*/ 108641 w 108641"/>
                <a:gd name="connsiteY1" fmla="*/ 0 h 47127"/>
                <a:gd name="connsiteX2" fmla="*/ 108641 w 108641"/>
                <a:gd name="connsiteY2" fmla="*/ 47127 h 47127"/>
                <a:gd name="connsiteX3" fmla="*/ 0 w 108641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41" h="47127">
                  <a:moveTo>
                    <a:pt x="0" y="0"/>
                  </a:moveTo>
                  <a:lnTo>
                    <a:pt x="108641" y="0"/>
                  </a:lnTo>
                  <a:lnTo>
                    <a:pt x="108641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3DD0C007-5615-944B-74DE-5D145B647A6E}"/>
                </a:ext>
              </a:extLst>
            </p:cNvPr>
            <p:cNvSpPr/>
            <p:nvPr/>
          </p:nvSpPr>
          <p:spPr>
            <a:xfrm>
              <a:off x="3982879" y="3884786"/>
              <a:ext cx="78876" cy="47127"/>
            </a:xfrm>
            <a:custGeom>
              <a:avLst/>
              <a:gdLst>
                <a:gd name="connsiteX0" fmla="*/ 0 w 78876"/>
                <a:gd name="connsiteY0" fmla="*/ 0 h 47127"/>
                <a:gd name="connsiteX1" fmla="*/ 78877 w 78876"/>
                <a:gd name="connsiteY1" fmla="*/ 0 h 47127"/>
                <a:gd name="connsiteX2" fmla="*/ 78877 w 78876"/>
                <a:gd name="connsiteY2" fmla="*/ 47127 h 47127"/>
                <a:gd name="connsiteX3" fmla="*/ 0 w 7887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76" h="47127">
                  <a:moveTo>
                    <a:pt x="0" y="0"/>
                  </a:moveTo>
                  <a:lnTo>
                    <a:pt x="78877" y="0"/>
                  </a:lnTo>
                  <a:lnTo>
                    <a:pt x="7887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CDAC8EE4-D220-F45D-3FAE-F087F9D5FE81}"/>
                </a:ext>
              </a:extLst>
            </p:cNvPr>
            <p:cNvSpPr/>
            <p:nvPr/>
          </p:nvSpPr>
          <p:spPr>
            <a:xfrm>
              <a:off x="3965517" y="233603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897588C3-DFB6-4E4C-4F1D-549902B8592F}"/>
                </a:ext>
              </a:extLst>
            </p:cNvPr>
            <p:cNvSpPr/>
            <p:nvPr/>
          </p:nvSpPr>
          <p:spPr>
            <a:xfrm>
              <a:off x="4029511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7637B165-FF4A-ED79-30C1-11D8500FC61F}"/>
                </a:ext>
              </a:extLst>
            </p:cNvPr>
            <p:cNvSpPr/>
            <p:nvPr/>
          </p:nvSpPr>
          <p:spPr>
            <a:xfrm>
              <a:off x="3890609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9DE1080D-F897-E384-A39E-60BD66EBD30F}"/>
                </a:ext>
              </a:extLst>
            </p:cNvPr>
            <p:cNvSpPr/>
            <p:nvPr/>
          </p:nvSpPr>
          <p:spPr>
            <a:xfrm>
              <a:off x="5456341" y="4547103"/>
              <a:ext cx="472652" cy="544144"/>
            </a:xfrm>
            <a:custGeom>
              <a:avLst/>
              <a:gdLst>
                <a:gd name="connsiteX0" fmla="*/ 250409 w 472652"/>
                <a:gd name="connsiteY0" fmla="*/ 544144 h 544144"/>
                <a:gd name="connsiteX1" fmla="*/ 245448 w 472652"/>
                <a:gd name="connsiteY1" fmla="*/ 353650 h 544144"/>
                <a:gd name="connsiteX2" fmla="*/ 427509 w 472652"/>
                <a:gd name="connsiteY2" fmla="*/ 507931 h 544144"/>
                <a:gd name="connsiteX3" fmla="*/ 445864 w 472652"/>
                <a:gd name="connsiteY3" fmla="*/ 542656 h 544144"/>
                <a:gd name="connsiteX4" fmla="*/ 472652 w 472652"/>
                <a:gd name="connsiteY4" fmla="*/ 508923 h 544144"/>
                <a:gd name="connsiteX5" fmla="*/ 450824 w 472652"/>
                <a:gd name="connsiteY5" fmla="*/ 474693 h 544144"/>
                <a:gd name="connsiteX6" fmla="*/ 437927 w 472652"/>
                <a:gd name="connsiteY6" fmla="*/ 481638 h 544144"/>
                <a:gd name="connsiteX7" fmla="*/ 317876 w 472652"/>
                <a:gd name="connsiteY7" fmla="*/ 349682 h 544144"/>
                <a:gd name="connsiteX8" fmla="*/ 220148 w 472652"/>
                <a:gd name="connsiteY8" fmla="*/ 190441 h 544144"/>
                <a:gd name="connsiteX9" fmla="*/ 224613 w 472652"/>
                <a:gd name="connsiteY9" fmla="*/ 88745 h 544144"/>
                <a:gd name="connsiteX10" fmla="*/ 258346 w 472652"/>
                <a:gd name="connsiteY10" fmla="*/ 21278 h 544144"/>
                <a:gd name="connsiteX11" fmla="*/ 150201 w 472652"/>
                <a:gd name="connsiteY11" fmla="*/ 30703 h 544144"/>
                <a:gd name="connsiteX12" fmla="*/ 72317 w 472652"/>
                <a:gd name="connsiteY12" fmla="*/ 5404 h 544144"/>
                <a:gd name="connsiteX13" fmla="*/ 46025 w 472652"/>
                <a:gd name="connsiteY13" fmla="*/ 98666 h 544144"/>
                <a:gd name="connsiteX14" fmla="*/ 6339 w 472652"/>
                <a:gd name="connsiteY14" fmla="*/ 182007 h 544144"/>
                <a:gd name="connsiteX15" fmla="*/ 57931 w 472652"/>
                <a:gd name="connsiteY15" fmla="*/ 184984 h 544144"/>
                <a:gd name="connsiteX16" fmla="*/ 80750 w 472652"/>
                <a:gd name="connsiteY16" fmla="*/ 225166 h 544144"/>
                <a:gd name="connsiteX17" fmla="*/ 386 w 472652"/>
                <a:gd name="connsiteY17" fmla="*/ 359107 h 544144"/>
                <a:gd name="connsiteX18" fmla="*/ 147225 w 472652"/>
                <a:gd name="connsiteY18" fmla="*/ 521325 h 544144"/>
                <a:gd name="connsiteX19" fmla="*/ 60907 w 472652"/>
                <a:gd name="connsiteY19" fmla="*/ 374982 h 544144"/>
                <a:gd name="connsiteX20" fmla="*/ 87199 w 472652"/>
                <a:gd name="connsiteY20" fmla="*/ 347697 h 544144"/>
                <a:gd name="connsiteX21" fmla="*/ 82735 w 472652"/>
                <a:gd name="connsiteY21" fmla="*/ 399786 h 544144"/>
                <a:gd name="connsiteX22" fmla="*/ 159131 w 472652"/>
                <a:gd name="connsiteY22" fmla="*/ 501978 h 544144"/>
                <a:gd name="connsiteX23" fmla="*/ 167068 w 472652"/>
                <a:gd name="connsiteY23" fmla="*/ 492552 h 544144"/>
                <a:gd name="connsiteX24" fmla="*/ 198817 w 472652"/>
                <a:gd name="connsiteY24" fmla="*/ 512891 h 544144"/>
                <a:gd name="connsiteX25" fmla="*/ 250409 w 472652"/>
                <a:gd name="connsiteY25" fmla="*/ 544144 h 54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72652" h="544144">
                  <a:moveTo>
                    <a:pt x="250409" y="544144"/>
                  </a:moveTo>
                  <a:lnTo>
                    <a:pt x="245448" y="353650"/>
                  </a:lnTo>
                  <a:lnTo>
                    <a:pt x="427509" y="507931"/>
                  </a:lnTo>
                  <a:cubicBezTo>
                    <a:pt x="427509" y="507931"/>
                    <a:pt x="433958" y="539680"/>
                    <a:pt x="445864" y="542656"/>
                  </a:cubicBezTo>
                  <a:cubicBezTo>
                    <a:pt x="457770" y="545632"/>
                    <a:pt x="472652" y="534223"/>
                    <a:pt x="472652" y="508923"/>
                  </a:cubicBezTo>
                  <a:cubicBezTo>
                    <a:pt x="472652" y="483623"/>
                    <a:pt x="458762" y="472213"/>
                    <a:pt x="450824" y="474693"/>
                  </a:cubicBezTo>
                  <a:cubicBezTo>
                    <a:pt x="442887" y="477174"/>
                    <a:pt x="437927" y="481638"/>
                    <a:pt x="437927" y="481638"/>
                  </a:cubicBezTo>
                  <a:lnTo>
                    <a:pt x="317876" y="349682"/>
                  </a:lnTo>
                  <a:lnTo>
                    <a:pt x="220148" y="190441"/>
                  </a:lnTo>
                  <a:cubicBezTo>
                    <a:pt x="220148" y="190441"/>
                    <a:pt x="241480" y="139841"/>
                    <a:pt x="224613" y="88745"/>
                  </a:cubicBezTo>
                  <a:cubicBezTo>
                    <a:pt x="237511" y="74855"/>
                    <a:pt x="269756" y="39137"/>
                    <a:pt x="258346" y="21278"/>
                  </a:cubicBezTo>
                  <a:cubicBezTo>
                    <a:pt x="246937" y="3419"/>
                    <a:pt x="214692" y="443"/>
                    <a:pt x="150201" y="30703"/>
                  </a:cubicBezTo>
                  <a:cubicBezTo>
                    <a:pt x="150201" y="30703"/>
                    <a:pt x="106050" y="-15432"/>
                    <a:pt x="72317" y="5404"/>
                  </a:cubicBezTo>
                  <a:cubicBezTo>
                    <a:pt x="38584" y="26735"/>
                    <a:pt x="47017" y="52035"/>
                    <a:pt x="46025" y="98666"/>
                  </a:cubicBezTo>
                  <a:cubicBezTo>
                    <a:pt x="46025" y="98666"/>
                    <a:pt x="-16481" y="154723"/>
                    <a:pt x="6339" y="182007"/>
                  </a:cubicBezTo>
                  <a:cubicBezTo>
                    <a:pt x="19733" y="197386"/>
                    <a:pt x="57931" y="184984"/>
                    <a:pt x="57931" y="184984"/>
                  </a:cubicBezTo>
                  <a:cubicBezTo>
                    <a:pt x="57931" y="184984"/>
                    <a:pt x="71325" y="219213"/>
                    <a:pt x="80750" y="225166"/>
                  </a:cubicBezTo>
                  <a:cubicBezTo>
                    <a:pt x="70333" y="233599"/>
                    <a:pt x="-6063" y="337776"/>
                    <a:pt x="386" y="359107"/>
                  </a:cubicBezTo>
                  <a:cubicBezTo>
                    <a:pt x="6835" y="380438"/>
                    <a:pt x="90672" y="497017"/>
                    <a:pt x="147225" y="521325"/>
                  </a:cubicBezTo>
                  <a:cubicBezTo>
                    <a:pt x="214196" y="550593"/>
                    <a:pt x="57931" y="382919"/>
                    <a:pt x="60907" y="374982"/>
                  </a:cubicBezTo>
                  <a:lnTo>
                    <a:pt x="87199" y="347697"/>
                  </a:lnTo>
                  <a:lnTo>
                    <a:pt x="82735" y="399786"/>
                  </a:lnTo>
                  <a:lnTo>
                    <a:pt x="159131" y="501978"/>
                  </a:lnTo>
                  <a:lnTo>
                    <a:pt x="167068" y="492552"/>
                  </a:lnTo>
                  <a:lnTo>
                    <a:pt x="198817" y="512891"/>
                  </a:lnTo>
                  <a:lnTo>
                    <a:pt x="250409" y="5441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6BB19918-77F5-AA89-9C4A-96ADF8B4F041}"/>
                </a:ext>
              </a:extLst>
            </p:cNvPr>
            <p:cNvSpPr/>
            <p:nvPr/>
          </p:nvSpPr>
          <p:spPr>
            <a:xfrm>
              <a:off x="5457172" y="4547103"/>
              <a:ext cx="259287" cy="189448"/>
            </a:xfrm>
            <a:custGeom>
              <a:avLst/>
              <a:gdLst>
                <a:gd name="connsiteX0" fmla="*/ 232216 w 259287"/>
                <a:gd name="connsiteY0" fmla="*/ 78327 h 189448"/>
                <a:gd name="connsiteX1" fmla="*/ 257019 w 259287"/>
                <a:gd name="connsiteY1" fmla="*/ 21278 h 189448"/>
                <a:gd name="connsiteX2" fmla="*/ 148875 w 259287"/>
                <a:gd name="connsiteY2" fmla="*/ 30703 h 189448"/>
                <a:gd name="connsiteX3" fmla="*/ 70990 w 259287"/>
                <a:gd name="connsiteY3" fmla="*/ 5404 h 189448"/>
                <a:gd name="connsiteX4" fmla="*/ 44698 w 259287"/>
                <a:gd name="connsiteY4" fmla="*/ 98666 h 189448"/>
                <a:gd name="connsiteX5" fmla="*/ 5012 w 259287"/>
                <a:gd name="connsiteY5" fmla="*/ 182007 h 189448"/>
                <a:gd name="connsiteX6" fmla="*/ 13941 w 259287"/>
                <a:gd name="connsiteY6" fmla="*/ 187464 h 189448"/>
                <a:gd name="connsiteX7" fmla="*/ 30808 w 259287"/>
                <a:gd name="connsiteY7" fmla="*/ 189448 h 189448"/>
                <a:gd name="connsiteX8" fmla="*/ 30808 w 259287"/>
                <a:gd name="connsiteY8" fmla="*/ 189448 h 189448"/>
                <a:gd name="connsiteX9" fmla="*/ 50651 w 259287"/>
                <a:gd name="connsiteY9" fmla="*/ 186472 h 189448"/>
                <a:gd name="connsiteX10" fmla="*/ 56604 w 259287"/>
                <a:gd name="connsiteY10" fmla="*/ 184984 h 189448"/>
                <a:gd name="connsiteX11" fmla="*/ 57100 w 259287"/>
                <a:gd name="connsiteY11" fmla="*/ 185480 h 189448"/>
                <a:gd name="connsiteX12" fmla="*/ 64541 w 259287"/>
                <a:gd name="connsiteY12" fmla="*/ 184488 h 189448"/>
                <a:gd name="connsiteX13" fmla="*/ 134984 w 259287"/>
                <a:gd name="connsiteY13" fmla="*/ 154227 h 189448"/>
                <a:gd name="connsiteX14" fmla="*/ 201955 w 259287"/>
                <a:gd name="connsiteY14" fmla="*/ 108092 h 189448"/>
                <a:gd name="connsiteX15" fmla="*/ 232216 w 259287"/>
                <a:gd name="connsiteY15" fmla="*/ 78327 h 18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287" h="189448">
                  <a:moveTo>
                    <a:pt x="232216" y="78327"/>
                  </a:moveTo>
                  <a:cubicBezTo>
                    <a:pt x="246602" y="61460"/>
                    <a:pt x="265949" y="35664"/>
                    <a:pt x="257019" y="21278"/>
                  </a:cubicBezTo>
                  <a:cubicBezTo>
                    <a:pt x="245610" y="3419"/>
                    <a:pt x="213365" y="443"/>
                    <a:pt x="148875" y="30703"/>
                  </a:cubicBezTo>
                  <a:cubicBezTo>
                    <a:pt x="148875" y="30703"/>
                    <a:pt x="104723" y="-15432"/>
                    <a:pt x="70990" y="5404"/>
                  </a:cubicBezTo>
                  <a:cubicBezTo>
                    <a:pt x="37257" y="26735"/>
                    <a:pt x="45690" y="52035"/>
                    <a:pt x="44698" y="98666"/>
                  </a:cubicBezTo>
                  <a:cubicBezTo>
                    <a:pt x="44698" y="98666"/>
                    <a:pt x="-17808" y="154723"/>
                    <a:pt x="5012" y="182007"/>
                  </a:cubicBezTo>
                  <a:cubicBezTo>
                    <a:pt x="7492" y="184488"/>
                    <a:pt x="10469" y="186472"/>
                    <a:pt x="13941" y="187464"/>
                  </a:cubicBezTo>
                  <a:lnTo>
                    <a:pt x="30808" y="189448"/>
                  </a:lnTo>
                  <a:cubicBezTo>
                    <a:pt x="30808" y="189448"/>
                    <a:pt x="30808" y="189448"/>
                    <a:pt x="30808" y="189448"/>
                  </a:cubicBezTo>
                  <a:lnTo>
                    <a:pt x="50651" y="186472"/>
                  </a:lnTo>
                  <a:cubicBezTo>
                    <a:pt x="54123" y="185480"/>
                    <a:pt x="56604" y="184984"/>
                    <a:pt x="56604" y="184984"/>
                  </a:cubicBezTo>
                  <a:cubicBezTo>
                    <a:pt x="56604" y="184984"/>
                    <a:pt x="56604" y="185480"/>
                    <a:pt x="57100" y="185480"/>
                  </a:cubicBezTo>
                  <a:lnTo>
                    <a:pt x="64541" y="184488"/>
                  </a:lnTo>
                  <a:lnTo>
                    <a:pt x="134984" y="154227"/>
                  </a:lnTo>
                  <a:lnTo>
                    <a:pt x="201955" y="108092"/>
                  </a:lnTo>
                  <a:lnTo>
                    <a:pt x="232216" y="783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B9C782FB-57C6-F51A-E0F7-6EAE8F49E276}"/>
                </a:ext>
              </a:extLst>
            </p:cNvPr>
            <p:cNvSpPr/>
            <p:nvPr/>
          </p:nvSpPr>
          <p:spPr>
            <a:xfrm>
              <a:off x="5577274" y="5050569"/>
              <a:ext cx="205376" cy="153288"/>
            </a:xfrm>
            <a:custGeom>
              <a:avLst/>
              <a:gdLst>
                <a:gd name="connsiteX0" fmla="*/ 77388 w 205376"/>
                <a:gd name="connsiteY0" fmla="*/ 9922 h 153288"/>
                <a:gd name="connsiteX1" fmla="*/ 0 w 205376"/>
                <a:gd name="connsiteY1" fmla="*/ 80861 h 153288"/>
                <a:gd name="connsiteX2" fmla="*/ 74412 w 205376"/>
                <a:gd name="connsiteY2" fmla="*/ 153288 h 153288"/>
                <a:gd name="connsiteX3" fmla="*/ 105665 w 205376"/>
                <a:gd name="connsiteY3" fmla="*/ 117571 h 153288"/>
                <a:gd name="connsiteX4" fmla="*/ 173131 w 205376"/>
                <a:gd name="connsiteY4" fmla="*/ 118067 h 153288"/>
                <a:gd name="connsiteX5" fmla="*/ 205376 w 205376"/>
                <a:gd name="connsiteY5" fmla="*/ 135430 h 153288"/>
                <a:gd name="connsiteX6" fmla="*/ 205376 w 205376"/>
                <a:gd name="connsiteY6" fmla="*/ 77885 h 153288"/>
                <a:gd name="connsiteX7" fmla="*/ 175612 w 205376"/>
                <a:gd name="connsiteY7" fmla="*/ 94751 h 153288"/>
                <a:gd name="connsiteX8" fmla="*/ 130469 w 205376"/>
                <a:gd name="connsiteY8" fmla="*/ 91774 h 153288"/>
                <a:gd name="connsiteX9" fmla="*/ 152296 w 205376"/>
                <a:gd name="connsiteY9" fmla="*/ 63002 h 153288"/>
                <a:gd name="connsiteX10" fmla="*/ 129477 w 205376"/>
                <a:gd name="connsiteY10" fmla="*/ 41175 h 153288"/>
                <a:gd name="connsiteX11" fmla="*/ 89790 w 205376"/>
                <a:gd name="connsiteY11" fmla="*/ 0 h 153288"/>
                <a:gd name="connsiteX12" fmla="*/ 77388 w 205376"/>
                <a:gd name="connsiteY12" fmla="*/ 9922 h 15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376" h="153288">
                  <a:moveTo>
                    <a:pt x="77388" y="9922"/>
                  </a:moveTo>
                  <a:lnTo>
                    <a:pt x="0" y="80861"/>
                  </a:lnTo>
                  <a:lnTo>
                    <a:pt x="74412" y="153288"/>
                  </a:lnTo>
                  <a:lnTo>
                    <a:pt x="105665" y="117571"/>
                  </a:lnTo>
                  <a:lnTo>
                    <a:pt x="173131" y="118067"/>
                  </a:lnTo>
                  <a:cubicBezTo>
                    <a:pt x="173131" y="118067"/>
                    <a:pt x="191982" y="139894"/>
                    <a:pt x="205376" y="135430"/>
                  </a:cubicBezTo>
                  <a:cubicBezTo>
                    <a:pt x="205376" y="79868"/>
                    <a:pt x="205376" y="77885"/>
                    <a:pt x="205376" y="77885"/>
                  </a:cubicBezTo>
                  <a:cubicBezTo>
                    <a:pt x="205376" y="77885"/>
                    <a:pt x="187021" y="76396"/>
                    <a:pt x="175612" y="94751"/>
                  </a:cubicBezTo>
                  <a:cubicBezTo>
                    <a:pt x="152296" y="88302"/>
                    <a:pt x="130469" y="91774"/>
                    <a:pt x="130469" y="91774"/>
                  </a:cubicBezTo>
                  <a:cubicBezTo>
                    <a:pt x="128484" y="82845"/>
                    <a:pt x="155769" y="65979"/>
                    <a:pt x="152296" y="63002"/>
                  </a:cubicBezTo>
                  <a:cubicBezTo>
                    <a:pt x="156265" y="63002"/>
                    <a:pt x="129477" y="41175"/>
                    <a:pt x="129477" y="41175"/>
                  </a:cubicBezTo>
                  <a:lnTo>
                    <a:pt x="89790" y="0"/>
                  </a:lnTo>
                  <a:lnTo>
                    <a:pt x="77388" y="9922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2431C180-6B12-F5EA-4BF3-F9BD1E45B825}"/>
                </a:ext>
              </a:extLst>
            </p:cNvPr>
            <p:cNvSpPr/>
            <p:nvPr/>
          </p:nvSpPr>
          <p:spPr>
            <a:xfrm>
              <a:off x="5868968" y="4765820"/>
              <a:ext cx="66474" cy="66474"/>
            </a:xfrm>
            <a:custGeom>
              <a:avLst/>
              <a:gdLst>
                <a:gd name="connsiteX0" fmla="*/ 66475 w 66474"/>
                <a:gd name="connsiteY0" fmla="*/ 33237 h 66474"/>
                <a:gd name="connsiteX1" fmla="*/ 33238 w 66474"/>
                <a:gd name="connsiteY1" fmla="*/ 66475 h 66474"/>
                <a:gd name="connsiteX2" fmla="*/ 1 w 66474"/>
                <a:gd name="connsiteY2" fmla="*/ 33237 h 66474"/>
                <a:gd name="connsiteX3" fmla="*/ 33238 w 66474"/>
                <a:gd name="connsiteY3" fmla="*/ 0 h 66474"/>
                <a:gd name="connsiteX4" fmla="*/ 66475 w 66474"/>
                <a:gd name="connsiteY4" fmla="*/ 33237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74" h="66474">
                  <a:moveTo>
                    <a:pt x="66475" y="33237"/>
                  </a:moveTo>
                  <a:cubicBezTo>
                    <a:pt x="66475" y="51594"/>
                    <a:pt x="51594" y="66475"/>
                    <a:pt x="33238" y="66475"/>
                  </a:cubicBezTo>
                  <a:cubicBezTo>
                    <a:pt x="14881" y="66475"/>
                    <a:pt x="1" y="51594"/>
                    <a:pt x="1" y="33237"/>
                  </a:cubicBezTo>
                  <a:cubicBezTo>
                    <a:pt x="1" y="14881"/>
                    <a:pt x="14881" y="0"/>
                    <a:pt x="33238" y="0"/>
                  </a:cubicBezTo>
                  <a:cubicBezTo>
                    <a:pt x="51594" y="0"/>
                    <a:pt x="66475" y="14881"/>
                    <a:pt x="66475" y="33237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D195DD17-CBFD-CC46-1CC4-BE1E0255CA9D}"/>
                </a:ext>
              </a:extLst>
            </p:cNvPr>
            <p:cNvSpPr/>
            <p:nvPr/>
          </p:nvSpPr>
          <p:spPr>
            <a:xfrm>
              <a:off x="4691775" y="2636154"/>
              <a:ext cx="102046" cy="91281"/>
            </a:xfrm>
            <a:custGeom>
              <a:avLst/>
              <a:gdLst>
                <a:gd name="connsiteX0" fmla="*/ 27284 w 102046"/>
                <a:gd name="connsiteY0" fmla="*/ 56556 h 91281"/>
                <a:gd name="connsiteX1" fmla="*/ 91278 w 102046"/>
                <a:gd name="connsiteY1" fmla="*/ 91282 h 91281"/>
                <a:gd name="connsiteX2" fmla="*/ 84333 w 102046"/>
                <a:gd name="connsiteY2" fmla="*/ 42666 h 91281"/>
                <a:gd name="connsiteX3" fmla="*/ 61514 w 102046"/>
                <a:gd name="connsiteY3" fmla="*/ 11413 h 91281"/>
                <a:gd name="connsiteX4" fmla="*/ 65482 w 102046"/>
                <a:gd name="connsiteY4" fmla="*/ 4 h 91281"/>
                <a:gd name="connsiteX5" fmla="*/ 0 w 102046"/>
                <a:gd name="connsiteY5" fmla="*/ 4 h 91281"/>
                <a:gd name="connsiteX6" fmla="*/ 27284 w 102046"/>
                <a:gd name="connsiteY6" fmla="*/ 56556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46" h="91281">
                  <a:moveTo>
                    <a:pt x="27284" y="56556"/>
                  </a:moveTo>
                  <a:cubicBezTo>
                    <a:pt x="79372" y="58045"/>
                    <a:pt x="79372" y="73919"/>
                    <a:pt x="91278" y="91282"/>
                  </a:cubicBezTo>
                  <a:cubicBezTo>
                    <a:pt x="114594" y="73919"/>
                    <a:pt x="94255" y="49611"/>
                    <a:pt x="84333" y="42666"/>
                  </a:cubicBezTo>
                  <a:cubicBezTo>
                    <a:pt x="74412" y="35225"/>
                    <a:pt x="62010" y="15382"/>
                    <a:pt x="61514" y="11413"/>
                  </a:cubicBezTo>
                  <a:cubicBezTo>
                    <a:pt x="61018" y="7445"/>
                    <a:pt x="65482" y="4"/>
                    <a:pt x="65482" y="4"/>
                  </a:cubicBezTo>
                  <a:lnTo>
                    <a:pt x="0" y="4"/>
                  </a:lnTo>
                  <a:cubicBezTo>
                    <a:pt x="0" y="-493"/>
                    <a:pt x="11410" y="49115"/>
                    <a:pt x="27284" y="5655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239D6C37-944E-FBBB-BE48-8FF873E19CAD}"/>
                </a:ext>
              </a:extLst>
            </p:cNvPr>
            <p:cNvSpPr/>
            <p:nvPr/>
          </p:nvSpPr>
          <p:spPr>
            <a:xfrm>
              <a:off x="4730965" y="2636654"/>
              <a:ext cx="97231" cy="158744"/>
            </a:xfrm>
            <a:custGeom>
              <a:avLst/>
              <a:gdLst>
                <a:gd name="connsiteX0" fmla="*/ 56057 w 97231"/>
                <a:gd name="connsiteY0" fmla="*/ 0 h 158744"/>
                <a:gd name="connsiteX1" fmla="*/ 97231 w 97231"/>
                <a:gd name="connsiteY1" fmla="*/ 0 h 158744"/>
                <a:gd name="connsiteX2" fmla="*/ 97231 w 97231"/>
                <a:gd name="connsiteY2" fmla="*/ 158745 h 158744"/>
                <a:gd name="connsiteX3" fmla="*/ 0 w 97231"/>
                <a:gd name="connsiteY3" fmla="*/ 158745 h 158744"/>
                <a:gd name="connsiteX4" fmla="*/ 3969 w 97231"/>
                <a:gd name="connsiteY4" fmla="*/ 153288 h 158744"/>
                <a:gd name="connsiteX5" fmla="*/ 35718 w 97231"/>
                <a:gd name="connsiteY5" fmla="*/ 150312 h 158744"/>
                <a:gd name="connsiteX6" fmla="*/ 51592 w 97231"/>
                <a:gd name="connsiteY6" fmla="*/ 142870 h 158744"/>
                <a:gd name="connsiteX7" fmla="*/ 69947 w 97231"/>
                <a:gd name="connsiteY7" fmla="*/ 123027 h 158744"/>
                <a:gd name="connsiteX8" fmla="*/ 80861 w 97231"/>
                <a:gd name="connsiteY8" fmla="*/ 101200 h 158744"/>
                <a:gd name="connsiteX9" fmla="*/ 83341 w 97231"/>
                <a:gd name="connsiteY9" fmla="*/ 80861 h 158744"/>
                <a:gd name="connsiteX10" fmla="*/ 79868 w 97231"/>
                <a:gd name="connsiteY10" fmla="*/ 52088 h 158744"/>
                <a:gd name="connsiteX11" fmla="*/ 67963 w 97231"/>
                <a:gd name="connsiteY11" fmla="*/ 36214 h 158744"/>
                <a:gd name="connsiteX12" fmla="*/ 48616 w 97231"/>
                <a:gd name="connsiteY12" fmla="*/ 21828 h 158744"/>
                <a:gd name="connsiteX13" fmla="*/ 45639 w 97231"/>
                <a:gd name="connsiteY13" fmla="*/ 13890 h 158744"/>
                <a:gd name="connsiteX14" fmla="*/ 50104 w 97231"/>
                <a:gd name="connsiteY14" fmla="*/ 3969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231" h="158744">
                  <a:moveTo>
                    <a:pt x="56057" y="0"/>
                  </a:moveTo>
                  <a:lnTo>
                    <a:pt x="97231" y="0"/>
                  </a:lnTo>
                  <a:lnTo>
                    <a:pt x="97231" y="158745"/>
                  </a:lnTo>
                  <a:lnTo>
                    <a:pt x="0" y="158745"/>
                  </a:lnTo>
                  <a:lnTo>
                    <a:pt x="3969" y="153288"/>
                  </a:lnTo>
                  <a:lnTo>
                    <a:pt x="35718" y="150312"/>
                  </a:lnTo>
                  <a:lnTo>
                    <a:pt x="51592" y="142870"/>
                  </a:lnTo>
                  <a:lnTo>
                    <a:pt x="69947" y="123027"/>
                  </a:lnTo>
                  <a:lnTo>
                    <a:pt x="80861" y="101200"/>
                  </a:lnTo>
                  <a:lnTo>
                    <a:pt x="83341" y="80861"/>
                  </a:lnTo>
                  <a:lnTo>
                    <a:pt x="79868" y="52088"/>
                  </a:lnTo>
                  <a:lnTo>
                    <a:pt x="67963" y="36214"/>
                  </a:lnTo>
                  <a:lnTo>
                    <a:pt x="48616" y="21828"/>
                  </a:lnTo>
                  <a:lnTo>
                    <a:pt x="45639" y="13890"/>
                  </a:lnTo>
                  <a:lnTo>
                    <a:pt x="50104" y="3969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D066FE93-DF67-D6AB-6191-E180FF818573}"/>
                </a:ext>
              </a:extLst>
            </p:cNvPr>
            <p:cNvSpPr/>
            <p:nvPr/>
          </p:nvSpPr>
          <p:spPr>
            <a:xfrm>
              <a:off x="3989824" y="37508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1685615E-EC4E-42D1-3FD2-E8F50D29C66C}"/>
                </a:ext>
              </a:extLst>
            </p:cNvPr>
            <p:cNvSpPr/>
            <p:nvPr/>
          </p:nvSpPr>
          <p:spPr>
            <a:xfrm>
              <a:off x="3959068" y="37002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D734C57F-4BB2-047A-C671-1E717A57B03B}"/>
                </a:ext>
              </a:extLst>
            </p:cNvPr>
            <p:cNvSpPr/>
            <p:nvPr/>
          </p:nvSpPr>
          <p:spPr>
            <a:xfrm rot="5400000">
              <a:off x="3987989" y="3723733"/>
              <a:ext cx="45143" cy="12401"/>
            </a:xfrm>
            <a:custGeom>
              <a:avLst/>
              <a:gdLst>
                <a:gd name="connsiteX0" fmla="*/ 0 w 45143"/>
                <a:gd name="connsiteY0" fmla="*/ 0 h 12401"/>
                <a:gd name="connsiteX1" fmla="*/ 45143 w 45143"/>
                <a:gd name="connsiteY1" fmla="*/ 0 h 12401"/>
                <a:gd name="connsiteX2" fmla="*/ 45143 w 45143"/>
                <a:gd name="connsiteY2" fmla="*/ 12402 h 12401"/>
                <a:gd name="connsiteX3" fmla="*/ 0 w 45143"/>
                <a:gd name="connsiteY3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3" h="12401">
                  <a:moveTo>
                    <a:pt x="0" y="0"/>
                  </a:moveTo>
                  <a:lnTo>
                    <a:pt x="45143" y="0"/>
                  </a:lnTo>
                  <a:lnTo>
                    <a:pt x="45143" y="12402"/>
                  </a:lnTo>
                  <a:lnTo>
                    <a:pt x="0" y="1240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33F26B5-205E-1148-8C9B-B4ADBD6F38E3}"/>
                </a:ext>
              </a:extLst>
            </p:cNvPr>
            <p:cNvSpPr/>
            <p:nvPr/>
          </p:nvSpPr>
          <p:spPr>
            <a:xfrm>
              <a:off x="3915413" y="1851362"/>
              <a:ext cx="1062598" cy="346758"/>
            </a:xfrm>
            <a:custGeom>
              <a:avLst/>
              <a:gdLst>
                <a:gd name="connsiteX0" fmla="*/ 343286 w 1062598"/>
                <a:gd name="connsiteY0" fmla="*/ 992 h 346758"/>
                <a:gd name="connsiteX1" fmla="*/ 0 w 1062598"/>
                <a:gd name="connsiteY1" fmla="*/ 346758 h 346758"/>
                <a:gd name="connsiteX2" fmla="*/ 714849 w 1062598"/>
                <a:gd name="connsiteY2" fmla="*/ 346758 h 346758"/>
                <a:gd name="connsiteX3" fmla="*/ 1062599 w 1062598"/>
                <a:gd name="connsiteY3" fmla="*/ 0 h 34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2598" h="346758">
                  <a:moveTo>
                    <a:pt x="343286" y="992"/>
                  </a:moveTo>
                  <a:lnTo>
                    <a:pt x="0" y="346758"/>
                  </a:lnTo>
                  <a:lnTo>
                    <a:pt x="714849" y="346758"/>
                  </a:lnTo>
                  <a:lnTo>
                    <a:pt x="106259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4B2A2E27-88BF-6A7D-FA79-0949FAA0BD3D}"/>
                </a:ext>
              </a:extLst>
            </p:cNvPr>
            <p:cNvSpPr/>
            <p:nvPr/>
          </p:nvSpPr>
          <p:spPr>
            <a:xfrm>
              <a:off x="3448603" y="4350603"/>
              <a:ext cx="155768" cy="196942"/>
            </a:xfrm>
            <a:custGeom>
              <a:avLst/>
              <a:gdLst>
                <a:gd name="connsiteX0" fmla="*/ 3473 w 155768"/>
                <a:gd name="connsiteY0" fmla="*/ 196943 h 196942"/>
                <a:gd name="connsiteX1" fmla="*/ 18851 w 155768"/>
                <a:gd name="connsiteY1" fmla="*/ 175612 h 196942"/>
                <a:gd name="connsiteX2" fmla="*/ 51592 w 155768"/>
                <a:gd name="connsiteY2" fmla="*/ 134933 h 196942"/>
                <a:gd name="connsiteX3" fmla="*/ 73419 w 155768"/>
                <a:gd name="connsiteY3" fmla="*/ 116082 h 196942"/>
                <a:gd name="connsiteX4" fmla="*/ 91278 w 155768"/>
                <a:gd name="connsiteY4" fmla="*/ 101200 h 196942"/>
                <a:gd name="connsiteX5" fmla="*/ 116082 w 155768"/>
                <a:gd name="connsiteY5" fmla="*/ 91278 h 196942"/>
                <a:gd name="connsiteX6" fmla="*/ 131957 w 155768"/>
                <a:gd name="connsiteY6" fmla="*/ 78877 h 196942"/>
                <a:gd name="connsiteX7" fmla="*/ 142374 w 155768"/>
                <a:gd name="connsiteY7" fmla="*/ 61514 h 196942"/>
                <a:gd name="connsiteX8" fmla="*/ 152792 w 155768"/>
                <a:gd name="connsiteY8" fmla="*/ 25796 h 196942"/>
                <a:gd name="connsiteX9" fmla="*/ 155769 w 155768"/>
                <a:gd name="connsiteY9" fmla="*/ 9426 h 196942"/>
                <a:gd name="connsiteX10" fmla="*/ 150808 w 155768"/>
                <a:gd name="connsiteY10" fmla="*/ 0 h 196942"/>
                <a:gd name="connsiteX11" fmla="*/ 139894 w 155768"/>
                <a:gd name="connsiteY11" fmla="*/ 1488 h 196942"/>
                <a:gd name="connsiteX12" fmla="*/ 118066 w 155768"/>
                <a:gd name="connsiteY12" fmla="*/ 1488 h 196942"/>
                <a:gd name="connsiteX13" fmla="*/ 100208 w 155768"/>
                <a:gd name="connsiteY13" fmla="*/ 6449 h 196942"/>
                <a:gd name="connsiteX14" fmla="*/ 89790 w 155768"/>
                <a:gd name="connsiteY14" fmla="*/ 14386 h 196942"/>
                <a:gd name="connsiteX15" fmla="*/ 90782 w 155768"/>
                <a:gd name="connsiteY15" fmla="*/ 40678 h 196942"/>
                <a:gd name="connsiteX16" fmla="*/ 87806 w 155768"/>
                <a:gd name="connsiteY16" fmla="*/ 56553 h 196942"/>
                <a:gd name="connsiteX17" fmla="*/ 86318 w 155768"/>
                <a:gd name="connsiteY17" fmla="*/ 73916 h 196942"/>
                <a:gd name="connsiteX18" fmla="*/ 83341 w 155768"/>
                <a:gd name="connsiteY18" fmla="*/ 85325 h 196942"/>
                <a:gd name="connsiteX19" fmla="*/ 75404 w 155768"/>
                <a:gd name="connsiteY19" fmla="*/ 83341 h 196942"/>
                <a:gd name="connsiteX20" fmla="*/ 54073 w 155768"/>
                <a:gd name="connsiteY20" fmla="*/ 85325 h 196942"/>
                <a:gd name="connsiteX21" fmla="*/ 36710 w 155768"/>
                <a:gd name="connsiteY21" fmla="*/ 90286 h 196942"/>
                <a:gd name="connsiteX22" fmla="*/ 19347 w 155768"/>
                <a:gd name="connsiteY22" fmla="*/ 104176 h 196942"/>
                <a:gd name="connsiteX23" fmla="*/ 9922 w 155768"/>
                <a:gd name="connsiteY23" fmla="*/ 117571 h 196942"/>
                <a:gd name="connsiteX24" fmla="*/ 3473 w 155768"/>
                <a:gd name="connsiteY24" fmla="*/ 131957 h 196942"/>
                <a:gd name="connsiteX25" fmla="*/ 1488 w 155768"/>
                <a:gd name="connsiteY25" fmla="*/ 149319 h 196942"/>
                <a:gd name="connsiteX26" fmla="*/ 0 w 155768"/>
                <a:gd name="connsiteY26" fmla="*/ 176604 h 19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5768" h="196942">
                  <a:moveTo>
                    <a:pt x="3473" y="196943"/>
                  </a:moveTo>
                  <a:lnTo>
                    <a:pt x="18851" y="175612"/>
                  </a:lnTo>
                  <a:lnTo>
                    <a:pt x="51592" y="134933"/>
                  </a:lnTo>
                  <a:lnTo>
                    <a:pt x="73419" y="116082"/>
                  </a:lnTo>
                  <a:lnTo>
                    <a:pt x="91278" y="101200"/>
                  </a:lnTo>
                  <a:lnTo>
                    <a:pt x="116082" y="91278"/>
                  </a:lnTo>
                  <a:lnTo>
                    <a:pt x="131957" y="78877"/>
                  </a:lnTo>
                  <a:lnTo>
                    <a:pt x="142374" y="61514"/>
                  </a:lnTo>
                  <a:lnTo>
                    <a:pt x="152792" y="25796"/>
                  </a:lnTo>
                  <a:lnTo>
                    <a:pt x="155769" y="9426"/>
                  </a:lnTo>
                  <a:lnTo>
                    <a:pt x="150808" y="0"/>
                  </a:lnTo>
                  <a:lnTo>
                    <a:pt x="139894" y="1488"/>
                  </a:lnTo>
                  <a:lnTo>
                    <a:pt x="118066" y="1488"/>
                  </a:lnTo>
                  <a:lnTo>
                    <a:pt x="100208" y="6449"/>
                  </a:lnTo>
                  <a:lnTo>
                    <a:pt x="89790" y="14386"/>
                  </a:lnTo>
                  <a:lnTo>
                    <a:pt x="90782" y="40678"/>
                  </a:lnTo>
                  <a:lnTo>
                    <a:pt x="87806" y="56553"/>
                  </a:lnTo>
                  <a:lnTo>
                    <a:pt x="86318" y="73916"/>
                  </a:lnTo>
                  <a:lnTo>
                    <a:pt x="83341" y="85325"/>
                  </a:lnTo>
                  <a:lnTo>
                    <a:pt x="75404" y="83341"/>
                  </a:lnTo>
                  <a:lnTo>
                    <a:pt x="54073" y="85325"/>
                  </a:lnTo>
                  <a:lnTo>
                    <a:pt x="36710" y="90286"/>
                  </a:lnTo>
                  <a:lnTo>
                    <a:pt x="19347" y="104176"/>
                  </a:lnTo>
                  <a:lnTo>
                    <a:pt x="9922" y="117571"/>
                  </a:lnTo>
                  <a:lnTo>
                    <a:pt x="3473" y="131957"/>
                  </a:lnTo>
                  <a:lnTo>
                    <a:pt x="1488" y="149319"/>
                  </a:lnTo>
                  <a:lnTo>
                    <a:pt x="0" y="176604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D89D13C1-FC6F-D8CC-41C8-7D4699BDCE6D}"/>
                </a:ext>
              </a:extLst>
            </p:cNvPr>
            <p:cNvSpPr/>
            <p:nvPr/>
          </p:nvSpPr>
          <p:spPr>
            <a:xfrm>
              <a:off x="4789998" y="1988280"/>
              <a:ext cx="468793" cy="210337"/>
            </a:xfrm>
            <a:custGeom>
              <a:avLst/>
              <a:gdLst>
                <a:gd name="connsiteX0" fmla="*/ 0 w 468793"/>
                <a:gd name="connsiteY0" fmla="*/ 210337 h 210337"/>
                <a:gd name="connsiteX1" fmla="*/ 209841 w 468793"/>
                <a:gd name="connsiteY1" fmla="*/ 0 h 210337"/>
                <a:gd name="connsiteX2" fmla="*/ 468794 w 468793"/>
                <a:gd name="connsiteY2" fmla="*/ 0 h 210337"/>
                <a:gd name="connsiteX3" fmla="*/ 261929 w 468793"/>
                <a:gd name="connsiteY3" fmla="*/ 209841 h 21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93" h="210337">
                  <a:moveTo>
                    <a:pt x="0" y="210337"/>
                  </a:moveTo>
                  <a:lnTo>
                    <a:pt x="209841" y="0"/>
                  </a:lnTo>
                  <a:lnTo>
                    <a:pt x="468794" y="0"/>
                  </a:lnTo>
                  <a:lnTo>
                    <a:pt x="261929" y="2098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EDDD6E18-AFEC-9033-C2C1-049D16D7786A}"/>
                </a:ext>
              </a:extLst>
            </p:cNvPr>
            <p:cNvSpPr/>
            <p:nvPr/>
          </p:nvSpPr>
          <p:spPr>
            <a:xfrm>
              <a:off x="6012334" y="3198214"/>
              <a:ext cx="687067" cy="307072"/>
            </a:xfrm>
            <a:custGeom>
              <a:avLst/>
              <a:gdLst>
                <a:gd name="connsiteX0" fmla="*/ 308064 w 687067"/>
                <a:gd name="connsiteY0" fmla="*/ 0 h 307072"/>
                <a:gd name="connsiteX1" fmla="*/ 0 w 687067"/>
                <a:gd name="connsiteY1" fmla="*/ 307072 h 307072"/>
                <a:gd name="connsiteX2" fmla="*/ 381980 w 687067"/>
                <a:gd name="connsiteY2" fmla="*/ 306576 h 307072"/>
                <a:gd name="connsiteX3" fmla="*/ 687068 w 687067"/>
                <a:gd name="connsiteY3" fmla="*/ 1984 h 30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7067" h="307072">
                  <a:moveTo>
                    <a:pt x="308064" y="0"/>
                  </a:moveTo>
                  <a:lnTo>
                    <a:pt x="0" y="307072"/>
                  </a:lnTo>
                  <a:lnTo>
                    <a:pt x="381980" y="306576"/>
                  </a:lnTo>
                  <a:lnTo>
                    <a:pt x="687068" y="1984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3EBC412B-381B-EEB7-A680-388D98D2234A}"/>
                </a:ext>
              </a:extLst>
            </p:cNvPr>
            <p:cNvSpPr/>
            <p:nvPr/>
          </p:nvSpPr>
          <p:spPr>
            <a:xfrm>
              <a:off x="5027123" y="3825256"/>
              <a:ext cx="127492" cy="370074"/>
            </a:xfrm>
            <a:custGeom>
              <a:avLst/>
              <a:gdLst>
                <a:gd name="connsiteX0" fmla="*/ 0 w 127492"/>
                <a:gd name="connsiteY0" fmla="*/ 0 h 370074"/>
                <a:gd name="connsiteX1" fmla="*/ 127492 w 127492"/>
                <a:gd name="connsiteY1" fmla="*/ 0 h 370074"/>
                <a:gd name="connsiteX2" fmla="*/ 127492 w 127492"/>
                <a:gd name="connsiteY2" fmla="*/ 370074 h 370074"/>
                <a:gd name="connsiteX3" fmla="*/ 0 w 127492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370074">
                  <a:moveTo>
                    <a:pt x="0" y="0"/>
                  </a:moveTo>
                  <a:lnTo>
                    <a:pt x="127492" y="0"/>
                  </a:lnTo>
                  <a:lnTo>
                    <a:pt x="127492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39CFEC8B-CFE9-2BAE-6C59-ABC3EF1BE417}"/>
                </a:ext>
              </a:extLst>
            </p:cNvPr>
            <p:cNvSpPr/>
            <p:nvPr/>
          </p:nvSpPr>
          <p:spPr>
            <a:xfrm>
              <a:off x="5200255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54CDFC0A-A6AD-BAEB-5B0D-372B3ED5CB79}"/>
                </a:ext>
              </a:extLst>
            </p:cNvPr>
            <p:cNvSpPr/>
            <p:nvPr/>
          </p:nvSpPr>
          <p:spPr>
            <a:xfrm>
              <a:off x="5027123" y="4245434"/>
              <a:ext cx="127492" cy="225219"/>
            </a:xfrm>
            <a:custGeom>
              <a:avLst/>
              <a:gdLst>
                <a:gd name="connsiteX0" fmla="*/ 0 w 127492"/>
                <a:gd name="connsiteY0" fmla="*/ 0 h 225219"/>
                <a:gd name="connsiteX1" fmla="*/ 127492 w 127492"/>
                <a:gd name="connsiteY1" fmla="*/ 0 h 225219"/>
                <a:gd name="connsiteX2" fmla="*/ 127492 w 127492"/>
                <a:gd name="connsiteY2" fmla="*/ 225219 h 225219"/>
                <a:gd name="connsiteX3" fmla="*/ 0 w 127492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225219">
                  <a:moveTo>
                    <a:pt x="0" y="0"/>
                  </a:moveTo>
                  <a:lnTo>
                    <a:pt x="127492" y="0"/>
                  </a:lnTo>
                  <a:lnTo>
                    <a:pt x="127492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55D4222A-7B30-1414-5EA9-828E206A995C}"/>
                </a:ext>
              </a:extLst>
            </p:cNvPr>
            <p:cNvSpPr/>
            <p:nvPr/>
          </p:nvSpPr>
          <p:spPr>
            <a:xfrm>
              <a:off x="5200255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D01CD65C-41E8-52CE-DF13-74C8BE5464A4}"/>
                </a:ext>
              </a:extLst>
            </p:cNvPr>
            <p:cNvSpPr/>
            <p:nvPr/>
          </p:nvSpPr>
          <p:spPr>
            <a:xfrm>
              <a:off x="4242328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DC895869-681D-17A7-A3AF-F21D18C6E0C5}"/>
                </a:ext>
              </a:extLst>
            </p:cNvPr>
            <p:cNvSpPr/>
            <p:nvPr/>
          </p:nvSpPr>
          <p:spPr>
            <a:xfrm>
              <a:off x="4242328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2B3E726C-52F8-5CED-13CC-4B97035D58EB}"/>
                </a:ext>
              </a:extLst>
            </p:cNvPr>
            <p:cNvSpPr/>
            <p:nvPr/>
          </p:nvSpPr>
          <p:spPr>
            <a:xfrm>
              <a:off x="4109379" y="2763649"/>
              <a:ext cx="172139" cy="233156"/>
            </a:xfrm>
            <a:custGeom>
              <a:avLst/>
              <a:gdLst>
                <a:gd name="connsiteX0" fmla="*/ 0 w 172139"/>
                <a:gd name="connsiteY0" fmla="*/ 31749 h 233156"/>
                <a:gd name="connsiteX1" fmla="*/ 36214 w 172139"/>
                <a:gd name="connsiteY1" fmla="*/ 31749 h 233156"/>
                <a:gd name="connsiteX2" fmla="*/ 40678 w 172139"/>
                <a:gd name="connsiteY2" fmla="*/ 43655 h 233156"/>
                <a:gd name="connsiteX3" fmla="*/ 40678 w 172139"/>
                <a:gd name="connsiteY3" fmla="*/ 71931 h 233156"/>
                <a:gd name="connsiteX4" fmla="*/ 34229 w 172139"/>
                <a:gd name="connsiteY4" fmla="*/ 120547 h 233156"/>
                <a:gd name="connsiteX5" fmla="*/ 30757 w 172139"/>
                <a:gd name="connsiteY5" fmla="*/ 157753 h 233156"/>
                <a:gd name="connsiteX6" fmla="*/ 32741 w 172139"/>
                <a:gd name="connsiteY6" fmla="*/ 201904 h 233156"/>
                <a:gd name="connsiteX7" fmla="*/ 36710 w 172139"/>
                <a:gd name="connsiteY7" fmla="*/ 218274 h 233156"/>
                <a:gd name="connsiteX8" fmla="*/ 46135 w 172139"/>
                <a:gd name="connsiteY8" fmla="*/ 228196 h 233156"/>
                <a:gd name="connsiteX9" fmla="*/ 59033 w 172139"/>
                <a:gd name="connsiteY9" fmla="*/ 233157 h 233156"/>
                <a:gd name="connsiteX10" fmla="*/ 148327 w 172139"/>
                <a:gd name="connsiteY10" fmla="*/ 233157 h 233156"/>
                <a:gd name="connsiteX11" fmla="*/ 157257 w 172139"/>
                <a:gd name="connsiteY11" fmla="*/ 229684 h 233156"/>
                <a:gd name="connsiteX12" fmla="*/ 163209 w 172139"/>
                <a:gd name="connsiteY12" fmla="*/ 219763 h 233156"/>
                <a:gd name="connsiteX13" fmla="*/ 166186 w 172139"/>
                <a:gd name="connsiteY13" fmla="*/ 188014 h 233156"/>
                <a:gd name="connsiteX14" fmla="*/ 167178 w 172139"/>
                <a:gd name="connsiteY14" fmla="*/ 162218 h 233156"/>
                <a:gd name="connsiteX15" fmla="*/ 172139 w 172139"/>
                <a:gd name="connsiteY15" fmla="*/ 144855 h 233156"/>
                <a:gd name="connsiteX16" fmla="*/ 171643 w 172139"/>
                <a:gd name="connsiteY16" fmla="*/ 102192 h 233156"/>
                <a:gd name="connsiteX17" fmla="*/ 165690 w 172139"/>
                <a:gd name="connsiteY17" fmla="*/ 47127 h 233156"/>
                <a:gd name="connsiteX18" fmla="*/ 165194 w 172139"/>
                <a:gd name="connsiteY18" fmla="*/ 29269 h 233156"/>
                <a:gd name="connsiteX19" fmla="*/ 163706 w 172139"/>
                <a:gd name="connsiteY19" fmla="*/ 14386 h 233156"/>
                <a:gd name="connsiteX20" fmla="*/ 156265 w 172139"/>
                <a:gd name="connsiteY20" fmla="*/ 4465 h 233156"/>
                <a:gd name="connsiteX21" fmla="*/ 108145 w 172139"/>
                <a:gd name="connsiteY21" fmla="*/ 0 h 233156"/>
                <a:gd name="connsiteX22" fmla="*/ 71931 w 172139"/>
                <a:gd name="connsiteY22" fmla="*/ 992 h 233156"/>
                <a:gd name="connsiteX23" fmla="*/ 50600 w 172139"/>
                <a:gd name="connsiteY23" fmla="*/ 8433 h 233156"/>
                <a:gd name="connsiteX24" fmla="*/ 49112 w 172139"/>
                <a:gd name="connsiteY24" fmla="*/ 10914 h 233156"/>
                <a:gd name="connsiteX25" fmla="*/ 0 w 172139"/>
                <a:gd name="connsiteY25" fmla="*/ 31749 h 23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2139" h="233156">
                  <a:moveTo>
                    <a:pt x="0" y="31749"/>
                  </a:moveTo>
                  <a:lnTo>
                    <a:pt x="36214" y="31749"/>
                  </a:lnTo>
                  <a:lnTo>
                    <a:pt x="40678" y="43655"/>
                  </a:lnTo>
                  <a:lnTo>
                    <a:pt x="40678" y="71931"/>
                  </a:lnTo>
                  <a:lnTo>
                    <a:pt x="34229" y="120547"/>
                  </a:lnTo>
                  <a:lnTo>
                    <a:pt x="30757" y="157753"/>
                  </a:lnTo>
                  <a:lnTo>
                    <a:pt x="32741" y="201904"/>
                  </a:lnTo>
                  <a:lnTo>
                    <a:pt x="36710" y="218274"/>
                  </a:lnTo>
                  <a:lnTo>
                    <a:pt x="46135" y="228196"/>
                  </a:lnTo>
                  <a:lnTo>
                    <a:pt x="59033" y="233157"/>
                  </a:lnTo>
                  <a:lnTo>
                    <a:pt x="148327" y="233157"/>
                  </a:lnTo>
                  <a:lnTo>
                    <a:pt x="157257" y="229684"/>
                  </a:lnTo>
                  <a:lnTo>
                    <a:pt x="163209" y="219763"/>
                  </a:lnTo>
                  <a:lnTo>
                    <a:pt x="166186" y="188014"/>
                  </a:lnTo>
                  <a:lnTo>
                    <a:pt x="167178" y="162218"/>
                  </a:lnTo>
                  <a:lnTo>
                    <a:pt x="172139" y="144855"/>
                  </a:lnTo>
                  <a:lnTo>
                    <a:pt x="171643" y="102192"/>
                  </a:lnTo>
                  <a:lnTo>
                    <a:pt x="165690" y="47127"/>
                  </a:lnTo>
                  <a:lnTo>
                    <a:pt x="165194" y="29269"/>
                  </a:lnTo>
                  <a:lnTo>
                    <a:pt x="163706" y="14386"/>
                  </a:lnTo>
                  <a:lnTo>
                    <a:pt x="156265" y="4465"/>
                  </a:lnTo>
                  <a:lnTo>
                    <a:pt x="108145" y="0"/>
                  </a:lnTo>
                  <a:lnTo>
                    <a:pt x="71931" y="992"/>
                  </a:lnTo>
                  <a:lnTo>
                    <a:pt x="50600" y="8433"/>
                  </a:lnTo>
                  <a:cubicBezTo>
                    <a:pt x="50600" y="8433"/>
                    <a:pt x="50104" y="8433"/>
                    <a:pt x="49112" y="10914"/>
                  </a:cubicBezTo>
                  <a:cubicBezTo>
                    <a:pt x="21331" y="13394"/>
                    <a:pt x="0" y="31749"/>
                    <a:pt x="0" y="31749"/>
                  </a:cubicBezTo>
                  <a:close/>
                </a:path>
              </a:pathLst>
            </a:custGeom>
            <a:solidFill>
              <a:schemeClr val="bg1"/>
            </a:solidFill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2260D241-8955-A2BB-94D9-D21F903A9C6C}"/>
                </a:ext>
              </a:extLst>
            </p:cNvPr>
            <p:cNvSpPr/>
            <p:nvPr/>
          </p:nvSpPr>
          <p:spPr>
            <a:xfrm>
              <a:off x="4622820" y="4497938"/>
              <a:ext cx="112609" cy="53605"/>
            </a:xfrm>
            <a:custGeom>
              <a:avLst/>
              <a:gdLst>
                <a:gd name="connsiteX0" fmla="*/ 0 w 112609"/>
                <a:gd name="connsiteY0" fmla="*/ 51096 h 53605"/>
                <a:gd name="connsiteX1" fmla="*/ 73915 w 112609"/>
                <a:gd name="connsiteY1" fmla="*/ 0 h 53605"/>
                <a:gd name="connsiteX2" fmla="*/ 55065 w 112609"/>
                <a:gd name="connsiteY2" fmla="*/ 53576 h 53605"/>
                <a:gd name="connsiteX3" fmla="*/ 103680 w 112609"/>
                <a:gd name="connsiteY3" fmla="*/ 23812 h 53605"/>
                <a:gd name="connsiteX4" fmla="*/ 112610 w 112609"/>
                <a:gd name="connsiteY4" fmla="*/ 53576 h 53605"/>
                <a:gd name="connsiteX5" fmla="*/ 0 w 112609"/>
                <a:gd name="connsiteY5" fmla="*/ 51096 h 5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609" h="53605">
                  <a:moveTo>
                    <a:pt x="0" y="51096"/>
                  </a:moveTo>
                  <a:cubicBezTo>
                    <a:pt x="0" y="51096"/>
                    <a:pt x="68955" y="0"/>
                    <a:pt x="73915" y="0"/>
                  </a:cubicBezTo>
                  <a:cubicBezTo>
                    <a:pt x="78876" y="0"/>
                    <a:pt x="52088" y="55065"/>
                    <a:pt x="55065" y="53576"/>
                  </a:cubicBezTo>
                  <a:cubicBezTo>
                    <a:pt x="58537" y="52584"/>
                    <a:pt x="96735" y="23812"/>
                    <a:pt x="103680" y="23812"/>
                  </a:cubicBezTo>
                  <a:cubicBezTo>
                    <a:pt x="110625" y="23812"/>
                    <a:pt x="112610" y="53576"/>
                    <a:pt x="112610" y="53576"/>
                  </a:cubicBezTo>
                  <a:lnTo>
                    <a:pt x="0" y="51096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E9318650-1A2A-F47E-EE40-19E3DA20F7BA}"/>
                </a:ext>
              </a:extLst>
            </p:cNvPr>
            <p:cNvSpPr/>
            <p:nvPr/>
          </p:nvSpPr>
          <p:spPr>
            <a:xfrm>
              <a:off x="6005389" y="4118438"/>
              <a:ext cx="323938" cy="123027"/>
            </a:xfrm>
            <a:custGeom>
              <a:avLst/>
              <a:gdLst>
                <a:gd name="connsiteX0" fmla="*/ 323939 w 323938"/>
                <a:gd name="connsiteY0" fmla="*/ 123027 h 123027"/>
                <a:gd name="connsiteX1" fmla="*/ 0 w 323938"/>
                <a:gd name="connsiteY1" fmla="*/ 123027 h 123027"/>
                <a:gd name="connsiteX2" fmla="*/ 0 w 323938"/>
                <a:gd name="connsiteY2" fmla="*/ 0 h 123027"/>
                <a:gd name="connsiteX3" fmla="*/ 16867 w 323938"/>
                <a:gd name="connsiteY3" fmla="*/ 0 h 123027"/>
                <a:gd name="connsiteX4" fmla="*/ 77884 w 323938"/>
                <a:gd name="connsiteY4" fmla="*/ 91774 h 123027"/>
                <a:gd name="connsiteX5" fmla="*/ 107649 w 323938"/>
                <a:gd name="connsiteY5" fmla="*/ 79372 h 123027"/>
                <a:gd name="connsiteX6" fmla="*/ 122035 w 323938"/>
                <a:gd name="connsiteY6" fmla="*/ 60025 h 123027"/>
                <a:gd name="connsiteX7" fmla="*/ 107649 w 323938"/>
                <a:gd name="connsiteY7" fmla="*/ 54569 h 123027"/>
                <a:gd name="connsiteX8" fmla="*/ 79372 w 323938"/>
                <a:gd name="connsiteY8" fmla="*/ 59529 h 123027"/>
                <a:gd name="connsiteX9" fmla="*/ 49112 w 323938"/>
                <a:gd name="connsiteY9" fmla="*/ 0 h 123027"/>
                <a:gd name="connsiteX10" fmla="*/ 323939 w 323938"/>
                <a:gd name="connsiteY10" fmla="*/ 0 h 12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938" h="123027">
                  <a:moveTo>
                    <a:pt x="323939" y="123027"/>
                  </a:moveTo>
                  <a:lnTo>
                    <a:pt x="0" y="123027"/>
                  </a:lnTo>
                  <a:lnTo>
                    <a:pt x="0" y="0"/>
                  </a:lnTo>
                  <a:lnTo>
                    <a:pt x="16867" y="0"/>
                  </a:lnTo>
                  <a:lnTo>
                    <a:pt x="77884" y="91774"/>
                  </a:lnTo>
                  <a:lnTo>
                    <a:pt x="107649" y="79372"/>
                  </a:lnTo>
                  <a:lnTo>
                    <a:pt x="122035" y="60025"/>
                  </a:lnTo>
                  <a:lnTo>
                    <a:pt x="107649" y="54569"/>
                  </a:lnTo>
                  <a:lnTo>
                    <a:pt x="79372" y="59529"/>
                  </a:lnTo>
                  <a:lnTo>
                    <a:pt x="49112" y="0"/>
                  </a:lnTo>
                  <a:lnTo>
                    <a:pt x="32393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A8A6A3D-BC67-FF60-4C6C-BD2E1DAFF5A9}"/>
                </a:ext>
              </a:extLst>
            </p:cNvPr>
            <p:cNvSpPr/>
            <p:nvPr/>
          </p:nvSpPr>
          <p:spPr>
            <a:xfrm>
              <a:off x="5601086" y="2492295"/>
              <a:ext cx="171642" cy="107648"/>
            </a:xfrm>
            <a:custGeom>
              <a:avLst/>
              <a:gdLst>
                <a:gd name="connsiteX0" fmla="*/ 112113 w 171642"/>
                <a:gd name="connsiteY0" fmla="*/ 0 h 107648"/>
                <a:gd name="connsiteX1" fmla="*/ 0 w 171642"/>
                <a:gd name="connsiteY1" fmla="*/ 107649 h 107648"/>
                <a:gd name="connsiteX2" fmla="*/ 57545 w 171642"/>
                <a:gd name="connsiteY2" fmla="*/ 107649 h 107648"/>
                <a:gd name="connsiteX3" fmla="*/ 171643 w 171642"/>
                <a:gd name="connsiteY3" fmla="*/ 0 h 10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42" h="107648">
                  <a:moveTo>
                    <a:pt x="112113" y="0"/>
                  </a:moveTo>
                  <a:lnTo>
                    <a:pt x="0" y="107649"/>
                  </a:lnTo>
                  <a:lnTo>
                    <a:pt x="57545" y="107649"/>
                  </a:lnTo>
                  <a:lnTo>
                    <a:pt x="171643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3183642E-51FF-52D0-CD45-2BC6093F60DD}"/>
                </a:ext>
              </a:extLst>
            </p:cNvPr>
            <p:cNvSpPr/>
            <p:nvPr/>
          </p:nvSpPr>
          <p:spPr>
            <a:xfrm>
              <a:off x="4520132" y="4846185"/>
              <a:ext cx="197935" cy="184540"/>
            </a:xfrm>
            <a:custGeom>
              <a:avLst/>
              <a:gdLst>
                <a:gd name="connsiteX0" fmla="*/ 0 w 197935"/>
                <a:gd name="connsiteY0" fmla="*/ 118066 h 184540"/>
                <a:gd name="connsiteX1" fmla="*/ 0 w 197935"/>
                <a:gd name="connsiteY1" fmla="*/ 0 h 184540"/>
                <a:gd name="connsiteX2" fmla="*/ 195951 w 197935"/>
                <a:gd name="connsiteY2" fmla="*/ 0 h 184540"/>
                <a:gd name="connsiteX3" fmla="*/ 196943 w 197935"/>
                <a:gd name="connsiteY3" fmla="*/ 64490 h 184540"/>
                <a:gd name="connsiteX4" fmla="*/ 185533 w 197935"/>
                <a:gd name="connsiteY4" fmla="*/ 65482 h 184540"/>
                <a:gd name="connsiteX5" fmla="*/ 175115 w 197935"/>
                <a:gd name="connsiteY5" fmla="*/ 78876 h 184540"/>
                <a:gd name="connsiteX6" fmla="*/ 172139 w 197935"/>
                <a:gd name="connsiteY6" fmla="*/ 100704 h 184540"/>
                <a:gd name="connsiteX7" fmla="*/ 182557 w 197935"/>
                <a:gd name="connsiteY7" fmla="*/ 133445 h 184540"/>
                <a:gd name="connsiteX8" fmla="*/ 197439 w 197935"/>
                <a:gd name="connsiteY8" fmla="*/ 136917 h 184540"/>
                <a:gd name="connsiteX9" fmla="*/ 197935 w 197935"/>
                <a:gd name="connsiteY9" fmla="*/ 184541 h 184540"/>
                <a:gd name="connsiteX10" fmla="*/ 0 w 197935"/>
                <a:gd name="connsiteY10" fmla="*/ 184541 h 18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935" h="184540">
                  <a:moveTo>
                    <a:pt x="0" y="118066"/>
                  </a:moveTo>
                  <a:lnTo>
                    <a:pt x="0" y="0"/>
                  </a:lnTo>
                  <a:lnTo>
                    <a:pt x="195951" y="0"/>
                  </a:lnTo>
                  <a:lnTo>
                    <a:pt x="196943" y="64490"/>
                  </a:lnTo>
                  <a:lnTo>
                    <a:pt x="185533" y="65482"/>
                  </a:lnTo>
                  <a:lnTo>
                    <a:pt x="175115" y="78876"/>
                  </a:lnTo>
                  <a:lnTo>
                    <a:pt x="172139" y="100704"/>
                  </a:lnTo>
                  <a:lnTo>
                    <a:pt x="182557" y="133445"/>
                  </a:lnTo>
                  <a:lnTo>
                    <a:pt x="197439" y="136917"/>
                  </a:lnTo>
                  <a:lnTo>
                    <a:pt x="197935" y="184541"/>
                  </a:lnTo>
                  <a:lnTo>
                    <a:pt x="0" y="1845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869C7C76-BC99-CAF8-5FAB-76454E67387E}"/>
                </a:ext>
              </a:extLst>
            </p:cNvPr>
            <p:cNvSpPr/>
            <p:nvPr/>
          </p:nvSpPr>
          <p:spPr>
            <a:xfrm>
              <a:off x="4920963" y="5075869"/>
              <a:ext cx="90286" cy="234644"/>
            </a:xfrm>
            <a:custGeom>
              <a:avLst/>
              <a:gdLst>
                <a:gd name="connsiteX0" fmla="*/ 0 w 90286"/>
                <a:gd name="connsiteY0" fmla="*/ 0 h 234644"/>
                <a:gd name="connsiteX1" fmla="*/ 90286 w 90286"/>
                <a:gd name="connsiteY1" fmla="*/ 12402 h 234644"/>
                <a:gd name="connsiteX2" fmla="*/ 70443 w 90286"/>
                <a:gd name="connsiteY2" fmla="*/ 231172 h 234644"/>
                <a:gd name="connsiteX3" fmla="*/ 54569 w 90286"/>
                <a:gd name="connsiteY3" fmla="*/ 234645 h 23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86" h="234644">
                  <a:moveTo>
                    <a:pt x="0" y="0"/>
                  </a:moveTo>
                  <a:lnTo>
                    <a:pt x="90286" y="12402"/>
                  </a:lnTo>
                  <a:lnTo>
                    <a:pt x="70443" y="231172"/>
                  </a:lnTo>
                  <a:lnTo>
                    <a:pt x="54569" y="234645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8390A28F-644D-5E10-ADA3-D40FE137782C}"/>
                </a:ext>
              </a:extLst>
            </p:cNvPr>
            <p:cNvSpPr/>
            <p:nvPr/>
          </p:nvSpPr>
          <p:spPr>
            <a:xfrm>
              <a:off x="6399275" y="4837255"/>
              <a:ext cx="114593" cy="66474"/>
            </a:xfrm>
            <a:custGeom>
              <a:avLst/>
              <a:gdLst>
                <a:gd name="connsiteX0" fmla="*/ 0 w 114593"/>
                <a:gd name="connsiteY0" fmla="*/ 66475 h 66474"/>
                <a:gd name="connsiteX1" fmla="*/ 32741 w 114593"/>
                <a:gd name="connsiteY1" fmla="*/ 40678 h 66474"/>
                <a:gd name="connsiteX2" fmla="*/ 74908 w 114593"/>
                <a:gd name="connsiteY2" fmla="*/ 24308 h 66474"/>
                <a:gd name="connsiteX3" fmla="*/ 94255 w 114593"/>
                <a:gd name="connsiteY3" fmla="*/ 20339 h 66474"/>
                <a:gd name="connsiteX4" fmla="*/ 114594 w 114593"/>
                <a:gd name="connsiteY4" fmla="*/ 20339 h 66474"/>
                <a:gd name="connsiteX5" fmla="*/ 102192 w 114593"/>
                <a:gd name="connsiteY5" fmla="*/ 8433 h 66474"/>
                <a:gd name="connsiteX6" fmla="*/ 66474 w 114593"/>
                <a:gd name="connsiteY6" fmla="*/ 0 h 66474"/>
                <a:gd name="connsiteX7" fmla="*/ 32741 w 114593"/>
                <a:gd name="connsiteY7" fmla="*/ 13890 h 66474"/>
                <a:gd name="connsiteX8" fmla="*/ 10913 w 114593"/>
                <a:gd name="connsiteY8" fmla="*/ 36214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93" h="66474">
                  <a:moveTo>
                    <a:pt x="0" y="66475"/>
                  </a:moveTo>
                  <a:lnTo>
                    <a:pt x="32741" y="40678"/>
                  </a:lnTo>
                  <a:lnTo>
                    <a:pt x="74908" y="24308"/>
                  </a:lnTo>
                  <a:lnTo>
                    <a:pt x="94255" y="20339"/>
                  </a:lnTo>
                  <a:lnTo>
                    <a:pt x="114594" y="20339"/>
                  </a:lnTo>
                  <a:lnTo>
                    <a:pt x="102192" y="8433"/>
                  </a:lnTo>
                  <a:lnTo>
                    <a:pt x="66474" y="0"/>
                  </a:lnTo>
                  <a:lnTo>
                    <a:pt x="32741" y="13890"/>
                  </a:lnTo>
                  <a:lnTo>
                    <a:pt x="10913" y="36214"/>
                  </a:ln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07805BF2-BF07-4C1A-9840-630B31D9B730}"/>
                </a:ext>
              </a:extLst>
            </p:cNvPr>
            <p:cNvSpPr/>
            <p:nvPr/>
          </p:nvSpPr>
          <p:spPr>
            <a:xfrm>
              <a:off x="4041417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7 w 330884"/>
                <a:gd name="connsiteY4" fmla="*/ 330388 h 330388"/>
                <a:gd name="connsiteX5" fmla="*/ 16867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64297256-3749-63F6-811D-C0FC322E83D8}"/>
                </a:ext>
              </a:extLst>
            </p:cNvPr>
            <p:cNvSpPr/>
            <p:nvPr/>
          </p:nvSpPr>
          <p:spPr>
            <a:xfrm>
              <a:off x="4513187" y="2464515"/>
              <a:ext cx="331380" cy="330388"/>
            </a:xfrm>
            <a:custGeom>
              <a:avLst/>
              <a:gdLst>
                <a:gd name="connsiteX0" fmla="*/ 496 w 331380"/>
                <a:gd name="connsiteY0" fmla="*/ 0 h 330388"/>
                <a:gd name="connsiteX1" fmla="*/ 496 w 331380"/>
                <a:gd name="connsiteY1" fmla="*/ 16867 h 330388"/>
                <a:gd name="connsiteX2" fmla="*/ 0 w 331380"/>
                <a:gd name="connsiteY2" fmla="*/ 16867 h 330388"/>
                <a:gd name="connsiteX3" fmla="*/ 0 w 331380"/>
                <a:gd name="connsiteY3" fmla="*/ 330388 h 330388"/>
                <a:gd name="connsiteX4" fmla="*/ 16867 w 331380"/>
                <a:gd name="connsiteY4" fmla="*/ 330388 h 330388"/>
                <a:gd name="connsiteX5" fmla="*/ 16867 w 331380"/>
                <a:gd name="connsiteY5" fmla="*/ 169659 h 330388"/>
                <a:gd name="connsiteX6" fmla="*/ 312033 w 331380"/>
                <a:gd name="connsiteY6" fmla="*/ 169659 h 330388"/>
                <a:gd name="connsiteX7" fmla="*/ 312033 w 331380"/>
                <a:gd name="connsiteY7" fmla="*/ 328900 h 330388"/>
                <a:gd name="connsiteX8" fmla="*/ 331380 w 331380"/>
                <a:gd name="connsiteY8" fmla="*/ 328900 h 330388"/>
                <a:gd name="connsiteX9" fmla="*/ 331380 w 331380"/>
                <a:gd name="connsiteY9" fmla="*/ 169659 h 330388"/>
                <a:gd name="connsiteX10" fmla="*/ 331380 w 331380"/>
                <a:gd name="connsiteY10" fmla="*/ 133941 h 330388"/>
                <a:gd name="connsiteX11" fmla="*/ 331380 w 331380"/>
                <a:gd name="connsiteY11" fmla="*/ 27780 h 330388"/>
                <a:gd name="connsiteX12" fmla="*/ 331380 w 331380"/>
                <a:gd name="connsiteY12" fmla="*/ 17363 h 330388"/>
                <a:gd name="connsiteX13" fmla="*/ 331380 w 331380"/>
                <a:gd name="connsiteY13" fmla="*/ 496 h 330388"/>
                <a:gd name="connsiteX14" fmla="*/ 496 w 331380"/>
                <a:gd name="connsiteY14" fmla="*/ 496 h 330388"/>
                <a:gd name="connsiteX15" fmla="*/ 312033 w 331380"/>
                <a:gd name="connsiteY15" fmla="*/ 133941 h 330388"/>
                <a:gd name="connsiteX16" fmla="*/ 17363 w 331380"/>
                <a:gd name="connsiteY16" fmla="*/ 133941 h 330388"/>
                <a:gd name="connsiteX17" fmla="*/ 17363 w 331380"/>
                <a:gd name="connsiteY17" fmla="*/ 27780 h 330388"/>
                <a:gd name="connsiteX18" fmla="*/ 312033 w 331380"/>
                <a:gd name="connsiteY18" fmla="*/ 27780 h 330388"/>
                <a:gd name="connsiteX19" fmla="*/ 312033 w 331380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1380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2033" y="169659"/>
                  </a:lnTo>
                  <a:lnTo>
                    <a:pt x="312033" y="328900"/>
                  </a:lnTo>
                  <a:lnTo>
                    <a:pt x="331380" y="328900"/>
                  </a:lnTo>
                  <a:lnTo>
                    <a:pt x="331380" y="169659"/>
                  </a:lnTo>
                  <a:lnTo>
                    <a:pt x="331380" y="133941"/>
                  </a:lnTo>
                  <a:lnTo>
                    <a:pt x="331380" y="27780"/>
                  </a:lnTo>
                  <a:lnTo>
                    <a:pt x="331380" y="17363"/>
                  </a:lnTo>
                  <a:lnTo>
                    <a:pt x="331380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933F698-2FCB-9DF5-A261-2018ECD9E7C1}"/>
                </a:ext>
              </a:extLst>
            </p:cNvPr>
            <p:cNvSpPr/>
            <p:nvPr/>
          </p:nvSpPr>
          <p:spPr>
            <a:xfrm>
              <a:off x="5543044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6 w 330884"/>
                <a:gd name="connsiteY4" fmla="*/ 330388 h 330388"/>
                <a:gd name="connsiteX5" fmla="*/ 16866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A0129394-E89F-240B-18CB-7739550987C6}"/>
                </a:ext>
              </a:extLst>
            </p:cNvPr>
            <p:cNvSpPr/>
            <p:nvPr/>
          </p:nvSpPr>
          <p:spPr>
            <a:xfrm>
              <a:off x="5013233" y="3096518"/>
              <a:ext cx="330883" cy="330387"/>
            </a:xfrm>
            <a:custGeom>
              <a:avLst/>
              <a:gdLst>
                <a:gd name="connsiteX0" fmla="*/ 496 w 330883"/>
                <a:gd name="connsiteY0" fmla="*/ 0 h 330387"/>
                <a:gd name="connsiteX1" fmla="*/ 496 w 330883"/>
                <a:gd name="connsiteY1" fmla="*/ 16866 h 330387"/>
                <a:gd name="connsiteX2" fmla="*/ 0 w 330883"/>
                <a:gd name="connsiteY2" fmla="*/ 16866 h 330387"/>
                <a:gd name="connsiteX3" fmla="*/ 0 w 330883"/>
                <a:gd name="connsiteY3" fmla="*/ 330388 h 330387"/>
                <a:gd name="connsiteX4" fmla="*/ 16866 w 330883"/>
                <a:gd name="connsiteY4" fmla="*/ 330388 h 330387"/>
                <a:gd name="connsiteX5" fmla="*/ 16866 w 330883"/>
                <a:gd name="connsiteY5" fmla="*/ 169162 h 330387"/>
                <a:gd name="connsiteX6" fmla="*/ 311537 w 330883"/>
                <a:gd name="connsiteY6" fmla="*/ 169162 h 330387"/>
                <a:gd name="connsiteX7" fmla="*/ 311537 w 330883"/>
                <a:gd name="connsiteY7" fmla="*/ 328404 h 330387"/>
                <a:gd name="connsiteX8" fmla="*/ 330884 w 330883"/>
                <a:gd name="connsiteY8" fmla="*/ 328404 h 330387"/>
                <a:gd name="connsiteX9" fmla="*/ 330884 w 330883"/>
                <a:gd name="connsiteY9" fmla="*/ 169162 h 330387"/>
                <a:gd name="connsiteX10" fmla="*/ 330884 w 330883"/>
                <a:gd name="connsiteY10" fmla="*/ 133445 h 330387"/>
                <a:gd name="connsiteX11" fmla="*/ 330884 w 330883"/>
                <a:gd name="connsiteY11" fmla="*/ 27284 h 330387"/>
                <a:gd name="connsiteX12" fmla="*/ 330884 w 330883"/>
                <a:gd name="connsiteY12" fmla="*/ 16866 h 330387"/>
                <a:gd name="connsiteX13" fmla="*/ 330884 w 330883"/>
                <a:gd name="connsiteY13" fmla="*/ 0 h 330387"/>
                <a:gd name="connsiteX14" fmla="*/ 496 w 330883"/>
                <a:gd name="connsiteY14" fmla="*/ 0 h 330387"/>
                <a:gd name="connsiteX15" fmla="*/ 312033 w 330883"/>
                <a:gd name="connsiteY15" fmla="*/ 133445 h 330387"/>
                <a:gd name="connsiteX16" fmla="*/ 17363 w 330883"/>
                <a:gd name="connsiteY16" fmla="*/ 133445 h 330387"/>
                <a:gd name="connsiteX17" fmla="*/ 17363 w 330883"/>
                <a:gd name="connsiteY17" fmla="*/ 27284 h 330387"/>
                <a:gd name="connsiteX18" fmla="*/ 312033 w 330883"/>
                <a:gd name="connsiteY18" fmla="*/ 27284 h 330387"/>
                <a:gd name="connsiteX19" fmla="*/ 312033 w 330883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3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3FDF6ADD-68AF-600E-DF45-34F2DAA89CFC}"/>
                </a:ext>
              </a:extLst>
            </p:cNvPr>
            <p:cNvSpPr/>
            <p:nvPr/>
          </p:nvSpPr>
          <p:spPr>
            <a:xfrm>
              <a:off x="4538487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6 w 330884"/>
                <a:gd name="connsiteY4" fmla="*/ 330388 h 330387"/>
                <a:gd name="connsiteX5" fmla="*/ 16866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1537 w 330884"/>
                <a:gd name="connsiteY15" fmla="*/ 133445 h 330387"/>
                <a:gd name="connsiteX16" fmla="*/ 16866 w 330884"/>
                <a:gd name="connsiteY16" fmla="*/ 133445 h 330387"/>
                <a:gd name="connsiteX17" fmla="*/ 16866 w 330884"/>
                <a:gd name="connsiteY17" fmla="*/ 27284 h 330387"/>
                <a:gd name="connsiteX18" fmla="*/ 311537 w 330884"/>
                <a:gd name="connsiteY18" fmla="*/ 27284 h 330387"/>
                <a:gd name="connsiteX19" fmla="*/ 311537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1537" y="133445"/>
                  </a:moveTo>
                  <a:lnTo>
                    <a:pt x="16866" y="133445"/>
                  </a:lnTo>
                  <a:lnTo>
                    <a:pt x="16866" y="27284"/>
                  </a:lnTo>
                  <a:lnTo>
                    <a:pt x="311537" y="27284"/>
                  </a:lnTo>
                  <a:lnTo>
                    <a:pt x="311537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C6A8815D-3DE7-EA9A-85DD-EA68B7D6A300}"/>
                </a:ext>
              </a:extLst>
            </p:cNvPr>
            <p:cNvSpPr/>
            <p:nvPr/>
          </p:nvSpPr>
          <p:spPr>
            <a:xfrm>
              <a:off x="5543540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7 w 330884"/>
                <a:gd name="connsiteY4" fmla="*/ 330388 h 330387"/>
                <a:gd name="connsiteX5" fmla="*/ 16867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2033 w 330884"/>
                <a:gd name="connsiteY15" fmla="*/ 133445 h 330387"/>
                <a:gd name="connsiteX16" fmla="*/ 17363 w 330884"/>
                <a:gd name="connsiteY16" fmla="*/ 133445 h 330387"/>
                <a:gd name="connsiteX17" fmla="*/ 17363 w 330884"/>
                <a:gd name="connsiteY17" fmla="*/ 27284 h 330387"/>
                <a:gd name="connsiteX18" fmla="*/ 312033 w 330884"/>
                <a:gd name="connsiteY18" fmla="*/ 27284 h 330387"/>
                <a:gd name="connsiteX19" fmla="*/ 312033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23A7B63D-23AB-479F-E94D-CF7651132874}"/>
                </a:ext>
              </a:extLst>
            </p:cNvPr>
            <p:cNvSpPr/>
            <p:nvPr/>
          </p:nvSpPr>
          <p:spPr>
            <a:xfrm>
              <a:off x="5020674" y="2464515"/>
              <a:ext cx="330883" cy="325427"/>
            </a:xfrm>
            <a:custGeom>
              <a:avLst/>
              <a:gdLst>
                <a:gd name="connsiteX0" fmla="*/ 496 w 330883"/>
                <a:gd name="connsiteY0" fmla="*/ 0 h 325427"/>
                <a:gd name="connsiteX1" fmla="*/ 496 w 330883"/>
                <a:gd name="connsiteY1" fmla="*/ 16867 h 325427"/>
                <a:gd name="connsiteX2" fmla="*/ 0 w 330883"/>
                <a:gd name="connsiteY2" fmla="*/ 16867 h 325427"/>
                <a:gd name="connsiteX3" fmla="*/ 0 w 330883"/>
                <a:gd name="connsiteY3" fmla="*/ 324931 h 325427"/>
                <a:gd name="connsiteX4" fmla="*/ 16866 w 330883"/>
                <a:gd name="connsiteY4" fmla="*/ 324931 h 325427"/>
                <a:gd name="connsiteX5" fmla="*/ 16866 w 330883"/>
                <a:gd name="connsiteY5" fmla="*/ 169659 h 325427"/>
                <a:gd name="connsiteX6" fmla="*/ 142870 w 330883"/>
                <a:gd name="connsiteY6" fmla="*/ 169659 h 325427"/>
                <a:gd name="connsiteX7" fmla="*/ 142870 w 330883"/>
                <a:gd name="connsiteY7" fmla="*/ 325427 h 325427"/>
                <a:gd name="connsiteX8" fmla="*/ 188013 w 330883"/>
                <a:gd name="connsiteY8" fmla="*/ 325427 h 325427"/>
                <a:gd name="connsiteX9" fmla="*/ 188013 w 330883"/>
                <a:gd name="connsiteY9" fmla="*/ 169659 h 325427"/>
                <a:gd name="connsiteX10" fmla="*/ 311537 w 330883"/>
                <a:gd name="connsiteY10" fmla="*/ 169659 h 325427"/>
                <a:gd name="connsiteX11" fmla="*/ 311537 w 330883"/>
                <a:gd name="connsiteY11" fmla="*/ 325427 h 325427"/>
                <a:gd name="connsiteX12" fmla="*/ 330884 w 330883"/>
                <a:gd name="connsiteY12" fmla="*/ 325427 h 325427"/>
                <a:gd name="connsiteX13" fmla="*/ 330884 w 330883"/>
                <a:gd name="connsiteY13" fmla="*/ 169659 h 325427"/>
                <a:gd name="connsiteX14" fmla="*/ 330884 w 330883"/>
                <a:gd name="connsiteY14" fmla="*/ 133941 h 325427"/>
                <a:gd name="connsiteX15" fmla="*/ 330884 w 330883"/>
                <a:gd name="connsiteY15" fmla="*/ 27780 h 325427"/>
                <a:gd name="connsiteX16" fmla="*/ 330884 w 330883"/>
                <a:gd name="connsiteY16" fmla="*/ 17363 h 325427"/>
                <a:gd name="connsiteX17" fmla="*/ 330884 w 330883"/>
                <a:gd name="connsiteY17" fmla="*/ 496 h 325427"/>
                <a:gd name="connsiteX18" fmla="*/ 496 w 330883"/>
                <a:gd name="connsiteY18" fmla="*/ 496 h 325427"/>
                <a:gd name="connsiteX19" fmla="*/ 17363 w 330883"/>
                <a:gd name="connsiteY19" fmla="*/ 133941 h 325427"/>
                <a:gd name="connsiteX20" fmla="*/ 17363 w 330883"/>
                <a:gd name="connsiteY20" fmla="*/ 27780 h 325427"/>
                <a:gd name="connsiteX21" fmla="*/ 143366 w 330883"/>
                <a:gd name="connsiteY21" fmla="*/ 27780 h 325427"/>
                <a:gd name="connsiteX22" fmla="*/ 143366 w 330883"/>
                <a:gd name="connsiteY22" fmla="*/ 133941 h 325427"/>
                <a:gd name="connsiteX23" fmla="*/ 17363 w 330883"/>
                <a:gd name="connsiteY23" fmla="*/ 133941 h 325427"/>
                <a:gd name="connsiteX24" fmla="*/ 312033 w 330883"/>
                <a:gd name="connsiteY24" fmla="*/ 133941 h 325427"/>
                <a:gd name="connsiteX25" fmla="*/ 188510 w 330883"/>
                <a:gd name="connsiteY25" fmla="*/ 133941 h 325427"/>
                <a:gd name="connsiteX26" fmla="*/ 188510 w 330883"/>
                <a:gd name="connsiteY26" fmla="*/ 27780 h 325427"/>
                <a:gd name="connsiteX27" fmla="*/ 312033 w 330883"/>
                <a:gd name="connsiteY27" fmla="*/ 27780 h 325427"/>
                <a:gd name="connsiteX28" fmla="*/ 312033 w 330883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0883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4931"/>
                  </a:lnTo>
                  <a:lnTo>
                    <a:pt x="16866" y="324931"/>
                  </a:lnTo>
                  <a:lnTo>
                    <a:pt x="16866" y="169659"/>
                  </a:lnTo>
                  <a:lnTo>
                    <a:pt x="142870" y="169659"/>
                  </a:lnTo>
                  <a:lnTo>
                    <a:pt x="142870" y="325427"/>
                  </a:lnTo>
                  <a:lnTo>
                    <a:pt x="188013" y="325427"/>
                  </a:lnTo>
                  <a:lnTo>
                    <a:pt x="188013" y="169659"/>
                  </a:lnTo>
                  <a:lnTo>
                    <a:pt x="311537" y="169659"/>
                  </a:lnTo>
                  <a:lnTo>
                    <a:pt x="311537" y="325427"/>
                  </a:lnTo>
                  <a:lnTo>
                    <a:pt x="330884" y="325427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17363" y="133941"/>
                  </a:moveTo>
                  <a:lnTo>
                    <a:pt x="17363" y="27780"/>
                  </a:lnTo>
                  <a:lnTo>
                    <a:pt x="143366" y="27780"/>
                  </a:lnTo>
                  <a:lnTo>
                    <a:pt x="143366" y="133941"/>
                  </a:lnTo>
                  <a:lnTo>
                    <a:pt x="17363" y="133941"/>
                  </a:lnTo>
                  <a:close/>
                  <a:moveTo>
                    <a:pt x="312033" y="133941"/>
                  </a:moveTo>
                  <a:lnTo>
                    <a:pt x="188510" y="133941"/>
                  </a:lnTo>
                  <a:lnTo>
                    <a:pt x="188510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EF3438B7-4A22-DC01-E7FE-170BBB9673AE}"/>
                </a:ext>
              </a:extLst>
            </p:cNvPr>
            <p:cNvSpPr/>
            <p:nvPr/>
          </p:nvSpPr>
          <p:spPr>
            <a:xfrm>
              <a:off x="6066406" y="2467491"/>
              <a:ext cx="331380" cy="322450"/>
            </a:xfrm>
            <a:custGeom>
              <a:avLst/>
              <a:gdLst>
                <a:gd name="connsiteX0" fmla="*/ 497 w 331380"/>
                <a:gd name="connsiteY0" fmla="*/ 0 h 322450"/>
                <a:gd name="connsiteX1" fmla="*/ 497 w 331380"/>
                <a:gd name="connsiteY1" fmla="*/ 16867 h 322450"/>
                <a:gd name="connsiteX2" fmla="*/ 0 w 331380"/>
                <a:gd name="connsiteY2" fmla="*/ 16867 h 322450"/>
                <a:gd name="connsiteX3" fmla="*/ 0 w 331380"/>
                <a:gd name="connsiteY3" fmla="*/ 322451 h 322450"/>
                <a:gd name="connsiteX4" fmla="*/ 16867 w 331380"/>
                <a:gd name="connsiteY4" fmla="*/ 322451 h 322450"/>
                <a:gd name="connsiteX5" fmla="*/ 16867 w 331380"/>
                <a:gd name="connsiteY5" fmla="*/ 169163 h 322450"/>
                <a:gd name="connsiteX6" fmla="*/ 144359 w 331380"/>
                <a:gd name="connsiteY6" fmla="*/ 169163 h 322450"/>
                <a:gd name="connsiteX7" fmla="*/ 144359 w 331380"/>
                <a:gd name="connsiteY7" fmla="*/ 322451 h 322450"/>
                <a:gd name="connsiteX8" fmla="*/ 190494 w 331380"/>
                <a:gd name="connsiteY8" fmla="*/ 322451 h 322450"/>
                <a:gd name="connsiteX9" fmla="*/ 190494 w 331380"/>
                <a:gd name="connsiteY9" fmla="*/ 169163 h 322450"/>
                <a:gd name="connsiteX10" fmla="*/ 312033 w 331380"/>
                <a:gd name="connsiteY10" fmla="*/ 169163 h 322450"/>
                <a:gd name="connsiteX11" fmla="*/ 312033 w 331380"/>
                <a:gd name="connsiteY11" fmla="*/ 320962 h 322450"/>
                <a:gd name="connsiteX12" fmla="*/ 331380 w 331380"/>
                <a:gd name="connsiteY12" fmla="*/ 320962 h 322450"/>
                <a:gd name="connsiteX13" fmla="*/ 331380 w 331380"/>
                <a:gd name="connsiteY13" fmla="*/ 169163 h 322450"/>
                <a:gd name="connsiteX14" fmla="*/ 331380 w 331380"/>
                <a:gd name="connsiteY14" fmla="*/ 133445 h 322450"/>
                <a:gd name="connsiteX15" fmla="*/ 331380 w 331380"/>
                <a:gd name="connsiteY15" fmla="*/ 27284 h 322450"/>
                <a:gd name="connsiteX16" fmla="*/ 331380 w 331380"/>
                <a:gd name="connsiteY16" fmla="*/ 16867 h 322450"/>
                <a:gd name="connsiteX17" fmla="*/ 331380 w 331380"/>
                <a:gd name="connsiteY17" fmla="*/ 0 h 322450"/>
                <a:gd name="connsiteX18" fmla="*/ 497 w 331380"/>
                <a:gd name="connsiteY18" fmla="*/ 0 h 322450"/>
                <a:gd name="connsiteX19" fmla="*/ 16867 w 331380"/>
                <a:gd name="connsiteY19" fmla="*/ 133941 h 322450"/>
                <a:gd name="connsiteX20" fmla="*/ 16867 w 331380"/>
                <a:gd name="connsiteY20" fmla="*/ 27780 h 322450"/>
                <a:gd name="connsiteX21" fmla="*/ 144359 w 331380"/>
                <a:gd name="connsiteY21" fmla="*/ 27780 h 322450"/>
                <a:gd name="connsiteX22" fmla="*/ 144359 w 331380"/>
                <a:gd name="connsiteY22" fmla="*/ 133941 h 322450"/>
                <a:gd name="connsiteX23" fmla="*/ 16867 w 331380"/>
                <a:gd name="connsiteY23" fmla="*/ 133941 h 322450"/>
                <a:gd name="connsiteX24" fmla="*/ 312033 w 331380"/>
                <a:gd name="connsiteY24" fmla="*/ 133941 h 322450"/>
                <a:gd name="connsiteX25" fmla="*/ 190494 w 331380"/>
                <a:gd name="connsiteY25" fmla="*/ 133941 h 322450"/>
                <a:gd name="connsiteX26" fmla="*/ 190494 w 331380"/>
                <a:gd name="connsiteY26" fmla="*/ 27780 h 322450"/>
                <a:gd name="connsiteX27" fmla="*/ 312033 w 331380"/>
                <a:gd name="connsiteY27" fmla="*/ 27780 h 322450"/>
                <a:gd name="connsiteX28" fmla="*/ 312033 w 331380"/>
                <a:gd name="connsiteY28" fmla="*/ 133941 h 32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322450">
                  <a:moveTo>
                    <a:pt x="497" y="0"/>
                  </a:moveTo>
                  <a:lnTo>
                    <a:pt x="497" y="16867"/>
                  </a:lnTo>
                  <a:lnTo>
                    <a:pt x="0" y="16867"/>
                  </a:lnTo>
                  <a:lnTo>
                    <a:pt x="0" y="322451"/>
                  </a:lnTo>
                  <a:lnTo>
                    <a:pt x="16867" y="322451"/>
                  </a:lnTo>
                  <a:lnTo>
                    <a:pt x="16867" y="169163"/>
                  </a:lnTo>
                  <a:lnTo>
                    <a:pt x="144359" y="169163"/>
                  </a:lnTo>
                  <a:lnTo>
                    <a:pt x="144359" y="322451"/>
                  </a:lnTo>
                  <a:lnTo>
                    <a:pt x="190494" y="322451"/>
                  </a:lnTo>
                  <a:lnTo>
                    <a:pt x="190494" y="169163"/>
                  </a:lnTo>
                  <a:lnTo>
                    <a:pt x="312033" y="169163"/>
                  </a:lnTo>
                  <a:lnTo>
                    <a:pt x="312033" y="320962"/>
                  </a:lnTo>
                  <a:lnTo>
                    <a:pt x="331380" y="32096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7" y="0"/>
                  </a:lnTo>
                  <a:close/>
                  <a:moveTo>
                    <a:pt x="16867" y="133941"/>
                  </a:moveTo>
                  <a:lnTo>
                    <a:pt x="16867" y="27780"/>
                  </a:lnTo>
                  <a:lnTo>
                    <a:pt x="144359" y="27780"/>
                  </a:lnTo>
                  <a:lnTo>
                    <a:pt x="144359" y="133941"/>
                  </a:lnTo>
                  <a:lnTo>
                    <a:pt x="16867" y="133941"/>
                  </a:lnTo>
                  <a:close/>
                  <a:moveTo>
                    <a:pt x="312033" y="133941"/>
                  </a:moveTo>
                  <a:lnTo>
                    <a:pt x="190494" y="133941"/>
                  </a:lnTo>
                  <a:lnTo>
                    <a:pt x="190494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6AA37BD8-2095-0E29-83BC-CAC5EE36E7DF}"/>
                </a:ext>
              </a:extLst>
            </p:cNvPr>
            <p:cNvSpPr/>
            <p:nvPr/>
          </p:nvSpPr>
          <p:spPr>
            <a:xfrm>
              <a:off x="5009264" y="3796484"/>
              <a:ext cx="331380" cy="674170"/>
            </a:xfrm>
            <a:custGeom>
              <a:avLst/>
              <a:gdLst>
                <a:gd name="connsiteX0" fmla="*/ 496 w 331380"/>
                <a:gd name="connsiteY0" fmla="*/ 0 h 674170"/>
                <a:gd name="connsiteX1" fmla="*/ 496 w 331380"/>
                <a:gd name="connsiteY1" fmla="*/ 16867 h 674170"/>
                <a:gd name="connsiteX2" fmla="*/ 0 w 331380"/>
                <a:gd name="connsiteY2" fmla="*/ 16867 h 674170"/>
                <a:gd name="connsiteX3" fmla="*/ 0 w 331380"/>
                <a:gd name="connsiteY3" fmla="*/ 674170 h 674170"/>
                <a:gd name="connsiteX4" fmla="*/ 16867 w 331380"/>
                <a:gd name="connsiteY4" fmla="*/ 674170 h 674170"/>
                <a:gd name="connsiteX5" fmla="*/ 16867 w 331380"/>
                <a:gd name="connsiteY5" fmla="*/ 448951 h 674170"/>
                <a:gd name="connsiteX6" fmla="*/ 144359 w 331380"/>
                <a:gd name="connsiteY6" fmla="*/ 448951 h 674170"/>
                <a:gd name="connsiteX7" fmla="*/ 144359 w 331380"/>
                <a:gd name="connsiteY7" fmla="*/ 674170 h 674170"/>
                <a:gd name="connsiteX8" fmla="*/ 190494 w 331380"/>
                <a:gd name="connsiteY8" fmla="*/ 674170 h 674170"/>
                <a:gd name="connsiteX9" fmla="*/ 190494 w 331380"/>
                <a:gd name="connsiteY9" fmla="*/ 448951 h 674170"/>
                <a:gd name="connsiteX10" fmla="*/ 312033 w 331380"/>
                <a:gd name="connsiteY10" fmla="*/ 448951 h 674170"/>
                <a:gd name="connsiteX11" fmla="*/ 312033 w 331380"/>
                <a:gd name="connsiteY11" fmla="*/ 635972 h 674170"/>
                <a:gd name="connsiteX12" fmla="*/ 331380 w 331380"/>
                <a:gd name="connsiteY12" fmla="*/ 635972 h 674170"/>
                <a:gd name="connsiteX13" fmla="*/ 331380 w 331380"/>
                <a:gd name="connsiteY13" fmla="*/ 169163 h 674170"/>
                <a:gd name="connsiteX14" fmla="*/ 331380 w 331380"/>
                <a:gd name="connsiteY14" fmla="*/ 133445 h 674170"/>
                <a:gd name="connsiteX15" fmla="*/ 331380 w 331380"/>
                <a:gd name="connsiteY15" fmla="*/ 27284 h 674170"/>
                <a:gd name="connsiteX16" fmla="*/ 331380 w 331380"/>
                <a:gd name="connsiteY16" fmla="*/ 16867 h 674170"/>
                <a:gd name="connsiteX17" fmla="*/ 331380 w 331380"/>
                <a:gd name="connsiteY17" fmla="*/ 0 h 674170"/>
                <a:gd name="connsiteX18" fmla="*/ 496 w 331380"/>
                <a:gd name="connsiteY18" fmla="*/ 0 h 674170"/>
                <a:gd name="connsiteX19" fmla="*/ 16867 w 331380"/>
                <a:gd name="connsiteY19" fmla="*/ 398847 h 674170"/>
                <a:gd name="connsiteX20" fmla="*/ 16867 w 331380"/>
                <a:gd name="connsiteY20" fmla="*/ 27284 h 674170"/>
                <a:gd name="connsiteX21" fmla="*/ 144359 w 331380"/>
                <a:gd name="connsiteY21" fmla="*/ 27284 h 674170"/>
                <a:gd name="connsiteX22" fmla="*/ 144359 w 331380"/>
                <a:gd name="connsiteY22" fmla="*/ 398847 h 674170"/>
                <a:gd name="connsiteX23" fmla="*/ 16867 w 331380"/>
                <a:gd name="connsiteY23" fmla="*/ 398847 h 674170"/>
                <a:gd name="connsiteX24" fmla="*/ 311537 w 331380"/>
                <a:gd name="connsiteY24" fmla="*/ 398847 h 674170"/>
                <a:gd name="connsiteX25" fmla="*/ 189998 w 331380"/>
                <a:gd name="connsiteY25" fmla="*/ 398847 h 674170"/>
                <a:gd name="connsiteX26" fmla="*/ 189998 w 331380"/>
                <a:gd name="connsiteY26" fmla="*/ 27284 h 674170"/>
                <a:gd name="connsiteX27" fmla="*/ 311537 w 331380"/>
                <a:gd name="connsiteY27" fmla="*/ 27284 h 674170"/>
                <a:gd name="connsiteX28" fmla="*/ 311537 w 331380"/>
                <a:gd name="connsiteY28" fmla="*/ 398847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674170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674170"/>
                  </a:lnTo>
                  <a:lnTo>
                    <a:pt x="16867" y="674170"/>
                  </a:lnTo>
                  <a:lnTo>
                    <a:pt x="16867" y="448951"/>
                  </a:lnTo>
                  <a:lnTo>
                    <a:pt x="144359" y="448951"/>
                  </a:lnTo>
                  <a:lnTo>
                    <a:pt x="144359" y="674170"/>
                  </a:lnTo>
                  <a:lnTo>
                    <a:pt x="190494" y="674170"/>
                  </a:lnTo>
                  <a:lnTo>
                    <a:pt x="190494" y="448951"/>
                  </a:lnTo>
                  <a:lnTo>
                    <a:pt x="312033" y="448951"/>
                  </a:lnTo>
                  <a:lnTo>
                    <a:pt x="312033" y="635972"/>
                  </a:lnTo>
                  <a:lnTo>
                    <a:pt x="331380" y="63597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7" y="398847"/>
                  </a:moveTo>
                  <a:lnTo>
                    <a:pt x="16867" y="27284"/>
                  </a:lnTo>
                  <a:lnTo>
                    <a:pt x="144359" y="27284"/>
                  </a:lnTo>
                  <a:lnTo>
                    <a:pt x="144359" y="398847"/>
                  </a:lnTo>
                  <a:lnTo>
                    <a:pt x="16867" y="398847"/>
                  </a:lnTo>
                  <a:close/>
                  <a:moveTo>
                    <a:pt x="311537" y="398847"/>
                  </a:moveTo>
                  <a:lnTo>
                    <a:pt x="189998" y="398847"/>
                  </a:lnTo>
                  <a:lnTo>
                    <a:pt x="189998" y="27284"/>
                  </a:lnTo>
                  <a:lnTo>
                    <a:pt x="311537" y="27284"/>
                  </a:lnTo>
                  <a:lnTo>
                    <a:pt x="311537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C2B53935-E4EE-DFEE-F0BE-8DE5680585B0}"/>
                </a:ext>
              </a:extLst>
            </p:cNvPr>
            <p:cNvSpPr/>
            <p:nvPr/>
          </p:nvSpPr>
          <p:spPr>
            <a:xfrm>
              <a:off x="4052330" y="3796484"/>
              <a:ext cx="331379" cy="675162"/>
            </a:xfrm>
            <a:custGeom>
              <a:avLst/>
              <a:gdLst>
                <a:gd name="connsiteX0" fmla="*/ 496 w 331379"/>
                <a:gd name="connsiteY0" fmla="*/ 0 h 675162"/>
                <a:gd name="connsiteX1" fmla="*/ 496 w 331379"/>
                <a:gd name="connsiteY1" fmla="*/ 16867 h 675162"/>
                <a:gd name="connsiteX2" fmla="*/ 0 w 331379"/>
                <a:gd name="connsiteY2" fmla="*/ 16867 h 675162"/>
                <a:gd name="connsiteX3" fmla="*/ 0 w 331379"/>
                <a:gd name="connsiteY3" fmla="*/ 299631 h 675162"/>
                <a:gd name="connsiteX4" fmla="*/ 16866 w 331379"/>
                <a:gd name="connsiteY4" fmla="*/ 300623 h 675162"/>
                <a:gd name="connsiteX5" fmla="*/ 16866 w 331379"/>
                <a:gd name="connsiteY5" fmla="*/ 27781 h 675162"/>
                <a:gd name="connsiteX6" fmla="*/ 144359 w 331379"/>
                <a:gd name="connsiteY6" fmla="*/ 27781 h 675162"/>
                <a:gd name="connsiteX7" fmla="*/ 144359 w 331379"/>
                <a:gd name="connsiteY7" fmla="*/ 399343 h 675162"/>
                <a:gd name="connsiteX8" fmla="*/ 127492 w 331379"/>
                <a:gd name="connsiteY8" fmla="*/ 399343 h 675162"/>
                <a:gd name="connsiteX9" fmla="*/ 127492 w 331379"/>
                <a:gd name="connsiteY9" fmla="*/ 399343 h 675162"/>
                <a:gd name="connsiteX10" fmla="*/ 154776 w 331379"/>
                <a:gd name="connsiteY10" fmla="*/ 421170 h 675162"/>
                <a:gd name="connsiteX11" fmla="*/ 165194 w 331379"/>
                <a:gd name="connsiteY11" fmla="*/ 452919 h 675162"/>
                <a:gd name="connsiteX12" fmla="*/ 164698 w 331379"/>
                <a:gd name="connsiteY12" fmla="*/ 483676 h 675162"/>
                <a:gd name="connsiteX13" fmla="*/ 144359 w 331379"/>
                <a:gd name="connsiteY13" fmla="*/ 516417 h 675162"/>
                <a:gd name="connsiteX14" fmla="*/ 144359 w 331379"/>
                <a:gd name="connsiteY14" fmla="*/ 675162 h 675162"/>
                <a:gd name="connsiteX15" fmla="*/ 190494 w 331379"/>
                <a:gd name="connsiteY15" fmla="*/ 675162 h 675162"/>
                <a:gd name="connsiteX16" fmla="*/ 190494 w 331379"/>
                <a:gd name="connsiteY16" fmla="*/ 449943 h 675162"/>
                <a:gd name="connsiteX17" fmla="*/ 312033 w 331379"/>
                <a:gd name="connsiteY17" fmla="*/ 449943 h 675162"/>
                <a:gd name="connsiteX18" fmla="*/ 312033 w 331379"/>
                <a:gd name="connsiteY18" fmla="*/ 636964 h 675162"/>
                <a:gd name="connsiteX19" fmla="*/ 331380 w 331379"/>
                <a:gd name="connsiteY19" fmla="*/ 636964 h 675162"/>
                <a:gd name="connsiteX20" fmla="*/ 331380 w 331379"/>
                <a:gd name="connsiteY20" fmla="*/ 170155 h 675162"/>
                <a:gd name="connsiteX21" fmla="*/ 331380 w 331379"/>
                <a:gd name="connsiteY21" fmla="*/ 134437 h 675162"/>
                <a:gd name="connsiteX22" fmla="*/ 331380 w 331379"/>
                <a:gd name="connsiteY22" fmla="*/ 28277 h 675162"/>
                <a:gd name="connsiteX23" fmla="*/ 331380 w 331379"/>
                <a:gd name="connsiteY23" fmla="*/ 17859 h 675162"/>
                <a:gd name="connsiteX24" fmla="*/ 331380 w 331379"/>
                <a:gd name="connsiteY24" fmla="*/ 992 h 675162"/>
                <a:gd name="connsiteX25" fmla="*/ 496 w 331379"/>
                <a:gd name="connsiteY25" fmla="*/ 992 h 675162"/>
                <a:gd name="connsiteX26" fmla="*/ 312033 w 331379"/>
                <a:gd name="connsiteY26" fmla="*/ 398847 h 675162"/>
                <a:gd name="connsiteX27" fmla="*/ 190494 w 331379"/>
                <a:gd name="connsiteY27" fmla="*/ 398847 h 675162"/>
                <a:gd name="connsiteX28" fmla="*/ 190494 w 331379"/>
                <a:gd name="connsiteY28" fmla="*/ 27284 h 675162"/>
                <a:gd name="connsiteX29" fmla="*/ 312033 w 331379"/>
                <a:gd name="connsiteY29" fmla="*/ 27284 h 675162"/>
                <a:gd name="connsiteX30" fmla="*/ 312033 w 331379"/>
                <a:gd name="connsiteY30" fmla="*/ 398847 h 6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31379" h="675162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299631"/>
                  </a:lnTo>
                  <a:lnTo>
                    <a:pt x="16866" y="300623"/>
                  </a:lnTo>
                  <a:lnTo>
                    <a:pt x="16866" y="27781"/>
                  </a:lnTo>
                  <a:lnTo>
                    <a:pt x="144359" y="27781"/>
                  </a:lnTo>
                  <a:lnTo>
                    <a:pt x="144359" y="399343"/>
                  </a:lnTo>
                  <a:lnTo>
                    <a:pt x="127492" y="399343"/>
                  </a:lnTo>
                  <a:lnTo>
                    <a:pt x="127492" y="399343"/>
                  </a:lnTo>
                  <a:lnTo>
                    <a:pt x="154776" y="421170"/>
                  </a:lnTo>
                  <a:lnTo>
                    <a:pt x="165194" y="452919"/>
                  </a:lnTo>
                  <a:lnTo>
                    <a:pt x="164698" y="483676"/>
                  </a:lnTo>
                  <a:lnTo>
                    <a:pt x="144359" y="516417"/>
                  </a:lnTo>
                  <a:lnTo>
                    <a:pt x="144359" y="675162"/>
                  </a:lnTo>
                  <a:lnTo>
                    <a:pt x="190494" y="675162"/>
                  </a:lnTo>
                  <a:lnTo>
                    <a:pt x="190494" y="449943"/>
                  </a:lnTo>
                  <a:lnTo>
                    <a:pt x="312033" y="449943"/>
                  </a:lnTo>
                  <a:lnTo>
                    <a:pt x="312033" y="636964"/>
                  </a:lnTo>
                  <a:lnTo>
                    <a:pt x="331380" y="636964"/>
                  </a:lnTo>
                  <a:lnTo>
                    <a:pt x="331380" y="170155"/>
                  </a:lnTo>
                  <a:lnTo>
                    <a:pt x="331380" y="134437"/>
                  </a:lnTo>
                  <a:lnTo>
                    <a:pt x="331380" y="28277"/>
                  </a:lnTo>
                  <a:lnTo>
                    <a:pt x="331380" y="17859"/>
                  </a:lnTo>
                  <a:lnTo>
                    <a:pt x="331380" y="992"/>
                  </a:lnTo>
                  <a:lnTo>
                    <a:pt x="496" y="992"/>
                  </a:lnTo>
                  <a:close/>
                  <a:moveTo>
                    <a:pt x="312033" y="398847"/>
                  </a:moveTo>
                  <a:lnTo>
                    <a:pt x="190494" y="398847"/>
                  </a:lnTo>
                  <a:lnTo>
                    <a:pt x="190494" y="27284"/>
                  </a:lnTo>
                  <a:lnTo>
                    <a:pt x="312033" y="27284"/>
                  </a:lnTo>
                  <a:lnTo>
                    <a:pt x="312033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7F48DAC4-59BB-CD75-B92B-7897A32CBC0C}"/>
                </a:ext>
              </a:extLst>
            </p:cNvPr>
            <p:cNvSpPr/>
            <p:nvPr/>
          </p:nvSpPr>
          <p:spPr>
            <a:xfrm>
              <a:off x="4053323" y="3093541"/>
              <a:ext cx="331379" cy="325427"/>
            </a:xfrm>
            <a:custGeom>
              <a:avLst/>
              <a:gdLst>
                <a:gd name="connsiteX0" fmla="*/ 496 w 331379"/>
                <a:gd name="connsiteY0" fmla="*/ 0 h 325427"/>
                <a:gd name="connsiteX1" fmla="*/ 496 w 331379"/>
                <a:gd name="connsiteY1" fmla="*/ 16867 h 325427"/>
                <a:gd name="connsiteX2" fmla="*/ 0 w 331379"/>
                <a:gd name="connsiteY2" fmla="*/ 16867 h 325427"/>
                <a:gd name="connsiteX3" fmla="*/ 0 w 331379"/>
                <a:gd name="connsiteY3" fmla="*/ 325427 h 325427"/>
                <a:gd name="connsiteX4" fmla="*/ 16866 w 331379"/>
                <a:gd name="connsiteY4" fmla="*/ 325427 h 325427"/>
                <a:gd name="connsiteX5" fmla="*/ 16866 w 331379"/>
                <a:gd name="connsiteY5" fmla="*/ 169163 h 325427"/>
                <a:gd name="connsiteX6" fmla="*/ 144359 w 331379"/>
                <a:gd name="connsiteY6" fmla="*/ 169163 h 325427"/>
                <a:gd name="connsiteX7" fmla="*/ 144359 w 331379"/>
                <a:gd name="connsiteY7" fmla="*/ 324435 h 325427"/>
                <a:gd name="connsiteX8" fmla="*/ 188510 w 331379"/>
                <a:gd name="connsiteY8" fmla="*/ 324435 h 325427"/>
                <a:gd name="connsiteX9" fmla="*/ 188510 w 331379"/>
                <a:gd name="connsiteY9" fmla="*/ 169163 h 325427"/>
                <a:gd name="connsiteX10" fmla="*/ 312033 w 331379"/>
                <a:gd name="connsiteY10" fmla="*/ 169163 h 325427"/>
                <a:gd name="connsiteX11" fmla="*/ 312033 w 331379"/>
                <a:gd name="connsiteY11" fmla="*/ 323443 h 325427"/>
                <a:gd name="connsiteX12" fmla="*/ 331380 w 331379"/>
                <a:gd name="connsiteY12" fmla="*/ 323443 h 325427"/>
                <a:gd name="connsiteX13" fmla="*/ 331380 w 331379"/>
                <a:gd name="connsiteY13" fmla="*/ 169163 h 325427"/>
                <a:gd name="connsiteX14" fmla="*/ 331380 w 331379"/>
                <a:gd name="connsiteY14" fmla="*/ 133445 h 325427"/>
                <a:gd name="connsiteX15" fmla="*/ 331380 w 331379"/>
                <a:gd name="connsiteY15" fmla="*/ 27284 h 325427"/>
                <a:gd name="connsiteX16" fmla="*/ 331380 w 331379"/>
                <a:gd name="connsiteY16" fmla="*/ 16867 h 325427"/>
                <a:gd name="connsiteX17" fmla="*/ 331380 w 331379"/>
                <a:gd name="connsiteY17" fmla="*/ 0 h 325427"/>
                <a:gd name="connsiteX18" fmla="*/ 496 w 331379"/>
                <a:gd name="connsiteY18" fmla="*/ 0 h 325427"/>
                <a:gd name="connsiteX19" fmla="*/ 16866 w 331379"/>
                <a:gd name="connsiteY19" fmla="*/ 133941 h 325427"/>
                <a:gd name="connsiteX20" fmla="*/ 16866 w 331379"/>
                <a:gd name="connsiteY20" fmla="*/ 27781 h 325427"/>
                <a:gd name="connsiteX21" fmla="*/ 144359 w 331379"/>
                <a:gd name="connsiteY21" fmla="*/ 27781 h 325427"/>
                <a:gd name="connsiteX22" fmla="*/ 144359 w 331379"/>
                <a:gd name="connsiteY22" fmla="*/ 133941 h 325427"/>
                <a:gd name="connsiteX23" fmla="*/ 16866 w 331379"/>
                <a:gd name="connsiteY23" fmla="*/ 133941 h 325427"/>
                <a:gd name="connsiteX24" fmla="*/ 311537 w 331379"/>
                <a:gd name="connsiteY24" fmla="*/ 133941 h 325427"/>
                <a:gd name="connsiteX25" fmla="*/ 188013 w 331379"/>
                <a:gd name="connsiteY25" fmla="*/ 133941 h 325427"/>
                <a:gd name="connsiteX26" fmla="*/ 188013 w 331379"/>
                <a:gd name="connsiteY26" fmla="*/ 27781 h 325427"/>
                <a:gd name="connsiteX27" fmla="*/ 311537 w 331379"/>
                <a:gd name="connsiteY27" fmla="*/ 27781 h 325427"/>
                <a:gd name="connsiteX28" fmla="*/ 311537 w 331379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79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5427"/>
                  </a:lnTo>
                  <a:lnTo>
                    <a:pt x="16866" y="325427"/>
                  </a:lnTo>
                  <a:lnTo>
                    <a:pt x="16866" y="169163"/>
                  </a:lnTo>
                  <a:lnTo>
                    <a:pt x="144359" y="169163"/>
                  </a:lnTo>
                  <a:lnTo>
                    <a:pt x="144359" y="324435"/>
                  </a:lnTo>
                  <a:lnTo>
                    <a:pt x="188510" y="324435"/>
                  </a:lnTo>
                  <a:lnTo>
                    <a:pt x="188510" y="169163"/>
                  </a:lnTo>
                  <a:lnTo>
                    <a:pt x="312033" y="169163"/>
                  </a:lnTo>
                  <a:lnTo>
                    <a:pt x="312033" y="323443"/>
                  </a:lnTo>
                  <a:lnTo>
                    <a:pt x="331380" y="323443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6" y="133941"/>
                  </a:moveTo>
                  <a:lnTo>
                    <a:pt x="16866" y="27781"/>
                  </a:lnTo>
                  <a:lnTo>
                    <a:pt x="144359" y="27781"/>
                  </a:lnTo>
                  <a:lnTo>
                    <a:pt x="144359" y="133941"/>
                  </a:lnTo>
                  <a:lnTo>
                    <a:pt x="16866" y="133941"/>
                  </a:lnTo>
                  <a:close/>
                  <a:moveTo>
                    <a:pt x="311537" y="133941"/>
                  </a:moveTo>
                  <a:lnTo>
                    <a:pt x="188013" y="133941"/>
                  </a:lnTo>
                  <a:lnTo>
                    <a:pt x="188013" y="27781"/>
                  </a:lnTo>
                  <a:lnTo>
                    <a:pt x="311537" y="27781"/>
                  </a:lnTo>
                  <a:lnTo>
                    <a:pt x="311537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2D024269-4BB4-81C4-7B2D-C55533C7AE04}"/>
                </a:ext>
              </a:extLst>
            </p:cNvPr>
            <p:cNvSpPr/>
            <p:nvPr/>
          </p:nvSpPr>
          <p:spPr>
            <a:xfrm>
              <a:off x="4613891" y="2596471"/>
              <a:ext cx="200415" cy="199919"/>
            </a:xfrm>
            <a:custGeom>
              <a:avLst/>
              <a:gdLst>
                <a:gd name="connsiteX0" fmla="*/ 0 w 200415"/>
                <a:gd name="connsiteY0" fmla="*/ 7937 h 199919"/>
                <a:gd name="connsiteX1" fmla="*/ 11906 w 200415"/>
                <a:gd name="connsiteY1" fmla="*/ 31253 h 199919"/>
                <a:gd name="connsiteX2" fmla="*/ 6449 w 200415"/>
                <a:gd name="connsiteY2" fmla="*/ 50600 h 199919"/>
                <a:gd name="connsiteX3" fmla="*/ 3969 w 200415"/>
                <a:gd name="connsiteY3" fmla="*/ 68955 h 199919"/>
                <a:gd name="connsiteX4" fmla="*/ 496 w 200415"/>
                <a:gd name="connsiteY4" fmla="*/ 76396 h 199919"/>
                <a:gd name="connsiteX5" fmla="*/ 6449 w 200415"/>
                <a:gd name="connsiteY5" fmla="*/ 86814 h 199919"/>
                <a:gd name="connsiteX6" fmla="*/ 23812 w 200415"/>
                <a:gd name="connsiteY6" fmla="*/ 90782 h 199919"/>
                <a:gd name="connsiteX7" fmla="*/ 26292 w 200415"/>
                <a:gd name="connsiteY7" fmla="*/ 114098 h 199919"/>
                <a:gd name="connsiteX8" fmla="*/ 38198 w 200415"/>
                <a:gd name="connsiteY8" fmla="*/ 137910 h 199919"/>
                <a:gd name="connsiteX9" fmla="*/ 44647 w 200415"/>
                <a:gd name="connsiteY9" fmla="*/ 142870 h 199919"/>
                <a:gd name="connsiteX10" fmla="*/ 44151 w 200415"/>
                <a:gd name="connsiteY10" fmla="*/ 155768 h 199919"/>
                <a:gd name="connsiteX11" fmla="*/ 46135 w 200415"/>
                <a:gd name="connsiteY11" fmla="*/ 169162 h 199919"/>
                <a:gd name="connsiteX12" fmla="*/ 30757 w 200415"/>
                <a:gd name="connsiteY12" fmla="*/ 169162 h 199919"/>
                <a:gd name="connsiteX13" fmla="*/ 26788 w 200415"/>
                <a:gd name="connsiteY13" fmla="*/ 185533 h 199919"/>
                <a:gd name="connsiteX14" fmla="*/ 29765 w 200415"/>
                <a:gd name="connsiteY14" fmla="*/ 189998 h 199919"/>
                <a:gd name="connsiteX15" fmla="*/ 46631 w 200415"/>
                <a:gd name="connsiteY15" fmla="*/ 189502 h 199919"/>
                <a:gd name="connsiteX16" fmla="*/ 51096 w 200415"/>
                <a:gd name="connsiteY16" fmla="*/ 188510 h 199919"/>
                <a:gd name="connsiteX17" fmla="*/ 62506 w 200415"/>
                <a:gd name="connsiteY17" fmla="*/ 199919 h 199919"/>
                <a:gd name="connsiteX18" fmla="*/ 146839 w 200415"/>
                <a:gd name="connsiteY18" fmla="*/ 199919 h 199919"/>
                <a:gd name="connsiteX19" fmla="*/ 158745 w 200415"/>
                <a:gd name="connsiteY19" fmla="*/ 187517 h 199919"/>
                <a:gd name="connsiteX20" fmla="*/ 182060 w 200415"/>
                <a:gd name="connsiteY20" fmla="*/ 166186 h 199919"/>
                <a:gd name="connsiteX21" fmla="*/ 196943 w 200415"/>
                <a:gd name="connsiteY21" fmla="*/ 143366 h 199919"/>
                <a:gd name="connsiteX22" fmla="*/ 200415 w 200415"/>
                <a:gd name="connsiteY22" fmla="*/ 121539 h 199919"/>
                <a:gd name="connsiteX23" fmla="*/ 194959 w 200415"/>
                <a:gd name="connsiteY23" fmla="*/ 91278 h 199919"/>
                <a:gd name="connsiteX24" fmla="*/ 184541 w 200415"/>
                <a:gd name="connsiteY24" fmla="*/ 73419 h 199919"/>
                <a:gd name="connsiteX25" fmla="*/ 166682 w 200415"/>
                <a:gd name="connsiteY25" fmla="*/ 66971 h 199919"/>
                <a:gd name="connsiteX26" fmla="*/ 162217 w 200415"/>
                <a:gd name="connsiteY26" fmla="*/ 52584 h 199919"/>
                <a:gd name="connsiteX27" fmla="*/ 170651 w 200415"/>
                <a:gd name="connsiteY27" fmla="*/ 39190 h 199919"/>
                <a:gd name="connsiteX28" fmla="*/ 187021 w 200415"/>
                <a:gd name="connsiteY28" fmla="*/ 31253 h 199919"/>
                <a:gd name="connsiteX29" fmla="*/ 180076 w 200415"/>
                <a:gd name="connsiteY29" fmla="*/ 23812 h 199919"/>
                <a:gd name="connsiteX30" fmla="*/ 159737 w 200415"/>
                <a:gd name="connsiteY30" fmla="*/ 24804 h 199919"/>
                <a:gd name="connsiteX31" fmla="*/ 142374 w 200415"/>
                <a:gd name="connsiteY31" fmla="*/ 38198 h 199919"/>
                <a:gd name="connsiteX32" fmla="*/ 140390 w 200415"/>
                <a:gd name="connsiteY32" fmla="*/ 54569 h 199919"/>
                <a:gd name="connsiteX33" fmla="*/ 145847 w 200415"/>
                <a:gd name="connsiteY33" fmla="*/ 66474 h 199919"/>
                <a:gd name="connsiteX34" fmla="*/ 171643 w 200415"/>
                <a:gd name="connsiteY34" fmla="*/ 88798 h 199919"/>
                <a:gd name="connsiteX35" fmla="*/ 180076 w 200415"/>
                <a:gd name="connsiteY35" fmla="*/ 104176 h 199919"/>
                <a:gd name="connsiteX36" fmla="*/ 178092 w 200415"/>
                <a:gd name="connsiteY36" fmla="*/ 125011 h 199919"/>
                <a:gd name="connsiteX37" fmla="*/ 170155 w 200415"/>
                <a:gd name="connsiteY37" fmla="*/ 132949 h 199919"/>
                <a:gd name="connsiteX38" fmla="*/ 157753 w 200415"/>
                <a:gd name="connsiteY38" fmla="*/ 113602 h 199919"/>
                <a:gd name="connsiteX39" fmla="*/ 137413 w 200415"/>
                <a:gd name="connsiteY39" fmla="*/ 99712 h 199919"/>
                <a:gd name="connsiteX40" fmla="*/ 101200 w 200415"/>
                <a:gd name="connsiteY40" fmla="*/ 94751 h 199919"/>
                <a:gd name="connsiteX41" fmla="*/ 80364 w 200415"/>
                <a:gd name="connsiteY41" fmla="*/ 56057 h 199919"/>
                <a:gd name="connsiteX42" fmla="*/ 77884 w 200415"/>
                <a:gd name="connsiteY42" fmla="*/ 34725 h 199919"/>
                <a:gd name="connsiteX43" fmla="*/ 71435 w 200415"/>
                <a:gd name="connsiteY43" fmla="*/ 23812 h 199919"/>
                <a:gd name="connsiteX44" fmla="*/ 66474 w 200415"/>
                <a:gd name="connsiteY44" fmla="*/ 0 h 199919"/>
                <a:gd name="connsiteX45" fmla="*/ 45639 w 200415"/>
                <a:gd name="connsiteY45" fmla="*/ 14386 h 199919"/>
                <a:gd name="connsiteX46" fmla="*/ 26788 w 200415"/>
                <a:gd name="connsiteY46" fmla="*/ 18355 h 199919"/>
                <a:gd name="connsiteX47" fmla="*/ 8433 w 200415"/>
                <a:gd name="connsiteY47" fmla="*/ 8929 h 199919"/>
                <a:gd name="connsiteX48" fmla="*/ 0 w 200415"/>
                <a:gd name="connsiteY48" fmla="*/ 7937 h 19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00415" h="199919">
                  <a:moveTo>
                    <a:pt x="0" y="7937"/>
                  </a:moveTo>
                  <a:lnTo>
                    <a:pt x="11906" y="31253"/>
                  </a:lnTo>
                  <a:lnTo>
                    <a:pt x="6449" y="50600"/>
                  </a:lnTo>
                  <a:lnTo>
                    <a:pt x="3969" y="68955"/>
                  </a:lnTo>
                  <a:lnTo>
                    <a:pt x="496" y="76396"/>
                  </a:lnTo>
                  <a:lnTo>
                    <a:pt x="6449" y="86814"/>
                  </a:lnTo>
                  <a:lnTo>
                    <a:pt x="23812" y="90782"/>
                  </a:lnTo>
                  <a:lnTo>
                    <a:pt x="26292" y="114098"/>
                  </a:lnTo>
                  <a:lnTo>
                    <a:pt x="38198" y="137910"/>
                  </a:lnTo>
                  <a:lnTo>
                    <a:pt x="44647" y="142870"/>
                  </a:lnTo>
                  <a:lnTo>
                    <a:pt x="44151" y="155768"/>
                  </a:lnTo>
                  <a:lnTo>
                    <a:pt x="46135" y="169162"/>
                  </a:lnTo>
                  <a:lnTo>
                    <a:pt x="30757" y="169162"/>
                  </a:lnTo>
                  <a:lnTo>
                    <a:pt x="26788" y="185533"/>
                  </a:lnTo>
                  <a:lnTo>
                    <a:pt x="29765" y="189998"/>
                  </a:lnTo>
                  <a:lnTo>
                    <a:pt x="46631" y="189502"/>
                  </a:lnTo>
                  <a:lnTo>
                    <a:pt x="51096" y="188510"/>
                  </a:lnTo>
                  <a:lnTo>
                    <a:pt x="62506" y="199919"/>
                  </a:lnTo>
                  <a:lnTo>
                    <a:pt x="146839" y="199919"/>
                  </a:lnTo>
                  <a:lnTo>
                    <a:pt x="158745" y="187517"/>
                  </a:lnTo>
                  <a:lnTo>
                    <a:pt x="182060" y="166186"/>
                  </a:lnTo>
                  <a:lnTo>
                    <a:pt x="196943" y="143366"/>
                  </a:lnTo>
                  <a:lnTo>
                    <a:pt x="200415" y="121539"/>
                  </a:lnTo>
                  <a:lnTo>
                    <a:pt x="194959" y="91278"/>
                  </a:lnTo>
                  <a:lnTo>
                    <a:pt x="184541" y="73419"/>
                  </a:lnTo>
                  <a:lnTo>
                    <a:pt x="166682" y="66971"/>
                  </a:lnTo>
                  <a:lnTo>
                    <a:pt x="162217" y="52584"/>
                  </a:lnTo>
                  <a:lnTo>
                    <a:pt x="170651" y="39190"/>
                  </a:lnTo>
                  <a:lnTo>
                    <a:pt x="187021" y="31253"/>
                  </a:lnTo>
                  <a:lnTo>
                    <a:pt x="180076" y="23812"/>
                  </a:lnTo>
                  <a:cubicBezTo>
                    <a:pt x="180076" y="23812"/>
                    <a:pt x="160233" y="24308"/>
                    <a:pt x="159737" y="24804"/>
                  </a:cubicBezTo>
                  <a:cubicBezTo>
                    <a:pt x="158745" y="25300"/>
                    <a:pt x="142374" y="38198"/>
                    <a:pt x="142374" y="38198"/>
                  </a:cubicBezTo>
                  <a:lnTo>
                    <a:pt x="140390" y="54569"/>
                  </a:lnTo>
                  <a:lnTo>
                    <a:pt x="145847" y="66474"/>
                  </a:lnTo>
                  <a:lnTo>
                    <a:pt x="171643" y="88798"/>
                  </a:lnTo>
                  <a:lnTo>
                    <a:pt x="180076" y="104176"/>
                  </a:lnTo>
                  <a:lnTo>
                    <a:pt x="178092" y="125011"/>
                  </a:lnTo>
                  <a:lnTo>
                    <a:pt x="170155" y="132949"/>
                  </a:lnTo>
                  <a:lnTo>
                    <a:pt x="157753" y="113602"/>
                  </a:lnTo>
                  <a:lnTo>
                    <a:pt x="137413" y="99712"/>
                  </a:lnTo>
                  <a:lnTo>
                    <a:pt x="101200" y="94751"/>
                  </a:lnTo>
                  <a:lnTo>
                    <a:pt x="80364" y="56057"/>
                  </a:lnTo>
                  <a:lnTo>
                    <a:pt x="77884" y="34725"/>
                  </a:lnTo>
                  <a:lnTo>
                    <a:pt x="71435" y="23812"/>
                  </a:lnTo>
                  <a:lnTo>
                    <a:pt x="66474" y="0"/>
                  </a:lnTo>
                  <a:lnTo>
                    <a:pt x="45639" y="14386"/>
                  </a:lnTo>
                  <a:lnTo>
                    <a:pt x="26788" y="18355"/>
                  </a:lnTo>
                  <a:lnTo>
                    <a:pt x="8433" y="8929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1EF28F0D-865B-57BA-7445-365B892CD9DE}"/>
                </a:ext>
              </a:extLst>
            </p:cNvPr>
            <p:cNvSpPr/>
            <p:nvPr/>
          </p:nvSpPr>
          <p:spPr>
            <a:xfrm>
              <a:off x="4025542" y="2795399"/>
              <a:ext cx="125011" cy="62505"/>
            </a:xfrm>
            <a:custGeom>
              <a:avLst/>
              <a:gdLst>
                <a:gd name="connsiteX0" fmla="*/ 2977 w 125011"/>
                <a:gd name="connsiteY0" fmla="*/ 0 h 62505"/>
                <a:gd name="connsiteX1" fmla="*/ 120051 w 125011"/>
                <a:gd name="connsiteY1" fmla="*/ 0 h 62505"/>
                <a:gd name="connsiteX2" fmla="*/ 125012 w 125011"/>
                <a:gd name="connsiteY2" fmla="*/ 10418 h 62505"/>
                <a:gd name="connsiteX3" fmla="*/ 123524 w 125011"/>
                <a:gd name="connsiteY3" fmla="*/ 45639 h 62505"/>
                <a:gd name="connsiteX4" fmla="*/ 121539 w 125011"/>
                <a:gd name="connsiteY4" fmla="*/ 62506 h 62505"/>
                <a:gd name="connsiteX5" fmla="*/ 34230 w 125011"/>
                <a:gd name="connsiteY5" fmla="*/ 60025 h 62505"/>
                <a:gd name="connsiteX6" fmla="*/ 0 w 125011"/>
                <a:gd name="connsiteY6" fmla="*/ 5953 h 6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011" h="62505">
                  <a:moveTo>
                    <a:pt x="2977" y="0"/>
                  </a:moveTo>
                  <a:lnTo>
                    <a:pt x="120051" y="0"/>
                  </a:lnTo>
                  <a:lnTo>
                    <a:pt x="125012" y="10418"/>
                  </a:lnTo>
                  <a:lnTo>
                    <a:pt x="123524" y="45639"/>
                  </a:lnTo>
                  <a:lnTo>
                    <a:pt x="121539" y="62506"/>
                  </a:lnTo>
                  <a:lnTo>
                    <a:pt x="34230" y="60025"/>
                  </a:lnTo>
                  <a:lnTo>
                    <a:pt x="0" y="5953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498BAEC3-B89E-E7B1-D906-E6E326745875}"/>
                </a:ext>
              </a:extLst>
            </p:cNvPr>
            <p:cNvSpPr/>
            <p:nvPr/>
          </p:nvSpPr>
          <p:spPr>
            <a:xfrm>
              <a:off x="4500289" y="2793414"/>
              <a:ext cx="362136" cy="61017"/>
            </a:xfrm>
            <a:custGeom>
              <a:avLst/>
              <a:gdLst>
                <a:gd name="connsiteX0" fmla="*/ 6945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853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945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853" y="61018"/>
                  </a:lnTo>
                  <a:lnTo>
                    <a:pt x="33237" y="61018"/>
                  </a:lnTo>
                  <a:lnTo>
                    <a:pt x="26788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C034E718-7B84-F3FB-A781-EED7BA42D275}"/>
                </a:ext>
              </a:extLst>
            </p:cNvPr>
            <p:cNvSpPr/>
            <p:nvPr/>
          </p:nvSpPr>
          <p:spPr>
            <a:xfrm>
              <a:off x="4519636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3237" y="61018"/>
                  </a:lnTo>
                  <a:lnTo>
                    <a:pt x="26788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F24AAF5F-2EBE-2350-700B-1408924DF3D3}"/>
                </a:ext>
              </a:extLst>
            </p:cNvPr>
            <p:cNvSpPr/>
            <p:nvPr/>
          </p:nvSpPr>
          <p:spPr>
            <a:xfrm>
              <a:off x="55281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06CE8AED-0698-13E4-DB3B-A7CE524F8E94}"/>
                </a:ext>
              </a:extLst>
            </p:cNvPr>
            <p:cNvSpPr/>
            <p:nvPr/>
          </p:nvSpPr>
          <p:spPr>
            <a:xfrm>
              <a:off x="5528162" y="2794406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E5EBEA49-21AC-3D47-3645-7C7D3895D8D9}"/>
                </a:ext>
              </a:extLst>
            </p:cNvPr>
            <p:cNvSpPr/>
            <p:nvPr/>
          </p:nvSpPr>
          <p:spPr>
            <a:xfrm>
              <a:off x="4952215" y="2982916"/>
              <a:ext cx="470778" cy="33733"/>
            </a:xfrm>
            <a:custGeom>
              <a:avLst/>
              <a:gdLst>
                <a:gd name="connsiteX0" fmla="*/ 8433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3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754F6454-D0CD-F0E9-A834-057D1C00EE83}"/>
                </a:ext>
              </a:extLst>
            </p:cNvPr>
            <p:cNvSpPr/>
            <p:nvPr/>
          </p:nvSpPr>
          <p:spPr>
            <a:xfrm>
              <a:off x="3977919" y="3610951"/>
              <a:ext cx="470777" cy="33733"/>
            </a:xfrm>
            <a:custGeom>
              <a:avLst/>
              <a:gdLst>
                <a:gd name="connsiteX0" fmla="*/ 8433 w 470777"/>
                <a:gd name="connsiteY0" fmla="*/ 0 h 33733"/>
                <a:gd name="connsiteX1" fmla="*/ 465321 w 470777"/>
                <a:gd name="connsiteY1" fmla="*/ 0 h 33733"/>
                <a:gd name="connsiteX2" fmla="*/ 470778 w 470777"/>
                <a:gd name="connsiteY2" fmla="*/ 1488 h 33733"/>
                <a:gd name="connsiteX3" fmla="*/ 454904 w 470777"/>
                <a:gd name="connsiteY3" fmla="*/ 33733 h 33733"/>
                <a:gd name="connsiteX4" fmla="*/ 25300 w 470777"/>
                <a:gd name="connsiteY4" fmla="*/ 33733 h 33733"/>
                <a:gd name="connsiteX5" fmla="*/ 0 w 470777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7" h="33733">
                  <a:moveTo>
                    <a:pt x="8433" y="0"/>
                  </a:moveTo>
                  <a:lnTo>
                    <a:pt x="465321" y="0"/>
                  </a:lnTo>
                  <a:lnTo>
                    <a:pt x="470778" y="1488"/>
                  </a:lnTo>
                  <a:lnTo>
                    <a:pt x="454904" y="33733"/>
                  </a:lnTo>
                  <a:lnTo>
                    <a:pt x="25300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D6F644D8-D7BD-36D0-19AF-B4E2909EF9F4}"/>
                </a:ext>
              </a:extLst>
            </p:cNvPr>
            <p:cNvSpPr/>
            <p:nvPr/>
          </p:nvSpPr>
          <p:spPr>
            <a:xfrm>
              <a:off x="5998940" y="2982916"/>
              <a:ext cx="470778" cy="33733"/>
            </a:xfrm>
            <a:custGeom>
              <a:avLst/>
              <a:gdLst>
                <a:gd name="connsiteX0" fmla="*/ 8434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4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B5F68B91-F9EF-26B9-24B9-32DB1AFB828A}"/>
                </a:ext>
              </a:extLst>
            </p:cNvPr>
            <p:cNvSpPr/>
            <p:nvPr/>
          </p:nvSpPr>
          <p:spPr>
            <a:xfrm>
              <a:off x="49968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7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7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3DF2264B-CE9D-4848-94B6-4A5A2A593C09}"/>
                </a:ext>
              </a:extLst>
            </p:cNvPr>
            <p:cNvSpPr/>
            <p:nvPr/>
          </p:nvSpPr>
          <p:spPr>
            <a:xfrm>
              <a:off x="3975934" y="3415992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3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3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94A0D455-246B-D6EB-4D37-DFE16F7CA392}"/>
                </a:ext>
              </a:extLst>
            </p:cNvPr>
            <p:cNvSpPr/>
            <p:nvPr/>
          </p:nvSpPr>
          <p:spPr>
            <a:xfrm>
              <a:off x="4942294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79707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67D4A4A5-9194-D96F-9C40-26C8DF0C31B3}"/>
                </a:ext>
              </a:extLst>
            </p:cNvPr>
            <p:cNvSpPr/>
            <p:nvPr/>
          </p:nvSpPr>
          <p:spPr>
            <a:xfrm>
              <a:off x="5991499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4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9692BAA1-3C99-13F5-A5C4-9DA33EEFEF60}"/>
                </a:ext>
              </a:extLst>
            </p:cNvPr>
            <p:cNvSpPr/>
            <p:nvPr/>
          </p:nvSpPr>
          <p:spPr>
            <a:xfrm>
              <a:off x="4275069" y="2793414"/>
              <a:ext cx="112113" cy="64490"/>
            </a:xfrm>
            <a:custGeom>
              <a:avLst/>
              <a:gdLst>
                <a:gd name="connsiteX0" fmla="*/ 0 w 112113"/>
                <a:gd name="connsiteY0" fmla="*/ 1984 h 64490"/>
                <a:gd name="connsiteX1" fmla="*/ 105169 w 112113"/>
                <a:gd name="connsiteY1" fmla="*/ 0 h 64490"/>
                <a:gd name="connsiteX2" fmla="*/ 112114 w 112113"/>
                <a:gd name="connsiteY2" fmla="*/ 5457 h 64490"/>
                <a:gd name="connsiteX3" fmla="*/ 87310 w 112113"/>
                <a:gd name="connsiteY3" fmla="*/ 58537 h 64490"/>
                <a:gd name="connsiteX4" fmla="*/ 80861 w 112113"/>
                <a:gd name="connsiteY4" fmla="*/ 64490 h 64490"/>
                <a:gd name="connsiteX5" fmla="*/ 4465 w 112113"/>
                <a:gd name="connsiteY5" fmla="*/ 64490 h 6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13" h="64490">
                  <a:moveTo>
                    <a:pt x="0" y="1984"/>
                  </a:moveTo>
                  <a:lnTo>
                    <a:pt x="105169" y="0"/>
                  </a:lnTo>
                  <a:lnTo>
                    <a:pt x="112114" y="5457"/>
                  </a:lnTo>
                  <a:lnTo>
                    <a:pt x="87310" y="58537"/>
                  </a:lnTo>
                  <a:lnTo>
                    <a:pt x="80861" y="64490"/>
                  </a:lnTo>
                  <a:lnTo>
                    <a:pt x="4465" y="64490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F4F8B1D2-E0DC-865C-EA99-A9992C5F5CCA}"/>
                </a:ext>
              </a:extLst>
            </p:cNvPr>
            <p:cNvSpPr/>
            <p:nvPr/>
          </p:nvSpPr>
          <p:spPr>
            <a:xfrm>
              <a:off x="4896228" y="4612073"/>
              <a:ext cx="182107" cy="242783"/>
            </a:xfrm>
            <a:custGeom>
              <a:avLst/>
              <a:gdLst>
                <a:gd name="connsiteX0" fmla="*/ 55987 w 182107"/>
                <a:gd name="connsiteY0" fmla="*/ 8396 h 242783"/>
                <a:gd name="connsiteX1" fmla="*/ 31680 w 182107"/>
                <a:gd name="connsiteY1" fmla="*/ 27743 h 242783"/>
                <a:gd name="connsiteX2" fmla="*/ 12829 w 182107"/>
                <a:gd name="connsiteY2" fmla="*/ 58500 h 242783"/>
                <a:gd name="connsiteX3" fmla="*/ 3403 w 182107"/>
                <a:gd name="connsiteY3" fmla="*/ 87769 h 242783"/>
                <a:gd name="connsiteX4" fmla="*/ 427 w 182107"/>
                <a:gd name="connsiteY4" fmla="*/ 111084 h 242783"/>
                <a:gd name="connsiteX5" fmla="*/ 45074 w 182107"/>
                <a:gd name="connsiteY5" fmla="*/ 225678 h 242783"/>
                <a:gd name="connsiteX6" fmla="*/ 141313 w 182107"/>
                <a:gd name="connsiteY6" fmla="*/ 221710 h 242783"/>
                <a:gd name="connsiteX7" fmla="*/ 181495 w 182107"/>
                <a:gd name="connsiteY7" fmla="*/ 108604 h 242783"/>
                <a:gd name="connsiteX8" fmla="*/ 55987 w 182107"/>
                <a:gd name="connsiteY8" fmla="*/ 8396 h 2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107" h="242783">
                  <a:moveTo>
                    <a:pt x="55987" y="8396"/>
                  </a:moveTo>
                  <a:lnTo>
                    <a:pt x="31680" y="27743"/>
                  </a:lnTo>
                  <a:lnTo>
                    <a:pt x="12829" y="58500"/>
                  </a:lnTo>
                  <a:lnTo>
                    <a:pt x="3403" y="87769"/>
                  </a:lnTo>
                  <a:lnTo>
                    <a:pt x="427" y="111084"/>
                  </a:lnTo>
                  <a:cubicBezTo>
                    <a:pt x="427" y="111084"/>
                    <a:pt x="-7511" y="185000"/>
                    <a:pt x="45074" y="225678"/>
                  </a:cubicBezTo>
                  <a:cubicBezTo>
                    <a:pt x="97658" y="266357"/>
                    <a:pt x="141313" y="221710"/>
                    <a:pt x="141313" y="221710"/>
                  </a:cubicBezTo>
                  <a:cubicBezTo>
                    <a:pt x="141313" y="221710"/>
                    <a:pt x="187944" y="178055"/>
                    <a:pt x="181495" y="108604"/>
                  </a:cubicBezTo>
                  <a:cubicBezTo>
                    <a:pt x="175542" y="38161"/>
                    <a:pt x="124942" y="-22857"/>
                    <a:pt x="55987" y="839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320BA6CB-BB9F-3FEB-6104-7D2137153FCB}"/>
                </a:ext>
              </a:extLst>
            </p:cNvPr>
            <p:cNvSpPr/>
            <p:nvPr/>
          </p:nvSpPr>
          <p:spPr>
            <a:xfrm>
              <a:off x="5026976" y="4699346"/>
              <a:ext cx="164349" cy="224571"/>
            </a:xfrm>
            <a:custGeom>
              <a:avLst/>
              <a:gdLst>
                <a:gd name="connsiteX0" fmla="*/ 47771 w 164349"/>
                <a:gd name="connsiteY0" fmla="*/ 0 h 224571"/>
                <a:gd name="connsiteX1" fmla="*/ 29416 w 164349"/>
                <a:gd name="connsiteY1" fmla="*/ 109633 h 224571"/>
                <a:gd name="connsiteX2" fmla="*/ 147 w 164349"/>
                <a:gd name="connsiteY2" fmla="*/ 139894 h 224571"/>
                <a:gd name="connsiteX3" fmla="*/ 43802 w 164349"/>
                <a:gd name="connsiteY3" fmla="*/ 198927 h 224571"/>
                <a:gd name="connsiteX4" fmla="*/ 51243 w 164349"/>
                <a:gd name="connsiteY4" fmla="*/ 197439 h 224571"/>
                <a:gd name="connsiteX5" fmla="*/ 118214 w 164349"/>
                <a:gd name="connsiteY5" fmla="*/ 223235 h 224571"/>
                <a:gd name="connsiteX6" fmla="*/ 164349 w 164349"/>
                <a:gd name="connsiteY6" fmla="*/ 132949 h 224571"/>
                <a:gd name="connsiteX7" fmla="*/ 120198 w 164349"/>
                <a:gd name="connsiteY7" fmla="*/ 165194 h 224571"/>
                <a:gd name="connsiteX8" fmla="*/ 70094 w 164349"/>
                <a:gd name="connsiteY8" fmla="*/ 58041 h 224571"/>
                <a:gd name="connsiteX9" fmla="*/ 47771 w 164349"/>
                <a:gd name="connsiteY9" fmla="*/ 0 h 22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49" h="224571">
                  <a:moveTo>
                    <a:pt x="47771" y="0"/>
                  </a:moveTo>
                  <a:cubicBezTo>
                    <a:pt x="47771" y="0"/>
                    <a:pt x="62653" y="59529"/>
                    <a:pt x="29416" y="109633"/>
                  </a:cubicBezTo>
                  <a:cubicBezTo>
                    <a:pt x="-3821" y="159737"/>
                    <a:pt x="147" y="139894"/>
                    <a:pt x="147" y="139894"/>
                  </a:cubicBezTo>
                  <a:lnTo>
                    <a:pt x="43802" y="198927"/>
                  </a:lnTo>
                  <a:lnTo>
                    <a:pt x="51243" y="197439"/>
                  </a:lnTo>
                  <a:cubicBezTo>
                    <a:pt x="51243" y="197439"/>
                    <a:pt x="82993" y="231668"/>
                    <a:pt x="118214" y="223235"/>
                  </a:cubicBezTo>
                  <a:cubicBezTo>
                    <a:pt x="153435" y="214802"/>
                    <a:pt x="161373" y="188014"/>
                    <a:pt x="164349" y="132949"/>
                  </a:cubicBezTo>
                  <a:cubicBezTo>
                    <a:pt x="158396" y="151304"/>
                    <a:pt x="151947" y="180572"/>
                    <a:pt x="120198" y="165194"/>
                  </a:cubicBezTo>
                  <a:cubicBezTo>
                    <a:pt x="88449" y="149816"/>
                    <a:pt x="70591" y="117075"/>
                    <a:pt x="70094" y="58041"/>
                  </a:cubicBezTo>
                  <a:cubicBezTo>
                    <a:pt x="70094" y="33733"/>
                    <a:pt x="47771" y="0"/>
                    <a:pt x="47771" y="0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659EDB2F-290A-126C-1E14-B06B1F6D52D5}"/>
                </a:ext>
              </a:extLst>
            </p:cNvPr>
            <p:cNvSpPr/>
            <p:nvPr/>
          </p:nvSpPr>
          <p:spPr>
            <a:xfrm>
              <a:off x="4043401" y="4600130"/>
              <a:ext cx="38694" cy="104176"/>
            </a:xfrm>
            <a:custGeom>
              <a:avLst/>
              <a:gdLst>
                <a:gd name="connsiteX0" fmla="*/ 0 w 38694"/>
                <a:gd name="connsiteY0" fmla="*/ 102192 h 104176"/>
                <a:gd name="connsiteX1" fmla="*/ 5953 w 38694"/>
                <a:gd name="connsiteY1" fmla="*/ 104176 h 104176"/>
                <a:gd name="connsiteX2" fmla="*/ 19347 w 38694"/>
                <a:gd name="connsiteY2" fmla="*/ 99712 h 104176"/>
                <a:gd name="connsiteX3" fmla="*/ 31749 w 38694"/>
                <a:gd name="connsiteY3" fmla="*/ 104176 h 104176"/>
                <a:gd name="connsiteX4" fmla="*/ 38694 w 38694"/>
                <a:gd name="connsiteY4" fmla="*/ 96735 h 104176"/>
                <a:gd name="connsiteX5" fmla="*/ 36710 w 38694"/>
                <a:gd name="connsiteY5" fmla="*/ 7441 h 104176"/>
                <a:gd name="connsiteX6" fmla="*/ 25796 w 38694"/>
                <a:gd name="connsiteY6" fmla="*/ 0 h 104176"/>
                <a:gd name="connsiteX7" fmla="*/ 13890 w 38694"/>
                <a:gd name="connsiteY7" fmla="*/ 6449 h 104176"/>
                <a:gd name="connsiteX8" fmla="*/ 13394 w 38694"/>
                <a:gd name="connsiteY8" fmla="*/ 22324 h 104176"/>
                <a:gd name="connsiteX9" fmla="*/ 992 w 38694"/>
                <a:gd name="connsiteY9" fmla="*/ 59529 h 104176"/>
                <a:gd name="connsiteX10" fmla="*/ 0 w 38694"/>
                <a:gd name="connsiteY10" fmla="*/ 88798 h 10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694" h="104176">
                  <a:moveTo>
                    <a:pt x="0" y="102192"/>
                  </a:moveTo>
                  <a:lnTo>
                    <a:pt x="5953" y="104176"/>
                  </a:lnTo>
                  <a:lnTo>
                    <a:pt x="19347" y="99712"/>
                  </a:lnTo>
                  <a:lnTo>
                    <a:pt x="31749" y="104176"/>
                  </a:lnTo>
                  <a:lnTo>
                    <a:pt x="38694" y="96735"/>
                  </a:lnTo>
                  <a:lnTo>
                    <a:pt x="36710" y="7441"/>
                  </a:lnTo>
                  <a:lnTo>
                    <a:pt x="25796" y="0"/>
                  </a:lnTo>
                  <a:lnTo>
                    <a:pt x="13890" y="6449"/>
                  </a:lnTo>
                  <a:lnTo>
                    <a:pt x="13394" y="22324"/>
                  </a:lnTo>
                  <a:lnTo>
                    <a:pt x="992" y="59529"/>
                  </a:lnTo>
                  <a:lnTo>
                    <a:pt x="0" y="88798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DA83C437-285B-CBD2-F110-41B3AFAED4F3}"/>
                </a:ext>
              </a:extLst>
            </p:cNvPr>
            <p:cNvSpPr/>
            <p:nvPr/>
          </p:nvSpPr>
          <p:spPr>
            <a:xfrm>
              <a:off x="3854891" y="3408551"/>
              <a:ext cx="1984" cy="178588"/>
            </a:xfrm>
            <a:custGeom>
              <a:avLst/>
              <a:gdLst>
                <a:gd name="connsiteX0" fmla="*/ 1488 w 1984"/>
                <a:gd name="connsiteY0" fmla="*/ 0 h 178588"/>
                <a:gd name="connsiteX1" fmla="*/ 1984 w 1984"/>
                <a:gd name="connsiteY1" fmla="*/ 16371 h 178588"/>
                <a:gd name="connsiteX2" fmla="*/ 1488 w 1984"/>
                <a:gd name="connsiteY2" fmla="*/ 32245 h 178588"/>
                <a:gd name="connsiteX3" fmla="*/ 496 w 1984"/>
                <a:gd name="connsiteY3" fmla="*/ 48120 h 178588"/>
                <a:gd name="connsiteX4" fmla="*/ 992 w 1984"/>
                <a:gd name="connsiteY4" fmla="*/ 64490 h 178588"/>
                <a:gd name="connsiteX5" fmla="*/ 1984 w 1984"/>
                <a:gd name="connsiteY5" fmla="*/ 80861 h 178588"/>
                <a:gd name="connsiteX6" fmla="*/ 1488 w 1984"/>
                <a:gd name="connsiteY6" fmla="*/ 96735 h 178588"/>
                <a:gd name="connsiteX7" fmla="*/ 1488 w 1984"/>
                <a:gd name="connsiteY7" fmla="*/ 113106 h 178588"/>
                <a:gd name="connsiteX8" fmla="*/ 992 w 1984"/>
                <a:gd name="connsiteY8" fmla="*/ 129477 h 178588"/>
                <a:gd name="connsiteX9" fmla="*/ 1488 w 1984"/>
                <a:gd name="connsiteY9" fmla="*/ 145847 h 178588"/>
                <a:gd name="connsiteX10" fmla="*/ 496 w 1984"/>
                <a:gd name="connsiteY10" fmla="*/ 162218 h 178588"/>
                <a:gd name="connsiteX11" fmla="*/ 0 w 1984"/>
                <a:gd name="connsiteY11" fmla="*/ 178588 h 17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78588">
                  <a:moveTo>
                    <a:pt x="1488" y="0"/>
                  </a:moveTo>
                  <a:cubicBezTo>
                    <a:pt x="1488" y="7937"/>
                    <a:pt x="1984" y="7937"/>
                    <a:pt x="1984" y="16371"/>
                  </a:cubicBezTo>
                  <a:cubicBezTo>
                    <a:pt x="1984" y="24308"/>
                    <a:pt x="1488" y="24308"/>
                    <a:pt x="1488" y="32245"/>
                  </a:cubicBezTo>
                  <a:cubicBezTo>
                    <a:pt x="1488" y="40182"/>
                    <a:pt x="496" y="40182"/>
                    <a:pt x="496" y="48120"/>
                  </a:cubicBezTo>
                  <a:cubicBezTo>
                    <a:pt x="496" y="56057"/>
                    <a:pt x="992" y="56057"/>
                    <a:pt x="992" y="64490"/>
                  </a:cubicBezTo>
                  <a:cubicBezTo>
                    <a:pt x="992" y="72924"/>
                    <a:pt x="1984" y="72428"/>
                    <a:pt x="1984" y="80861"/>
                  </a:cubicBezTo>
                  <a:cubicBezTo>
                    <a:pt x="1984" y="88798"/>
                    <a:pt x="1488" y="88798"/>
                    <a:pt x="1488" y="96735"/>
                  </a:cubicBezTo>
                  <a:cubicBezTo>
                    <a:pt x="1488" y="104673"/>
                    <a:pt x="1488" y="104673"/>
                    <a:pt x="1488" y="113106"/>
                  </a:cubicBezTo>
                  <a:cubicBezTo>
                    <a:pt x="1488" y="121043"/>
                    <a:pt x="992" y="121043"/>
                    <a:pt x="992" y="129477"/>
                  </a:cubicBezTo>
                  <a:cubicBezTo>
                    <a:pt x="992" y="137414"/>
                    <a:pt x="1488" y="137414"/>
                    <a:pt x="1488" y="145847"/>
                  </a:cubicBezTo>
                  <a:cubicBezTo>
                    <a:pt x="1488" y="153784"/>
                    <a:pt x="496" y="153784"/>
                    <a:pt x="496" y="162218"/>
                  </a:cubicBezTo>
                  <a:cubicBezTo>
                    <a:pt x="496" y="170155"/>
                    <a:pt x="0" y="170155"/>
                    <a:pt x="0" y="1785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AD4EC517-4FCB-AFED-B5A8-B0988B690F39}"/>
                </a:ext>
              </a:extLst>
            </p:cNvPr>
            <p:cNvSpPr/>
            <p:nvPr/>
          </p:nvSpPr>
          <p:spPr>
            <a:xfrm>
              <a:off x="3855387" y="2816234"/>
              <a:ext cx="1984" cy="180076"/>
            </a:xfrm>
            <a:custGeom>
              <a:avLst/>
              <a:gdLst>
                <a:gd name="connsiteX0" fmla="*/ 1488 w 1984"/>
                <a:gd name="connsiteY0" fmla="*/ 0 h 180076"/>
                <a:gd name="connsiteX1" fmla="*/ 496 w 1984"/>
                <a:gd name="connsiteY1" fmla="*/ 16371 h 180076"/>
                <a:gd name="connsiteX2" fmla="*/ 1488 w 1984"/>
                <a:gd name="connsiteY2" fmla="*/ 32741 h 180076"/>
                <a:gd name="connsiteX3" fmla="*/ 0 w 1984"/>
                <a:gd name="connsiteY3" fmla="*/ 49112 h 180076"/>
                <a:gd name="connsiteX4" fmla="*/ 1984 w 1984"/>
                <a:gd name="connsiteY4" fmla="*/ 65482 h 180076"/>
                <a:gd name="connsiteX5" fmla="*/ 1488 w 1984"/>
                <a:gd name="connsiteY5" fmla="*/ 81853 h 180076"/>
                <a:gd name="connsiteX6" fmla="*/ 1984 w 1984"/>
                <a:gd name="connsiteY6" fmla="*/ 98223 h 180076"/>
                <a:gd name="connsiteX7" fmla="*/ 992 w 1984"/>
                <a:gd name="connsiteY7" fmla="*/ 114594 h 180076"/>
                <a:gd name="connsiteX8" fmla="*/ 1984 w 1984"/>
                <a:gd name="connsiteY8" fmla="*/ 130964 h 180076"/>
                <a:gd name="connsiteX9" fmla="*/ 1984 w 1984"/>
                <a:gd name="connsiteY9" fmla="*/ 147335 h 180076"/>
                <a:gd name="connsiteX10" fmla="*/ 0 w 1984"/>
                <a:gd name="connsiteY10" fmla="*/ 163706 h 180076"/>
                <a:gd name="connsiteX11" fmla="*/ 0 w 1984"/>
                <a:gd name="connsiteY11" fmla="*/ 18007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80076">
                  <a:moveTo>
                    <a:pt x="1488" y="0"/>
                  </a:moveTo>
                  <a:cubicBezTo>
                    <a:pt x="1488" y="8433"/>
                    <a:pt x="496" y="8433"/>
                    <a:pt x="496" y="16371"/>
                  </a:cubicBezTo>
                  <a:cubicBezTo>
                    <a:pt x="496" y="24804"/>
                    <a:pt x="1488" y="24804"/>
                    <a:pt x="1488" y="32741"/>
                  </a:cubicBezTo>
                  <a:cubicBezTo>
                    <a:pt x="1488" y="41174"/>
                    <a:pt x="0" y="41174"/>
                    <a:pt x="0" y="49112"/>
                  </a:cubicBezTo>
                  <a:cubicBezTo>
                    <a:pt x="0" y="57545"/>
                    <a:pt x="1984" y="57545"/>
                    <a:pt x="1984" y="65482"/>
                  </a:cubicBezTo>
                  <a:cubicBezTo>
                    <a:pt x="1984" y="73915"/>
                    <a:pt x="1488" y="73915"/>
                    <a:pt x="1488" y="81853"/>
                  </a:cubicBezTo>
                  <a:cubicBezTo>
                    <a:pt x="1488" y="90286"/>
                    <a:pt x="1984" y="90286"/>
                    <a:pt x="1984" y="98223"/>
                  </a:cubicBezTo>
                  <a:cubicBezTo>
                    <a:pt x="1984" y="106657"/>
                    <a:pt x="992" y="106657"/>
                    <a:pt x="992" y="114594"/>
                  </a:cubicBezTo>
                  <a:cubicBezTo>
                    <a:pt x="992" y="123027"/>
                    <a:pt x="1984" y="123027"/>
                    <a:pt x="1984" y="130964"/>
                  </a:cubicBezTo>
                  <a:cubicBezTo>
                    <a:pt x="1984" y="139398"/>
                    <a:pt x="1984" y="139398"/>
                    <a:pt x="1984" y="147335"/>
                  </a:cubicBezTo>
                  <a:cubicBezTo>
                    <a:pt x="1984" y="155768"/>
                    <a:pt x="0" y="155768"/>
                    <a:pt x="0" y="163706"/>
                  </a:cubicBezTo>
                  <a:cubicBezTo>
                    <a:pt x="0" y="172139"/>
                    <a:pt x="0" y="172139"/>
                    <a:pt x="0" y="18007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BC00A990-85DD-E9D9-503D-B4C68333D152}"/>
                </a:ext>
              </a:extLst>
            </p:cNvPr>
            <p:cNvSpPr/>
            <p:nvPr/>
          </p:nvSpPr>
          <p:spPr>
            <a:xfrm>
              <a:off x="3855387" y="2254178"/>
              <a:ext cx="2976" cy="349238"/>
            </a:xfrm>
            <a:custGeom>
              <a:avLst/>
              <a:gdLst>
                <a:gd name="connsiteX0" fmla="*/ 992 w 2976"/>
                <a:gd name="connsiteY0" fmla="*/ 0 h 349238"/>
                <a:gd name="connsiteX1" fmla="*/ 1984 w 2976"/>
                <a:gd name="connsiteY1" fmla="*/ 15875 h 349238"/>
                <a:gd name="connsiteX2" fmla="*/ 992 w 2976"/>
                <a:gd name="connsiteY2" fmla="*/ 31749 h 349238"/>
                <a:gd name="connsiteX3" fmla="*/ 1488 w 2976"/>
                <a:gd name="connsiteY3" fmla="*/ 47624 h 349238"/>
                <a:gd name="connsiteX4" fmla="*/ 0 w 2976"/>
                <a:gd name="connsiteY4" fmla="*/ 63498 h 349238"/>
                <a:gd name="connsiteX5" fmla="*/ 1488 w 2976"/>
                <a:gd name="connsiteY5" fmla="*/ 79372 h 349238"/>
                <a:gd name="connsiteX6" fmla="*/ 0 w 2976"/>
                <a:gd name="connsiteY6" fmla="*/ 95247 h 349238"/>
                <a:gd name="connsiteX7" fmla="*/ 1488 w 2976"/>
                <a:gd name="connsiteY7" fmla="*/ 111121 h 349238"/>
                <a:gd name="connsiteX8" fmla="*/ 0 w 2976"/>
                <a:gd name="connsiteY8" fmla="*/ 126996 h 349238"/>
                <a:gd name="connsiteX9" fmla="*/ 992 w 2976"/>
                <a:gd name="connsiteY9" fmla="*/ 142871 h 349238"/>
                <a:gd name="connsiteX10" fmla="*/ 1984 w 2976"/>
                <a:gd name="connsiteY10" fmla="*/ 158745 h 349238"/>
                <a:gd name="connsiteX11" fmla="*/ 496 w 2976"/>
                <a:gd name="connsiteY11" fmla="*/ 174619 h 349238"/>
                <a:gd name="connsiteX12" fmla="*/ 1488 w 2976"/>
                <a:gd name="connsiteY12" fmla="*/ 190494 h 349238"/>
                <a:gd name="connsiteX13" fmla="*/ 992 w 2976"/>
                <a:gd name="connsiteY13" fmla="*/ 206368 h 349238"/>
                <a:gd name="connsiteX14" fmla="*/ 496 w 2976"/>
                <a:gd name="connsiteY14" fmla="*/ 222243 h 349238"/>
                <a:gd name="connsiteX15" fmla="*/ 496 w 2976"/>
                <a:gd name="connsiteY15" fmla="*/ 238117 h 349238"/>
                <a:gd name="connsiteX16" fmla="*/ 992 w 2976"/>
                <a:gd name="connsiteY16" fmla="*/ 253992 h 349238"/>
                <a:gd name="connsiteX17" fmla="*/ 2480 w 2976"/>
                <a:gd name="connsiteY17" fmla="*/ 269866 h 349238"/>
                <a:gd name="connsiteX18" fmla="*/ 2480 w 2976"/>
                <a:gd name="connsiteY18" fmla="*/ 285741 h 349238"/>
                <a:gd name="connsiteX19" fmla="*/ 1984 w 2976"/>
                <a:gd name="connsiteY19" fmla="*/ 301615 h 349238"/>
                <a:gd name="connsiteX20" fmla="*/ 2976 w 2976"/>
                <a:gd name="connsiteY20" fmla="*/ 317490 h 349238"/>
                <a:gd name="connsiteX21" fmla="*/ 2480 w 2976"/>
                <a:gd name="connsiteY21" fmla="*/ 333364 h 349238"/>
                <a:gd name="connsiteX22" fmla="*/ 1984 w 2976"/>
                <a:gd name="connsiteY22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76" h="349238">
                  <a:moveTo>
                    <a:pt x="992" y="0"/>
                  </a:moveTo>
                  <a:cubicBezTo>
                    <a:pt x="992" y="7937"/>
                    <a:pt x="1984" y="7937"/>
                    <a:pt x="1984" y="15875"/>
                  </a:cubicBezTo>
                  <a:cubicBezTo>
                    <a:pt x="1984" y="23812"/>
                    <a:pt x="992" y="23812"/>
                    <a:pt x="992" y="31749"/>
                  </a:cubicBezTo>
                  <a:cubicBezTo>
                    <a:pt x="992" y="39686"/>
                    <a:pt x="1488" y="39686"/>
                    <a:pt x="1488" y="47624"/>
                  </a:cubicBezTo>
                  <a:cubicBezTo>
                    <a:pt x="1488" y="55561"/>
                    <a:pt x="0" y="55561"/>
                    <a:pt x="0" y="63498"/>
                  </a:cubicBezTo>
                  <a:cubicBezTo>
                    <a:pt x="0" y="71435"/>
                    <a:pt x="1488" y="71435"/>
                    <a:pt x="1488" y="79372"/>
                  </a:cubicBezTo>
                  <a:cubicBezTo>
                    <a:pt x="1488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1"/>
                  </a:cubicBezTo>
                  <a:cubicBezTo>
                    <a:pt x="1488" y="119059"/>
                    <a:pt x="0" y="119059"/>
                    <a:pt x="0" y="126996"/>
                  </a:cubicBezTo>
                  <a:cubicBezTo>
                    <a:pt x="0" y="134933"/>
                    <a:pt x="992" y="134933"/>
                    <a:pt x="992" y="142871"/>
                  </a:cubicBezTo>
                  <a:cubicBezTo>
                    <a:pt x="992" y="150808"/>
                    <a:pt x="1984" y="150808"/>
                    <a:pt x="1984" y="158745"/>
                  </a:cubicBezTo>
                  <a:cubicBezTo>
                    <a:pt x="1984" y="166682"/>
                    <a:pt x="496" y="166682"/>
                    <a:pt x="496" y="174619"/>
                  </a:cubicBezTo>
                  <a:cubicBezTo>
                    <a:pt x="496" y="182557"/>
                    <a:pt x="1488" y="182557"/>
                    <a:pt x="1488" y="190494"/>
                  </a:cubicBezTo>
                  <a:cubicBezTo>
                    <a:pt x="1488" y="198431"/>
                    <a:pt x="992" y="198431"/>
                    <a:pt x="992" y="206368"/>
                  </a:cubicBezTo>
                  <a:cubicBezTo>
                    <a:pt x="992" y="214306"/>
                    <a:pt x="496" y="214306"/>
                    <a:pt x="496" y="222243"/>
                  </a:cubicBezTo>
                  <a:cubicBezTo>
                    <a:pt x="496" y="230180"/>
                    <a:pt x="496" y="230180"/>
                    <a:pt x="496" y="238117"/>
                  </a:cubicBezTo>
                  <a:cubicBezTo>
                    <a:pt x="496" y="246055"/>
                    <a:pt x="992" y="246055"/>
                    <a:pt x="992" y="253992"/>
                  </a:cubicBezTo>
                  <a:cubicBezTo>
                    <a:pt x="992" y="261929"/>
                    <a:pt x="2480" y="261929"/>
                    <a:pt x="2480" y="269866"/>
                  </a:cubicBezTo>
                  <a:cubicBezTo>
                    <a:pt x="2480" y="277804"/>
                    <a:pt x="2480" y="277804"/>
                    <a:pt x="2480" y="285741"/>
                  </a:cubicBezTo>
                  <a:cubicBezTo>
                    <a:pt x="2480" y="293678"/>
                    <a:pt x="1984" y="293678"/>
                    <a:pt x="1984" y="301615"/>
                  </a:cubicBezTo>
                  <a:cubicBezTo>
                    <a:pt x="1984" y="309553"/>
                    <a:pt x="2976" y="309553"/>
                    <a:pt x="2976" y="317490"/>
                  </a:cubicBezTo>
                  <a:cubicBezTo>
                    <a:pt x="2976" y="325427"/>
                    <a:pt x="2480" y="325427"/>
                    <a:pt x="2480" y="333364"/>
                  </a:cubicBezTo>
                  <a:cubicBezTo>
                    <a:pt x="2480" y="341302"/>
                    <a:pt x="1984" y="341302"/>
                    <a:pt x="1984" y="3492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F9D6249E-8F63-980B-0462-CE46C3A52AF1}"/>
                </a:ext>
              </a:extLst>
            </p:cNvPr>
            <p:cNvSpPr/>
            <p:nvPr/>
          </p:nvSpPr>
          <p:spPr>
            <a:xfrm>
              <a:off x="4121285" y="2782096"/>
              <a:ext cx="155272" cy="217686"/>
            </a:xfrm>
            <a:custGeom>
              <a:avLst/>
              <a:gdLst>
                <a:gd name="connsiteX0" fmla="*/ 0 w 155272"/>
                <a:gd name="connsiteY0" fmla="*/ 4869 h 217686"/>
                <a:gd name="connsiteX1" fmla="*/ 17859 w 155272"/>
                <a:gd name="connsiteY1" fmla="*/ 1893 h 217686"/>
                <a:gd name="connsiteX2" fmla="*/ 26788 w 155272"/>
                <a:gd name="connsiteY2" fmla="*/ 17271 h 217686"/>
                <a:gd name="connsiteX3" fmla="*/ 28277 w 155272"/>
                <a:gd name="connsiteY3" fmla="*/ 35130 h 217686"/>
                <a:gd name="connsiteX4" fmla="*/ 29269 w 155272"/>
                <a:gd name="connsiteY4" fmla="*/ 51500 h 217686"/>
                <a:gd name="connsiteX5" fmla="*/ 26788 w 155272"/>
                <a:gd name="connsiteY5" fmla="*/ 67871 h 217686"/>
                <a:gd name="connsiteX6" fmla="*/ 25300 w 155272"/>
                <a:gd name="connsiteY6" fmla="*/ 84241 h 217686"/>
                <a:gd name="connsiteX7" fmla="*/ 22820 w 155272"/>
                <a:gd name="connsiteY7" fmla="*/ 100612 h 217686"/>
                <a:gd name="connsiteX8" fmla="*/ 21332 w 155272"/>
                <a:gd name="connsiteY8" fmla="*/ 116983 h 217686"/>
                <a:gd name="connsiteX9" fmla="*/ 19347 w 155272"/>
                <a:gd name="connsiteY9" fmla="*/ 133353 h 217686"/>
                <a:gd name="connsiteX10" fmla="*/ 19843 w 155272"/>
                <a:gd name="connsiteY10" fmla="*/ 149724 h 217686"/>
                <a:gd name="connsiteX11" fmla="*/ 19843 w 155272"/>
                <a:gd name="connsiteY11" fmla="*/ 166094 h 217686"/>
                <a:gd name="connsiteX12" fmla="*/ 20339 w 155272"/>
                <a:gd name="connsiteY12" fmla="*/ 182465 h 217686"/>
                <a:gd name="connsiteX13" fmla="*/ 23812 w 155272"/>
                <a:gd name="connsiteY13" fmla="*/ 198836 h 217686"/>
                <a:gd name="connsiteX14" fmla="*/ 35222 w 155272"/>
                <a:gd name="connsiteY14" fmla="*/ 210741 h 217686"/>
                <a:gd name="connsiteX15" fmla="*/ 50104 w 155272"/>
                <a:gd name="connsiteY15" fmla="*/ 216198 h 217686"/>
                <a:gd name="connsiteX16" fmla="*/ 67467 w 155272"/>
                <a:gd name="connsiteY16" fmla="*/ 216198 h 217686"/>
                <a:gd name="connsiteX17" fmla="*/ 84830 w 155272"/>
                <a:gd name="connsiteY17" fmla="*/ 215702 h 217686"/>
                <a:gd name="connsiteX18" fmla="*/ 102192 w 155272"/>
                <a:gd name="connsiteY18" fmla="*/ 215206 h 217686"/>
                <a:gd name="connsiteX19" fmla="*/ 119555 w 155272"/>
                <a:gd name="connsiteY19" fmla="*/ 217190 h 217686"/>
                <a:gd name="connsiteX20" fmla="*/ 136918 w 155272"/>
                <a:gd name="connsiteY20" fmla="*/ 217686 h 217686"/>
                <a:gd name="connsiteX21" fmla="*/ 150808 w 155272"/>
                <a:gd name="connsiteY21" fmla="*/ 206277 h 217686"/>
                <a:gd name="connsiteX22" fmla="*/ 154776 w 155272"/>
                <a:gd name="connsiteY22" fmla="*/ 187922 h 217686"/>
                <a:gd name="connsiteX23" fmla="*/ 155273 w 155272"/>
                <a:gd name="connsiteY23" fmla="*/ 169071 h 21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272" h="217686">
                  <a:moveTo>
                    <a:pt x="0" y="4869"/>
                  </a:moveTo>
                  <a:cubicBezTo>
                    <a:pt x="7441" y="-92"/>
                    <a:pt x="9922" y="-1580"/>
                    <a:pt x="17859" y="1893"/>
                  </a:cubicBezTo>
                  <a:cubicBezTo>
                    <a:pt x="21828" y="3381"/>
                    <a:pt x="24308" y="8837"/>
                    <a:pt x="26788" y="17271"/>
                  </a:cubicBezTo>
                  <a:cubicBezTo>
                    <a:pt x="27781" y="21736"/>
                    <a:pt x="28277" y="27689"/>
                    <a:pt x="28277" y="35130"/>
                  </a:cubicBezTo>
                  <a:cubicBezTo>
                    <a:pt x="28277" y="40091"/>
                    <a:pt x="29765" y="45547"/>
                    <a:pt x="29269" y="51500"/>
                  </a:cubicBezTo>
                  <a:cubicBezTo>
                    <a:pt x="28773" y="56461"/>
                    <a:pt x="27284" y="61918"/>
                    <a:pt x="26788" y="67871"/>
                  </a:cubicBezTo>
                  <a:cubicBezTo>
                    <a:pt x="26292" y="73328"/>
                    <a:pt x="26292" y="78785"/>
                    <a:pt x="25300" y="84241"/>
                  </a:cubicBezTo>
                  <a:cubicBezTo>
                    <a:pt x="24804" y="89698"/>
                    <a:pt x="23316" y="94659"/>
                    <a:pt x="22820" y="100612"/>
                  </a:cubicBezTo>
                  <a:cubicBezTo>
                    <a:pt x="22324" y="106069"/>
                    <a:pt x="21828" y="111526"/>
                    <a:pt x="21332" y="116983"/>
                  </a:cubicBezTo>
                  <a:cubicBezTo>
                    <a:pt x="20835" y="122439"/>
                    <a:pt x="19347" y="127896"/>
                    <a:pt x="19347" y="133353"/>
                  </a:cubicBezTo>
                  <a:cubicBezTo>
                    <a:pt x="18851" y="138810"/>
                    <a:pt x="19843" y="144267"/>
                    <a:pt x="19843" y="149724"/>
                  </a:cubicBezTo>
                  <a:cubicBezTo>
                    <a:pt x="19843" y="155180"/>
                    <a:pt x="19843" y="160638"/>
                    <a:pt x="19843" y="166094"/>
                  </a:cubicBezTo>
                  <a:cubicBezTo>
                    <a:pt x="20339" y="172047"/>
                    <a:pt x="19347" y="177504"/>
                    <a:pt x="20339" y="182465"/>
                  </a:cubicBezTo>
                  <a:cubicBezTo>
                    <a:pt x="21332" y="188418"/>
                    <a:pt x="21828" y="193875"/>
                    <a:pt x="23812" y="198836"/>
                  </a:cubicBezTo>
                  <a:cubicBezTo>
                    <a:pt x="26292" y="204292"/>
                    <a:pt x="30757" y="207765"/>
                    <a:pt x="35222" y="210741"/>
                  </a:cubicBezTo>
                  <a:cubicBezTo>
                    <a:pt x="39190" y="213718"/>
                    <a:pt x="44151" y="216198"/>
                    <a:pt x="50104" y="216198"/>
                  </a:cubicBezTo>
                  <a:cubicBezTo>
                    <a:pt x="56553" y="216198"/>
                    <a:pt x="62010" y="216198"/>
                    <a:pt x="67467" y="216198"/>
                  </a:cubicBezTo>
                  <a:cubicBezTo>
                    <a:pt x="73916" y="216198"/>
                    <a:pt x="79372" y="215702"/>
                    <a:pt x="84830" y="215702"/>
                  </a:cubicBezTo>
                  <a:cubicBezTo>
                    <a:pt x="91278" y="215702"/>
                    <a:pt x="97231" y="215206"/>
                    <a:pt x="102192" y="215206"/>
                  </a:cubicBezTo>
                  <a:cubicBezTo>
                    <a:pt x="109137" y="215206"/>
                    <a:pt x="114594" y="217190"/>
                    <a:pt x="119555" y="217190"/>
                  </a:cubicBezTo>
                  <a:cubicBezTo>
                    <a:pt x="126500" y="217190"/>
                    <a:pt x="131957" y="217686"/>
                    <a:pt x="136918" y="217686"/>
                  </a:cubicBezTo>
                  <a:cubicBezTo>
                    <a:pt x="143863" y="217686"/>
                    <a:pt x="148327" y="212229"/>
                    <a:pt x="150808" y="206277"/>
                  </a:cubicBezTo>
                  <a:cubicBezTo>
                    <a:pt x="153288" y="200820"/>
                    <a:pt x="154280" y="194371"/>
                    <a:pt x="154776" y="187922"/>
                  </a:cubicBezTo>
                  <a:cubicBezTo>
                    <a:pt x="155273" y="178000"/>
                    <a:pt x="155273" y="178496"/>
                    <a:pt x="155273" y="1690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904110C8-7138-537A-5BAF-531913A7DBE8}"/>
                </a:ext>
              </a:extLst>
            </p:cNvPr>
            <p:cNvSpPr/>
            <p:nvPr/>
          </p:nvSpPr>
          <p:spPr>
            <a:xfrm>
              <a:off x="4159483" y="2764540"/>
              <a:ext cx="122035" cy="175437"/>
            </a:xfrm>
            <a:custGeom>
              <a:avLst/>
              <a:gdLst>
                <a:gd name="connsiteX0" fmla="*/ 0 w 122035"/>
                <a:gd name="connsiteY0" fmla="*/ 9031 h 175437"/>
                <a:gd name="connsiteX1" fmla="*/ 17363 w 122035"/>
                <a:gd name="connsiteY1" fmla="*/ 7046 h 175437"/>
                <a:gd name="connsiteX2" fmla="*/ 26292 w 122035"/>
                <a:gd name="connsiteY2" fmla="*/ 21432 h 175437"/>
                <a:gd name="connsiteX3" fmla="*/ 29765 w 122035"/>
                <a:gd name="connsiteY3" fmla="*/ 39291 h 175437"/>
                <a:gd name="connsiteX4" fmla="*/ 27781 w 122035"/>
                <a:gd name="connsiteY4" fmla="*/ 56158 h 175437"/>
                <a:gd name="connsiteX5" fmla="*/ 27781 w 122035"/>
                <a:gd name="connsiteY5" fmla="*/ 73025 h 175437"/>
                <a:gd name="connsiteX6" fmla="*/ 25796 w 122035"/>
                <a:gd name="connsiteY6" fmla="*/ 89891 h 175437"/>
                <a:gd name="connsiteX7" fmla="*/ 23812 w 122035"/>
                <a:gd name="connsiteY7" fmla="*/ 106758 h 175437"/>
                <a:gd name="connsiteX8" fmla="*/ 22820 w 122035"/>
                <a:gd name="connsiteY8" fmla="*/ 123625 h 175437"/>
                <a:gd name="connsiteX9" fmla="*/ 21331 w 122035"/>
                <a:gd name="connsiteY9" fmla="*/ 140491 h 175437"/>
                <a:gd name="connsiteX10" fmla="*/ 26788 w 122035"/>
                <a:gd name="connsiteY10" fmla="*/ 156862 h 175437"/>
                <a:gd name="connsiteX11" fmla="*/ 36214 w 122035"/>
                <a:gd name="connsiteY11" fmla="*/ 170752 h 175437"/>
                <a:gd name="connsiteX12" fmla="*/ 52584 w 122035"/>
                <a:gd name="connsiteY12" fmla="*/ 175217 h 175437"/>
                <a:gd name="connsiteX13" fmla="*/ 68459 w 122035"/>
                <a:gd name="connsiteY13" fmla="*/ 175217 h 175437"/>
                <a:gd name="connsiteX14" fmla="*/ 84333 w 122035"/>
                <a:gd name="connsiteY14" fmla="*/ 175217 h 175437"/>
                <a:gd name="connsiteX15" fmla="*/ 99712 w 122035"/>
                <a:gd name="connsiteY15" fmla="*/ 172240 h 175437"/>
                <a:gd name="connsiteX16" fmla="*/ 113602 w 122035"/>
                <a:gd name="connsiteY16" fmla="*/ 165295 h 175437"/>
                <a:gd name="connsiteX17" fmla="*/ 120547 w 122035"/>
                <a:gd name="connsiteY17" fmla="*/ 151405 h 175437"/>
                <a:gd name="connsiteX18" fmla="*/ 121539 w 122035"/>
                <a:gd name="connsiteY18" fmla="*/ 135530 h 175437"/>
                <a:gd name="connsiteX19" fmla="*/ 122035 w 122035"/>
                <a:gd name="connsiteY19" fmla="*/ 119656 h 175437"/>
                <a:gd name="connsiteX20" fmla="*/ 121539 w 122035"/>
                <a:gd name="connsiteY20" fmla="*/ 103782 h 175437"/>
                <a:gd name="connsiteX21" fmla="*/ 120051 w 122035"/>
                <a:gd name="connsiteY21" fmla="*/ 87907 h 175437"/>
                <a:gd name="connsiteX22" fmla="*/ 118563 w 122035"/>
                <a:gd name="connsiteY22" fmla="*/ 72033 h 175437"/>
                <a:gd name="connsiteX23" fmla="*/ 117075 w 122035"/>
                <a:gd name="connsiteY23" fmla="*/ 56158 h 175437"/>
                <a:gd name="connsiteX24" fmla="*/ 115090 w 122035"/>
                <a:gd name="connsiteY24" fmla="*/ 40284 h 175437"/>
                <a:gd name="connsiteX25" fmla="*/ 115090 w 122035"/>
                <a:gd name="connsiteY25" fmla="*/ 24409 h 175437"/>
                <a:gd name="connsiteX26" fmla="*/ 110625 w 122035"/>
                <a:gd name="connsiteY26" fmla="*/ 9527 h 175437"/>
                <a:gd name="connsiteX27" fmla="*/ 95247 w 122035"/>
                <a:gd name="connsiteY27" fmla="*/ 5558 h 175437"/>
                <a:gd name="connsiteX28" fmla="*/ 78877 w 122035"/>
                <a:gd name="connsiteY28" fmla="*/ 4070 h 175437"/>
                <a:gd name="connsiteX29" fmla="*/ 63002 w 122035"/>
                <a:gd name="connsiteY29" fmla="*/ 101 h 175437"/>
                <a:gd name="connsiteX30" fmla="*/ 46631 w 122035"/>
                <a:gd name="connsiteY30" fmla="*/ 1093 h 175437"/>
                <a:gd name="connsiteX31" fmla="*/ 30261 w 122035"/>
                <a:gd name="connsiteY31" fmla="*/ 101 h 175437"/>
                <a:gd name="connsiteX32" fmla="*/ 13890 w 122035"/>
                <a:gd name="connsiteY32" fmla="*/ 2086 h 175437"/>
                <a:gd name="connsiteX33" fmla="*/ 0 w 122035"/>
                <a:gd name="connsiteY33" fmla="*/ 9031 h 1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22035" h="175437">
                  <a:moveTo>
                    <a:pt x="0" y="9031"/>
                  </a:moveTo>
                  <a:cubicBezTo>
                    <a:pt x="8433" y="6054"/>
                    <a:pt x="9426" y="3574"/>
                    <a:pt x="17363" y="7046"/>
                  </a:cubicBezTo>
                  <a:cubicBezTo>
                    <a:pt x="21331" y="8535"/>
                    <a:pt x="24308" y="12999"/>
                    <a:pt x="26292" y="21432"/>
                  </a:cubicBezTo>
                  <a:cubicBezTo>
                    <a:pt x="27284" y="25897"/>
                    <a:pt x="29765" y="31850"/>
                    <a:pt x="29765" y="39291"/>
                  </a:cubicBezTo>
                  <a:cubicBezTo>
                    <a:pt x="29765" y="44748"/>
                    <a:pt x="28277" y="50205"/>
                    <a:pt x="27781" y="56158"/>
                  </a:cubicBezTo>
                  <a:cubicBezTo>
                    <a:pt x="27284" y="61615"/>
                    <a:pt x="28772" y="67568"/>
                    <a:pt x="27781" y="73025"/>
                  </a:cubicBezTo>
                  <a:cubicBezTo>
                    <a:pt x="27284" y="78481"/>
                    <a:pt x="26788" y="84434"/>
                    <a:pt x="25796" y="89891"/>
                  </a:cubicBezTo>
                  <a:cubicBezTo>
                    <a:pt x="25300" y="95348"/>
                    <a:pt x="24308" y="101301"/>
                    <a:pt x="23812" y="106758"/>
                  </a:cubicBezTo>
                  <a:cubicBezTo>
                    <a:pt x="23316" y="112711"/>
                    <a:pt x="22820" y="118168"/>
                    <a:pt x="22820" y="123625"/>
                  </a:cubicBezTo>
                  <a:cubicBezTo>
                    <a:pt x="22820" y="129578"/>
                    <a:pt x="20835" y="135530"/>
                    <a:pt x="21331" y="140491"/>
                  </a:cubicBezTo>
                  <a:cubicBezTo>
                    <a:pt x="21828" y="146444"/>
                    <a:pt x="24804" y="151901"/>
                    <a:pt x="26788" y="156862"/>
                  </a:cubicBezTo>
                  <a:cubicBezTo>
                    <a:pt x="29269" y="162319"/>
                    <a:pt x="31749" y="167775"/>
                    <a:pt x="36214" y="170752"/>
                  </a:cubicBezTo>
                  <a:cubicBezTo>
                    <a:pt x="40182" y="173728"/>
                    <a:pt x="46135" y="175217"/>
                    <a:pt x="52584" y="175217"/>
                  </a:cubicBezTo>
                  <a:cubicBezTo>
                    <a:pt x="56553" y="175217"/>
                    <a:pt x="62010" y="175217"/>
                    <a:pt x="68459" y="175217"/>
                  </a:cubicBezTo>
                  <a:cubicBezTo>
                    <a:pt x="73419" y="175217"/>
                    <a:pt x="78877" y="175713"/>
                    <a:pt x="84333" y="175217"/>
                  </a:cubicBezTo>
                  <a:cubicBezTo>
                    <a:pt x="89294" y="174721"/>
                    <a:pt x="94751" y="173728"/>
                    <a:pt x="99712" y="172240"/>
                  </a:cubicBezTo>
                  <a:cubicBezTo>
                    <a:pt x="104673" y="170752"/>
                    <a:pt x="109137" y="168272"/>
                    <a:pt x="113602" y="165295"/>
                  </a:cubicBezTo>
                  <a:cubicBezTo>
                    <a:pt x="116578" y="163311"/>
                    <a:pt x="119059" y="158350"/>
                    <a:pt x="120547" y="151405"/>
                  </a:cubicBezTo>
                  <a:cubicBezTo>
                    <a:pt x="121539" y="146940"/>
                    <a:pt x="121539" y="141483"/>
                    <a:pt x="121539" y="135530"/>
                  </a:cubicBezTo>
                  <a:cubicBezTo>
                    <a:pt x="121539" y="130570"/>
                    <a:pt x="122035" y="125113"/>
                    <a:pt x="122035" y="119656"/>
                  </a:cubicBezTo>
                  <a:cubicBezTo>
                    <a:pt x="122035" y="114695"/>
                    <a:pt x="121539" y="109238"/>
                    <a:pt x="121539" y="103782"/>
                  </a:cubicBezTo>
                  <a:cubicBezTo>
                    <a:pt x="121043" y="98325"/>
                    <a:pt x="120547" y="93364"/>
                    <a:pt x="120051" y="87907"/>
                  </a:cubicBezTo>
                  <a:cubicBezTo>
                    <a:pt x="119555" y="82450"/>
                    <a:pt x="119059" y="77490"/>
                    <a:pt x="118563" y="72033"/>
                  </a:cubicBezTo>
                  <a:cubicBezTo>
                    <a:pt x="118066" y="66576"/>
                    <a:pt x="117571" y="61119"/>
                    <a:pt x="117075" y="56158"/>
                  </a:cubicBezTo>
                  <a:cubicBezTo>
                    <a:pt x="116578" y="50701"/>
                    <a:pt x="115586" y="45244"/>
                    <a:pt x="115090" y="40284"/>
                  </a:cubicBezTo>
                  <a:cubicBezTo>
                    <a:pt x="114594" y="34331"/>
                    <a:pt x="116082" y="28874"/>
                    <a:pt x="115090" y="24409"/>
                  </a:cubicBezTo>
                  <a:cubicBezTo>
                    <a:pt x="113602" y="14488"/>
                    <a:pt x="116578" y="15480"/>
                    <a:pt x="110625" y="9527"/>
                  </a:cubicBezTo>
                  <a:cubicBezTo>
                    <a:pt x="104673" y="3574"/>
                    <a:pt x="105169" y="7046"/>
                    <a:pt x="95247" y="5558"/>
                  </a:cubicBezTo>
                  <a:cubicBezTo>
                    <a:pt x="90782" y="4566"/>
                    <a:pt x="84830" y="5062"/>
                    <a:pt x="78877" y="4070"/>
                  </a:cubicBezTo>
                  <a:cubicBezTo>
                    <a:pt x="73916" y="3574"/>
                    <a:pt x="68459" y="597"/>
                    <a:pt x="63002" y="101"/>
                  </a:cubicBezTo>
                  <a:cubicBezTo>
                    <a:pt x="57545" y="-395"/>
                    <a:pt x="52088" y="1093"/>
                    <a:pt x="46631" y="1093"/>
                  </a:cubicBezTo>
                  <a:cubicBezTo>
                    <a:pt x="41174" y="1093"/>
                    <a:pt x="35718" y="101"/>
                    <a:pt x="30261" y="101"/>
                  </a:cubicBezTo>
                  <a:cubicBezTo>
                    <a:pt x="24308" y="597"/>
                    <a:pt x="18851" y="1093"/>
                    <a:pt x="13890" y="2086"/>
                  </a:cubicBezTo>
                  <a:cubicBezTo>
                    <a:pt x="7937" y="3574"/>
                    <a:pt x="2977" y="5558"/>
                    <a:pt x="0" y="90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94C978-A1EB-15AF-7449-A199FFBA3A25}"/>
                </a:ext>
              </a:extLst>
            </p:cNvPr>
            <p:cNvSpPr/>
            <p:nvPr/>
          </p:nvSpPr>
          <p:spPr>
            <a:xfrm>
              <a:off x="4152042" y="2949679"/>
              <a:ext cx="32245" cy="30756"/>
            </a:xfrm>
            <a:custGeom>
              <a:avLst/>
              <a:gdLst>
                <a:gd name="connsiteX0" fmla="*/ 0 w 32245"/>
                <a:gd name="connsiteY0" fmla="*/ 0 h 30756"/>
                <a:gd name="connsiteX1" fmla="*/ 10418 w 32245"/>
                <a:gd name="connsiteY1" fmla="*/ 10418 h 30756"/>
                <a:gd name="connsiteX2" fmla="*/ 19843 w 32245"/>
                <a:gd name="connsiteY2" fmla="*/ 21828 h 30756"/>
                <a:gd name="connsiteX3" fmla="*/ 32245 w 32245"/>
                <a:gd name="connsiteY3" fmla="*/ 30757 h 3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45" h="30756">
                  <a:moveTo>
                    <a:pt x="0" y="0"/>
                  </a:moveTo>
                  <a:cubicBezTo>
                    <a:pt x="5457" y="5457"/>
                    <a:pt x="5457" y="5457"/>
                    <a:pt x="10418" y="10418"/>
                  </a:cubicBezTo>
                  <a:cubicBezTo>
                    <a:pt x="15875" y="15875"/>
                    <a:pt x="14882" y="16867"/>
                    <a:pt x="19843" y="21828"/>
                  </a:cubicBezTo>
                  <a:cubicBezTo>
                    <a:pt x="25300" y="27284"/>
                    <a:pt x="26788" y="25796"/>
                    <a:pt x="32245" y="30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90233D3-87D5-542F-E1B3-C3941C6B4921}"/>
                </a:ext>
              </a:extLst>
            </p:cNvPr>
            <p:cNvSpPr/>
            <p:nvPr/>
          </p:nvSpPr>
          <p:spPr>
            <a:xfrm>
              <a:off x="4155514" y="2916442"/>
              <a:ext cx="59033" cy="60025"/>
            </a:xfrm>
            <a:custGeom>
              <a:avLst/>
              <a:gdLst>
                <a:gd name="connsiteX0" fmla="*/ 0 w 59033"/>
                <a:gd name="connsiteY0" fmla="*/ 0 h 60025"/>
                <a:gd name="connsiteX1" fmla="*/ 12402 w 59033"/>
                <a:gd name="connsiteY1" fmla="*/ 11410 h 60025"/>
                <a:gd name="connsiteX2" fmla="*/ 22819 w 59033"/>
                <a:gd name="connsiteY2" fmla="*/ 24804 h 60025"/>
                <a:gd name="connsiteX3" fmla="*/ 35718 w 59033"/>
                <a:gd name="connsiteY3" fmla="*/ 35717 h 60025"/>
                <a:gd name="connsiteX4" fmla="*/ 48120 w 59033"/>
                <a:gd name="connsiteY4" fmla="*/ 47127 h 60025"/>
                <a:gd name="connsiteX5" fmla="*/ 59033 w 59033"/>
                <a:gd name="connsiteY5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60025">
                  <a:moveTo>
                    <a:pt x="0" y="0"/>
                  </a:moveTo>
                  <a:cubicBezTo>
                    <a:pt x="5953" y="5953"/>
                    <a:pt x="6449" y="5457"/>
                    <a:pt x="12402" y="11410"/>
                  </a:cubicBezTo>
                  <a:cubicBezTo>
                    <a:pt x="18355" y="17363"/>
                    <a:pt x="16867" y="18851"/>
                    <a:pt x="22819" y="24804"/>
                  </a:cubicBezTo>
                  <a:cubicBezTo>
                    <a:pt x="28772" y="30757"/>
                    <a:pt x="29765" y="29765"/>
                    <a:pt x="35718" y="35717"/>
                  </a:cubicBezTo>
                  <a:cubicBezTo>
                    <a:pt x="41671" y="41670"/>
                    <a:pt x="42167" y="41174"/>
                    <a:pt x="48120" y="47127"/>
                  </a:cubicBezTo>
                  <a:cubicBezTo>
                    <a:pt x="54073" y="53080"/>
                    <a:pt x="53080" y="54072"/>
                    <a:pt x="59033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191BF517-E75E-1184-92EF-54F5DF7A8A33}"/>
                </a:ext>
              </a:extLst>
            </p:cNvPr>
            <p:cNvSpPr/>
            <p:nvPr/>
          </p:nvSpPr>
          <p:spPr>
            <a:xfrm>
              <a:off x="4224965" y="2955632"/>
              <a:ext cx="22323" cy="19347"/>
            </a:xfrm>
            <a:custGeom>
              <a:avLst/>
              <a:gdLst>
                <a:gd name="connsiteX0" fmla="*/ 0 w 22323"/>
                <a:gd name="connsiteY0" fmla="*/ 0 h 19347"/>
                <a:gd name="connsiteX1" fmla="*/ 11906 w 22323"/>
                <a:gd name="connsiteY1" fmla="*/ 8929 h 19347"/>
                <a:gd name="connsiteX2" fmla="*/ 22324 w 22323"/>
                <a:gd name="connsiteY2" fmla="*/ 19347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23" h="19347">
                  <a:moveTo>
                    <a:pt x="0" y="0"/>
                  </a:moveTo>
                  <a:cubicBezTo>
                    <a:pt x="5457" y="4961"/>
                    <a:pt x="6449" y="3969"/>
                    <a:pt x="11906" y="8929"/>
                  </a:cubicBezTo>
                  <a:cubicBezTo>
                    <a:pt x="16867" y="13890"/>
                    <a:pt x="16867" y="14386"/>
                    <a:pt x="22324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CD4484F6-55B7-3F76-8167-172D0349966B}"/>
                </a:ext>
              </a:extLst>
            </p:cNvPr>
            <p:cNvSpPr/>
            <p:nvPr/>
          </p:nvSpPr>
          <p:spPr>
            <a:xfrm>
              <a:off x="4256218" y="2951167"/>
              <a:ext cx="1984" cy="3472"/>
            </a:xfrm>
            <a:custGeom>
              <a:avLst/>
              <a:gdLst>
                <a:gd name="connsiteX0" fmla="*/ 0 w 1984"/>
                <a:gd name="connsiteY0" fmla="*/ 0 h 3472"/>
                <a:gd name="connsiteX1" fmla="*/ 1984 w 1984"/>
                <a:gd name="connsiteY1" fmla="*/ 3472 h 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3472">
                  <a:moveTo>
                    <a:pt x="0" y="0"/>
                  </a:moveTo>
                  <a:cubicBezTo>
                    <a:pt x="1488" y="1488"/>
                    <a:pt x="496" y="1984"/>
                    <a:pt x="1984" y="347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F06C5B3-F5CC-D4FB-038F-2199DB98D1C3}"/>
                </a:ext>
              </a:extLst>
            </p:cNvPr>
            <p:cNvSpPr/>
            <p:nvPr/>
          </p:nvSpPr>
          <p:spPr>
            <a:xfrm>
              <a:off x="4158491" y="2867330"/>
              <a:ext cx="7937" cy="8929"/>
            </a:xfrm>
            <a:custGeom>
              <a:avLst/>
              <a:gdLst>
                <a:gd name="connsiteX0" fmla="*/ 0 w 7937"/>
                <a:gd name="connsiteY0" fmla="*/ 0 h 8929"/>
                <a:gd name="connsiteX1" fmla="*/ 7937 w 7937"/>
                <a:gd name="connsiteY1" fmla="*/ 8929 h 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37" h="8929">
                  <a:moveTo>
                    <a:pt x="0" y="0"/>
                  </a:moveTo>
                  <a:cubicBezTo>
                    <a:pt x="3969" y="3969"/>
                    <a:pt x="3969" y="4465"/>
                    <a:pt x="7937" y="89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DE2FDBA3-B2E6-40CE-5418-5CC4DE77621B}"/>
                </a:ext>
              </a:extLst>
            </p:cNvPr>
            <p:cNvSpPr/>
            <p:nvPr/>
          </p:nvSpPr>
          <p:spPr>
            <a:xfrm>
              <a:off x="4161963" y="2830124"/>
              <a:ext cx="9425" cy="9425"/>
            </a:xfrm>
            <a:custGeom>
              <a:avLst/>
              <a:gdLst>
                <a:gd name="connsiteX0" fmla="*/ 0 w 9425"/>
                <a:gd name="connsiteY0" fmla="*/ 0 h 9425"/>
                <a:gd name="connsiteX1" fmla="*/ 9426 w 9425"/>
                <a:gd name="connsiteY1" fmla="*/ 9426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9425">
                  <a:moveTo>
                    <a:pt x="0" y="0"/>
                  </a:moveTo>
                  <a:cubicBezTo>
                    <a:pt x="4961" y="4961"/>
                    <a:pt x="4961" y="4465"/>
                    <a:pt x="9426" y="94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B3E5E32C-AECF-E214-90F1-45DA4738C0F1}"/>
                </a:ext>
              </a:extLst>
            </p:cNvPr>
            <p:cNvSpPr/>
            <p:nvPr/>
          </p:nvSpPr>
          <p:spPr>
            <a:xfrm>
              <a:off x="4159979" y="2786469"/>
              <a:ext cx="13890" cy="14386"/>
            </a:xfrm>
            <a:custGeom>
              <a:avLst/>
              <a:gdLst>
                <a:gd name="connsiteX0" fmla="*/ 0 w 13890"/>
                <a:gd name="connsiteY0" fmla="*/ 0 h 14386"/>
                <a:gd name="connsiteX1" fmla="*/ 13890 w 13890"/>
                <a:gd name="connsiteY1" fmla="*/ 14386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90" h="14386">
                  <a:moveTo>
                    <a:pt x="0" y="0"/>
                  </a:moveTo>
                  <a:cubicBezTo>
                    <a:pt x="6945" y="6945"/>
                    <a:pt x="6945" y="7441"/>
                    <a:pt x="13890" y="143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7BD22AF7-A32A-3DBE-CEF3-6D33DFEA8B77}"/>
                </a:ext>
              </a:extLst>
            </p:cNvPr>
            <p:cNvSpPr/>
            <p:nvPr/>
          </p:nvSpPr>
          <p:spPr>
            <a:xfrm>
              <a:off x="4246297" y="2893622"/>
              <a:ext cx="18850" cy="18354"/>
            </a:xfrm>
            <a:custGeom>
              <a:avLst/>
              <a:gdLst>
                <a:gd name="connsiteX0" fmla="*/ 18851 w 18850"/>
                <a:gd name="connsiteY0" fmla="*/ 9426 h 18354"/>
                <a:gd name="connsiteX1" fmla="*/ 9426 w 18850"/>
                <a:gd name="connsiteY1" fmla="*/ 18355 h 18354"/>
                <a:gd name="connsiteX2" fmla="*/ 0 w 18850"/>
                <a:gd name="connsiteY2" fmla="*/ 9426 h 18354"/>
                <a:gd name="connsiteX3" fmla="*/ 9426 w 18850"/>
                <a:gd name="connsiteY3" fmla="*/ 0 h 18354"/>
                <a:gd name="connsiteX4" fmla="*/ 18851 w 18850"/>
                <a:gd name="connsiteY4" fmla="*/ 9426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0" h="18354">
                  <a:moveTo>
                    <a:pt x="18851" y="9426"/>
                  </a:moveTo>
                  <a:cubicBezTo>
                    <a:pt x="18851" y="14882"/>
                    <a:pt x="14882" y="18355"/>
                    <a:pt x="9426" y="18355"/>
                  </a:cubicBezTo>
                  <a:cubicBezTo>
                    <a:pt x="3969" y="18355"/>
                    <a:pt x="0" y="14882"/>
                    <a:pt x="0" y="9426"/>
                  </a:cubicBezTo>
                  <a:cubicBezTo>
                    <a:pt x="0" y="3969"/>
                    <a:pt x="4465" y="0"/>
                    <a:pt x="9426" y="0"/>
                  </a:cubicBezTo>
                  <a:cubicBezTo>
                    <a:pt x="14386" y="0"/>
                    <a:pt x="18851" y="3969"/>
                    <a:pt x="18851" y="942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502EC889-F596-BD17-1B67-24DFD2CA8D9E}"/>
                </a:ext>
              </a:extLst>
            </p:cNvPr>
            <p:cNvSpPr/>
            <p:nvPr/>
          </p:nvSpPr>
          <p:spPr>
            <a:xfrm>
              <a:off x="4202146" y="2782997"/>
              <a:ext cx="21827" cy="19347"/>
            </a:xfrm>
            <a:custGeom>
              <a:avLst/>
              <a:gdLst>
                <a:gd name="connsiteX0" fmla="*/ 21827 w 21827"/>
                <a:gd name="connsiteY0" fmla="*/ 10418 h 19347"/>
                <a:gd name="connsiteX1" fmla="*/ 10913 w 21827"/>
                <a:gd name="connsiteY1" fmla="*/ 19347 h 19347"/>
                <a:gd name="connsiteX2" fmla="*/ 0 w 21827"/>
                <a:gd name="connsiteY2" fmla="*/ 10418 h 19347"/>
                <a:gd name="connsiteX3" fmla="*/ 10913 w 21827"/>
                <a:gd name="connsiteY3" fmla="*/ 0 h 19347"/>
                <a:gd name="connsiteX4" fmla="*/ 21827 w 21827"/>
                <a:gd name="connsiteY4" fmla="*/ 10418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27" h="19347">
                  <a:moveTo>
                    <a:pt x="21827" y="10418"/>
                  </a:moveTo>
                  <a:cubicBezTo>
                    <a:pt x="21827" y="15875"/>
                    <a:pt x="16371" y="19347"/>
                    <a:pt x="10913" y="19347"/>
                  </a:cubicBezTo>
                  <a:cubicBezTo>
                    <a:pt x="5457" y="19347"/>
                    <a:pt x="0" y="15875"/>
                    <a:pt x="0" y="10418"/>
                  </a:cubicBezTo>
                  <a:cubicBezTo>
                    <a:pt x="0" y="4961"/>
                    <a:pt x="5457" y="0"/>
                    <a:pt x="10913" y="0"/>
                  </a:cubicBezTo>
                  <a:cubicBezTo>
                    <a:pt x="16371" y="0"/>
                    <a:pt x="21827" y="4961"/>
                    <a:pt x="21827" y="104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AC38472C-7AF0-1931-6378-639C9E26CFE3}"/>
                </a:ext>
              </a:extLst>
            </p:cNvPr>
            <p:cNvSpPr/>
            <p:nvPr/>
          </p:nvSpPr>
          <p:spPr>
            <a:xfrm>
              <a:off x="4220997" y="2825659"/>
              <a:ext cx="19843" cy="19843"/>
            </a:xfrm>
            <a:custGeom>
              <a:avLst/>
              <a:gdLst>
                <a:gd name="connsiteX0" fmla="*/ 19843 w 19843"/>
                <a:gd name="connsiteY0" fmla="*/ 8930 h 19843"/>
                <a:gd name="connsiteX1" fmla="*/ 9425 w 19843"/>
                <a:gd name="connsiteY1" fmla="*/ 19843 h 19843"/>
                <a:gd name="connsiteX2" fmla="*/ 0 w 19843"/>
                <a:gd name="connsiteY2" fmla="*/ 8930 h 19843"/>
                <a:gd name="connsiteX3" fmla="*/ 9425 w 19843"/>
                <a:gd name="connsiteY3" fmla="*/ 0 h 19843"/>
                <a:gd name="connsiteX4" fmla="*/ 19843 w 19843"/>
                <a:gd name="connsiteY4" fmla="*/ 8930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3" h="19843">
                  <a:moveTo>
                    <a:pt x="19843" y="8930"/>
                  </a:moveTo>
                  <a:cubicBezTo>
                    <a:pt x="19843" y="14386"/>
                    <a:pt x="14882" y="19843"/>
                    <a:pt x="9425" y="19843"/>
                  </a:cubicBezTo>
                  <a:cubicBezTo>
                    <a:pt x="3969" y="19843"/>
                    <a:pt x="0" y="14386"/>
                    <a:pt x="0" y="8930"/>
                  </a:cubicBezTo>
                  <a:cubicBezTo>
                    <a:pt x="0" y="3473"/>
                    <a:pt x="3969" y="0"/>
                    <a:pt x="9425" y="0"/>
                  </a:cubicBezTo>
                  <a:cubicBezTo>
                    <a:pt x="14882" y="0"/>
                    <a:pt x="19843" y="3473"/>
                    <a:pt x="19843" y="893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36343C8-86F9-4443-B31F-AE64F16C0FF2}"/>
                </a:ext>
              </a:extLst>
            </p:cNvPr>
            <p:cNvSpPr/>
            <p:nvPr/>
          </p:nvSpPr>
          <p:spPr>
            <a:xfrm>
              <a:off x="4221493" y="2864849"/>
              <a:ext cx="17858" cy="18850"/>
            </a:xfrm>
            <a:custGeom>
              <a:avLst/>
              <a:gdLst>
                <a:gd name="connsiteX0" fmla="*/ 17859 w 17858"/>
                <a:gd name="connsiteY0" fmla="*/ 8929 h 18850"/>
                <a:gd name="connsiteX1" fmla="*/ 8929 w 17858"/>
                <a:gd name="connsiteY1" fmla="*/ 18851 h 18850"/>
                <a:gd name="connsiteX2" fmla="*/ 0 w 17858"/>
                <a:gd name="connsiteY2" fmla="*/ 8929 h 18850"/>
                <a:gd name="connsiteX3" fmla="*/ 8929 w 17858"/>
                <a:gd name="connsiteY3" fmla="*/ 0 h 18850"/>
                <a:gd name="connsiteX4" fmla="*/ 17859 w 17858"/>
                <a:gd name="connsiteY4" fmla="*/ 8929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8" h="18850">
                  <a:moveTo>
                    <a:pt x="17859" y="8929"/>
                  </a:moveTo>
                  <a:cubicBezTo>
                    <a:pt x="17859" y="14386"/>
                    <a:pt x="14386" y="18851"/>
                    <a:pt x="8929" y="18851"/>
                  </a:cubicBezTo>
                  <a:cubicBezTo>
                    <a:pt x="3473" y="18851"/>
                    <a:pt x="0" y="14386"/>
                    <a:pt x="0" y="8929"/>
                  </a:cubicBezTo>
                  <a:cubicBezTo>
                    <a:pt x="0" y="3473"/>
                    <a:pt x="3473" y="0"/>
                    <a:pt x="8929" y="0"/>
                  </a:cubicBezTo>
                  <a:cubicBezTo>
                    <a:pt x="14386" y="0"/>
                    <a:pt x="17859" y="3473"/>
                    <a:pt x="17859" y="89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4F0EA4CF-449B-FEC1-B65D-F14196F8DA63}"/>
                </a:ext>
              </a:extLst>
            </p:cNvPr>
            <p:cNvSpPr/>
            <p:nvPr/>
          </p:nvSpPr>
          <p:spPr>
            <a:xfrm>
              <a:off x="4219509" y="2914457"/>
              <a:ext cx="18850" cy="9921"/>
            </a:xfrm>
            <a:custGeom>
              <a:avLst/>
              <a:gdLst>
                <a:gd name="connsiteX0" fmla="*/ 0 w 18850"/>
                <a:gd name="connsiteY0" fmla="*/ 9922 h 9921"/>
                <a:gd name="connsiteX1" fmla="*/ 8929 w 18850"/>
                <a:gd name="connsiteY1" fmla="*/ 0 h 9921"/>
                <a:gd name="connsiteX2" fmla="*/ 18851 w 18850"/>
                <a:gd name="connsiteY2" fmla="*/ 9922 h 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50" h="9921">
                  <a:moveTo>
                    <a:pt x="0" y="9922"/>
                  </a:moveTo>
                  <a:cubicBezTo>
                    <a:pt x="0" y="4465"/>
                    <a:pt x="3472" y="0"/>
                    <a:pt x="8929" y="0"/>
                  </a:cubicBezTo>
                  <a:cubicBezTo>
                    <a:pt x="14386" y="0"/>
                    <a:pt x="18851" y="4465"/>
                    <a:pt x="18851" y="99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58463C7B-29DD-B713-DB19-9B871EE77A02}"/>
                </a:ext>
              </a:extLst>
            </p:cNvPr>
            <p:cNvSpPr/>
            <p:nvPr/>
          </p:nvSpPr>
          <p:spPr>
            <a:xfrm>
              <a:off x="4236884" y="2773075"/>
              <a:ext cx="17846" cy="12253"/>
            </a:xfrm>
            <a:custGeom>
              <a:avLst/>
              <a:gdLst>
                <a:gd name="connsiteX0" fmla="*/ 17846 w 17846"/>
                <a:gd name="connsiteY0" fmla="*/ 4961 h 12253"/>
                <a:gd name="connsiteX1" fmla="*/ 5940 w 17846"/>
                <a:gd name="connsiteY1" fmla="*/ 11906 h 12253"/>
                <a:gd name="connsiteX2" fmla="*/ 483 w 17846"/>
                <a:gd name="connsiteY2" fmla="*/ 0 h 12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46" h="12253">
                  <a:moveTo>
                    <a:pt x="17846" y="4961"/>
                  </a:moveTo>
                  <a:cubicBezTo>
                    <a:pt x="16358" y="9922"/>
                    <a:pt x="10901" y="13394"/>
                    <a:pt x="5940" y="11906"/>
                  </a:cubicBezTo>
                  <a:cubicBezTo>
                    <a:pt x="979" y="10418"/>
                    <a:pt x="-1005" y="4961"/>
                    <a:pt x="48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D07F5EA8-4D51-AEBD-412C-DDF38B7F6F79}"/>
                </a:ext>
              </a:extLst>
            </p:cNvPr>
            <p:cNvSpPr/>
            <p:nvPr/>
          </p:nvSpPr>
          <p:spPr>
            <a:xfrm>
              <a:off x="4246793" y="2801352"/>
              <a:ext cx="10417" cy="20835"/>
            </a:xfrm>
            <a:custGeom>
              <a:avLst/>
              <a:gdLst>
                <a:gd name="connsiteX0" fmla="*/ 10418 w 10417"/>
                <a:gd name="connsiteY0" fmla="*/ 20835 h 20835"/>
                <a:gd name="connsiteX1" fmla="*/ 0 w 10417"/>
                <a:gd name="connsiteY1" fmla="*/ 9922 h 20835"/>
                <a:gd name="connsiteX2" fmla="*/ 10418 w 10417"/>
                <a:gd name="connsiteY2" fmla="*/ 0 h 2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7" h="20835">
                  <a:moveTo>
                    <a:pt x="10418" y="20835"/>
                  </a:moveTo>
                  <a:cubicBezTo>
                    <a:pt x="4961" y="20835"/>
                    <a:pt x="0" y="15378"/>
                    <a:pt x="0" y="9922"/>
                  </a:cubicBezTo>
                  <a:cubicBezTo>
                    <a:pt x="0" y="4465"/>
                    <a:pt x="4961" y="0"/>
                    <a:pt x="1041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86E74453-36FB-9C6D-9526-6FB43F80CB9D}"/>
                </a:ext>
              </a:extLst>
            </p:cNvPr>
            <p:cNvSpPr/>
            <p:nvPr/>
          </p:nvSpPr>
          <p:spPr>
            <a:xfrm>
              <a:off x="4198673" y="2850959"/>
              <a:ext cx="9425" cy="21827"/>
            </a:xfrm>
            <a:custGeom>
              <a:avLst/>
              <a:gdLst>
                <a:gd name="connsiteX0" fmla="*/ 0 w 9425"/>
                <a:gd name="connsiteY0" fmla="*/ 0 h 21827"/>
                <a:gd name="connsiteX1" fmla="*/ 9425 w 9425"/>
                <a:gd name="connsiteY1" fmla="*/ 10914 h 21827"/>
                <a:gd name="connsiteX2" fmla="*/ 0 w 9425"/>
                <a:gd name="connsiteY2" fmla="*/ 21827 h 2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21827">
                  <a:moveTo>
                    <a:pt x="0" y="0"/>
                  </a:moveTo>
                  <a:cubicBezTo>
                    <a:pt x="5457" y="0"/>
                    <a:pt x="9425" y="5457"/>
                    <a:pt x="9425" y="10914"/>
                  </a:cubicBezTo>
                  <a:cubicBezTo>
                    <a:pt x="9425" y="16371"/>
                    <a:pt x="5457" y="21827"/>
                    <a:pt x="0" y="21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596D28E7-224C-AA07-BB3C-97472FE6850F}"/>
                </a:ext>
              </a:extLst>
            </p:cNvPr>
            <p:cNvSpPr/>
            <p:nvPr/>
          </p:nvSpPr>
          <p:spPr>
            <a:xfrm>
              <a:off x="4198673" y="2894118"/>
              <a:ext cx="9425" cy="18850"/>
            </a:xfrm>
            <a:custGeom>
              <a:avLst/>
              <a:gdLst>
                <a:gd name="connsiteX0" fmla="*/ 0 w 9425"/>
                <a:gd name="connsiteY0" fmla="*/ 0 h 18850"/>
                <a:gd name="connsiteX1" fmla="*/ 9425 w 9425"/>
                <a:gd name="connsiteY1" fmla="*/ 8929 h 18850"/>
                <a:gd name="connsiteX2" fmla="*/ 0 w 9425"/>
                <a:gd name="connsiteY2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18850">
                  <a:moveTo>
                    <a:pt x="0" y="0"/>
                  </a:moveTo>
                  <a:cubicBezTo>
                    <a:pt x="5457" y="0"/>
                    <a:pt x="9425" y="3472"/>
                    <a:pt x="9425" y="8929"/>
                  </a:cubicBezTo>
                  <a:cubicBezTo>
                    <a:pt x="9425" y="14386"/>
                    <a:pt x="5457" y="18851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2872DCF9-789F-992B-A607-DD151521C87F}"/>
                </a:ext>
              </a:extLst>
            </p:cNvPr>
            <p:cNvSpPr/>
            <p:nvPr/>
          </p:nvSpPr>
          <p:spPr>
            <a:xfrm>
              <a:off x="4251257" y="2844510"/>
              <a:ext cx="10913" cy="19346"/>
            </a:xfrm>
            <a:custGeom>
              <a:avLst/>
              <a:gdLst>
                <a:gd name="connsiteX0" fmla="*/ 10914 w 10913"/>
                <a:gd name="connsiteY0" fmla="*/ 19347 h 19346"/>
                <a:gd name="connsiteX1" fmla="*/ 0 w 10913"/>
                <a:gd name="connsiteY1" fmla="*/ 9425 h 19346"/>
                <a:gd name="connsiteX2" fmla="*/ 10914 w 10913"/>
                <a:gd name="connsiteY2" fmla="*/ 0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13" h="19346">
                  <a:moveTo>
                    <a:pt x="10914" y="19347"/>
                  </a:moveTo>
                  <a:cubicBezTo>
                    <a:pt x="5457" y="19347"/>
                    <a:pt x="0" y="14882"/>
                    <a:pt x="0" y="9425"/>
                  </a:cubicBezTo>
                  <a:cubicBezTo>
                    <a:pt x="0" y="3969"/>
                    <a:pt x="5457" y="0"/>
                    <a:pt x="1091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46" name="Graphic 10">
              <a:extLst>
                <a:ext uri="{FF2B5EF4-FFF2-40B4-BE49-F238E27FC236}">
                  <a16:creationId xmlns:a16="http://schemas.microsoft.com/office/drawing/2014/main" id="{EC85210D-4A38-A81C-095D-79FDD8C8B40D}"/>
                </a:ext>
              </a:extLst>
            </p:cNvPr>
            <p:cNvGrpSpPr/>
            <p:nvPr/>
          </p:nvGrpSpPr>
          <p:grpSpPr>
            <a:xfrm>
              <a:off x="4026016" y="2464687"/>
              <a:ext cx="359256" cy="392493"/>
              <a:chOff x="4026016" y="2464687"/>
              <a:chExt cx="359256" cy="392493"/>
            </a:xfrm>
            <a:noFill/>
          </p:grpSpPr>
          <p:sp>
            <p:nvSpPr>
              <p:cNvPr id="1731" name="Freeform: Shape 1730">
                <a:extLst>
                  <a:ext uri="{FF2B5EF4-FFF2-40B4-BE49-F238E27FC236}">
                    <a16:creationId xmlns:a16="http://schemas.microsoft.com/office/drawing/2014/main" id="{8B240763-99A9-0949-D4A6-46C54FD33AAA}"/>
                  </a:ext>
                </a:extLst>
              </p:cNvPr>
              <p:cNvSpPr/>
              <p:nvPr/>
            </p:nvSpPr>
            <p:spPr>
              <a:xfrm>
                <a:off x="4037644" y="2464687"/>
                <a:ext cx="334822" cy="331207"/>
              </a:xfrm>
              <a:custGeom>
                <a:avLst/>
                <a:gdLst>
                  <a:gd name="connsiteX0" fmla="*/ 4765 w 334822"/>
                  <a:gd name="connsiteY0" fmla="*/ 330712 h 331207"/>
                  <a:gd name="connsiteX1" fmla="*/ 3277 w 334822"/>
                  <a:gd name="connsiteY1" fmla="*/ 314341 h 331207"/>
                  <a:gd name="connsiteX2" fmla="*/ 4269 w 334822"/>
                  <a:gd name="connsiteY2" fmla="*/ 297971 h 331207"/>
                  <a:gd name="connsiteX3" fmla="*/ 3277 w 334822"/>
                  <a:gd name="connsiteY3" fmla="*/ 281600 h 331207"/>
                  <a:gd name="connsiteX4" fmla="*/ 3773 w 334822"/>
                  <a:gd name="connsiteY4" fmla="*/ 265230 h 331207"/>
                  <a:gd name="connsiteX5" fmla="*/ 3277 w 334822"/>
                  <a:gd name="connsiteY5" fmla="*/ 248859 h 331207"/>
                  <a:gd name="connsiteX6" fmla="*/ 2781 w 334822"/>
                  <a:gd name="connsiteY6" fmla="*/ 232489 h 331207"/>
                  <a:gd name="connsiteX7" fmla="*/ 3773 w 334822"/>
                  <a:gd name="connsiteY7" fmla="*/ 216118 h 331207"/>
                  <a:gd name="connsiteX8" fmla="*/ 3277 w 334822"/>
                  <a:gd name="connsiteY8" fmla="*/ 199747 h 331207"/>
                  <a:gd name="connsiteX9" fmla="*/ 4269 w 334822"/>
                  <a:gd name="connsiteY9" fmla="*/ 183377 h 331207"/>
                  <a:gd name="connsiteX10" fmla="*/ 2781 w 334822"/>
                  <a:gd name="connsiteY10" fmla="*/ 167006 h 331207"/>
                  <a:gd name="connsiteX11" fmla="*/ 3773 w 334822"/>
                  <a:gd name="connsiteY11" fmla="*/ 150636 h 331207"/>
                  <a:gd name="connsiteX12" fmla="*/ 3277 w 334822"/>
                  <a:gd name="connsiteY12" fmla="*/ 134265 h 331207"/>
                  <a:gd name="connsiteX13" fmla="*/ 3773 w 334822"/>
                  <a:gd name="connsiteY13" fmla="*/ 117894 h 331207"/>
                  <a:gd name="connsiteX14" fmla="*/ 4269 w 334822"/>
                  <a:gd name="connsiteY14" fmla="*/ 101524 h 331207"/>
                  <a:gd name="connsiteX15" fmla="*/ 2285 w 334822"/>
                  <a:gd name="connsiteY15" fmla="*/ 85153 h 331207"/>
                  <a:gd name="connsiteX16" fmla="*/ 4269 w 334822"/>
                  <a:gd name="connsiteY16" fmla="*/ 68783 h 331207"/>
                  <a:gd name="connsiteX17" fmla="*/ 3277 w 334822"/>
                  <a:gd name="connsiteY17" fmla="*/ 52412 h 331207"/>
                  <a:gd name="connsiteX18" fmla="*/ 3277 w 334822"/>
                  <a:gd name="connsiteY18" fmla="*/ 36042 h 331207"/>
                  <a:gd name="connsiteX19" fmla="*/ 2285 w 334822"/>
                  <a:gd name="connsiteY19" fmla="*/ 19671 h 331207"/>
                  <a:gd name="connsiteX20" fmla="*/ 2781 w 334822"/>
                  <a:gd name="connsiteY20" fmla="*/ 2308 h 331207"/>
                  <a:gd name="connsiteX21" fmla="*/ 20144 w 334822"/>
                  <a:gd name="connsiteY21" fmla="*/ 3797 h 331207"/>
                  <a:gd name="connsiteX22" fmla="*/ 36514 w 334822"/>
                  <a:gd name="connsiteY22" fmla="*/ 3797 h 331207"/>
                  <a:gd name="connsiteX23" fmla="*/ 52885 w 334822"/>
                  <a:gd name="connsiteY23" fmla="*/ 3797 h 331207"/>
                  <a:gd name="connsiteX24" fmla="*/ 69255 w 334822"/>
                  <a:gd name="connsiteY24" fmla="*/ 2308 h 331207"/>
                  <a:gd name="connsiteX25" fmla="*/ 85626 w 334822"/>
                  <a:gd name="connsiteY25" fmla="*/ 3797 h 331207"/>
                  <a:gd name="connsiteX26" fmla="*/ 101996 w 334822"/>
                  <a:gd name="connsiteY26" fmla="*/ 2308 h 331207"/>
                  <a:gd name="connsiteX27" fmla="*/ 118367 w 334822"/>
                  <a:gd name="connsiteY27" fmla="*/ 2308 h 331207"/>
                  <a:gd name="connsiteX28" fmla="*/ 134738 w 334822"/>
                  <a:gd name="connsiteY28" fmla="*/ 2804 h 331207"/>
                  <a:gd name="connsiteX29" fmla="*/ 151108 w 334822"/>
                  <a:gd name="connsiteY29" fmla="*/ 2804 h 331207"/>
                  <a:gd name="connsiteX30" fmla="*/ 167479 w 334822"/>
                  <a:gd name="connsiteY30" fmla="*/ 3300 h 331207"/>
                  <a:gd name="connsiteX31" fmla="*/ 183849 w 334822"/>
                  <a:gd name="connsiteY31" fmla="*/ 2804 h 331207"/>
                  <a:gd name="connsiteX32" fmla="*/ 200220 w 334822"/>
                  <a:gd name="connsiteY32" fmla="*/ 2804 h 331207"/>
                  <a:gd name="connsiteX33" fmla="*/ 216591 w 334822"/>
                  <a:gd name="connsiteY33" fmla="*/ 4293 h 331207"/>
                  <a:gd name="connsiteX34" fmla="*/ 232961 w 334822"/>
                  <a:gd name="connsiteY34" fmla="*/ 4293 h 331207"/>
                  <a:gd name="connsiteX35" fmla="*/ 249332 w 334822"/>
                  <a:gd name="connsiteY35" fmla="*/ 3300 h 331207"/>
                  <a:gd name="connsiteX36" fmla="*/ 265702 w 334822"/>
                  <a:gd name="connsiteY36" fmla="*/ 2804 h 331207"/>
                  <a:gd name="connsiteX37" fmla="*/ 282073 w 334822"/>
                  <a:gd name="connsiteY37" fmla="*/ 4789 h 331207"/>
                  <a:gd name="connsiteX38" fmla="*/ 298443 w 334822"/>
                  <a:gd name="connsiteY38" fmla="*/ 2804 h 331207"/>
                  <a:gd name="connsiteX39" fmla="*/ 314814 w 334822"/>
                  <a:gd name="connsiteY39" fmla="*/ 4789 h 331207"/>
                  <a:gd name="connsiteX40" fmla="*/ 332177 w 334822"/>
                  <a:gd name="connsiteY40" fmla="*/ 2804 h 331207"/>
                  <a:gd name="connsiteX41" fmla="*/ 332177 w 334822"/>
                  <a:gd name="connsiteY41" fmla="*/ 20167 h 331207"/>
                  <a:gd name="connsiteX42" fmla="*/ 331184 w 334822"/>
                  <a:gd name="connsiteY42" fmla="*/ 36538 h 331207"/>
                  <a:gd name="connsiteX43" fmla="*/ 332177 w 334822"/>
                  <a:gd name="connsiteY43" fmla="*/ 52908 h 331207"/>
                  <a:gd name="connsiteX44" fmla="*/ 330688 w 334822"/>
                  <a:gd name="connsiteY44" fmla="*/ 69279 h 331207"/>
                  <a:gd name="connsiteX45" fmla="*/ 332177 w 334822"/>
                  <a:gd name="connsiteY45" fmla="*/ 85649 h 331207"/>
                  <a:gd name="connsiteX46" fmla="*/ 331184 w 334822"/>
                  <a:gd name="connsiteY46" fmla="*/ 102020 h 331207"/>
                  <a:gd name="connsiteX47" fmla="*/ 331184 w 334822"/>
                  <a:gd name="connsiteY47" fmla="*/ 118391 h 331207"/>
                  <a:gd name="connsiteX48" fmla="*/ 330192 w 334822"/>
                  <a:gd name="connsiteY48" fmla="*/ 134761 h 331207"/>
                  <a:gd name="connsiteX49" fmla="*/ 330192 w 334822"/>
                  <a:gd name="connsiteY49" fmla="*/ 151132 h 331207"/>
                  <a:gd name="connsiteX50" fmla="*/ 330192 w 334822"/>
                  <a:gd name="connsiteY50" fmla="*/ 167502 h 331207"/>
                  <a:gd name="connsiteX51" fmla="*/ 331680 w 334822"/>
                  <a:gd name="connsiteY51" fmla="*/ 183873 h 331207"/>
                  <a:gd name="connsiteX52" fmla="*/ 329696 w 334822"/>
                  <a:gd name="connsiteY52" fmla="*/ 200243 h 331207"/>
                  <a:gd name="connsiteX53" fmla="*/ 330688 w 334822"/>
                  <a:gd name="connsiteY53" fmla="*/ 216614 h 331207"/>
                  <a:gd name="connsiteX54" fmla="*/ 331680 w 334822"/>
                  <a:gd name="connsiteY54" fmla="*/ 232984 h 331207"/>
                  <a:gd name="connsiteX55" fmla="*/ 330688 w 334822"/>
                  <a:gd name="connsiteY55" fmla="*/ 249355 h 331207"/>
                  <a:gd name="connsiteX56" fmla="*/ 330688 w 334822"/>
                  <a:gd name="connsiteY56" fmla="*/ 265726 h 331207"/>
                  <a:gd name="connsiteX57" fmla="*/ 330192 w 334822"/>
                  <a:gd name="connsiteY57" fmla="*/ 282096 h 331207"/>
                  <a:gd name="connsiteX58" fmla="*/ 331680 w 334822"/>
                  <a:gd name="connsiteY58" fmla="*/ 298467 h 331207"/>
                  <a:gd name="connsiteX59" fmla="*/ 330688 w 334822"/>
                  <a:gd name="connsiteY59" fmla="*/ 314837 h 331207"/>
                  <a:gd name="connsiteX60" fmla="*/ 330688 w 334822"/>
                  <a:gd name="connsiteY60" fmla="*/ 331208 h 33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34822" h="331207">
                    <a:moveTo>
                      <a:pt x="4765" y="330712"/>
                    </a:moveTo>
                    <a:cubicBezTo>
                      <a:pt x="4765" y="322278"/>
                      <a:pt x="3277" y="322278"/>
                      <a:pt x="3277" y="314341"/>
                    </a:cubicBezTo>
                    <a:cubicBezTo>
                      <a:pt x="3277" y="305908"/>
                      <a:pt x="4269" y="305908"/>
                      <a:pt x="4269" y="297971"/>
                    </a:cubicBezTo>
                    <a:cubicBezTo>
                      <a:pt x="4269" y="289537"/>
                      <a:pt x="3277" y="289537"/>
                      <a:pt x="3277" y="281600"/>
                    </a:cubicBezTo>
                    <a:cubicBezTo>
                      <a:pt x="3277" y="273167"/>
                      <a:pt x="3773" y="273167"/>
                      <a:pt x="3773" y="265230"/>
                    </a:cubicBezTo>
                    <a:cubicBezTo>
                      <a:pt x="3773" y="256796"/>
                      <a:pt x="3277" y="256796"/>
                      <a:pt x="3277" y="248859"/>
                    </a:cubicBezTo>
                    <a:cubicBezTo>
                      <a:pt x="3277" y="240426"/>
                      <a:pt x="2781" y="240426"/>
                      <a:pt x="2781" y="232489"/>
                    </a:cubicBezTo>
                    <a:cubicBezTo>
                      <a:pt x="2781" y="224055"/>
                      <a:pt x="3773" y="224055"/>
                      <a:pt x="3773" y="216118"/>
                    </a:cubicBezTo>
                    <a:cubicBezTo>
                      <a:pt x="3773" y="207685"/>
                      <a:pt x="3277" y="207685"/>
                      <a:pt x="3277" y="199747"/>
                    </a:cubicBezTo>
                    <a:cubicBezTo>
                      <a:pt x="3277" y="191314"/>
                      <a:pt x="4269" y="191314"/>
                      <a:pt x="4269" y="183377"/>
                    </a:cubicBezTo>
                    <a:cubicBezTo>
                      <a:pt x="4269" y="174943"/>
                      <a:pt x="2781" y="174943"/>
                      <a:pt x="2781" y="167006"/>
                    </a:cubicBezTo>
                    <a:cubicBezTo>
                      <a:pt x="2781" y="158573"/>
                      <a:pt x="3773" y="158573"/>
                      <a:pt x="3773" y="150636"/>
                    </a:cubicBezTo>
                    <a:cubicBezTo>
                      <a:pt x="3773" y="142202"/>
                      <a:pt x="3277" y="142202"/>
                      <a:pt x="3277" y="134265"/>
                    </a:cubicBezTo>
                    <a:cubicBezTo>
                      <a:pt x="3277" y="125832"/>
                      <a:pt x="3773" y="125832"/>
                      <a:pt x="3773" y="117894"/>
                    </a:cubicBezTo>
                    <a:cubicBezTo>
                      <a:pt x="3773" y="109957"/>
                      <a:pt x="4269" y="109461"/>
                      <a:pt x="4269" y="101524"/>
                    </a:cubicBezTo>
                    <a:cubicBezTo>
                      <a:pt x="4269" y="93090"/>
                      <a:pt x="2285" y="93090"/>
                      <a:pt x="2285" y="85153"/>
                    </a:cubicBezTo>
                    <a:cubicBezTo>
                      <a:pt x="2285" y="76720"/>
                      <a:pt x="4269" y="76720"/>
                      <a:pt x="4269" y="68783"/>
                    </a:cubicBezTo>
                    <a:cubicBezTo>
                      <a:pt x="4269" y="60349"/>
                      <a:pt x="3277" y="60349"/>
                      <a:pt x="3277" y="52412"/>
                    </a:cubicBezTo>
                    <a:cubicBezTo>
                      <a:pt x="3277" y="43979"/>
                      <a:pt x="3277" y="43979"/>
                      <a:pt x="3277" y="36042"/>
                    </a:cubicBezTo>
                    <a:cubicBezTo>
                      <a:pt x="3277" y="27608"/>
                      <a:pt x="2285" y="27608"/>
                      <a:pt x="2285" y="19671"/>
                    </a:cubicBezTo>
                    <a:cubicBezTo>
                      <a:pt x="2285" y="11734"/>
                      <a:pt x="-3172" y="8261"/>
                      <a:pt x="2781" y="2308"/>
                    </a:cubicBezTo>
                    <a:cubicBezTo>
                      <a:pt x="8734" y="-3645"/>
                      <a:pt x="11710" y="3797"/>
                      <a:pt x="20144" y="3797"/>
                    </a:cubicBezTo>
                    <a:cubicBezTo>
                      <a:pt x="28577" y="3797"/>
                      <a:pt x="28577" y="3797"/>
                      <a:pt x="36514" y="3797"/>
                    </a:cubicBezTo>
                    <a:cubicBezTo>
                      <a:pt x="44947" y="3797"/>
                      <a:pt x="44947" y="3797"/>
                      <a:pt x="52885" y="3797"/>
                    </a:cubicBezTo>
                    <a:cubicBezTo>
                      <a:pt x="61318" y="3797"/>
                      <a:pt x="61318" y="2308"/>
                      <a:pt x="69255" y="2308"/>
                    </a:cubicBezTo>
                    <a:cubicBezTo>
                      <a:pt x="77689" y="2308"/>
                      <a:pt x="77689" y="3797"/>
                      <a:pt x="85626" y="3797"/>
                    </a:cubicBezTo>
                    <a:cubicBezTo>
                      <a:pt x="94059" y="3797"/>
                      <a:pt x="94059" y="2308"/>
                      <a:pt x="101996" y="2308"/>
                    </a:cubicBezTo>
                    <a:cubicBezTo>
                      <a:pt x="110430" y="2308"/>
                      <a:pt x="110430" y="2308"/>
                      <a:pt x="118367" y="2308"/>
                    </a:cubicBezTo>
                    <a:cubicBezTo>
                      <a:pt x="126800" y="2308"/>
                      <a:pt x="126800" y="2804"/>
                      <a:pt x="134738" y="2804"/>
                    </a:cubicBezTo>
                    <a:cubicBezTo>
                      <a:pt x="143171" y="2804"/>
                      <a:pt x="143171" y="2804"/>
                      <a:pt x="151108" y="2804"/>
                    </a:cubicBezTo>
                    <a:cubicBezTo>
                      <a:pt x="159542" y="2804"/>
                      <a:pt x="159542" y="3300"/>
                      <a:pt x="167479" y="3300"/>
                    </a:cubicBezTo>
                    <a:cubicBezTo>
                      <a:pt x="175912" y="3300"/>
                      <a:pt x="175912" y="2804"/>
                      <a:pt x="183849" y="2804"/>
                    </a:cubicBezTo>
                    <a:cubicBezTo>
                      <a:pt x="192283" y="2804"/>
                      <a:pt x="192283" y="2804"/>
                      <a:pt x="200220" y="2804"/>
                    </a:cubicBezTo>
                    <a:cubicBezTo>
                      <a:pt x="208653" y="2804"/>
                      <a:pt x="208653" y="4293"/>
                      <a:pt x="216591" y="4293"/>
                    </a:cubicBezTo>
                    <a:cubicBezTo>
                      <a:pt x="224528" y="4293"/>
                      <a:pt x="225024" y="4293"/>
                      <a:pt x="232961" y="4293"/>
                    </a:cubicBezTo>
                    <a:cubicBezTo>
                      <a:pt x="241394" y="4293"/>
                      <a:pt x="241394" y="3300"/>
                      <a:pt x="249332" y="3300"/>
                    </a:cubicBezTo>
                    <a:cubicBezTo>
                      <a:pt x="257765" y="3300"/>
                      <a:pt x="257765" y="2804"/>
                      <a:pt x="265702" y="2804"/>
                    </a:cubicBezTo>
                    <a:cubicBezTo>
                      <a:pt x="274135" y="2804"/>
                      <a:pt x="274135" y="4789"/>
                      <a:pt x="282073" y="4789"/>
                    </a:cubicBezTo>
                    <a:cubicBezTo>
                      <a:pt x="290506" y="4789"/>
                      <a:pt x="290506" y="2804"/>
                      <a:pt x="298443" y="2804"/>
                    </a:cubicBezTo>
                    <a:cubicBezTo>
                      <a:pt x="306876" y="2804"/>
                      <a:pt x="306876" y="4789"/>
                      <a:pt x="314814" y="4789"/>
                    </a:cubicBezTo>
                    <a:cubicBezTo>
                      <a:pt x="322751" y="4789"/>
                      <a:pt x="326224" y="-3149"/>
                      <a:pt x="332177" y="2804"/>
                    </a:cubicBezTo>
                    <a:cubicBezTo>
                      <a:pt x="338130" y="8757"/>
                      <a:pt x="332177" y="11734"/>
                      <a:pt x="332177" y="20167"/>
                    </a:cubicBezTo>
                    <a:cubicBezTo>
                      <a:pt x="332177" y="28600"/>
                      <a:pt x="331184" y="28600"/>
                      <a:pt x="331184" y="36538"/>
                    </a:cubicBezTo>
                    <a:cubicBezTo>
                      <a:pt x="331184" y="44971"/>
                      <a:pt x="332177" y="44971"/>
                      <a:pt x="332177" y="52908"/>
                    </a:cubicBezTo>
                    <a:cubicBezTo>
                      <a:pt x="332177" y="61342"/>
                      <a:pt x="330688" y="61342"/>
                      <a:pt x="330688" y="69279"/>
                    </a:cubicBezTo>
                    <a:cubicBezTo>
                      <a:pt x="330688" y="77712"/>
                      <a:pt x="332177" y="77712"/>
                      <a:pt x="332177" y="85649"/>
                    </a:cubicBezTo>
                    <a:cubicBezTo>
                      <a:pt x="332177" y="94083"/>
                      <a:pt x="331184" y="94083"/>
                      <a:pt x="331184" y="102020"/>
                    </a:cubicBezTo>
                    <a:cubicBezTo>
                      <a:pt x="331184" y="110453"/>
                      <a:pt x="331184" y="110453"/>
                      <a:pt x="331184" y="118391"/>
                    </a:cubicBezTo>
                    <a:cubicBezTo>
                      <a:pt x="331184" y="126824"/>
                      <a:pt x="330192" y="126824"/>
                      <a:pt x="330192" y="134761"/>
                    </a:cubicBezTo>
                    <a:cubicBezTo>
                      <a:pt x="330192" y="143194"/>
                      <a:pt x="330192" y="143194"/>
                      <a:pt x="330192" y="151132"/>
                    </a:cubicBezTo>
                    <a:cubicBezTo>
                      <a:pt x="330192" y="159565"/>
                      <a:pt x="330192" y="159565"/>
                      <a:pt x="330192" y="167502"/>
                    </a:cubicBezTo>
                    <a:cubicBezTo>
                      <a:pt x="330192" y="175936"/>
                      <a:pt x="331680" y="175936"/>
                      <a:pt x="331680" y="183873"/>
                    </a:cubicBezTo>
                    <a:cubicBezTo>
                      <a:pt x="331680" y="192306"/>
                      <a:pt x="329696" y="192306"/>
                      <a:pt x="329696" y="200243"/>
                    </a:cubicBezTo>
                    <a:cubicBezTo>
                      <a:pt x="329696" y="208677"/>
                      <a:pt x="330688" y="208677"/>
                      <a:pt x="330688" y="216614"/>
                    </a:cubicBezTo>
                    <a:cubicBezTo>
                      <a:pt x="330688" y="224551"/>
                      <a:pt x="331680" y="225047"/>
                      <a:pt x="331680" y="232984"/>
                    </a:cubicBezTo>
                    <a:cubicBezTo>
                      <a:pt x="331680" y="241418"/>
                      <a:pt x="330688" y="241418"/>
                      <a:pt x="330688" y="249355"/>
                    </a:cubicBezTo>
                    <a:cubicBezTo>
                      <a:pt x="330688" y="257788"/>
                      <a:pt x="330688" y="257788"/>
                      <a:pt x="330688" y="265726"/>
                    </a:cubicBezTo>
                    <a:cubicBezTo>
                      <a:pt x="330688" y="274159"/>
                      <a:pt x="330192" y="274159"/>
                      <a:pt x="330192" y="282096"/>
                    </a:cubicBezTo>
                    <a:cubicBezTo>
                      <a:pt x="330192" y="290530"/>
                      <a:pt x="331680" y="290530"/>
                      <a:pt x="331680" y="298467"/>
                    </a:cubicBezTo>
                    <a:cubicBezTo>
                      <a:pt x="331680" y="306900"/>
                      <a:pt x="330688" y="306900"/>
                      <a:pt x="330688" y="314837"/>
                    </a:cubicBezTo>
                    <a:cubicBezTo>
                      <a:pt x="330688" y="322775"/>
                      <a:pt x="330688" y="323271"/>
                      <a:pt x="330688" y="33120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2" name="Freeform: Shape 1731">
                <a:extLst>
                  <a:ext uri="{FF2B5EF4-FFF2-40B4-BE49-F238E27FC236}">
                    <a16:creationId xmlns:a16="http://schemas.microsoft.com/office/drawing/2014/main" id="{3C1836E0-2D4B-E4B5-620D-C93597C87264}"/>
                  </a:ext>
                </a:extLst>
              </p:cNvPr>
              <p:cNvSpPr/>
              <p:nvPr/>
            </p:nvSpPr>
            <p:spPr>
              <a:xfrm>
                <a:off x="4055975" y="2597139"/>
                <a:ext cx="301145" cy="40548"/>
              </a:xfrm>
              <a:custGeom>
                <a:avLst/>
                <a:gdLst>
                  <a:gd name="connsiteX0" fmla="*/ 297971 w 301145"/>
                  <a:gd name="connsiteY0" fmla="*/ 37530 h 40548"/>
                  <a:gd name="connsiteX1" fmla="*/ 281104 w 301145"/>
                  <a:gd name="connsiteY1" fmla="*/ 36538 h 40548"/>
                  <a:gd name="connsiteX2" fmla="*/ 264733 w 301145"/>
                  <a:gd name="connsiteY2" fmla="*/ 37530 h 40548"/>
                  <a:gd name="connsiteX3" fmla="*/ 248363 w 301145"/>
                  <a:gd name="connsiteY3" fmla="*/ 37530 h 40548"/>
                  <a:gd name="connsiteX4" fmla="*/ 231992 w 301145"/>
                  <a:gd name="connsiteY4" fmla="*/ 38522 h 40548"/>
                  <a:gd name="connsiteX5" fmla="*/ 215622 w 301145"/>
                  <a:gd name="connsiteY5" fmla="*/ 37530 h 40548"/>
                  <a:gd name="connsiteX6" fmla="*/ 199251 w 301145"/>
                  <a:gd name="connsiteY6" fmla="*/ 37530 h 40548"/>
                  <a:gd name="connsiteX7" fmla="*/ 182881 w 301145"/>
                  <a:gd name="connsiteY7" fmla="*/ 36042 h 40548"/>
                  <a:gd name="connsiteX8" fmla="*/ 166510 w 301145"/>
                  <a:gd name="connsiteY8" fmla="*/ 38522 h 40548"/>
                  <a:gd name="connsiteX9" fmla="*/ 150139 w 301145"/>
                  <a:gd name="connsiteY9" fmla="*/ 36538 h 40548"/>
                  <a:gd name="connsiteX10" fmla="*/ 133769 w 301145"/>
                  <a:gd name="connsiteY10" fmla="*/ 36538 h 40548"/>
                  <a:gd name="connsiteX11" fmla="*/ 117398 w 301145"/>
                  <a:gd name="connsiteY11" fmla="*/ 37530 h 40548"/>
                  <a:gd name="connsiteX12" fmla="*/ 101028 w 301145"/>
                  <a:gd name="connsiteY12" fmla="*/ 37034 h 40548"/>
                  <a:gd name="connsiteX13" fmla="*/ 84657 w 301145"/>
                  <a:gd name="connsiteY13" fmla="*/ 36042 h 40548"/>
                  <a:gd name="connsiteX14" fmla="*/ 68287 w 301145"/>
                  <a:gd name="connsiteY14" fmla="*/ 36042 h 40548"/>
                  <a:gd name="connsiteX15" fmla="*/ 51916 w 301145"/>
                  <a:gd name="connsiteY15" fmla="*/ 38522 h 40548"/>
                  <a:gd name="connsiteX16" fmla="*/ 35545 w 301145"/>
                  <a:gd name="connsiteY16" fmla="*/ 36538 h 40548"/>
                  <a:gd name="connsiteX17" fmla="*/ 19175 w 301145"/>
                  <a:gd name="connsiteY17" fmla="*/ 37530 h 40548"/>
                  <a:gd name="connsiteX18" fmla="*/ 2308 w 301145"/>
                  <a:gd name="connsiteY18" fmla="*/ 38026 h 40548"/>
                  <a:gd name="connsiteX19" fmla="*/ 3796 w 301145"/>
                  <a:gd name="connsiteY19" fmla="*/ 20167 h 40548"/>
                  <a:gd name="connsiteX20" fmla="*/ 2308 w 301145"/>
                  <a:gd name="connsiteY20" fmla="*/ 2308 h 40548"/>
                  <a:gd name="connsiteX21" fmla="*/ 19175 w 301145"/>
                  <a:gd name="connsiteY21" fmla="*/ 3796 h 40548"/>
                  <a:gd name="connsiteX22" fmla="*/ 35545 w 301145"/>
                  <a:gd name="connsiteY22" fmla="*/ 2804 h 40548"/>
                  <a:gd name="connsiteX23" fmla="*/ 51916 w 301145"/>
                  <a:gd name="connsiteY23" fmla="*/ 1812 h 40548"/>
                  <a:gd name="connsiteX24" fmla="*/ 68287 w 301145"/>
                  <a:gd name="connsiteY24" fmla="*/ 2804 h 40548"/>
                  <a:gd name="connsiteX25" fmla="*/ 84657 w 301145"/>
                  <a:gd name="connsiteY25" fmla="*/ 2804 h 40548"/>
                  <a:gd name="connsiteX26" fmla="*/ 101028 w 301145"/>
                  <a:gd name="connsiteY26" fmla="*/ 3301 h 40548"/>
                  <a:gd name="connsiteX27" fmla="*/ 117398 w 301145"/>
                  <a:gd name="connsiteY27" fmla="*/ 2308 h 40548"/>
                  <a:gd name="connsiteX28" fmla="*/ 133769 w 301145"/>
                  <a:gd name="connsiteY28" fmla="*/ 3796 h 40548"/>
                  <a:gd name="connsiteX29" fmla="*/ 150139 w 301145"/>
                  <a:gd name="connsiteY29" fmla="*/ 1812 h 40548"/>
                  <a:gd name="connsiteX30" fmla="*/ 166510 w 301145"/>
                  <a:gd name="connsiteY30" fmla="*/ 2804 h 40548"/>
                  <a:gd name="connsiteX31" fmla="*/ 182881 w 301145"/>
                  <a:gd name="connsiteY31" fmla="*/ 2804 h 40548"/>
                  <a:gd name="connsiteX32" fmla="*/ 199251 w 301145"/>
                  <a:gd name="connsiteY32" fmla="*/ 2308 h 40548"/>
                  <a:gd name="connsiteX33" fmla="*/ 215622 w 301145"/>
                  <a:gd name="connsiteY33" fmla="*/ 2804 h 40548"/>
                  <a:gd name="connsiteX34" fmla="*/ 231992 w 301145"/>
                  <a:gd name="connsiteY34" fmla="*/ 1812 h 40548"/>
                  <a:gd name="connsiteX35" fmla="*/ 248363 w 301145"/>
                  <a:gd name="connsiteY35" fmla="*/ 1812 h 40548"/>
                  <a:gd name="connsiteX36" fmla="*/ 264733 w 301145"/>
                  <a:gd name="connsiteY36" fmla="*/ 2308 h 40548"/>
                  <a:gd name="connsiteX37" fmla="*/ 281104 w 301145"/>
                  <a:gd name="connsiteY37" fmla="*/ 3796 h 40548"/>
                  <a:gd name="connsiteX38" fmla="*/ 297971 w 301145"/>
                  <a:gd name="connsiteY38" fmla="*/ 2308 h 40548"/>
                  <a:gd name="connsiteX39" fmla="*/ 298467 w 301145"/>
                  <a:gd name="connsiteY39" fmla="*/ 19671 h 40548"/>
                  <a:gd name="connsiteX40" fmla="*/ 297971 w 301145"/>
                  <a:gd name="connsiteY40" fmla="*/ 37530 h 4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1145" h="40548">
                    <a:moveTo>
                      <a:pt x="297971" y="37530"/>
                    </a:moveTo>
                    <a:cubicBezTo>
                      <a:pt x="292514" y="43483"/>
                      <a:pt x="289537" y="36538"/>
                      <a:pt x="281104" y="36538"/>
                    </a:cubicBezTo>
                    <a:cubicBezTo>
                      <a:pt x="273167" y="36538"/>
                      <a:pt x="273167" y="37530"/>
                      <a:pt x="264733" y="37530"/>
                    </a:cubicBezTo>
                    <a:cubicBezTo>
                      <a:pt x="256796" y="37530"/>
                      <a:pt x="256796" y="37530"/>
                      <a:pt x="248363" y="37530"/>
                    </a:cubicBezTo>
                    <a:cubicBezTo>
                      <a:pt x="239929" y="37530"/>
                      <a:pt x="239929" y="38522"/>
                      <a:pt x="231992" y="38522"/>
                    </a:cubicBezTo>
                    <a:cubicBezTo>
                      <a:pt x="224055" y="38522"/>
                      <a:pt x="224055" y="37530"/>
                      <a:pt x="215622" y="37530"/>
                    </a:cubicBezTo>
                    <a:cubicBezTo>
                      <a:pt x="207188" y="37530"/>
                      <a:pt x="207188" y="37530"/>
                      <a:pt x="199251" y="37530"/>
                    </a:cubicBezTo>
                    <a:cubicBezTo>
                      <a:pt x="191314" y="37530"/>
                      <a:pt x="191314" y="36042"/>
                      <a:pt x="182881" y="36042"/>
                    </a:cubicBezTo>
                    <a:cubicBezTo>
                      <a:pt x="174447" y="36042"/>
                      <a:pt x="174447" y="38522"/>
                      <a:pt x="166510" y="38522"/>
                    </a:cubicBezTo>
                    <a:cubicBezTo>
                      <a:pt x="158077" y="38522"/>
                      <a:pt x="158077" y="36538"/>
                      <a:pt x="150139" y="36538"/>
                    </a:cubicBezTo>
                    <a:cubicBezTo>
                      <a:pt x="141706" y="36538"/>
                      <a:pt x="141706" y="36538"/>
                      <a:pt x="133769" y="36538"/>
                    </a:cubicBezTo>
                    <a:cubicBezTo>
                      <a:pt x="125336" y="36538"/>
                      <a:pt x="125336" y="37530"/>
                      <a:pt x="117398" y="37530"/>
                    </a:cubicBezTo>
                    <a:cubicBezTo>
                      <a:pt x="108965" y="37530"/>
                      <a:pt x="108965" y="37034"/>
                      <a:pt x="101028" y="37034"/>
                    </a:cubicBezTo>
                    <a:cubicBezTo>
                      <a:pt x="92594" y="37034"/>
                      <a:pt x="92594" y="36042"/>
                      <a:pt x="84657" y="36042"/>
                    </a:cubicBezTo>
                    <a:cubicBezTo>
                      <a:pt x="76224" y="36042"/>
                      <a:pt x="76224" y="36042"/>
                      <a:pt x="68287" y="36042"/>
                    </a:cubicBezTo>
                    <a:cubicBezTo>
                      <a:pt x="59853" y="36042"/>
                      <a:pt x="59853" y="38522"/>
                      <a:pt x="51916" y="38522"/>
                    </a:cubicBezTo>
                    <a:cubicBezTo>
                      <a:pt x="43483" y="38522"/>
                      <a:pt x="43483" y="36538"/>
                      <a:pt x="35545" y="36538"/>
                    </a:cubicBezTo>
                    <a:cubicBezTo>
                      <a:pt x="27112" y="36538"/>
                      <a:pt x="27112" y="37530"/>
                      <a:pt x="19175" y="37530"/>
                    </a:cubicBezTo>
                    <a:cubicBezTo>
                      <a:pt x="11238" y="37530"/>
                      <a:pt x="7765" y="43979"/>
                      <a:pt x="2308" y="38026"/>
                    </a:cubicBezTo>
                    <a:cubicBezTo>
                      <a:pt x="-3645" y="31577"/>
                      <a:pt x="3796" y="28600"/>
                      <a:pt x="3796" y="20167"/>
                    </a:cubicBezTo>
                    <a:cubicBezTo>
                      <a:pt x="3796" y="11734"/>
                      <a:pt x="-3645" y="8261"/>
                      <a:pt x="2308" y="2308"/>
                    </a:cubicBezTo>
                    <a:cubicBezTo>
                      <a:pt x="7765" y="-3645"/>
                      <a:pt x="11238" y="3796"/>
                      <a:pt x="19175" y="3796"/>
                    </a:cubicBezTo>
                    <a:cubicBezTo>
                      <a:pt x="27112" y="3796"/>
                      <a:pt x="27112" y="2804"/>
                      <a:pt x="35545" y="2804"/>
                    </a:cubicBezTo>
                    <a:cubicBezTo>
                      <a:pt x="43483" y="2804"/>
                      <a:pt x="43483" y="1812"/>
                      <a:pt x="51916" y="1812"/>
                    </a:cubicBezTo>
                    <a:cubicBezTo>
                      <a:pt x="60349" y="1812"/>
                      <a:pt x="60349" y="2804"/>
                      <a:pt x="68287" y="2804"/>
                    </a:cubicBezTo>
                    <a:cubicBezTo>
                      <a:pt x="76224" y="2804"/>
                      <a:pt x="76224" y="2804"/>
                      <a:pt x="84657" y="2804"/>
                    </a:cubicBezTo>
                    <a:cubicBezTo>
                      <a:pt x="93091" y="2804"/>
                      <a:pt x="93091" y="3301"/>
                      <a:pt x="101028" y="3301"/>
                    </a:cubicBezTo>
                    <a:cubicBezTo>
                      <a:pt x="108965" y="3301"/>
                      <a:pt x="108965" y="2308"/>
                      <a:pt x="117398" y="2308"/>
                    </a:cubicBezTo>
                    <a:cubicBezTo>
                      <a:pt x="125832" y="2308"/>
                      <a:pt x="125832" y="3796"/>
                      <a:pt x="133769" y="3796"/>
                    </a:cubicBezTo>
                    <a:cubicBezTo>
                      <a:pt x="142202" y="3796"/>
                      <a:pt x="142202" y="1812"/>
                      <a:pt x="150139" y="1812"/>
                    </a:cubicBezTo>
                    <a:cubicBezTo>
                      <a:pt x="158573" y="1812"/>
                      <a:pt x="158573" y="2804"/>
                      <a:pt x="166510" y="2804"/>
                    </a:cubicBezTo>
                    <a:cubicBezTo>
                      <a:pt x="174943" y="2804"/>
                      <a:pt x="174943" y="2804"/>
                      <a:pt x="182881" y="2804"/>
                    </a:cubicBezTo>
                    <a:cubicBezTo>
                      <a:pt x="191314" y="2804"/>
                      <a:pt x="191314" y="2308"/>
                      <a:pt x="199251" y="2308"/>
                    </a:cubicBezTo>
                    <a:cubicBezTo>
                      <a:pt x="207684" y="2308"/>
                      <a:pt x="207684" y="2804"/>
                      <a:pt x="215622" y="2804"/>
                    </a:cubicBezTo>
                    <a:cubicBezTo>
                      <a:pt x="224055" y="2804"/>
                      <a:pt x="224055" y="1812"/>
                      <a:pt x="231992" y="1812"/>
                    </a:cubicBezTo>
                    <a:cubicBezTo>
                      <a:pt x="240426" y="1812"/>
                      <a:pt x="240426" y="1812"/>
                      <a:pt x="248363" y="1812"/>
                    </a:cubicBezTo>
                    <a:cubicBezTo>
                      <a:pt x="256796" y="1812"/>
                      <a:pt x="256796" y="2308"/>
                      <a:pt x="264733" y="2308"/>
                    </a:cubicBezTo>
                    <a:cubicBezTo>
                      <a:pt x="273167" y="2308"/>
                      <a:pt x="273167" y="3796"/>
                      <a:pt x="281104" y="3796"/>
                    </a:cubicBezTo>
                    <a:cubicBezTo>
                      <a:pt x="289041" y="3796"/>
                      <a:pt x="292018" y="-3645"/>
                      <a:pt x="297971" y="2308"/>
                    </a:cubicBezTo>
                    <a:cubicBezTo>
                      <a:pt x="303924" y="8757"/>
                      <a:pt x="296482" y="11238"/>
                      <a:pt x="298467" y="19671"/>
                    </a:cubicBezTo>
                    <a:cubicBezTo>
                      <a:pt x="299955" y="29097"/>
                      <a:pt x="303924" y="31577"/>
                      <a:pt x="297971" y="3753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3" name="Freeform: Shape 1732">
                <a:extLst>
                  <a:ext uri="{FF2B5EF4-FFF2-40B4-BE49-F238E27FC236}">
                    <a16:creationId xmlns:a16="http://schemas.microsoft.com/office/drawing/2014/main" id="{614D9AE6-C574-2FE3-13AB-035798D401E0}"/>
                  </a:ext>
                </a:extLst>
              </p:cNvPr>
              <p:cNvSpPr/>
              <p:nvPr/>
            </p:nvSpPr>
            <p:spPr>
              <a:xfrm>
                <a:off x="4055722" y="2490010"/>
                <a:ext cx="300012" cy="305388"/>
              </a:xfrm>
              <a:custGeom>
                <a:avLst/>
                <a:gdLst>
                  <a:gd name="connsiteX0" fmla="*/ 3057 w 300012"/>
                  <a:gd name="connsiteY0" fmla="*/ 305388 h 305388"/>
                  <a:gd name="connsiteX1" fmla="*/ 3057 w 300012"/>
                  <a:gd name="connsiteY1" fmla="*/ 289514 h 305388"/>
                  <a:gd name="connsiteX2" fmla="*/ 1569 w 300012"/>
                  <a:gd name="connsiteY2" fmla="*/ 273639 h 305388"/>
                  <a:gd name="connsiteX3" fmla="*/ 3553 w 300012"/>
                  <a:gd name="connsiteY3" fmla="*/ 257765 h 305388"/>
                  <a:gd name="connsiteX4" fmla="*/ 2561 w 300012"/>
                  <a:gd name="connsiteY4" fmla="*/ 241890 h 305388"/>
                  <a:gd name="connsiteX5" fmla="*/ 3553 w 300012"/>
                  <a:gd name="connsiteY5" fmla="*/ 226016 h 305388"/>
                  <a:gd name="connsiteX6" fmla="*/ 1569 w 300012"/>
                  <a:gd name="connsiteY6" fmla="*/ 210141 h 305388"/>
                  <a:gd name="connsiteX7" fmla="*/ 1569 w 300012"/>
                  <a:gd name="connsiteY7" fmla="*/ 194267 h 305388"/>
                  <a:gd name="connsiteX8" fmla="*/ 3057 w 300012"/>
                  <a:gd name="connsiteY8" fmla="*/ 178393 h 305388"/>
                  <a:gd name="connsiteX9" fmla="*/ 2561 w 300012"/>
                  <a:gd name="connsiteY9" fmla="*/ 162518 h 305388"/>
                  <a:gd name="connsiteX10" fmla="*/ 1569 w 300012"/>
                  <a:gd name="connsiteY10" fmla="*/ 146643 h 305388"/>
                  <a:gd name="connsiteX11" fmla="*/ 2561 w 300012"/>
                  <a:gd name="connsiteY11" fmla="*/ 130769 h 305388"/>
                  <a:gd name="connsiteX12" fmla="*/ 1569 w 300012"/>
                  <a:gd name="connsiteY12" fmla="*/ 114894 h 305388"/>
                  <a:gd name="connsiteX13" fmla="*/ 1073 w 300012"/>
                  <a:gd name="connsiteY13" fmla="*/ 99020 h 305388"/>
                  <a:gd name="connsiteX14" fmla="*/ 2065 w 300012"/>
                  <a:gd name="connsiteY14" fmla="*/ 83146 h 305388"/>
                  <a:gd name="connsiteX15" fmla="*/ 3057 w 300012"/>
                  <a:gd name="connsiteY15" fmla="*/ 67271 h 305388"/>
                  <a:gd name="connsiteX16" fmla="*/ 3553 w 300012"/>
                  <a:gd name="connsiteY16" fmla="*/ 51396 h 305388"/>
                  <a:gd name="connsiteX17" fmla="*/ 1569 w 300012"/>
                  <a:gd name="connsiteY17" fmla="*/ 35522 h 305388"/>
                  <a:gd name="connsiteX18" fmla="*/ 2065 w 300012"/>
                  <a:gd name="connsiteY18" fmla="*/ 19647 h 305388"/>
                  <a:gd name="connsiteX19" fmla="*/ 2561 w 300012"/>
                  <a:gd name="connsiteY19" fmla="*/ 4269 h 305388"/>
                  <a:gd name="connsiteX20" fmla="*/ 18435 w 300012"/>
                  <a:gd name="connsiteY20" fmla="*/ 4765 h 305388"/>
                  <a:gd name="connsiteX21" fmla="*/ 34806 w 300012"/>
                  <a:gd name="connsiteY21" fmla="*/ 2285 h 305388"/>
                  <a:gd name="connsiteX22" fmla="*/ 51177 w 300012"/>
                  <a:gd name="connsiteY22" fmla="*/ 2781 h 305388"/>
                  <a:gd name="connsiteX23" fmla="*/ 67547 w 300012"/>
                  <a:gd name="connsiteY23" fmla="*/ 3773 h 305388"/>
                  <a:gd name="connsiteX24" fmla="*/ 83918 w 300012"/>
                  <a:gd name="connsiteY24" fmla="*/ 3277 h 305388"/>
                  <a:gd name="connsiteX25" fmla="*/ 100288 w 300012"/>
                  <a:gd name="connsiteY25" fmla="*/ 2781 h 305388"/>
                  <a:gd name="connsiteX26" fmla="*/ 116659 w 300012"/>
                  <a:gd name="connsiteY26" fmla="*/ 3277 h 305388"/>
                  <a:gd name="connsiteX27" fmla="*/ 133029 w 300012"/>
                  <a:gd name="connsiteY27" fmla="*/ 3277 h 305388"/>
                  <a:gd name="connsiteX28" fmla="*/ 149400 w 300012"/>
                  <a:gd name="connsiteY28" fmla="*/ 2781 h 305388"/>
                  <a:gd name="connsiteX29" fmla="*/ 165771 w 300012"/>
                  <a:gd name="connsiteY29" fmla="*/ 2285 h 305388"/>
                  <a:gd name="connsiteX30" fmla="*/ 182141 w 300012"/>
                  <a:gd name="connsiteY30" fmla="*/ 2781 h 305388"/>
                  <a:gd name="connsiteX31" fmla="*/ 198512 w 300012"/>
                  <a:gd name="connsiteY31" fmla="*/ 3277 h 305388"/>
                  <a:gd name="connsiteX32" fmla="*/ 214882 w 300012"/>
                  <a:gd name="connsiteY32" fmla="*/ 3773 h 305388"/>
                  <a:gd name="connsiteX33" fmla="*/ 231253 w 300012"/>
                  <a:gd name="connsiteY33" fmla="*/ 2781 h 305388"/>
                  <a:gd name="connsiteX34" fmla="*/ 247623 w 300012"/>
                  <a:gd name="connsiteY34" fmla="*/ 2285 h 305388"/>
                  <a:gd name="connsiteX35" fmla="*/ 263994 w 300012"/>
                  <a:gd name="connsiteY35" fmla="*/ 1789 h 305388"/>
                  <a:gd name="connsiteX36" fmla="*/ 280365 w 300012"/>
                  <a:gd name="connsiteY36" fmla="*/ 2285 h 305388"/>
                  <a:gd name="connsiteX37" fmla="*/ 297231 w 300012"/>
                  <a:gd name="connsiteY37" fmla="*/ 2781 h 305388"/>
                  <a:gd name="connsiteX38" fmla="*/ 297727 w 300012"/>
                  <a:gd name="connsiteY38" fmla="*/ 19151 h 305388"/>
                  <a:gd name="connsiteX39" fmla="*/ 296239 w 300012"/>
                  <a:gd name="connsiteY39" fmla="*/ 35026 h 305388"/>
                  <a:gd name="connsiteX40" fmla="*/ 297727 w 300012"/>
                  <a:gd name="connsiteY40" fmla="*/ 50900 h 305388"/>
                  <a:gd name="connsiteX41" fmla="*/ 297231 w 300012"/>
                  <a:gd name="connsiteY41" fmla="*/ 66775 h 305388"/>
                  <a:gd name="connsiteX42" fmla="*/ 297231 w 300012"/>
                  <a:gd name="connsiteY42" fmla="*/ 82649 h 305388"/>
                  <a:gd name="connsiteX43" fmla="*/ 297231 w 300012"/>
                  <a:gd name="connsiteY43" fmla="*/ 98524 h 305388"/>
                  <a:gd name="connsiteX44" fmla="*/ 296735 w 300012"/>
                  <a:gd name="connsiteY44" fmla="*/ 114398 h 305388"/>
                  <a:gd name="connsiteX45" fmla="*/ 298223 w 300012"/>
                  <a:gd name="connsiteY45" fmla="*/ 130273 h 305388"/>
                  <a:gd name="connsiteX46" fmla="*/ 296735 w 300012"/>
                  <a:gd name="connsiteY46" fmla="*/ 146147 h 305388"/>
                  <a:gd name="connsiteX47" fmla="*/ 298223 w 300012"/>
                  <a:gd name="connsiteY47" fmla="*/ 162022 h 305388"/>
                  <a:gd name="connsiteX48" fmla="*/ 297727 w 300012"/>
                  <a:gd name="connsiteY48" fmla="*/ 177896 h 305388"/>
                  <a:gd name="connsiteX49" fmla="*/ 297231 w 300012"/>
                  <a:gd name="connsiteY49" fmla="*/ 193771 h 305388"/>
                  <a:gd name="connsiteX50" fmla="*/ 297727 w 300012"/>
                  <a:gd name="connsiteY50" fmla="*/ 209645 h 305388"/>
                  <a:gd name="connsiteX51" fmla="*/ 298223 w 300012"/>
                  <a:gd name="connsiteY51" fmla="*/ 225520 h 305388"/>
                  <a:gd name="connsiteX52" fmla="*/ 297727 w 300012"/>
                  <a:gd name="connsiteY52" fmla="*/ 241394 h 305388"/>
                  <a:gd name="connsiteX53" fmla="*/ 299216 w 300012"/>
                  <a:gd name="connsiteY53" fmla="*/ 257269 h 305388"/>
                  <a:gd name="connsiteX54" fmla="*/ 299216 w 300012"/>
                  <a:gd name="connsiteY54" fmla="*/ 273143 h 305388"/>
                  <a:gd name="connsiteX55" fmla="*/ 298719 w 300012"/>
                  <a:gd name="connsiteY55" fmla="*/ 289018 h 305388"/>
                  <a:gd name="connsiteX56" fmla="*/ 297231 w 300012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012" h="305388">
                    <a:moveTo>
                      <a:pt x="3057" y="305388"/>
                    </a:moveTo>
                    <a:cubicBezTo>
                      <a:pt x="3057" y="297451"/>
                      <a:pt x="3057" y="297451"/>
                      <a:pt x="3057" y="289514"/>
                    </a:cubicBezTo>
                    <a:cubicBezTo>
                      <a:pt x="3057" y="281577"/>
                      <a:pt x="1569" y="281577"/>
                      <a:pt x="1569" y="273639"/>
                    </a:cubicBezTo>
                    <a:cubicBezTo>
                      <a:pt x="1569" y="265702"/>
                      <a:pt x="3553" y="265702"/>
                      <a:pt x="3553" y="257765"/>
                    </a:cubicBezTo>
                    <a:cubicBezTo>
                      <a:pt x="3553" y="249828"/>
                      <a:pt x="2561" y="249828"/>
                      <a:pt x="2561" y="241890"/>
                    </a:cubicBezTo>
                    <a:cubicBezTo>
                      <a:pt x="2561" y="233953"/>
                      <a:pt x="3553" y="233953"/>
                      <a:pt x="3553" y="226016"/>
                    </a:cubicBezTo>
                    <a:cubicBezTo>
                      <a:pt x="3553" y="218079"/>
                      <a:pt x="1569" y="218079"/>
                      <a:pt x="1569" y="210141"/>
                    </a:cubicBezTo>
                    <a:cubicBezTo>
                      <a:pt x="1569" y="202204"/>
                      <a:pt x="1569" y="202204"/>
                      <a:pt x="1569" y="194267"/>
                    </a:cubicBezTo>
                    <a:cubicBezTo>
                      <a:pt x="1569" y="186330"/>
                      <a:pt x="3057" y="186330"/>
                      <a:pt x="3057" y="178393"/>
                    </a:cubicBezTo>
                    <a:cubicBezTo>
                      <a:pt x="3057" y="170455"/>
                      <a:pt x="2561" y="170455"/>
                      <a:pt x="2561" y="162518"/>
                    </a:cubicBezTo>
                    <a:cubicBezTo>
                      <a:pt x="2561" y="154581"/>
                      <a:pt x="1569" y="154581"/>
                      <a:pt x="1569" y="146643"/>
                    </a:cubicBezTo>
                    <a:cubicBezTo>
                      <a:pt x="1569" y="138706"/>
                      <a:pt x="2561" y="138706"/>
                      <a:pt x="2561" y="130769"/>
                    </a:cubicBezTo>
                    <a:cubicBezTo>
                      <a:pt x="2561" y="122832"/>
                      <a:pt x="1569" y="122832"/>
                      <a:pt x="1569" y="114894"/>
                    </a:cubicBezTo>
                    <a:cubicBezTo>
                      <a:pt x="1569" y="106957"/>
                      <a:pt x="1073" y="106957"/>
                      <a:pt x="1073" y="99020"/>
                    </a:cubicBezTo>
                    <a:cubicBezTo>
                      <a:pt x="1073" y="91083"/>
                      <a:pt x="2065" y="91083"/>
                      <a:pt x="2065" y="83146"/>
                    </a:cubicBezTo>
                    <a:cubicBezTo>
                      <a:pt x="2065" y="75208"/>
                      <a:pt x="3057" y="75208"/>
                      <a:pt x="3057" y="67271"/>
                    </a:cubicBezTo>
                    <a:cubicBezTo>
                      <a:pt x="3057" y="59334"/>
                      <a:pt x="3553" y="59334"/>
                      <a:pt x="3553" y="51396"/>
                    </a:cubicBezTo>
                    <a:cubicBezTo>
                      <a:pt x="3553" y="43459"/>
                      <a:pt x="1569" y="43459"/>
                      <a:pt x="1569" y="35522"/>
                    </a:cubicBezTo>
                    <a:cubicBezTo>
                      <a:pt x="1569" y="27585"/>
                      <a:pt x="2065" y="27585"/>
                      <a:pt x="2065" y="19647"/>
                    </a:cubicBezTo>
                    <a:cubicBezTo>
                      <a:pt x="2065" y="11710"/>
                      <a:pt x="-2896" y="9726"/>
                      <a:pt x="2561" y="4269"/>
                    </a:cubicBezTo>
                    <a:cubicBezTo>
                      <a:pt x="8514" y="-1684"/>
                      <a:pt x="10498" y="4765"/>
                      <a:pt x="18435" y="4765"/>
                    </a:cubicBezTo>
                    <a:cubicBezTo>
                      <a:pt x="26373" y="4765"/>
                      <a:pt x="26373" y="2285"/>
                      <a:pt x="34806" y="2285"/>
                    </a:cubicBezTo>
                    <a:cubicBezTo>
                      <a:pt x="42743" y="2285"/>
                      <a:pt x="42743" y="2781"/>
                      <a:pt x="51177" y="2781"/>
                    </a:cubicBezTo>
                    <a:cubicBezTo>
                      <a:pt x="59610" y="2781"/>
                      <a:pt x="59610" y="3773"/>
                      <a:pt x="67547" y="3773"/>
                    </a:cubicBezTo>
                    <a:cubicBezTo>
                      <a:pt x="75484" y="3773"/>
                      <a:pt x="75484" y="3277"/>
                      <a:pt x="83918" y="3277"/>
                    </a:cubicBezTo>
                    <a:cubicBezTo>
                      <a:pt x="92351" y="3277"/>
                      <a:pt x="92351" y="2781"/>
                      <a:pt x="100288" y="2781"/>
                    </a:cubicBezTo>
                    <a:cubicBezTo>
                      <a:pt x="108226" y="2781"/>
                      <a:pt x="108226" y="3277"/>
                      <a:pt x="116659" y="3277"/>
                    </a:cubicBezTo>
                    <a:cubicBezTo>
                      <a:pt x="125092" y="3277"/>
                      <a:pt x="125092" y="3277"/>
                      <a:pt x="133029" y="3277"/>
                    </a:cubicBezTo>
                    <a:cubicBezTo>
                      <a:pt x="141463" y="3277"/>
                      <a:pt x="141463" y="2781"/>
                      <a:pt x="149400" y="2781"/>
                    </a:cubicBezTo>
                    <a:cubicBezTo>
                      <a:pt x="157833" y="2781"/>
                      <a:pt x="157833" y="2285"/>
                      <a:pt x="165771" y="2285"/>
                    </a:cubicBezTo>
                    <a:cubicBezTo>
                      <a:pt x="174204" y="2285"/>
                      <a:pt x="174204" y="2781"/>
                      <a:pt x="182141" y="2781"/>
                    </a:cubicBezTo>
                    <a:cubicBezTo>
                      <a:pt x="190574" y="2781"/>
                      <a:pt x="190574" y="3277"/>
                      <a:pt x="198512" y="3277"/>
                    </a:cubicBezTo>
                    <a:cubicBezTo>
                      <a:pt x="206945" y="3277"/>
                      <a:pt x="206945" y="3773"/>
                      <a:pt x="214882" y="3773"/>
                    </a:cubicBezTo>
                    <a:cubicBezTo>
                      <a:pt x="223316" y="3773"/>
                      <a:pt x="223316" y="2781"/>
                      <a:pt x="231253" y="2781"/>
                    </a:cubicBezTo>
                    <a:cubicBezTo>
                      <a:pt x="239686" y="2781"/>
                      <a:pt x="239686" y="2285"/>
                      <a:pt x="247623" y="2285"/>
                    </a:cubicBezTo>
                    <a:cubicBezTo>
                      <a:pt x="256057" y="2285"/>
                      <a:pt x="256057" y="1789"/>
                      <a:pt x="263994" y="1789"/>
                    </a:cubicBezTo>
                    <a:cubicBezTo>
                      <a:pt x="272427" y="1789"/>
                      <a:pt x="272427" y="2285"/>
                      <a:pt x="280365" y="2285"/>
                    </a:cubicBezTo>
                    <a:cubicBezTo>
                      <a:pt x="288302" y="2285"/>
                      <a:pt x="291278" y="-3172"/>
                      <a:pt x="297231" y="2781"/>
                    </a:cubicBezTo>
                    <a:cubicBezTo>
                      <a:pt x="303184" y="8238"/>
                      <a:pt x="297727" y="11214"/>
                      <a:pt x="297727" y="19151"/>
                    </a:cubicBezTo>
                    <a:cubicBezTo>
                      <a:pt x="297727" y="27089"/>
                      <a:pt x="296239" y="27089"/>
                      <a:pt x="296239" y="35026"/>
                    </a:cubicBezTo>
                    <a:cubicBezTo>
                      <a:pt x="296239" y="42963"/>
                      <a:pt x="297727" y="42963"/>
                      <a:pt x="297727" y="50900"/>
                    </a:cubicBezTo>
                    <a:cubicBezTo>
                      <a:pt x="297727" y="58838"/>
                      <a:pt x="297231" y="58838"/>
                      <a:pt x="297231" y="66775"/>
                    </a:cubicBezTo>
                    <a:cubicBezTo>
                      <a:pt x="297231" y="74712"/>
                      <a:pt x="297231" y="74712"/>
                      <a:pt x="297231" y="82649"/>
                    </a:cubicBezTo>
                    <a:cubicBezTo>
                      <a:pt x="297231" y="90587"/>
                      <a:pt x="297231" y="90587"/>
                      <a:pt x="297231" y="98524"/>
                    </a:cubicBezTo>
                    <a:cubicBezTo>
                      <a:pt x="297231" y="106461"/>
                      <a:pt x="296735" y="106461"/>
                      <a:pt x="296735" y="114398"/>
                    </a:cubicBezTo>
                    <a:cubicBezTo>
                      <a:pt x="296735" y="122335"/>
                      <a:pt x="298223" y="122335"/>
                      <a:pt x="298223" y="130273"/>
                    </a:cubicBezTo>
                    <a:cubicBezTo>
                      <a:pt x="298223" y="138210"/>
                      <a:pt x="296735" y="138210"/>
                      <a:pt x="296735" y="146147"/>
                    </a:cubicBezTo>
                    <a:cubicBezTo>
                      <a:pt x="296735" y="154085"/>
                      <a:pt x="298223" y="154085"/>
                      <a:pt x="298223" y="162022"/>
                    </a:cubicBezTo>
                    <a:cubicBezTo>
                      <a:pt x="298223" y="169959"/>
                      <a:pt x="297727" y="169959"/>
                      <a:pt x="297727" y="177896"/>
                    </a:cubicBezTo>
                    <a:cubicBezTo>
                      <a:pt x="297727" y="185834"/>
                      <a:pt x="297231" y="185834"/>
                      <a:pt x="297231" y="193771"/>
                    </a:cubicBezTo>
                    <a:cubicBezTo>
                      <a:pt x="297231" y="201708"/>
                      <a:pt x="297727" y="201708"/>
                      <a:pt x="297727" y="209645"/>
                    </a:cubicBezTo>
                    <a:cubicBezTo>
                      <a:pt x="297727" y="217583"/>
                      <a:pt x="298223" y="217583"/>
                      <a:pt x="298223" y="225520"/>
                    </a:cubicBezTo>
                    <a:cubicBezTo>
                      <a:pt x="298223" y="233457"/>
                      <a:pt x="297727" y="233457"/>
                      <a:pt x="297727" y="241394"/>
                    </a:cubicBezTo>
                    <a:cubicBezTo>
                      <a:pt x="297727" y="249332"/>
                      <a:pt x="299216" y="249332"/>
                      <a:pt x="299216" y="257269"/>
                    </a:cubicBezTo>
                    <a:cubicBezTo>
                      <a:pt x="299216" y="265206"/>
                      <a:pt x="299216" y="265206"/>
                      <a:pt x="299216" y="273143"/>
                    </a:cubicBezTo>
                    <a:cubicBezTo>
                      <a:pt x="299216" y="281080"/>
                      <a:pt x="298719" y="281080"/>
                      <a:pt x="298719" y="289018"/>
                    </a:cubicBezTo>
                    <a:cubicBezTo>
                      <a:pt x="298719" y="296955"/>
                      <a:pt x="297231" y="296955"/>
                      <a:pt x="297231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4" name="Freeform: Shape 1733">
                <a:extLst>
                  <a:ext uri="{FF2B5EF4-FFF2-40B4-BE49-F238E27FC236}">
                    <a16:creationId xmlns:a16="http://schemas.microsoft.com/office/drawing/2014/main" id="{E3BC452D-2007-4543-37F5-7AC60B347B8F}"/>
                  </a:ext>
                </a:extLst>
              </p:cNvPr>
              <p:cNvSpPr/>
              <p:nvPr/>
            </p:nvSpPr>
            <p:spPr>
              <a:xfrm>
                <a:off x="4275069" y="2792918"/>
                <a:ext cx="110203" cy="64261"/>
              </a:xfrm>
              <a:custGeom>
                <a:avLst/>
                <a:gdLst>
                  <a:gd name="connsiteX0" fmla="*/ 0 w 110203"/>
                  <a:gd name="connsiteY0" fmla="*/ 3473 h 64261"/>
                  <a:gd name="connsiteX1" fmla="*/ 15379 w 110203"/>
                  <a:gd name="connsiteY1" fmla="*/ 3473 h 64261"/>
                  <a:gd name="connsiteX2" fmla="*/ 30757 w 110203"/>
                  <a:gd name="connsiteY2" fmla="*/ 3473 h 64261"/>
                  <a:gd name="connsiteX3" fmla="*/ 46135 w 110203"/>
                  <a:gd name="connsiteY3" fmla="*/ 3473 h 64261"/>
                  <a:gd name="connsiteX4" fmla="*/ 61514 w 110203"/>
                  <a:gd name="connsiteY4" fmla="*/ 2480 h 64261"/>
                  <a:gd name="connsiteX5" fmla="*/ 76892 w 110203"/>
                  <a:gd name="connsiteY5" fmla="*/ 1488 h 64261"/>
                  <a:gd name="connsiteX6" fmla="*/ 92271 w 110203"/>
                  <a:gd name="connsiteY6" fmla="*/ 1984 h 64261"/>
                  <a:gd name="connsiteX7" fmla="*/ 108145 w 110203"/>
                  <a:gd name="connsiteY7" fmla="*/ 1984 h 64261"/>
                  <a:gd name="connsiteX8" fmla="*/ 107153 w 110203"/>
                  <a:gd name="connsiteY8" fmla="*/ 13394 h 64261"/>
                  <a:gd name="connsiteX9" fmla="*/ 98720 w 110203"/>
                  <a:gd name="connsiteY9" fmla="*/ 29269 h 64261"/>
                  <a:gd name="connsiteX10" fmla="*/ 91278 w 110203"/>
                  <a:gd name="connsiteY10" fmla="*/ 45639 h 64261"/>
                  <a:gd name="connsiteX11" fmla="*/ 83837 w 110203"/>
                  <a:gd name="connsiteY11" fmla="*/ 62506 h 64261"/>
                  <a:gd name="connsiteX12" fmla="*/ 67963 w 110203"/>
                  <a:gd name="connsiteY12" fmla="*/ 61514 h 64261"/>
                  <a:gd name="connsiteX13" fmla="*/ 52584 w 110203"/>
                  <a:gd name="connsiteY13" fmla="*/ 61017 h 64261"/>
                  <a:gd name="connsiteX14" fmla="*/ 37206 w 110203"/>
                  <a:gd name="connsiteY14" fmla="*/ 63002 h 64261"/>
                  <a:gd name="connsiteX15" fmla="*/ 21828 w 110203"/>
                  <a:gd name="connsiteY15" fmla="*/ 62010 h 6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0203" h="64261">
                    <a:moveTo>
                      <a:pt x="0" y="3473"/>
                    </a:moveTo>
                    <a:cubicBezTo>
                      <a:pt x="7937" y="3473"/>
                      <a:pt x="7937" y="3473"/>
                      <a:pt x="15379" y="3473"/>
                    </a:cubicBezTo>
                    <a:cubicBezTo>
                      <a:pt x="23316" y="3473"/>
                      <a:pt x="23316" y="3473"/>
                      <a:pt x="30757" y="3473"/>
                    </a:cubicBezTo>
                    <a:cubicBezTo>
                      <a:pt x="38694" y="3473"/>
                      <a:pt x="38694" y="3473"/>
                      <a:pt x="46135" y="3473"/>
                    </a:cubicBezTo>
                    <a:cubicBezTo>
                      <a:pt x="54073" y="3473"/>
                      <a:pt x="54073" y="2480"/>
                      <a:pt x="61514" y="2480"/>
                    </a:cubicBezTo>
                    <a:cubicBezTo>
                      <a:pt x="69451" y="2480"/>
                      <a:pt x="69451" y="1488"/>
                      <a:pt x="76892" y="1488"/>
                    </a:cubicBezTo>
                    <a:cubicBezTo>
                      <a:pt x="84830" y="1488"/>
                      <a:pt x="84830" y="1984"/>
                      <a:pt x="92271" y="1984"/>
                    </a:cubicBezTo>
                    <a:cubicBezTo>
                      <a:pt x="100208" y="1984"/>
                      <a:pt x="102192" y="-2480"/>
                      <a:pt x="108145" y="1984"/>
                    </a:cubicBezTo>
                    <a:cubicBezTo>
                      <a:pt x="112610" y="4961"/>
                      <a:pt x="108641" y="8433"/>
                      <a:pt x="107153" y="13394"/>
                    </a:cubicBezTo>
                    <a:cubicBezTo>
                      <a:pt x="104673" y="21827"/>
                      <a:pt x="102688" y="21331"/>
                      <a:pt x="98720" y="29269"/>
                    </a:cubicBezTo>
                    <a:cubicBezTo>
                      <a:pt x="94751" y="37206"/>
                      <a:pt x="95247" y="37702"/>
                      <a:pt x="91278" y="45639"/>
                    </a:cubicBezTo>
                    <a:cubicBezTo>
                      <a:pt x="87310" y="53576"/>
                      <a:pt x="91278" y="57545"/>
                      <a:pt x="83837" y="62506"/>
                    </a:cubicBezTo>
                    <a:cubicBezTo>
                      <a:pt x="77388" y="66970"/>
                      <a:pt x="75900" y="61514"/>
                      <a:pt x="67963" y="61514"/>
                    </a:cubicBezTo>
                    <a:cubicBezTo>
                      <a:pt x="60026" y="61514"/>
                      <a:pt x="60026" y="61017"/>
                      <a:pt x="52584" y="61017"/>
                    </a:cubicBezTo>
                    <a:cubicBezTo>
                      <a:pt x="44647" y="61017"/>
                      <a:pt x="44647" y="63002"/>
                      <a:pt x="37206" y="63002"/>
                    </a:cubicBezTo>
                    <a:cubicBezTo>
                      <a:pt x="29269" y="63002"/>
                      <a:pt x="29269" y="62010"/>
                      <a:pt x="21828" y="6201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5" name="Freeform: Shape 1734">
                <a:extLst>
                  <a:ext uri="{FF2B5EF4-FFF2-40B4-BE49-F238E27FC236}">
                    <a16:creationId xmlns:a16="http://schemas.microsoft.com/office/drawing/2014/main" id="{C246007D-4328-2128-BFDB-5A5CE2D8FC6E}"/>
                  </a:ext>
                </a:extLst>
              </p:cNvPr>
              <p:cNvSpPr/>
              <p:nvPr/>
            </p:nvSpPr>
            <p:spPr>
              <a:xfrm>
                <a:off x="4026016" y="2793039"/>
                <a:ext cx="103701" cy="62522"/>
              </a:xfrm>
              <a:custGeom>
                <a:avLst/>
                <a:gdLst>
                  <a:gd name="connsiteX0" fmla="*/ 102710 w 103701"/>
                  <a:gd name="connsiteY0" fmla="*/ 62385 h 62522"/>
                  <a:gd name="connsiteX1" fmla="*/ 85347 w 103701"/>
                  <a:gd name="connsiteY1" fmla="*/ 60401 h 62522"/>
                  <a:gd name="connsiteX2" fmla="*/ 67984 w 103701"/>
                  <a:gd name="connsiteY2" fmla="*/ 61889 h 62522"/>
                  <a:gd name="connsiteX3" fmla="*/ 50126 w 103701"/>
                  <a:gd name="connsiteY3" fmla="*/ 60897 h 62522"/>
                  <a:gd name="connsiteX4" fmla="*/ 32763 w 103701"/>
                  <a:gd name="connsiteY4" fmla="*/ 60401 h 62522"/>
                  <a:gd name="connsiteX5" fmla="*/ 22841 w 103701"/>
                  <a:gd name="connsiteY5" fmla="*/ 44526 h 62522"/>
                  <a:gd name="connsiteX6" fmla="*/ 13416 w 103701"/>
                  <a:gd name="connsiteY6" fmla="*/ 28156 h 62522"/>
                  <a:gd name="connsiteX7" fmla="*/ 2502 w 103701"/>
                  <a:gd name="connsiteY7" fmla="*/ 12777 h 62522"/>
                  <a:gd name="connsiteX8" fmla="*/ 2502 w 103701"/>
                  <a:gd name="connsiteY8" fmla="*/ 1863 h 62522"/>
                  <a:gd name="connsiteX9" fmla="*/ 19369 w 103701"/>
                  <a:gd name="connsiteY9" fmla="*/ 2359 h 62522"/>
                  <a:gd name="connsiteX10" fmla="*/ 36235 w 103701"/>
                  <a:gd name="connsiteY10" fmla="*/ 2855 h 62522"/>
                  <a:gd name="connsiteX11" fmla="*/ 53102 w 103701"/>
                  <a:gd name="connsiteY11" fmla="*/ 871 h 62522"/>
                  <a:gd name="connsiteX12" fmla="*/ 69969 w 103701"/>
                  <a:gd name="connsiteY12" fmla="*/ 1863 h 62522"/>
                  <a:gd name="connsiteX13" fmla="*/ 86835 w 103701"/>
                  <a:gd name="connsiteY13" fmla="*/ 2359 h 62522"/>
                  <a:gd name="connsiteX14" fmla="*/ 103702 w 103701"/>
                  <a:gd name="connsiteY14" fmla="*/ 2359 h 62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3701" h="62522">
                    <a:moveTo>
                      <a:pt x="102710" y="62385"/>
                    </a:moveTo>
                    <a:cubicBezTo>
                      <a:pt x="93780" y="62385"/>
                      <a:pt x="93780" y="60401"/>
                      <a:pt x="85347" y="60401"/>
                    </a:cubicBezTo>
                    <a:cubicBezTo>
                      <a:pt x="76418" y="60401"/>
                      <a:pt x="76418" y="61889"/>
                      <a:pt x="67984" y="61889"/>
                    </a:cubicBezTo>
                    <a:cubicBezTo>
                      <a:pt x="59055" y="61889"/>
                      <a:pt x="59055" y="60897"/>
                      <a:pt x="50126" y="60897"/>
                    </a:cubicBezTo>
                    <a:cubicBezTo>
                      <a:pt x="41196" y="60897"/>
                      <a:pt x="40204" y="64865"/>
                      <a:pt x="32763" y="60401"/>
                    </a:cubicBezTo>
                    <a:cubicBezTo>
                      <a:pt x="24826" y="55440"/>
                      <a:pt x="27802" y="52463"/>
                      <a:pt x="22841" y="44526"/>
                    </a:cubicBezTo>
                    <a:cubicBezTo>
                      <a:pt x="17880" y="36589"/>
                      <a:pt x="18376" y="36093"/>
                      <a:pt x="13416" y="28156"/>
                    </a:cubicBezTo>
                    <a:cubicBezTo>
                      <a:pt x="8455" y="20218"/>
                      <a:pt x="5479" y="21707"/>
                      <a:pt x="2502" y="12777"/>
                    </a:cubicBezTo>
                    <a:cubicBezTo>
                      <a:pt x="518" y="7816"/>
                      <a:pt x="-1963" y="4840"/>
                      <a:pt x="2502" y="1863"/>
                    </a:cubicBezTo>
                    <a:cubicBezTo>
                      <a:pt x="9447" y="-2601"/>
                      <a:pt x="10935" y="2359"/>
                      <a:pt x="19369" y="2359"/>
                    </a:cubicBezTo>
                    <a:cubicBezTo>
                      <a:pt x="27802" y="2359"/>
                      <a:pt x="27802" y="2855"/>
                      <a:pt x="36235" y="2855"/>
                    </a:cubicBezTo>
                    <a:cubicBezTo>
                      <a:pt x="44669" y="2855"/>
                      <a:pt x="44669" y="871"/>
                      <a:pt x="53102" y="871"/>
                    </a:cubicBezTo>
                    <a:cubicBezTo>
                      <a:pt x="61535" y="871"/>
                      <a:pt x="61535" y="1863"/>
                      <a:pt x="69969" y="1863"/>
                    </a:cubicBezTo>
                    <a:cubicBezTo>
                      <a:pt x="78402" y="1863"/>
                      <a:pt x="78402" y="2359"/>
                      <a:pt x="86835" y="2359"/>
                    </a:cubicBezTo>
                    <a:cubicBezTo>
                      <a:pt x="95269" y="2359"/>
                      <a:pt x="95269" y="2359"/>
                      <a:pt x="103702" y="2359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02F5C979-44D2-280D-76B0-5FF75E3D1259}"/>
                </a:ext>
              </a:extLst>
            </p:cNvPr>
            <p:cNvSpPr/>
            <p:nvPr/>
          </p:nvSpPr>
          <p:spPr>
            <a:xfrm>
              <a:off x="5543498" y="2464995"/>
              <a:ext cx="334357" cy="333310"/>
            </a:xfrm>
            <a:custGeom>
              <a:avLst/>
              <a:gdLst>
                <a:gd name="connsiteX0" fmla="*/ 331423 w 334357"/>
                <a:gd name="connsiteY0" fmla="*/ 330899 h 333310"/>
                <a:gd name="connsiteX1" fmla="*/ 314060 w 334357"/>
                <a:gd name="connsiteY1" fmla="*/ 329411 h 333310"/>
                <a:gd name="connsiteX2" fmla="*/ 297690 w 334357"/>
                <a:gd name="connsiteY2" fmla="*/ 329907 h 333310"/>
                <a:gd name="connsiteX3" fmla="*/ 281319 w 334357"/>
                <a:gd name="connsiteY3" fmla="*/ 330403 h 333310"/>
                <a:gd name="connsiteX4" fmla="*/ 264948 w 334357"/>
                <a:gd name="connsiteY4" fmla="*/ 331395 h 333310"/>
                <a:gd name="connsiteX5" fmla="*/ 248578 w 334357"/>
                <a:gd name="connsiteY5" fmla="*/ 330403 h 333310"/>
                <a:gd name="connsiteX6" fmla="*/ 232207 w 334357"/>
                <a:gd name="connsiteY6" fmla="*/ 330899 h 333310"/>
                <a:gd name="connsiteX7" fmla="*/ 215836 w 334357"/>
                <a:gd name="connsiteY7" fmla="*/ 331891 h 333310"/>
                <a:gd name="connsiteX8" fmla="*/ 199466 w 334357"/>
                <a:gd name="connsiteY8" fmla="*/ 329907 h 333310"/>
                <a:gd name="connsiteX9" fmla="*/ 183095 w 334357"/>
                <a:gd name="connsiteY9" fmla="*/ 330899 h 333310"/>
                <a:gd name="connsiteX10" fmla="*/ 166725 w 334357"/>
                <a:gd name="connsiteY10" fmla="*/ 330899 h 333310"/>
                <a:gd name="connsiteX11" fmla="*/ 150354 w 334357"/>
                <a:gd name="connsiteY11" fmla="*/ 330899 h 333310"/>
                <a:gd name="connsiteX12" fmla="*/ 133984 w 334357"/>
                <a:gd name="connsiteY12" fmla="*/ 331395 h 333310"/>
                <a:gd name="connsiteX13" fmla="*/ 117613 w 334357"/>
                <a:gd name="connsiteY13" fmla="*/ 330899 h 333310"/>
                <a:gd name="connsiteX14" fmla="*/ 101243 w 334357"/>
                <a:gd name="connsiteY14" fmla="*/ 329907 h 333310"/>
                <a:gd name="connsiteX15" fmla="*/ 84872 w 334357"/>
                <a:gd name="connsiteY15" fmla="*/ 331891 h 333310"/>
                <a:gd name="connsiteX16" fmla="*/ 68501 w 334357"/>
                <a:gd name="connsiteY16" fmla="*/ 330403 h 333310"/>
                <a:gd name="connsiteX17" fmla="*/ 52131 w 334357"/>
                <a:gd name="connsiteY17" fmla="*/ 331395 h 333310"/>
                <a:gd name="connsiteX18" fmla="*/ 35760 w 334357"/>
                <a:gd name="connsiteY18" fmla="*/ 331395 h 333310"/>
                <a:gd name="connsiteX19" fmla="*/ 19390 w 334357"/>
                <a:gd name="connsiteY19" fmla="*/ 329907 h 333310"/>
                <a:gd name="connsiteX20" fmla="*/ 2523 w 334357"/>
                <a:gd name="connsiteY20" fmla="*/ 330899 h 333310"/>
                <a:gd name="connsiteX21" fmla="*/ 3515 w 334357"/>
                <a:gd name="connsiteY21" fmla="*/ 314033 h 333310"/>
                <a:gd name="connsiteX22" fmla="*/ 3019 w 334357"/>
                <a:gd name="connsiteY22" fmla="*/ 297662 h 333310"/>
                <a:gd name="connsiteX23" fmla="*/ 4011 w 334357"/>
                <a:gd name="connsiteY23" fmla="*/ 281291 h 333310"/>
                <a:gd name="connsiteX24" fmla="*/ 3019 w 334357"/>
                <a:gd name="connsiteY24" fmla="*/ 264921 h 333310"/>
                <a:gd name="connsiteX25" fmla="*/ 3019 w 334357"/>
                <a:gd name="connsiteY25" fmla="*/ 248550 h 333310"/>
                <a:gd name="connsiteX26" fmla="*/ 3019 w 334357"/>
                <a:gd name="connsiteY26" fmla="*/ 232180 h 333310"/>
                <a:gd name="connsiteX27" fmla="*/ 2523 w 334357"/>
                <a:gd name="connsiteY27" fmla="*/ 215809 h 333310"/>
                <a:gd name="connsiteX28" fmla="*/ 2027 w 334357"/>
                <a:gd name="connsiteY28" fmla="*/ 199439 h 333310"/>
                <a:gd name="connsiteX29" fmla="*/ 2027 w 334357"/>
                <a:gd name="connsiteY29" fmla="*/ 183068 h 333310"/>
                <a:gd name="connsiteX30" fmla="*/ 2523 w 334357"/>
                <a:gd name="connsiteY30" fmla="*/ 166698 h 333310"/>
                <a:gd name="connsiteX31" fmla="*/ 2523 w 334357"/>
                <a:gd name="connsiteY31" fmla="*/ 150327 h 333310"/>
                <a:gd name="connsiteX32" fmla="*/ 1531 w 334357"/>
                <a:gd name="connsiteY32" fmla="*/ 133956 h 333310"/>
                <a:gd name="connsiteX33" fmla="*/ 1035 w 334357"/>
                <a:gd name="connsiteY33" fmla="*/ 117586 h 333310"/>
                <a:gd name="connsiteX34" fmla="*/ 2027 w 334357"/>
                <a:gd name="connsiteY34" fmla="*/ 101215 h 333310"/>
                <a:gd name="connsiteX35" fmla="*/ 3515 w 334357"/>
                <a:gd name="connsiteY35" fmla="*/ 84845 h 333310"/>
                <a:gd name="connsiteX36" fmla="*/ 1531 w 334357"/>
                <a:gd name="connsiteY36" fmla="*/ 68474 h 333310"/>
                <a:gd name="connsiteX37" fmla="*/ 2027 w 334357"/>
                <a:gd name="connsiteY37" fmla="*/ 52103 h 333310"/>
                <a:gd name="connsiteX38" fmla="*/ 1531 w 334357"/>
                <a:gd name="connsiteY38" fmla="*/ 35733 h 333310"/>
                <a:gd name="connsiteX39" fmla="*/ 3019 w 334357"/>
                <a:gd name="connsiteY39" fmla="*/ 19362 h 333310"/>
                <a:gd name="connsiteX40" fmla="*/ 2523 w 334357"/>
                <a:gd name="connsiteY40" fmla="*/ 3488 h 333310"/>
                <a:gd name="connsiteX41" fmla="*/ 18398 w 334357"/>
                <a:gd name="connsiteY41" fmla="*/ 2496 h 333310"/>
                <a:gd name="connsiteX42" fmla="*/ 34768 w 334357"/>
                <a:gd name="connsiteY42" fmla="*/ 2000 h 333310"/>
                <a:gd name="connsiteX43" fmla="*/ 51139 w 334357"/>
                <a:gd name="connsiteY43" fmla="*/ 2992 h 333310"/>
                <a:gd name="connsiteX44" fmla="*/ 67509 w 334357"/>
                <a:gd name="connsiteY44" fmla="*/ 2496 h 333310"/>
                <a:gd name="connsiteX45" fmla="*/ 83880 w 334357"/>
                <a:gd name="connsiteY45" fmla="*/ 3488 h 333310"/>
                <a:gd name="connsiteX46" fmla="*/ 100250 w 334357"/>
                <a:gd name="connsiteY46" fmla="*/ 2992 h 333310"/>
                <a:gd name="connsiteX47" fmla="*/ 116621 w 334357"/>
                <a:gd name="connsiteY47" fmla="*/ 1504 h 333310"/>
                <a:gd name="connsiteX48" fmla="*/ 132991 w 334357"/>
                <a:gd name="connsiteY48" fmla="*/ 3488 h 333310"/>
                <a:gd name="connsiteX49" fmla="*/ 149362 w 334357"/>
                <a:gd name="connsiteY49" fmla="*/ 2992 h 333310"/>
                <a:gd name="connsiteX50" fmla="*/ 165733 w 334357"/>
                <a:gd name="connsiteY50" fmla="*/ 2992 h 333310"/>
                <a:gd name="connsiteX51" fmla="*/ 182103 w 334357"/>
                <a:gd name="connsiteY51" fmla="*/ 2992 h 333310"/>
                <a:gd name="connsiteX52" fmla="*/ 198474 w 334357"/>
                <a:gd name="connsiteY52" fmla="*/ 2496 h 333310"/>
                <a:gd name="connsiteX53" fmla="*/ 214844 w 334357"/>
                <a:gd name="connsiteY53" fmla="*/ 3488 h 333310"/>
                <a:gd name="connsiteX54" fmla="*/ 231215 w 334357"/>
                <a:gd name="connsiteY54" fmla="*/ 3488 h 333310"/>
                <a:gd name="connsiteX55" fmla="*/ 247585 w 334357"/>
                <a:gd name="connsiteY55" fmla="*/ 2992 h 333310"/>
                <a:gd name="connsiteX56" fmla="*/ 263956 w 334357"/>
                <a:gd name="connsiteY56" fmla="*/ 2496 h 333310"/>
                <a:gd name="connsiteX57" fmla="*/ 280327 w 334357"/>
                <a:gd name="connsiteY57" fmla="*/ 1504 h 333310"/>
                <a:gd name="connsiteX58" fmla="*/ 296697 w 334357"/>
                <a:gd name="connsiteY58" fmla="*/ 2000 h 333310"/>
                <a:gd name="connsiteX59" fmla="*/ 313068 w 334357"/>
                <a:gd name="connsiteY59" fmla="*/ 3984 h 333310"/>
                <a:gd name="connsiteX60" fmla="*/ 330431 w 334357"/>
                <a:gd name="connsiteY60" fmla="*/ 2000 h 333310"/>
                <a:gd name="connsiteX61" fmla="*/ 329935 w 334357"/>
                <a:gd name="connsiteY61" fmla="*/ 19362 h 333310"/>
                <a:gd name="connsiteX62" fmla="*/ 328942 w 334357"/>
                <a:gd name="connsiteY62" fmla="*/ 35733 h 333310"/>
                <a:gd name="connsiteX63" fmla="*/ 329935 w 334357"/>
                <a:gd name="connsiteY63" fmla="*/ 52103 h 333310"/>
                <a:gd name="connsiteX64" fmla="*/ 330927 w 334357"/>
                <a:gd name="connsiteY64" fmla="*/ 68474 h 333310"/>
                <a:gd name="connsiteX65" fmla="*/ 329935 w 334357"/>
                <a:gd name="connsiteY65" fmla="*/ 84845 h 333310"/>
                <a:gd name="connsiteX66" fmla="*/ 328942 w 334357"/>
                <a:gd name="connsiteY66" fmla="*/ 101215 h 333310"/>
                <a:gd name="connsiteX67" fmla="*/ 330927 w 334357"/>
                <a:gd name="connsiteY67" fmla="*/ 117586 h 333310"/>
                <a:gd name="connsiteX68" fmla="*/ 331423 w 334357"/>
                <a:gd name="connsiteY68" fmla="*/ 133956 h 333310"/>
                <a:gd name="connsiteX69" fmla="*/ 330431 w 334357"/>
                <a:gd name="connsiteY69" fmla="*/ 150327 h 333310"/>
                <a:gd name="connsiteX70" fmla="*/ 330431 w 334357"/>
                <a:gd name="connsiteY70" fmla="*/ 166698 h 333310"/>
                <a:gd name="connsiteX71" fmla="*/ 330431 w 334357"/>
                <a:gd name="connsiteY71" fmla="*/ 183068 h 333310"/>
                <a:gd name="connsiteX72" fmla="*/ 329935 w 334357"/>
                <a:gd name="connsiteY72" fmla="*/ 199439 h 333310"/>
                <a:gd name="connsiteX73" fmla="*/ 330431 w 334357"/>
                <a:gd name="connsiteY73" fmla="*/ 215809 h 333310"/>
                <a:gd name="connsiteX74" fmla="*/ 330431 w 334357"/>
                <a:gd name="connsiteY74" fmla="*/ 232180 h 333310"/>
                <a:gd name="connsiteX75" fmla="*/ 330431 w 334357"/>
                <a:gd name="connsiteY75" fmla="*/ 248550 h 333310"/>
                <a:gd name="connsiteX76" fmla="*/ 329935 w 334357"/>
                <a:gd name="connsiteY76" fmla="*/ 264921 h 333310"/>
                <a:gd name="connsiteX77" fmla="*/ 330927 w 334357"/>
                <a:gd name="connsiteY77" fmla="*/ 281291 h 333310"/>
                <a:gd name="connsiteX78" fmla="*/ 330927 w 334357"/>
                <a:gd name="connsiteY78" fmla="*/ 297662 h 333310"/>
                <a:gd name="connsiteX79" fmla="*/ 329935 w 334357"/>
                <a:gd name="connsiteY79" fmla="*/ 314033 h 333310"/>
                <a:gd name="connsiteX80" fmla="*/ 331423 w 334357"/>
                <a:gd name="connsiteY80" fmla="*/ 330899 h 3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4357" h="333310">
                  <a:moveTo>
                    <a:pt x="331423" y="330899"/>
                  </a:moveTo>
                  <a:cubicBezTo>
                    <a:pt x="325470" y="336852"/>
                    <a:pt x="322494" y="329411"/>
                    <a:pt x="314060" y="329411"/>
                  </a:cubicBezTo>
                  <a:cubicBezTo>
                    <a:pt x="305627" y="329411"/>
                    <a:pt x="305627" y="329907"/>
                    <a:pt x="297690" y="329907"/>
                  </a:cubicBezTo>
                  <a:cubicBezTo>
                    <a:pt x="289256" y="329907"/>
                    <a:pt x="289256" y="330403"/>
                    <a:pt x="281319" y="330403"/>
                  </a:cubicBezTo>
                  <a:cubicBezTo>
                    <a:pt x="272886" y="330403"/>
                    <a:pt x="272886" y="331395"/>
                    <a:pt x="264948" y="331395"/>
                  </a:cubicBezTo>
                  <a:cubicBezTo>
                    <a:pt x="256515" y="331395"/>
                    <a:pt x="256515" y="330403"/>
                    <a:pt x="248578" y="330403"/>
                  </a:cubicBezTo>
                  <a:cubicBezTo>
                    <a:pt x="240144" y="330403"/>
                    <a:pt x="240144" y="330899"/>
                    <a:pt x="232207" y="330899"/>
                  </a:cubicBezTo>
                  <a:cubicBezTo>
                    <a:pt x="223774" y="330899"/>
                    <a:pt x="223774" y="331891"/>
                    <a:pt x="215836" y="331891"/>
                  </a:cubicBezTo>
                  <a:cubicBezTo>
                    <a:pt x="207403" y="331891"/>
                    <a:pt x="207403" y="329907"/>
                    <a:pt x="199466" y="329907"/>
                  </a:cubicBezTo>
                  <a:cubicBezTo>
                    <a:pt x="191033" y="329907"/>
                    <a:pt x="191033" y="330899"/>
                    <a:pt x="183095" y="330899"/>
                  </a:cubicBezTo>
                  <a:cubicBezTo>
                    <a:pt x="174662" y="330899"/>
                    <a:pt x="174662" y="330899"/>
                    <a:pt x="166725" y="330899"/>
                  </a:cubicBezTo>
                  <a:cubicBezTo>
                    <a:pt x="158292" y="330899"/>
                    <a:pt x="158292" y="330899"/>
                    <a:pt x="150354" y="330899"/>
                  </a:cubicBezTo>
                  <a:cubicBezTo>
                    <a:pt x="141921" y="330899"/>
                    <a:pt x="141921" y="331395"/>
                    <a:pt x="133984" y="331395"/>
                  </a:cubicBezTo>
                  <a:cubicBezTo>
                    <a:pt x="125550" y="331395"/>
                    <a:pt x="125550" y="330899"/>
                    <a:pt x="117613" y="330899"/>
                  </a:cubicBezTo>
                  <a:cubicBezTo>
                    <a:pt x="109676" y="330899"/>
                    <a:pt x="109180" y="329907"/>
                    <a:pt x="101243" y="329907"/>
                  </a:cubicBezTo>
                  <a:cubicBezTo>
                    <a:pt x="92809" y="329907"/>
                    <a:pt x="92809" y="331891"/>
                    <a:pt x="84872" y="331891"/>
                  </a:cubicBezTo>
                  <a:cubicBezTo>
                    <a:pt x="76439" y="331891"/>
                    <a:pt x="76439" y="330403"/>
                    <a:pt x="68501" y="330403"/>
                  </a:cubicBezTo>
                  <a:cubicBezTo>
                    <a:pt x="60068" y="330403"/>
                    <a:pt x="60068" y="331395"/>
                    <a:pt x="52131" y="331395"/>
                  </a:cubicBezTo>
                  <a:cubicBezTo>
                    <a:pt x="43697" y="331395"/>
                    <a:pt x="43697" y="331395"/>
                    <a:pt x="35760" y="331395"/>
                  </a:cubicBezTo>
                  <a:cubicBezTo>
                    <a:pt x="27327" y="331395"/>
                    <a:pt x="27327" y="329907"/>
                    <a:pt x="19390" y="329907"/>
                  </a:cubicBezTo>
                  <a:cubicBezTo>
                    <a:pt x="11452" y="329907"/>
                    <a:pt x="8476" y="336852"/>
                    <a:pt x="2523" y="330899"/>
                  </a:cubicBezTo>
                  <a:cubicBezTo>
                    <a:pt x="-3430" y="324947"/>
                    <a:pt x="3515" y="322466"/>
                    <a:pt x="3515" y="314033"/>
                  </a:cubicBezTo>
                  <a:cubicBezTo>
                    <a:pt x="3515" y="305599"/>
                    <a:pt x="3019" y="305599"/>
                    <a:pt x="3019" y="297662"/>
                  </a:cubicBezTo>
                  <a:cubicBezTo>
                    <a:pt x="3019" y="289229"/>
                    <a:pt x="4011" y="289229"/>
                    <a:pt x="4011" y="281291"/>
                  </a:cubicBezTo>
                  <a:cubicBezTo>
                    <a:pt x="4011" y="272858"/>
                    <a:pt x="3019" y="272858"/>
                    <a:pt x="3019" y="264921"/>
                  </a:cubicBezTo>
                  <a:cubicBezTo>
                    <a:pt x="3019" y="256488"/>
                    <a:pt x="3019" y="256488"/>
                    <a:pt x="3019" y="248550"/>
                  </a:cubicBezTo>
                  <a:cubicBezTo>
                    <a:pt x="3019" y="240117"/>
                    <a:pt x="3019" y="240117"/>
                    <a:pt x="3019" y="232180"/>
                  </a:cubicBezTo>
                  <a:cubicBezTo>
                    <a:pt x="3019" y="223746"/>
                    <a:pt x="2523" y="223746"/>
                    <a:pt x="2523" y="215809"/>
                  </a:cubicBezTo>
                  <a:cubicBezTo>
                    <a:pt x="2523" y="207376"/>
                    <a:pt x="2027" y="207376"/>
                    <a:pt x="2027" y="199439"/>
                  </a:cubicBezTo>
                  <a:cubicBezTo>
                    <a:pt x="2027" y="191005"/>
                    <a:pt x="2027" y="191005"/>
                    <a:pt x="2027" y="183068"/>
                  </a:cubicBezTo>
                  <a:cubicBezTo>
                    <a:pt x="2027" y="174635"/>
                    <a:pt x="2523" y="174635"/>
                    <a:pt x="2523" y="166698"/>
                  </a:cubicBezTo>
                  <a:cubicBezTo>
                    <a:pt x="2523" y="158264"/>
                    <a:pt x="2523" y="158264"/>
                    <a:pt x="2523" y="150327"/>
                  </a:cubicBezTo>
                  <a:cubicBezTo>
                    <a:pt x="2523" y="141894"/>
                    <a:pt x="1531" y="141894"/>
                    <a:pt x="1531" y="133956"/>
                  </a:cubicBezTo>
                  <a:cubicBezTo>
                    <a:pt x="1531" y="125523"/>
                    <a:pt x="1035" y="125523"/>
                    <a:pt x="1035" y="117586"/>
                  </a:cubicBezTo>
                  <a:cubicBezTo>
                    <a:pt x="1035" y="109649"/>
                    <a:pt x="2027" y="109153"/>
                    <a:pt x="2027" y="101215"/>
                  </a:cubicBezTo>
                  <a:cubicBezTo>
                    <a:pt x="2027" y="92782"/>
                    <a:pt x="3515" y="92782"/>
                    <a:pt x="3515" y="84845"/>
                  </a:cubicBezTo>
                  <a:cubicBezTo>
                    <a:pt x="3515" y="76411"/>
                    <a:pt x="1531" y="76411"/>
                    <a:pt x="1531" y="68474"/>
                  </a:cubicBezTo>
                  <a:cubicBezTo>
                    <a:pt x="1531" y="60041"/>
                    <a:pt x="2027" y="60041"/>
                    <a:pt x="2027" y="52103"/>
                  </a:cubicBezTo>
                  <a:cubicBezTo>
                    <a:pt x="2027" y="43670"/>
                    <a:pt x="1531" y="43670"/>
                    <a:pt x="1531" y="35733"/>
                  </a:cubicBezTo>
                  <a:cubicBezTo>
                    <a:pt x="1531" y="27300"/>
                    <a:pt x="3019" y="27300"/>
                    <a:pt x="3019" y="19362"/>
                  </a:cubicBezTo>
                  <a:cubicBezTo>
                    <a:pt x="3019" y="11425"/>
                    <a:pt x="-3430" y="9441"/>
                    <a:pt x="2523" y="3488"/>
                  </a:cubicBezTo>
                  <a:cubicBezTo>
                    <a:pt x="8476" y="-2465"/>
                    <a:pt x="9964" y="2496"/>
                    <a:pt x="18398" y="2496"/>
                  </a:cubicBezTo>
                  <a:cubicBezTo>
                    <a:pt x="26831" y="2496"/>
                    <a:pt x="26831" y="2000"/>
                    <a:pt x="34768" y="2000"/>
                  </a:cubicBezTo>
                  <a:cubicBezTo>
                    <a:pt x="43201" y="2000"/>
                    <a:pt x="43201" y="2992"/>
                    <a:pt x="51139" y="2992"/>
                  </a:cubicBezTo>
                  <a:cubicBezTo>
                    <a:pt x="59572" y="2992"/>
                    <a:pt x="59572" y="2496"/>
                    <a:pt x="67509" y="2496"/>
                  </a:cubicBezTo>
                  <a:cubicBezTo>
                    <a:pt x="75942" y="2496"/>
                    <a:pt x="75942" y="3488"/>
                    <a:pt x="83880" y="3488"/>
                  </a:cubicBezTo>
                  <a:cubicBezTo>
                    <a:pt x="92313" y="3488"/>
                    <a:pt x="92313" y="2992"/>
                    <a:pt x="100250" y="2992"/>
                  </a:cubicBezTo>
                  <a:cubicBezTo>
                    <a:pt x="108684" y="2992"/>
                    <a:pt x="108684" y="1504"/>
                    <a:pt x="116621" y="1504"/>
                  </a:cubicBezTo>
                  <a:cubicBezTo>
                    <a:pt x="125054" y="1504"/>
                    <a:pt x="125054" y="3488"/>
                    <a:pt x="132991" y="3488"/>
                  </a:cubicBezTo>
                  <a:cubicBezTo>
                    <a:pt x="141425" y="3488"/>
                    <a:pt x="141425" y="2992"/>
                    <a:pt x="149362" y="2992"/>
                  </a:cubicBezTo>
                  <a:cubicBezTo>
                    <a:pt x="157795" y="2992"/>
                    <a:pt x="157795" y="2992"/>
                    <a:pt x="165733" y="2992"/>
                  </a:cubicBezTo>
                  <a:cubicBezTo>
                    <a:pt x="174166" y="2992"/>
                    <a:pt x="174166" y="2992"/>
                    <a:pt x="182103" y="2992"/>
                  </a:cubicBezTo>
                  <a:cubicBezTo>
                    <a:pt x="190537" y="2992"/>
                    <a:pt x="190537" y="2496"/>
                    <a:pt x="198474" y="2496"/>
                  </a:cubicBezTo>
                  <a:cubicBezTo>
                    <a:pt x="206907" y="2496"/>
                    <a:pt x="206907" y="3488"/>
                    <a:pt x="214844" y="3488"/>
                  </a:cubicBezTo>
                  <a:cubicBezTo>
                    <a:pt x="222782" y="3488"/>
                    <a:pt x="223278" y="3488"/>
                    <a:pt x="231215" y="3488"/>
                  </a:cubicBezTo>
                  <a:cubicBezTo>
                    <a:pt x="239648" y="3488"/>
                    <a:pt x="239648" y="2992"/>
                    <a:pt x="247585" y="2992"/>
                  </a:cubicBezTo>
                  <a:cubicBezTo>
                    <a:pt x="256019" y="2992"/>
                    <a:pt x="256019" y="2496"/>
                    <a:pt x="263956" y="2496"/>
                  </a:cubicBezTo>
                  <a:cubicBezTo>
                    <a:pt x="272389" y="2496"/>
                    <a:pt x="272389" y="1504"/>
                    <a:pt x="280327" y="1504"/>
                  </a:cubicBezTo>
                  <a:cubicBezTo>
                    <a:pt x="288760" y="1504"/>
                    <a:pt x="288760" y="2000"/>
                    <a:pt x="296697" y="2000"/>
                  </a:cubicBezTo>
                  <a:cubicBezTo>
                    <a:pt x="305131" y="2000"/>
                    <a:pt x="305131" y="3984"/>
                    <a:pt x="313068" y="3984"/>
                  </a:cubicBezTo>
                  <a:cubicBezTo>
                    <a:pt x="321501" y="3984"/>
                    <a:pt x="324477" y="-3457"/>
                    <a:pt x="330431" y="2000"/>
                  </a:cubicBezTo>
                  <a:cubicBezTo>
                    <a:pt x="336383" y="7953"/>
                    <a:pt x="329935" y="10929"/>
                    <a:pt x="329935" y="19362"/>
                  </a:cubicBezTo>
                  <a:cubicBezTo>
                    <a:pt x="329935" y="27796"/>
                    <a:pt x="328942" y="27796"/>
                    <a:pt x="328942" y="35733"/>
                  </a:cubicBezTo>
                  <a:cubicBezTo>
                    <a:pt x="328942" y="44166"/>
                    <a:pt x="329935" y="44166"/>
                    <a:pt x="329935" y="52103"/>
                  </a:cubicBezTo>
                  <a:cubicBezTo>
                    <a:pt x="329935" y="60537"/>
                    <a:pt x="330927" y="60537"/>
                    <a:pt x="330927" y="68474"/>
                  </a:cubicBezTo>
                  <a:cubicBezTo>
                    <a:pt x="330927" y="76908"/>
                    <a:pt x="329935" y="76908"/>
                    <a:pt x="329935" y="84845"/>
                  </a:cubicBezTo>
                  <a:cubicBezTo>
                    <a:pt x="329935" y="93278"/>
                    <a:pt x="328942" y="93278"/>
                    <a:pt x="328942" y="101215"/>
                  </a:cubicBezTo>
                  <a:cubicBezTo>
                    <a:pt x="328942" y="109649"/>
                    <a:pt x="330927" y="109649"/>
                    <a:pt x="330927" y="117586"/>
                  </a:cubicBezTo>
                  <a:cubicBezTo>
                    <a:pt x="330927" y="126019"/>
                    <a:pt x="331423" y="126019"/>
                    <a:pt x="331423" y="133956"/>
                  </a:cubicBezTo>
                  <a:cubicBezTo>
                    <a:pt x="331423" y="142390"/>
                    <a:pt x="330431" y="142390"/>
                    <a:pt x="330431" y="150327"/>
                  </a:cubicBezTo>
                  <a:cubicBezTo>
                    <a:pt x="330431" y="158760"/>
                    <a:pt x="330431" y="158760"/>
                    <a:pt x="330431" y="166698"/>
                  </a:cubicBezTo>
                  <a:cubicBezTo>
                    <a:pt x="330431" y="175131"/>
                    <a:pt x="330431" y="175131"/>
                    <a:pt x="330431" y="183068"/>
                  </a:cubicBezTo>
                  <a:cubicBezTo>
                    <a:pt x="330431" y="191501"/>
                    <a:pt x="329935" y="191501"/>
                    <a:pt x="329935" y="199439"/>
                  </a:cubicBezTo>
                  <a:cubicBezTo>
                    <a:pt x="329935" y="207872"/>
                    <a:pt x="330431" y="207872"/>
                    <a:pt x="330431" y="215809"/>
                  </a:cubicBezTo>
                  <a:cubicBezTo>
                    <a:pt x="330431" y="223746"/>
                    <a:pt x="330431" y="224242"/>
                    <a:pt x="330431" y="232180"/>
                  </a:cubicBezTo>
                  <a:cubicBezTo>
                    <a:pt x="330431" y="240613"/>
                    <a:pt x="330431" y="240613"/>
                    <a:pt x="330431" y="248550"/>
                  </a:cubicBezTo>
                  <a:cubicBezTo>
                    <a:pt x="330431" y="256984"/>
                    <a:pt x="329935" y="256984"/>
                    <a:pt x="329935" y="264921"/>
                  </a:cubicBezTo>
                  <a:cubicBezTo>
                    <a:pt x="329935" y="273354"/>
                    <a:pt x="330927" y="273354"/>
                    <a:pt x="330927" y="281291"/>
                  </a:cubicBezTo>
                  <a:cubicBezTo>
                    <a:pt x="330927" y="289725"/>
                    <a:pt x="330927" y="289725"/>
                    <a:pt x="330927" y="297662"/>
                  </a:cubicBezTo>
                  <a:cubicBezTo>
                    <a:pt x="330927" y="306095"/>
                    <a:pt x="328446" y="306095"/>
                    <a:pt x="329935" y="314033"/>
                  </a:cubicBezTo>
                  <a:cubicBezTo>
                    <a:pt x="332911" y="322962"/>
                    <a:pt x="337376" y="324947"/>
                    <a:pt x="331423" y="33089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26C09633-88A6-22DC-2449-EBDE96791499}"/>
                </a:ext>
              </a:extLst>
            </p:cNvPr>
            <p:cNvSpPr/>
            <p:nvPr/>
          </p:nvSpPr>
          <p:spPr>
            <a:xfrm>
              <a:off x="5557500" y="2596429"/>
              <a:ext cx="301235" cy="40950"/>
            </a:xfrm>
            <a:custGeom>
              <a:avLst/>
              <a:gdLst>
                <a:gd name="connsiteX0" fmla="*/ 298570 w 301235"/>
                <a:gd name="connsiteY0" fmla="*/ 38737 h 40950"/>
                <a:gd name="connsiteX1" fmla="*/ 281207 w 301235"/>
                <a:gd name="connsiteY1" fmla="*/ 36752 h 40950"/>
                <a:gd name="connsiteX2" fmla="*/ 264836 w 301235"/>
                <a:gd name="connsiteY2" fmla="*/ 38737 h 40950"/>
                <a:gd name="connsiteX3" fmla="*/ 248465 w 301235"/>
                <a:gd name="connsiteY3" fmla="*/ 37249 h 40950"/>
                <a:gd name="connsiteX4" fmla="*/ 232095 w 301235"/>
                <a:gd name="connsiteY4" fmla="*/ 38240 h 40950"/>
                <a:gd name="connsiteX5" fmla="*/ 215724 w 301235"/>
                <a:gd name="connsiteY5" fmla="*/ 37744 h 40950"/>
                <a:gd name="connsiteX6" fmla="*/ 199354 w 301235"/>
                <a:gd name="connsiteY6" fmla="*/ 38737 h 40950"/>
                <a:gd name="connsiteX7" fmla="*/ 182983 w 301235"/>
                <a:gd name="connsiteY7" fmla="*/ 38240 h 40950"/>
                <a:gd name="connsiteX8" fmla="*/ 166613 w 301235"/>
                <a:gd name="connsiteY8" fmla="*/ 38240 h 40950"/>
                <a:gd name="connsiteX9" fmla="*/ 150242 w 301235"/>
                <a:gd name="connsiteY9" fmla="*/ 36752 h 40950"/>
                <a:gd name="connsiteX10" fmla="*/ 133871 w 301235"/>
                <a:gd name="connsiteY10" fmla="*/ 38240 h 40950"/>
                <a:gd name="connsiteX11" fmla="*/ 117501 w 301235"/>
                <a:gd name="connsiteY11" fmla="*/ 36752 h 40950"/>
                <a:gd name="connsiteX12" fmla="*/ 101130 w 301235"/>
                <a:gd name="connsiteY12" fmla="*/ 37744 h 40950"/>
                <a:gd name="connsiteX13" fmla="*/ 84760 w 301235"/>
                <a:gd name="connsiteY13" fmla="*/ 37744 h 40950"/>
                <a:gd name="connsiteX14" fmla="*/ 68389 w 301235"/>
                <a:gd name="connsiteY14" fmla="*/ 36752 h 40950"/>
                <a:gd name="connsiteX15" fmla="*/ 52019 w 301235"/>
                <a:gd name="connsiteY15" fmla="*/ 36752 h 40950"/>
                <a:gd name="connsiteX16" fmla="*/ 35648 w 301235"/>
                <a:gd name="connsiteY16" fmla="*/ 37249 h 40950"/>
                <a:gd name="connsiteX17" fmla="*/ 19278 w 301235"/>
                <a:gd name="connsiteY17" fmla="*/ 37249 h 40950"/>
                <a:gd name="connsiteX18" fmla="*/ 2411 w 301235"/>
                <a:gd name="connsiteY18" fmla="*/ 37744 h 40950"/>
                <a:gd name="connsiteX19" fmla="*/ 3403 w 301235"/>
                <a:gd name="connsiteY19" fmla="*/ 20382 h 40950"/>
                <a:gd name="connsiteX20" fmla="*/ 3403 w 301235"/>
                <a:gd name="connsiteY20" fmla="*/ 4011 h 40950"/>
                <a:gd name="connsiteX21" fmla="*/ 18782 w 301235"/>
                <a:gd name="connsiteY21" fmla="*/ 3019 h 40950"/>
                <a:gd name="connsiteX22" fmla="*/ 35152 w 301235"/>
                <a:gd name="connsiteY22" fmla="*/ 2027 h 40950"/>
                <a:gd name="connsiteX23" fmla="*/ 51523 w 301235"/>
                <a:gd name="connsiteY23" fmla="*/ 4011 h 40950"/>
                <a:gd name="connsiteX24" fmla="*/ 67893 w 301235"/>
                <a:gd name="connsiteY24" fmla="*/ 4011 h 40950"/>
                <a:gd name="connsiteX25" fmla="*/ 84264 w 301235"/>
                <a:gd name="connsiteY25" fmla="*/ 3515 h 40950"/>
                <a:gd name="connsiteX26" fmla="*/ 100634 w 301235"/>
                <a:gd name="connsiteY26" fmla="*/ 4011 h 40950"/>
                <a:gd name="connsiteX27" fmla="*/ 117005 w 301235"/>
                <a:gd name="connsiteY27" fmla="*/ 3019 h 40950"/>
                <a:gd name="connsiteX28" fmla="*/ 133376 w 301235"/>
                <a:gd name="connsiteY28" fmla="*/ 3515 h 40950"/>
                <a:gd name="connsiteX29" fmla="*/ 149746 w 301235"/>
                <a:gd name="connsiteY29" fmla="*/ 4507 h 40950"/>
                <a:gd name="connsiteX30" fmla="*/ 166117 w 301235"/>
                <a:gd name="connsiteY30" fmla="*/ 2523 h 40950"/>
                <a:gd name="connsiteX31" fmla="*/ 182487 w 301235"/>
                <a:gd name="connsiteY31" fmla="*/ 3019 h 40950"/>
                <a:gd name="connsiteX32" fmla="*/ 198858 w 301235"/>
                <a:gd name="connsiteY32" fmla="*/ 3019 h 40950"/>
                <a:gd name="connsiteX33" fmla="*/ 215228 w 301235"/>
                <a:gd name="connsiteY33" fmla="*/ 2523 h 40950"/>
                <a:gd name="connsiteX34" fmla="*/ 231599 w 301235"/>
                <a:gd name="connsiteY34" fmla="*/ 2523 h 40950"/>
                <a:gd name="connsiteX35" fmla="*/ 247969 w 301235"/>
                <a:gd name="connsiteY35" fmla="*/ 4011 h 40950"/>
                <a:gd name="connsiteX36" fmla="*/ 264340 w 301235"/>
                <a:gd name="connsiteY36" fmla="*/ 4011 h 40950"/>
                <a:gd name="connsiteX37" fmla="*/ 280710 w 301235"/>
                <a:gd name="connsiteY37" fmla="*/ 3019 h 40950"/>
                <a:gd name="connsiteX38" fmla="*/ 297577 w 301235"/>
                <a:gd name="connsiteY38" fmla="*/ 2523 h 40950"/>
                <a:gd name="connsiteX39" fmla="*/ 296089 w 301235"/>
                <a:gd name="connsiteY39" fmla="*/ 20878 h 40950"/>
                <a:gd name="connsiteX40" fmla="*/ 298570 w 301235"/>
                <a:gd name="connsiteY40" fmla="*/ 38737 h 4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1235" h="40950">
                  <a:moveTo>
                    <a:pt x="298570" y="38737"/>
                  </a:moveTo>
                  <a:cubicBezTo>
                    <a:pt x="293112" y="44690"/>
                    <a:pt x="289640" y="36752"/>
                    <a:pt x="281207" y="36752"/>
                  </a:cubicBezTo>
                  <a:cubicBezTo>
                    <a:pt x="273269" y="36752"/>
                    <a:pt x="273269" y="38737"/>
                    <a:pt x="264836" y="38737"/>
                  </a:cubicBezTo>
                  <a:cubicBezTo>
                    <a:pt x="256899" y="38737"/>
                    <a:pt x="256899" y="37249"/>
                    <a:pt x="248465" y="37249"/>
                  </a:cubicBezTo>
                  <a:cubicBezTo>
                    <a:pt x="240032" y="37249"/>
                    <a:pt x="240032" y="38240"/>
                    <a:pt x="232095" y="38240"/>
                  </a:cubicBezTo>
                  <a:cubicBezTo>
                    <a:pt x="224158" y="38240"/>
                    <a:pt x="224158" y="37744"/>
                    <a:pt x="215724" y="37744"/>
                  </a:cubicBezTo>
                  <a:cubicBezTo>
                    <a:pt x="207291" y="37744"/>
                    <a:pt x="207291" y="38737"/>
                    <a:pt x="199354" y="38737"/>
                  </a:cubicBezTo>
                  <a:cubicBezTo>
                    <a:pt x="191417" y="38737"/>
                    <a:pt x="191417" y="38240"/>
                    <a:pt x="182983" y="38240"/>
                  </a:cubicBezTo>
                  <a:cubicBezTo>
                    <a:pt x="174550" y="38240"/>
                    <a:pt x="174550" y="38240"/>
                    <a:pt x="166613" y="38240"/>
                  </a:cubicBezTo>
                  <a:cubicBezTo>
                    <a:pt x="158179" y="38240"/>
                    <a:pt x="158179" y="36752"/>
                    <a:pt x="150242" y="36752"/>
                  </a:cubicBezTo>
                  <a:cubicBezTo>
                    <a:pt x="141809" y="36752"/>
                    <a:pt x="141809" y="38240"/>
                    <a:pt x="133871" y="38240"/>
                  </a:cubicBezTo>
                  <a:cubicBezTo>
                    <a:pt x="125438" y="38240"/>
                    <a:pt x="125438" y="36752"/>
                    <a:pt x="117501" y="36752"/>
                  </a:cubicBezTo>
                  <a:cubicBezTo>
                    <a:pt x="109068" y="36752"/>
                    <a:pt x="109068" y="37744"/>
                    <a:pt x="101130" y="37744"/>
                  </a:cubicBezTo>
                  <a:cubicBezTo>
                    <a:pt x="92697" y="37744"/>
                    <a:pt x="92697" y="37744"/>
                    <a:pt x="84760" y="37744"/>
                  </a:cubicBezTo>
                  <a:cubicBezTo>
                    <a:pt x="76327" y="37744"/>
                    <a:pt x="76327" y="36752"/>
                    <a:pt x="68389" y="36752"/>
                  </a:cubicBezTo>
                  <a:cubicBezTo>
                    <a:pt x="59956" y="36752"/>
                    <a:pt x="59956" y="36752"/>
                    <a:pt x="52019" y="36752"/>
                  </a:cubicBezTo>
                  <a:cubicBezTo>
                    <a:pt x="43586" y="36752"/>
                    <a:pt x="43586" y="37249"/>
                    <a:pt x="35648" y="37249"/>
                  </a:cubicBezTo>
                  <a:cubicBezTo>
                    <a:pt x="27215" y="37249"/>
                    <a:pt x="27215" y="37249"/>
                    <a:pt x="19278" y="37249"/>
                  </a:cubicBezTo>
                  <a:cubicBezTo>
                    <a:pt x="11340" y="37249"/>
                    <a:pt x="8364" y="43697"/>
                    <a:pt x="2411" y="37744"/>
                  </a:cubicBezTo>
                  <a:cubicBezTo>
                    <a:pt x="-3542" y="31296"/>
                    <a:pt x="3403" y="28815"/>
                    <a:pt x="3403" y="20382"/>
                  </a:cubicBezTo>
                  <a:cubicBezTo>
                    <a:pt x="3403" y="11948"/>
                    <a:pt x="-2550" y="9964"/>
                    <a:pt x="3403" y="4011"/>
                  </a:cubicBezTo>
                  <a:cubicBezTo>
                    <a:pt x="8860" y="-1942"/>
                    <a:pt x="10844" y="3019"/>
                    <a:pt x="18782" y="3019"/>
                  </a:cubicBezTo>
                  <a:cubicBezTo>
                    <a:pt x="26719" y="3019"/>
                    <a:pt x="26719" y="2027"/>
                    <a:pt x="35152" y="2027"/>
                  </a:cubicBezTo>
                  <a:cubicBezTo>
                    <a:pt x="43089" y="2027"/>
                    <a:pt x="43089" y="4011"/>
                    <a:pt x="51523" y="4011"/>
                  </a:cubicBezTo>
                  <a:cubicBezTo>
                    <a:pt x="59956" y="4011"/>
                    <a:pt x="59956" y="4011"/>
                    <a:pt x="67893" y="4011"/>
                  </a:cubicBezTo>
                  <a:cubicBezTo>
                    <a:pt x="75831" y="4011"/>
                    <a:pt x="75831" y="3515"/>
                    <a:pt x="84264" y="3515"/>
                  </a:cubicBezTo>
                  <a:cubicBezTo>
                    <a:pt x="92697" y="3515"/>
                    <a:pt x="92697" y="4011"/>
                    <a:pt x="100634" y="4011"/>
                  </a:cubicBezTo>
                  <a:cubicBezTo>
                    <a:pt x="108572" y="4011"/>
                    <a:pt x="108572" y="3019"/>
                    <a:pt x="117005" y="3019"/>
                  </a:cubicBezTo>
                  <a:cubicBezTo>
                    <a:pt x="125438" y="3019"/>
                    <a:pt x="125438" y="3515"/>
                    <a:pt x="133376" y="3515"/>
                  </a:cubicBezTo>
                  <a:cubicBezTo>
                    <a:pt x="141809" y="3515"/>
                    <a:pt x="141809" y="4507"/>
                    <a:pt x="149746" y="4507"/>
                  </a:cubicBezTo>
                  <a:cubicBezTo>
                    <a:pt x="158179" y="4507"/>
                    <a:pt x="158179" y="2523"/>
                    <a:pt x="166117" y="2523"/>
                  </a:cubicBezTo>
                  <a:cubicBezTo>
                    <a:pt x="174550" y="2523"/>
                    <a:pt x="174550" y="3019"/>
                    <a:pt x="182487" y="3019"/>
                  </a:cubicBezTo>
                  <a:cubicBezTo>
                    <a:pt x="190424" y="3019"/>
                    <a:pt x="190920" y="3019"/>
                    <a:pt x="198858" y="3019"/>
                  </a:cubicBezTo>
                  <a:cubicBezTo>
                    <a:pt x="207291" y="3019"/>
                    <a:pt x="207291" y="2523"/>
                    <a:pt x="215228" y="2523"/>
                  </a:cubicBezTo>
                  <a:cubicBezTo>
                    <a:pt x="223661" y="2523"/>
                    <a:pt x="223661" y="2523"/>
                    <a:pt x="231599" y="2523"/>
                  </a:cubicBezTo>
                  <a:cubicBezTo>
                    <a:pt x="240032" y="2523"/>
                    <a:pt x="240032" y="4011"/>
                    <a:pt x="247969" y="4011"/>
                  </a:cubicBezTo>
                  <a:cubicBezTo>
                    <a:pt x="256403" y="4011"/>
                    <a:pt x="256403" y="4011"/>
                    <a:pt x="264340" y="4011"/>
                  </a:cubicBezTo>
                  <a:cubicBezTo>
                    <a:pt x="272773" y="4011"/>
                    <a:pt x="272773" y="3019"/>
                    <a:pt x="280710" y="3019"/>
                  </a:cubicBezTo>
                  <a:cubicBezTo>
                    <a:pt x="288648" y="3019"/>
                    <a:pt x="292120" y="-3430"/>
                    <a:pt x="297577" y="2523"/>
                  </a:cubicBezTo>
                  <a:cubicBezTo>
                    <a:pt x="303531" y="8972"/>
                    <a:pt x="294105" y="12445"/>
                    <a:pt x="296089" y="20878"/>
                  </a:cubicBezTo>
                  <a:cubicBezTo>
                    <a:pt x="299066" y="30303"/>
                    <a:pt x="304522" y="32288"/>
                    <a:pt x="298570" y="3873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BFF57589-C013-F241-8AF7-9E12F539DC87}"/>
                </a:ext>
              </a:extLst>
            </p:cNvPr>
            <p:cNvSpPr/>
            <p:nvPr/>
          </p:nvSpPr>
          <p:spPr>
            <a:xfrm>
              <a:off x="5557982" y="2490764"/>
              <a:ext cx="300025" cy="304634"/>
            </a:xfrm>
            <a:custGeom>
              <a:avLst/>
              <a:gdLst>
                <a:gd name="connsiteX0" fmla="*/ 1433 w 300025"/>
                <a:gd name="connsiteY0" fmla="*/ 304634 h 304634"/>
                <a:gd name="connsiteX1" fmla="*/ 2921 w 300025"/>
                <a:gd name="connsiteY1" fmla="*/ 288760 h 304634"/>
                <a:gd name="connsiteX2" fmla="*/ 3418 w 300025"/>
                <a:gd name="connsiteY2" fmla="*/ 272885 h 304634"/>
                <a:gd name="connsiteX3" fmla="*/ 3418 w 300025"/>
                <a:gd name="connsiteY3" fmla="*/ 257011 h 304634"/>
                <a:gd name="connsiteX4" fmla="*/ 2921 w 300025"/>
                <a:gd name="connsiteY4" fmla="*/ 241137 h 304634"/>
                <a:gd name="connsiteX5" fmla="*/ 1929 w 300025"/>
                <a:gd name="connsiteY5" fmla="*/ 225262 h 304634"/>
                <a:gd name="connsiteX6" fmla="*/ 2425 w 300025"/>
                <a:gd name="connsiteY6" fmla="*/ 209387 h 304634"/>
                <a:gd name="connsiteX7" fmla="*/ 2921 w 300025"/>
                <a:gd name="connsiteY7" fmla="*/ 193513 h 304634"/>
                <a:gd name="connsiteX8" fmla="*/ 2425 w 300025"/>
                <a:gd name="connsiteY8" fmla="*/ 177639 h 304634"/>
                <a:gd name="connsiteX9" fmla="*/ 3418 w 300025"/>
                <a:gd name="connsiteY9" fmla="*/ 161764 h 304634"/>
                <a:gd name="connsiteX10" fmla="*/ 1929 w 300025"/>
                <a:gd name="connsiteY10" fmla="*/ 145890 h 304634"/>
                <a:gd name="connsiteX11" fmla="*/ 1433 w 300025"/>
                <a:gd name="connsiteY11" fmla="*/ 130015 h 304634"/>
                <a:gd name="connsiteX12" fmla="*/ 1433 w 300025"/>
                <a:gd name="connsiteY12" fmla="*/ 114140 h 304634"/>
                <a:gd name="connsiteX13" fmla="*/ 1929 w 300025"/>
                <a:gd name="connsiteY13" fmla="*/ 98266 h 304634"/>
                <a:gd name="connsiteX14" fmla="*/ 1929 w 300025"/>
                <a:gd name="connsiteY14" fmla="*/ 82392 h 304634"/>
                <a:gd name="connsiteX15" fmla="*/ 1929 w 300025"/>
                <a:gd name="connsiteY15" fmla="*/ 66517 h 304634"/>
                <a:gd name="connsiteX16" fmla="*/ 2921 w 300025"/>
                <a:gd name="connsiteY16" fmla="*/ 50642 h 304634"/>
                <a:gd name="connsiteX17" fmla="*/ 3418 w 300025"/>
                <a:gd name="connsiteY17" fmla="*/ 34768 h 304634"/>
                <a:gd name="connsiteX18" fmla="*/ 2425 w 300025"/>
                <a:gd name="connsiteY18" fmla="*/ 18894 h 304634"/>
                <a:gd name="connsiteX19" fmla="*/ 2425 w 300025"/>
                <a:gd name="connsiteY19" fmla="*/ 2523 h 304634"/>
                <a:gd name="connsiteX20" fmla="*/ 19292 w 300025"/>
                <a:gd name="connsiteY20" fmla="*/ 3019 h 304634"/>
                <a:gd name="connsiteX21" fmla="*/ 35663 w 300025"/>
                <a:gd name="connsiteY21" fmla="*/ 2523 h 304634"/>
                <a:gd name="connsiteX22" fmla="*/ 52033 w 300025"/>
                <a:gd name="connsiteY22" fmla="*/ 3515 h 304634"/>
                <a:gd name="connsiteX23" fmla="*/ 68404 w 300025"/>
                <a:gd name="connsiteY23" fmla="*/ 2027 h 304634"/>
                <a:gd name="connsiteX24" fmla="*/ 84774 w 300025"/>
                <a:gd name="connsiteY24" fmla="*/ 1035 h 304634"/>
                <a:gd name="connsiteX25" fmla="*/ 101145 w 300025"/>
                <a:gd name="connsiteY25" fmla="*/ 3019 h 304634"/>
                <a:gd name="connsiteX26" fmla="*/ 117515 w 300025"/>
                <a:gd name="connsiteY26" fmla="*/ 1035 h 304634"/>
                <a:gd name="connsiteX27" fmla="*/ 133886 w 300025"/>
                <a:gd name="connsiteY27" fmla="*/ 2523 h 304634"/>
                <a:gd name="connsiteX28" fmla="*/ 150257 w 300025"/>
                <a:gd name="connsiteY28" fmla="*/ 1531 h 304634"/>
                <a:gd name="connsiteX29" fmla="*/ 166627 w 300025"/>
                <a:gd name="connsiteY29" fmla="*/ 2027 h 304634"/>
                <a:gd name="connsiteX30" fmla="*/ 182998 w 300025"/>
                <a:gd name="connsiteY30" fmla="*/ 1531 h 304634"/>
                <a:gd name="connsiteX31" fmla="*/ 199368 w 300025"/>
                <a:gd name="connsiteY31" fmla="*/ 3515 h 304634"/>
                <a:gd name="connsiteX32" fmla="*/ 215739 w 300025"/>
                <a:gd name="connsiteY32" fmla="*/ 1531 h 304634"/>
                <a:gd name="connsiteX33" fmla="*/ 232109 w 300025"/>
                <a:gd name="connsiteY33" fmla="*/ 1531 h 304634"/>
                <a:gd name="connsiteX34" fmla="*/ 248480 w 300025"/>
                <a:gd name="connsiteY34" fmla="*/ 2027 h 304634"/>
                <a:gd name="connsiteX35" fmla="*/ 264850 w 300025"/>
                <a:gd name="connsiteY35" fmla="*/ 3019 h 304634"/>
                <a:gd name="connsiteX36" fmla="*/ 281221 w 300025"/>
                <a:gd name="connsiteY36" fmla="*/ 3515 h 304634"/>
                <a:gd name="connsiteX37" fmla="*/ 297095 w 300025"/>
                <a:gd name="connsiteY37" fmla="*/ 2523 h 304634"/>
                <a:gd name="connsiteX38" fmla="*/ 298088 w 300025"/>
                <a:gd name="connsiteY38" fmla="*/ 17901 h 304634"/>
                <a:gd name="connsiteX39" fmla="*/ 297095 w 300025"/>
                <a:gd name="connsiteY39" fmla="*/ 33776 h 304634"/>
                <a:gd name="connsiteX40" fmla="*/ 297095 w 300025"/>
                <a:gd name="connsiteY40" fmla="*/ 49650 h 304634"/>
                <a:gd name="connsiteX41" fmla="*/ 298088 w 300025"/>
                <a:gd name="connsiteY41" fmla="*/ 65525 h 304634"/>
                <a:gd name="connsiteX42" fmla="*/ 296600 w 300025"/>
                <a:gd name="connsiteY42" fmla="*/ 81399 h 304634"/>
                <a:gd name="connsiteX43" fmla="*/ 298088 w 300025"/>
                <a:gd name="connsiteY43" fmla="*/ 97274 h 304634"/>
                <a:gd name="connsiteX44" fmla="*/ 297591 w 300025"/>
                <a:gd name="connsiteY44" fmla="*/ 113148 h 304634"/>
                <a:gd name="connsiteX45" fmla="*/ 298088 w 300025"/>
                <a:gd name="connsiteY45" fmla="*/ 129023 h 304634"/>
                <a:gd name="connsiteX46" fmla="*/ 296104 w 300025"/>
                <a:gd name="connsiteY46" fmla="*/ 144897 h 304634"/>
                <a:gd name="connsiteX47" fmla="*/ 297095 w 300025"/>
                <a:gd name="connsiteY47" fmla="*/ 160772 h 304634"/>
                <a:gd name="connsiteX48" fmla="*/ 296104 w 300025"/>
                <a:gd name="connsiteY48" fmla="*/ 176646 h 304634"/>
                <a:gd name="connsiteX49" fmla="*/ 297095 w 300025"/>
                <a:gd name="connsiteY49" fmla="*/ 192521 h 304634"/>
                <a:gd name="connsiteX50" fmla="*/ 297591 w 300025"/>
                <a:gd name="connsiteY50" fmla="*/ 208395 h 304634"/>
                <a:gd name="connsiteX51" fmla="*/ 297095 w 300025"/>
                <a:gd name="connsiteY51" fmla="*/ 224270 h 304634"/>
                <a:gd name="connsiteX52" fmla="*/ 298088 w 300025"/>
                <a:gd name="connsiteY52" fmla="*/ 240144 h 304634"/>
                <a:gd name="connsiteX53" fmla="*/ 297591 w 300025"/>
                <a:gd name="connsiteY53" fmla="*/ 256019 h 304634"/>
                <a:gd name="connsiteX54" fmla="*/ 296104 w 300025"/>
                <a:gd name="connsiteY54" fmla="*/ 271893 h 304634"/>
                <a:gd name="connsiteX55" fmla="*/ 296104 w 300025"/>
                <a:gd name="connsiteY55" fmla="*/ 287768 h 304634"/>
                <a:gd name="connsiteX56" fmla="*/ 297095 w 300025"/>
                <a:gd name="connsiteY56" fmla="*/ 303642 h 30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00025" h="304634">
                  <a:moveTo>
                    <a:pt x="1433" y="304634"/>
                  </a:moveTo>
                  <a:cubicBezTo>
                    <a:pt x="1433" y="296697"/>
                    <a:pt x="2921" y="296697"/>
                    <a:pt x="2921" y="288760"/>
                  </a:cubicBezTo>
                  <a:cubicBezTo>
                    <a:pt x="2921" y="280823"/>
                    <a:pt x="3418" y="280823"/>
                    <a:pt x="3418" y="272885"/>
                  </a:cubicBezTo>
                  <a:cubicBezTo>
                    <a:pt x="3418" y="264948"/>
                    <a:pt x="3418" y="264948"/>
                    <a:pt x="3418" y="257011"/>
                  </a:cubicBezTo>
                  <a:cubicBezTo>
                    <a:pt x="3418" y="249074"/>
                    <a:pt x="2921" y="249074"/>
                    <a:pt x="2921" y="241137"/>
                  </a:cubicBezTo>
                  <a:cubicBezTo>
                    <a:pt x="2921" y="233199"/>
                    <a:pt x="1929" y="233199"/>
                    <a:pt x="1929" y="225262"/>
                  </a:cubicBezTo>
                  <a:cubicBezTo>
                    <a:pt x="1929" y="217325"/>
                    <a:pt x="2425" y="217325"/>
                    <a:pt x="2425" y="209387"/>
                  </a:cubicBezTo>
                  <a:cubicBezTo>
                    <a:pt x="2425" y="201450"/>
                    <a:pt x="2921" y="201450"/>
                    <a:pt x="2921" y="193513"/>
                  </a:cubicBezTo>
                  <a:cubicBezTo>
                    <a:pt x="2921" y="185576"/>
                    <a:pt x="2425" y="185576"/>
                    <a:pt x="2425" y="177639"/>
                  </a:cubicBezTo>
                  <a:cubicBezTo>
                    <a:pt x="2425" y="169701"/>
                    <a:pt x="3418" y="169701"/>
                    <a:pt x="3418" y="161764"/>
                  </a:cubicBezTo>
                  <a:cubicBezTo>
                    <a:pt x="3418" y="153827"/>
                    <a:pt x="1929" y="153827"/>
                    <a:pt x="1929" y="145890"/>
                  </a:cubicBezTo>
                  <a:cubicBezTo>
                    <a:pt x="1929" y="137952"/>
                    <a:pt x="1433" y="137952"/>
                    <a:pt x="1433" y="130015"/>
                  </a:cubicBezTo>
                  <a:cubicBezTo>
                    <a:pt x="1433" y="122078"/>
                    <a:pt x="1433" y="122078"/>
                    <a:pt x="1433" y="114140"/>
                  </a:cubicBezTo>
                  <a:cubicBezTo>
                    <a:pt x="1433" y="106203"/>
                    <a:pt x="1929" y="106203"/>
                    <a:pt x="1929" y="98266"/>
                  </a:cubicBezTo>
                  <a:cubicBezTo>
                    <a:pt x="1929" y="90329"/>
                    <a:pt x="1929" y="90329"/>
                    <a:pt x="1929" y="82392"/>
                  </a:cubicBezTo>
                  <a:cubicBezTo>
                    <a:pt x="1929" y="74454"/>
                    <a:pt x="1929" y="74454"/>
                    <a:pt x="1929" y="66517"/>
                  </a:cubicBezTo>
                  <a:cubicBezTo>
                    <a:pt x="1929" y="58580"/>
                    <a:pt x="2921" y="58580"/>
                    <a:pt x="2921" y="50642"/>
                  </a:cubicBezTo>
                  <a:cubicBezTo>
                    <a:pt x="2921" y="42705"/>
                    <a:pt x="3418" y="42705"/>
                    <a:pt x="3418" y="34768"/>
                  </a:cubicBezTo>
                  <a:cubicBezTo>
                    <a:pt x="3418" y="26831"/>
                    <a:pt x="2425" y="26831"/>
                    <a:pt x="2425" y="18894"/>
                  </a:cubicBezTo>
                  <a:cubicBezTo>
                    <a:pt x="2425" y="10956"/>
                    <a:pt x="-3032" y="7980"/>
                    <a:pt x="2425" y="2523"/>
                  </a:cubicBezTo>
                  <a:cubicBezTo>
                    <a:pt x="8378" y="-3430"/>
                    <a:pt x="10859" y="3019"/>
                    <a:pt x="19292" y="3019"/>
                  </a:cubicBezTo>
                  <a:cubicBezTo>
                    <a:pt x="27229" y="3019"/>
                    <a:pt x="27229" y="2523"/>
                    <a:pt x="35663" y="2523"/>
                  </a:cubicBezTo>
                  <a:cubicBezTo>
                    <a:pt x="43600" y="2523"/>
                    <a:pt x="43600" y="3515"/>
                    <a:pt x="52033" y="3515"/>
                  </a:cubicBezTo>
                  <a:cubicBezTo>
                    <a:pt x="60467" y="3515"/>
                    <a:pt x="60467" y="2027"/>
                    <a:pt x="68404" y="2027"/>
                  </a:cubicBezTo>
                  <a:cubicBezTo>
                    <a:pt x="76341" y="2027"/>
                    <a:pt x="76341" y="1035"/>
                    <a:pt x="84774" y="1035"/>
                  </a:cubicBezTo>
                  <a:cubicBezTo>
                    <a:pt x="93208" y="1035"/>
                    <a:pt x="93208" y="3019"/>
                    <a:pt x="101145" y="3019"/>
                  </a:cubicBezTo>
                  <a:cubicBezTo>
                    <a:pt x="109082" y="3019"/>
                    <a:pt x="109082" y="1035"/>
                    <a:pt x="117515" y="1035"/>
                  </a:cubicBezTo>
                  <a:cubicBezTo>
                    <a:pt x="125949" y="1035"/>
                    <a:pt x="125949" y="2523"/>
                    <a:pt x="133886" y="2523"/>
                  </a:cubicBezTo>
                  <a:cubicBezTo>
                    <a:pt x="142319" y="2523"/>
                    <a:pt x="142319" y="1531"/>
                    <a:pt x="150257" y="1531"/>
                  </a:cubicBezTo>
                  <a:cubicBezTo>
                    <a:pt x="158690" y="1531"/>
                    <a:pt x="158690" y="2027"/>
                    <a:pt x="166627" y="2027"/>
                  </a:cubicBezTo>
                  <a:cubicBezTo>
                    <a:pt x="175060" y="2027"/>
                    <a:pt x="175060" y="1531"/>
                    <a:pt x="182998" y="1531"/>
                  </a:cubicBezTo>
                  <a:cubicBezTo>
                    <a:pt x="190935" y="1531"/>
                    <a:pt x="191431" y="3515"/>
                    <a:pt x="199368" y="3515"/>
                  </a:cubicBezTo>
                  <a:cubicBezTo>
                    <a:pt x="207801" y="3515"/>
                    <a:pt x="207801" y="1531"/>
                    <a:pt x="215739" y="1531"/>
                  </a:cubicBezTo>
                  <a:cubicBezTo>
                    <a:pt x="224172" y="1531"/>
                    <a:pt x="224172" y="1531"/>
                    <a:pt x="232109" y="1531"/>
                  </a:cubicBezTo>
                  <a:cubicBezTo>
                    <a:pt x="240542" y="1531"/>
                    <a:pt x="240542" y="2027"/>
                    <a:pt x="248480" y="2027"/>
                  </a:cubicBezTo>
                  <a:cubicBezTo>
                    <a:pt x="256913" y="2027"/>
                    <a:pt x="256913" y="3019"/>
                    <a:pt x="264850" y="3019"/>
                  </a:cubicBezTo>
                  <a:cubicBezTo>
                    <a:pt x="273284" y="3019"/>
                    <a:pt x="273284" y="3515"/>
                    <a:pt x="281221" y="3515"/>
                  </a:cubicBezTo>
                  <a:cubicBezTo>
                    <a:pt x="289158" y="3515"/>
                    <a:pt x="291143" y="-2934"/>
                    <a:pt x="297095" y="2523"/>
                  </a:cubicBezTo>
                  <a:cubicBezTo>
                    <a:pt x="303049" y="7980"/>
                    <a:pt x="298088" y="9964"/>
                    <a:pt x="298088" y="17901"/>
                  </a:cubicBezTo>
                  <a:cubicBezTo>
                    <a:pt x="298088" y="25839"/>
                    <a:pt x="297095" y="25839"/>
                    <a:pt x="297095" y="33776"/>
                  </a:cubicBezTo>
                  <a:cubicBezTo>
                    <a:pt x="297095" y="41713"/>
                    <a:pt x="297095" y="41713"/>
                    <a:pt x="297095" y="49650"/>
                  </a:cubicBezTo>
                  <a:cubicBezTo>
                    <a:pt x="297095" y="57588"/>
                    <a:pt x="298088" y="57588"/>
                    <a:pt x="298088" y="65525"/>
                  </a:cubicBezTo>
                  <a:cubicBezTo>
                    <a:pt x="298088" y="73462"/>
                    <a:pt x="296600" y="73462"/>
                    <a:pt x="296600" y="81399"/>
                  </a:cubicBezTo>
                  <a:cubicBezTo>
                    <a:pt x="296600" y="89336"/>
                    <a:pt x="298088" y="89336"/>
                    <a:pt x="298088" y="97274"/>
                  </a:cubicBezTo>
                  <a:cubicBezTo>
                    <a:pt x="298088" y="105211"/>
                    <a:pt x="297591" y="105211"/>
                    <a:pt x="297591" y="113148"/>
                  </a:cubicBezTo>
                  <a:cubicBezTo>
                    <a:pt x="297591" y="121086"/>
                    <a:pt x="298088" y="121086"/>
                    <a:pt x="298088" y="129023"/>
                  </a:cubicBezTo>
                  <a:cubicBezTo>
                    <a:pt x="298088" y="136960"/>
                    <a:pt x="296104" y="136960"/>
                    <a:pt x="296104" y="144897"/>
                  </a:cubicBezTo>
                  <a:cubicBezTo>
                    <a:pt x="296104" y="152835"/>
                    <a:pt x="297095" y="152835"/>
                    <a:pt x="297095" y="160772"/>
                  </a:cubicBezTo>
                  <a:cubicBezTo>
                    <a:pt x="297095" y="168709"/>
                    <a:pt x="296104" y="168709"/>
                    <a:pt x="296104" y="176646"/>
                  </a:cubicBezTo>
                  <a:cubicBezTo>
                    <a:pt x="296104" y="184584"/>
                    <a:pt x="297095" y="184584"/>
                    <a:pt x="297095" y="192521"/>
                  </a:cubicBezTo>
                  <a:cubicBezTo>
                    <a:pt x="297095" y="200458"/>
                    <a:pt x="297591" y="200458"/>
                    <a:pt x="297591" y="208395"/>
                  </a:cubicBezTo>
                  <a:cubicBezTo>
                    <a:pt x="297591" y="216333"/>
                    <a:pt x="297095" y="216333"/>
                    <a:pt x="297095" y="224270"/>
                  </a:cubicBezTo>
                  <a:cubicBezTo>
                    <a:pt x="297095" y="232207"/>
                    <a:pt x="298088" y="232207"/>
                    <a:pt x="298088" y="240144"/>
                  </a:cubicBezTo>
                  <a:cubicBezTo>
                    <a:pt x="298088" y="248081"/>
                    <a:pt x="297591" y="248081"/>
                    <a:pt x="297591" y="256019"/>
                  </a:cubicBezTo>
                  <a:cubicBezTo>
                    <a:pt x="297591" y="263956"/>
                    <a:pt x="296104" y="263956"/>
                    <a:pt x="296104" y="271893"/>
                  </a:cubicBezTo>
                  <a:cubicBezTo>
                    <a:pt x="296104" y="279831"/>
                    <a:pt x="296104" y="279831"/>
                    <a:pt x="296104" y="287768"/>
                  </a:cubicBezTo>
                  <a:cubicBezTo>
                    <a:pt x="296104" y="295705"/>
                    <a:pt x="297095" y="295705"/>
                    <a:pt x="297095" y="30364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88A8F5E5-6048-0810-374C-4049A8AF5DFC}"/>
                </a:ext>
              </a:extLst>
            </p:cNvPr>
            <p:cNvSpPr/>
            <p:nvPr/>
          </p:nvSpPr>
          <p:spPr>
            <a:xfrm>
              <a:off x="5527407" y="2791926"/>
              <a:ext cx="364258" cy="63792"/>
            </a:xfrm>
            <a:custGeom>
              <a:avLst/>
              <a:gdLst>
                <a:gd name="connsiteX0" fmla="*/ 2740 w 364258"/>
                <a:gd name="connsiteY0" fmla="*/ 2977 h 63792"/>
                <a:gd name="connsiteX1" fmla="*/ 19110 w 364258"/>
                <a:gd name="connsiteY1" fmla="*/ 4465 h 63792"/>
                <a:gd name="connsiteX2" fmla="*/ 35481 w 364258"/>
                <a:gd name="connsiteY2" fmla="*/ 2480 h 63792"/>
                <a:gd name="connsiteX3" fmla="*/ 51851 w 364258"/>
                <a:gd name="connsiteY3" fmla="*/ 4465 h 63792"/>
                <a:gd name="connsiteX4" fmla="*/ 68222 w 364258"/>
                <a:gd name="connsiteY4" fmla="*/ 2480 h 63792"/>
                <a:gd name="connsiteX5" fmla="*/ 84592 w 364258"/>
                <a:gd name="connsiteY5" fmla="*/ 3473 h 63792"/>
                <a:gd name="connsiteX6" fmla="*/ 100467 w 364258"/>
                <a:gd name="connsiteY6" fmla="*/ 2480 h 63792"/>
                <a:gd name="connsiteX7" fmla="*/ 116342 w 364258"/>
                <a:gd name="connsiteY7" fmla="*/ 2977 h 63792"/>
                <a:gd name="connsiteX8" fmla="*/ 132712 w 364258"/>
                <a:gd name="connsiteY8" fmla="*/ 2977 h 63792"/>
                <a:gd name="connsiteX9" fmla="*/ 148587 w 364258"/>
                <a:gd name="connsiteY9" fmla="*/ 3968 h 63792"/>
                <a:gd name="connsiteX10" fmla="*/ 164957 w 364258"/>
                <a:gd name="connsiteY10" fmla="*/ 3473 h 63792"/>
                <a:gd name="connsiteX11" fmla="*/ 181328 w 364258"/>
                <a:gd name="connsiteY11" fmla="*/ 3968 h 63792"/>
                <a:gd name="connsiteX12" fmla="*/ 197698 w 364258"/>
                <a:gd name="connsiteY12" fmla="*/ 2480 h 63792"/>
                <a:gd name="connsiteX13" fmla="*/ 214069 w 364258"/>
                <a:gd name="connsiteY13" fmla="*/ 2480 h 63792"/>
                <a:gd name="connsiteX14" fmla="*/ 230439 w 364258"/>
                <a:gd name="connsiteY14" fmla="*/ 3968 h 63792"/>
                <a:gd name="connsiteX15" fmla="*/ 246810 w 364258"/>
                <a:gd name="connsiteY15" fmla="*/ 2977 h 63792"/>
                <a:gd name="connsiteX16" fmla="*/ 263180 w 364258"/>
                <a:gd name="connsiteY16" fmla="*/ 3968 h 63792"/>
                <a:gd name="connsiteX17" fmla="*/ 279551 w 364258"/>
                <a:gd name="connsiteY17" fmla="*/ 3473 h 63792"/>
                <a:gd name="connsiteX18" fmla="*/ 295921 w 364258"/>
                <a:gd name="connsiteY18" fmla="*/ 2480 h 63792"/>
                <a:gd name="connsiteX19" fmla="*/ 312292 w 364258"/>
                <a:gd name="connsiteY19" fmla="*/ 4465 h 63792"/>
                <a:gd name="connsiteX20" fmla="*/ 328663 w 364258"/>
                <a:gd name="connsiteY20" fmla="*/ 2977 h 63792"/>
                <a:gd name="connsiteX21" fmla="*/ 345033 w 364258"/>
                <a:gd name="connsiteY21" fmla="*/ 1984 h 63792"/>
                <a:gd name="connsiteX22" fmla="*/ 361900 w 364258"/>
                <a:gd name="connsiteY22" fmla="*/ 1984 h 63792"/>
                <a:gd name="connsiteX23" fmla="*/ 361900 w 364258"/>
                <a:gd name="connsiteY23" fmla="*/ 13890 h 63792"/>
                <a:gd name="connsiteX24" fmla="*/ 353467 w 364258"/>
                <a:gd name="connsiteY24" fmla="*/ 29765 h 63792"/>
                <a:gd name="connsiteX25" fmla="*/ 346026 w 364258"/>
                <a:gd name="connsiteY25" fmla="*/ 46135 h 63792"/>
                <a:gd name="connsiteX26" fmla="*/ 337096 w 364258"/>
                <a:gd name="connsiteY26" fmla="*/ 61514 h 63792"/>
                <a:gd name="connsiteX27" fmla="*/ 321718 w 364258"/>
                <a:gd name="connsiteY27" fmla="*/ 62506 h 63792"/>
                <a:gd name="connsiteX28" fmla="*/ 305843 w 364258"/>
                <a:gd name="connsiteY28" fmla="*/ 61514 h 63792"/>
                <a:gd name="connsiteX29" fmla="*/ 289969 w 364258"/>
                <a:gd name="connsiteY29" fmla="*/ 63002 h 63792"/>
                <a:gd name="connsiteX30" fmla="*/ 274095 w 364258"/>
                <a:gd name="connsiteY30" fmla="*/ 61514 h 63792"/>
                <a:gd name="connsiteX31" fmla="*/ 258220 w 364258"/>
                <a:gd name="connsiteY31" fmla="*/ 62010 h 63792"/>
                <a:gd name="connsiteX32" fmla="*/ 242345 w 364258"/>
                <a:gd name="connsiteY32" fmla="*/ 63002 h 63792"/>
                <a:gd name="connsiteX33" fmla="*/ 226471 w 364258"/>
                <a:gd name="connsiteY33" fmla="*/ 61017 h 63792"/>
                <a:gd name="connsiteX34" fmla="*/ 210596 w 364258"/>
                <a:gd name="connsiteY34" fmla="*/ 62010 h 63792"/>
                <a:gd name="connsiteX35" fmla="*/ 194722 w 364258"/>
                <a:gd name="connsiteY35" fmla="*/ 62506 h 63792"/>
                <a:gd name="connsiteX36" fmla="*/ 178847 w 364258"/>
                <a:gd name="connsiteY36" fmla="*/ 60522 h 63792"/>
                <a:gd name="connsiteX37" fmla="*/ 162973 w 364258"/>
                <a:gd name="connsiteY37" fmla="*/ 62506 h 63792"/>
                <a:gd name="connsiteX38" fmla="*/ 147098 w 364258"/>
                <a:gd name="connsiteY38" fmla="*/ 61514 h 63792"/>
                <a:gd name="connsiteX39" fmla="*/ 131224 w 364258"/>
                <a:gd name="connsiteY39" fmla="*/ 62010 h 63792"/>
                <a:gd name="connsiteX40" fmla="*/ 115349 w 364258"/>
                <a:gd name="connsiteY40" fmla="*/ 61017 h 63792"/>
                <a:gd name="connsiteX41" fmla="*/ 99475 w 364258"/>
                <a:gd name="connsiteY41" fmla="*/ 61514 h 63792"/>
                <a:gd name="connsiteX42" fmla="*/ 83600 w 364258"/>
                <a:gd name="connsiteY42" fmla="*/ 61514 h 63792"/>
                <a:gd name="connsiteX43" fmla="*/ 67726 w 364258"/>
                <a:gd name="connsiteY43" fmla="*/ 61514 h 63792"/>
                <a:gd name="connsiteX44" fmla="*/ 51851 w 364258"/>
                <a:gd name="connsiteY44" fmla="*/ 62010 h 63792"/>
                <a:gd name="connsiteX45" fmla="*/ 35481 w 364258"/>
                <a:gd name="connsiteY45" fmla="*/ 62010 h 63792"/>
                <a:gd name="connsiteX46" fmla="*/ 26055 w 364258"/>
                <a:gd name="connsiteY46" fmla="*/ 45639 h 63792"/>
                <a:gd name="connsiteX47" fmla="*/ 15638 w 364258"/>
                <a:gd name="connsiteY47" fmla="*/ 29765 h 63792"/>
                <a:gd name="connsiteX48" fmla="*/ 5716 w 364258"/>
                <a:gd name="connsiteY48" fmla="*/ 13890 h 63792"/>
                <a:gd name="connsiteX49" fmla="*/ 2740 w 364258"/>
                <a:gd name="connsiteY49" fmla="*/ 2977 h 6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64258" h="63792">
                  <a:moveTo>
                    <a:pt x="2740" y="2977"/>
                  </a:moveTo>
                  <a:cubicBezTo>
                    <a:pt x="9189" y="-1488"/>
                    <a:pt x="11173" y="4465"/>
                    <a:pt x="19110" y="4465"/>
                  </a:cubicBezTo>
                  <a:cubicBezTo>
                    <a:pt x="27047" y="4465"/>
                    <a:pt x="27047" y="2480"/>
                    <a:pt x="35481" y="2480"/>
                  </a:cubicBezTo>
                  <a:cubicBezTo>
                    <a:pt x="43418" y="2480"/>
                    <a:pt x="43418" y="4465"/>
                    <a:pt x="51851" y="4465"/>
                  </a:cubicBezTo>
                  <a:cubicBezTo>
                    <a:pt x="59789" y="4465"/>
                    <a:pt x="59789" y="2480"/>
                    <a:pt x="68222" y="2480"/>
                  </a:cubicBezTo>
                  <a:cubicBezTo>
                    <a:pt x="76159" y="2480"/>
                    <a:pt x="76159" y="3473"/>
                    <a:pt x="84592" y="3473"/>
                  </a:cubicBezTo>
                  <a:cubicBezTo>
                    <a:pt x="92530" y="3473"/>
                    <a:pt x="92530" y="2480"/>
                    <a:pt x="100467" y="2480"/>
                  </a:cubicBezTo>
                  <a:cubicBezTo>
                    <a:pt x="108404" y="2480"/>
                    <a:pt x="108404" y="2977"/>
                    <a:pt x="116342" y="2977"/>
                  </a:cubicBezTo>
                  <a:cubicBezTo>
                    <a:pt x="124279" y="2977"/>
                    <a:pt x="124279" y="2977"/>
                    <a:pt x="132712" y="2977"/>
                  </a:cubicBezTo>
                  <a:cubicBezTo>
                    <a:pt x="140649" y="2977"/>
                    <a:pt x="140649" y="3968"/>
                    <a:pt x="148587" y="3968"/>
                  </a:cubicBezTo>
                  <a:cubicBezTo>
                    <a:pt x="156524" y="3968"/>
                    <a:pt x="156524" y="3473"/>
                    <a:pt x="164957" y="3473"/>
                  </a:cubicBezTo>
                  <a:cubicBezTo>
                    <a:pt x="172895" y="3473"/>
                    <a:pt x="172895" y="3968"/>
                    <a:pt x="181328" y="3968"/>
                  </a:cubicBezTo>
                  <a:cubicBezTo>
                    <a:pt x="189265" y="3968"/>
                    <a:pt x="189265" y="2480"/>
                    <a:pt x="197698" y="2480"/>
                  </a:cubicBezTo>
                  <a:cubicBezTo>
                    <a:pt x="205636" y="2480"/>
                    <a:pt x="205636" y="2480"/>
                    <a:pt x="214069" y="2480"/>
                  </a:cubicBezTo>
                  <a:cubicBezTo>
                    <a:pt x="222006" y="2480"/>
                    <a:pt x="222006" y="3968"/>
                    <a:pt x="230439" y="3968"/>
                  </a:cubicBezTo>
                  <a:cubicBezTo>
                    <a:pt x="238377" y="3968"/>
                    <a:pt x="238377" y="2977"/>
                    <a:pt x="246810" y="2977"/>
                  </a:cubicBezTo>
                  <a:cubicBezTo>
                    <a:pt x="255243" y="2977"/>
                    <a:pt x="254747" y="3968"/>
                    <a:pt x="263180" y="3968"/>
                  </a:cubicBezTo>
                  <a:cubicBezTo>
                    <a:pt x="271118" y="3968"/>
                    <a:pt x="271118" y="3473"/>
                    <a:pt x="279551" y="3473"/>
                  </a:cubicBezTo>
                  <a:cubicBezTo>
                    <a:pt x="287488" y="3473"/>
                    <a:pt x="287488" y="2480"/>
                    <a:pt x="295921" y="2480"/>
                  </a:cubicBezTo>
                  <a:cubicBezTo>
                    <a:pt x="303859" y="2480"/>
                    <a:pt x="303859" y="4465"/>
                    <a:pt x="312292" y="4465"/>
                  </a:cubicBezTo>
                  <a:cubicBezTo>
                    <a:pt x="320229" y="4465"/>
                    <a:pt x="320229" y="2977"/>
                    <a:pt x="328663" y="2977"/>
                  </a:cubicBezTo>
                  <a:cubicBezTo>
                    <a:pt x="336600" y="2977"/>
                    <a:pt x="336600" y="1984"/>
                    <a:pt x="345033" y="1984"/>
                  </a:cubicBezTo>
                  <a:cubicBezTo>
                    <a:pt x="352970" y="1984"/>
                    <a:pt x="354955" y="-2480"/>
                    <a:pt x="361900" y="1984"/>
                  </a:cubicBezTo>
                  <a:cubicBezTo>
                    <a:pt x="366365" y="4961"/>
                    <a:pt x="363389" y="8929"/>
                    <a:pt x="361900" y="13890"/>
                  </a:cubicBezTo>
                  <a:cubicBezTo>
                    <a:pt x="359420" y="22323"/>
                    <a:pt x="357435" y="21827"/>
                    <a:pt x="353467" y="29765"/>
                  </a:cubicBezTo>
                  <a:cubicBezTo>
                    <a:pt x="349498" y="37702"/>
                    <a:pt x="349994" y="38198"/>
                    <a:pt x="346026" y="46135"/>
                  </a:cubicBezTo>
                  <a:cubicBezTo>
                    <a:pt x="342057" y="54073"/>
                    <a:pt x="344537" y="56553"/>
                    <a:pt x="337096" y="61514"/>
                  </a:cubicBezTo>
                  <a:cubicBezTo>
                    <a:pt x="330647" y="65978"/>
                    <a:pt x="329159" y="62506"/>
                    <a:pt x="321718" y="62506"/>
                  </a:cubicBezTo>
                  <a:cubicBezTo>
                    <a:pt x="313781" y="62506"/>
                    <a:pt x="313781" y="61514"/>
                    <a:pt x="305843" y="61514"/>
                  </a:cubicBezTo>
                  <a:cubicBezTo>
                    <a:pt x="297906" y="61514"/>
                    <a:pt x="297906" y="63002"/>
                    <a:pt x="289969" y="63002"/>
                  </a:cubicBezTo>
                  <a:cubicBezTo>
                    <a:pt x="282032" y="63002"/>
                    <a:pt x="282032" y="61514"/>
                    <a:pt x="274095" y="61514"/>
                  </a:cubicBezTo>
                  <a:cubicBezTo>
                    <a:pt x="266157" y="61514"/>
                    <a:pt x="266157" y="62010"/>
                    <a:pt x="258220" y="62010"/>
                  </a:cubicBezTo>
                  <a:cubicBezTo>
                    <a:pt x="250283" y="62010"/>
                    <a:pt x="250283" y="63002"/>
                    <a:pt x="242345" y="63002"/>
                  </a:cubicBezTo>
                  <a:cubicBezTo>
                    <a:pt x="234408" y="63002"/>
                    <a:pt x="234408" y="61017"/>
                    <a:pt x="226471" y="61017"/>
                  </a:cubicBezTo>
                  <a:cubicBezTo>
                    <a:pt x="218533" y="61017"/>
                    <a:pt x="218533" y="62010"/>
                    <a:pt x="210596" y="62010"/>
                  </a:cubicBezTo>
                  <a:cubicBezTo>
                    <a:pt x="202659" y="62010"/>
                    <a:pt x="202659" y="62506"/>
                    <a:pt x="194722" y="62506"/>
                  </a:cubicBezTo>
                  <a:cubicBezTo>
                    <a:pt x="186785" y="62506"/>
                    <a:pt x="186785" y="60522"/>
                    <a:pt x="178847" y="60522"/>
                  </a:cubicBezTo>
                  <a:cubicBezTo>
                    <a:pt x="170910" y="60522"/>
                    <a:pt x="170910" y="62506"/>
                    <a:pt x="162973" y="62506"/>
                  </a:cubicBezTo>
                  <a:cubicBezTo>
                    <a:pt x="155036" y="62506"/>
                    <a:pt x="155036" y="61514"/>
                    <a:pt x="147098" y="61514"/>
                  </a:cubicBezTo>
                  <a:cubicBezTo>
                    <a:pt x="139161" y="61514"/>
                    <a:pt x="139161" y="62010"/>
                    <a:pt x="131224" y="62010"/>
                  </a:cubicBezTo>
                  <a:cubicBezTo>
                    <a:pt x="123287" y="62010"/>
                    <a:pt x="123287" y="61017"/>
                    <a:pt x="115349" y="61017"/>
                  </a:cubicBezTo>
                  <a:cubicBezTo>
                    <a:pt x="107412" y="61017"/>
                    <a:pt x="107412" y="61514"/>
                    <a:pt x="99475" y="61514"/>
                  </a:cubicBezTo>
                  <a:cubicBezTo>
                    <a:pt x="91538" y="61514"/>
                    <a:pt x="91538" y="61514"/>
                    <a:pt x="83600" y="61514"/>
                  </a:cubicBezTo>
                  <a:cubicBezTo>
                    <a:pt x="75663" y="61514"/>
                    <a:pt x="75663" y="61514"/>
                    <a:pt x="67726" y="61514"/>
                  </a:cubicBezTo>
                  <a:cubicBezTo>
                    <a:pt x="59789" y="61514"/>
                    <a:pt x="59789" y="62010"/>
                    <a:pt x="51851" y="62010"/>
                  </a:cubicBezTo>
                  <a:cubicBezTo>
                    <a:pt x="43914" y="62010"/>
                    <a:pt x="42426" y="65978"/>
                    <a:pt x="35481" y="62010"/>
                  </a:cubicBezTo>
                  <a:cubicBezTo>
                    <a:pt x="27543" y="57049"/>
                    <a:pt x="31016" y="53576"/>
                    <a:pt x="26055" y="45639"/>
                  </a:cubicBezTo>
                  <a:cubicBezTo>
                    <a:pt x="21094" y="37702"/>
                    <a:pt x="20599" y="38198"/>
                    <a:pt x="15638" y="29765"/>
                  </a:cubicBezTo>
                  <a:cubicBezTo>
                    <a:pt x="10677" y="21827"/>
                    <a:pt x="10677" y="21827"/>
                    <a:pt x="5716" y="13890"/>
                  </a:cubicBezTo>
                  <a:cubicBezTo>
                    <a:pt x="-733" y="9426"/>
                    <a:pt x="-1725" y="5953"/>
                    <a:pt x="2740" y="297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11A6C774-189E-02F2-7DA4-6A27BCE83FA6}"/>
                </a:ext>
              </a:extLst>
            </p:cNvPr>
            <p:cNvSpPr/>
            <p:nvPr/>
          </p:nvSpPr>
          <p:spPr>
            <a:xfrm>
              <a:off x="4560810" y="3348263"/>
              <a:ext cx="83836" cy="51358"/>
            </a:xfrm>
            <a:custGeom>
              <a:avLst/>
              <a:gdLst>
                <a:gd name="connsiteX0" fmla="*/ 0 w 83836"/>
                <a:gd name="connsiteY0" fmla="*/ 3239 h 51358"/>
                <a:gd name="connsiteX1" fmla="*/ 16371 w 83836"/>
                <a:gd name="connsiteY1" fmla="*/ 2743 h 51358"/>
                <a:gd name="connsiteX2" fmla="*/ 32741 w 83836"/>
                <a:gd name="connsiteY2" fmla="*/ 2247 h 51358"/>
                <a:gd name="connsiteX3" fmla="*/ 49112 w 83836"/>
                <a:gd name="connsiteY3" fmla="*/ 4231 h 51358"/>
                <a:gd name="connsiteX4" fmla="*/ 65482 w 83836"/>
                <a:gd name="connsiteY4" fmla="*/ 4231 h 51358"/>
                <a:gd name="connsiteX5" fmla="*/ 82845 w 83836"/>
                <a:gd name="connsiteY5" fmla="*/ 2743 h 51358"/>
                <a:gd name="connsiteX6" fmla="*/ 73419 w 83836"/>
                <a:gd name="connsiteY6" fmla="*/ 15641 h 51358"/>
                <a:gd name="connsiteX7" fmla="*/ 63498 w 83836"/>
                <a:gd name="connsiteY7" fmla="*/ 27051 h 51358"/>
                <a:gd name="connsiteX8" fmla="*/ 55561 w 83836"/>
                <a:gd name="connsiteY8" fmla="*/ 39949 h 51358"/>
                <a:gd name="connsiteX9" fmla="*/ 45639 w 83836"/>
                <a:gd name="connsiteY9" fmla="*/ 51359 h 5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836" h="51358">
                  <a:moveTo>
                    <a:pt x="0" y="3239"/>
                  </a:moveTo>
                  <a:cubicBezTo>
                    <a:pt x="7937" y="3239"/>
                    <a:pt x="7937" y="2743"/>
                    <a:pt x="16371" y="2743"/>
                  </a:cubicBezTo>
                  <a:cubicBezTo>
                    <a:pt x="24308" y="2743"/>
                    <a:pt x="24308" y="2247"/>
                    <a:pt x="32741" y="2247"/>
                  </a:cubicBezTo>
                  <a:cubicBezTo>
                    <a:pt x="40678" y="2247"/>
                    <a:pt x="40678" y="4231"/>
                    <a:pt x="49112" y="4231"/>
                  </a:cubicBezTo>
                  <a:cubicBezTo>
                    <a:pt x="57049" y="4231"/>
                    <a:pt x="57049" y="4231"/>
                    <a:pt x="65482" y="4231"/>
                  </a:cubicBezTo>
                  <a:cubicBezTo>
                    <a:pt x="73419" y="4231"/>
                    <a:pt x="78380" y="-4202"/>
                    <a:pt x="82845" y="2743"/>
                  </a:cubicBezTo>
                  <a:cubicBezTo>
                    <a:pt x="86814" y="9192"/>
                    <a:pt x="77884" y="9688"/>
                    <a:pt x="73419" y="15641"/>
                  </a:cubicBezTo>
                  <a:cubicBezTo>
                    <a:pt x="68955" y="21594"/>
                    <a:pt x="67963" y="21098"/>
                    <a:pt x="63498" y="27051"/>
                  </a:cubicBezTo>
                  <a:cubicBezTo>
                    <a:pt x="59033" y="33004"/>
                    <a:pt x="60025" y="33996"/>
                    <a:pt x="55561" y="39949"/>
                  </a:cubicBezTo>
                  <a:cubicBezTo>
                    <a:pt x="51096" y="45902"/>
                    <a:pt x="50104" y="45406"/>
                    <a:pt x="45639" y="513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DD913E91-666A-DAE7-16EF-F2DE031A579E}"/>
                </a:ext>
              </a:extLst>
            </p:cNvPr>
            <p:cNvSpPr/>
            <p:nvPr/>
          </p:nvSpPr>
          <p:spPr>
            <a:xfrm>
              <a:off x="4559818" y="3396992"/>
              <a:ext cx="63403" cy="21495"/>
            </a:xfrm>
            <a:custGeom>
              <a:avLst/>
              <a:gdLst>
                <a:gd name="connsiteX0" fmla="*/ 992 w 63403"/>
                <a:gd name="connsiteY0" fmla="*/ 4118 h 21495"/>
                <a:gd name="connsiteX1" fmla="*/ 15875 w 63403"/>
                <a:gd name="connsiteY1" fmla="*/ 3622 h 21495"/>
                <a:gd name="connsiteX2" fmla="*/ 30757 w 63403"/>
                <a:gd name="connsiteY2" fmla="*/ 3126 h 21495"/>
                <a:gd name="connsiteX3" fmla="*/ 45639 w 63403"/>
                <a:gd name="connsiteY3" fmla="*/ 3622 h 21495"/>
                <a:gd name="connsiteX4" fmla="*/ 61514 w 63403"/>
                <a:gd name="connsiteY4" fmla="*/ 2630 h 21495"/>
                <a:gd name="connsiteX5" fmla="*/ 55065 w 63403"/>
                <a:gd name="connsiteY5" fmla="*/ 19000 h 21495"/>
                <a:gd name="connsiteX6" fmla="*/ 36710 w 63403"/>
                <a:gd name="connsiteY6" fmla="*/ 19993 h 21495"/>
                <a:gd name="connsiteX7" fmla="*/ 18355 w 63403"/>
                <a:gd name="connsiteY7" fmla="*/ 19497 h 21495"/>
                <a:gd name="connsiteX8" fmla="*/ 0 w 63403"/>
                <a:gd name="connsiteY8" fmla="*/ 19000 h 2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03" h="21495">
                  <a:moveTo>
                    <a:pt x="992" y="4118"/>
                  </a:moveTo>
                  <a:cubicBezTo>
                    <a:pt x="8433" y="4118"/>
                    <a:pt x="8433" y="3622"/>
                    <a:pt x="15875" y="3622"/>
                  </a:cubicBezTo>
                  <a:cubicBezTo>
                    <a:pt x="23316" y="3622"/>
                    <a:pt x="23316" y="3126"/>
                    <a:pt x="30757" y="3126"/>
                  </a:cubicBezTo>
                  <a:cubicBezTo>
                    <a:pt x="38198" y="3126"/>
                    <a:pt x="38198" y="3622"/>
                    <a:pt x="45639" y="3622"/>
                  </a:cubicBezTo>
                  <a:cubicBezTo>
                    <a:pt x="53080" y="3622"/>
                    <a:pt x="58041" y="-3819"/>
                    <a:pt x="61514" y="2630"/>
                  </a:cubicBezTo>
                  <a:cubicBezTo>
                    <a:pt x="65978" y="9575"/>
                    <a:pt x="62010" y="14536"/>
                    <a:pt x="55065" y="19000"/>
                  </a:cubicBezTo>
                  <a:cubicBezTo>
                    <a:pt x="47623" y="23961"/>
                    <a:pt x="45639" y="19993"/>
                    <a:pt x="36710" y="19993"/>
                  </a:cubicBezTo>
                  <a:cubicBezTo>
                    <a:pt x="27780" y="19993"/>
                    <a:pt x="27780" y="19497"/>
                    <a:pt x="18355" y="19497"/>
                  </a:cubicBezTo>
                  <a:cubicBezTo>
                    <a:pt x="9426" y="19497"/>
                    <a:pt x="9426" y="19000"/>
                    <a:pt x="0" y="190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FC515DB3-22BA-72B7-C5A9-99EC521764FC}"/>
                </a:ext>
              </a:extLst>
            </p:cNvPr>
            <p:cNvSpPr/>
            <p:nvPr/>
          </p:nvSpPr>
          <p:spPr>
            <a:xfrm>
              <a:off x="4596528" y="3268161"/>
              <a:ext cx="20339" cy="83837"/>
            </a:xfrm>
            <a:custGeom>
              <a:avLst/>
              <a:gdLst>
                <a:gd name="connsiteX0" fmla="*/ 20339 w 20339"/>
                <a:gd name="connsiteY0" fmla="*/ 0 h 83837"/>
                <a:gd name="connsiteX1" fmla="*/ 15874 w 20339"/>
                <a:gd name="connsiteY1" fmla="*/ 16867 h 83837"/>
                <a:gd name="connsiteX2" fmla="*/ 9922 w 20339"/>
                <a:gd name="connsiteY2" fmla="*/ 33237 h 83837"/>
                <a:gd name="connsiteX3" fmla="*/ 5953 w 20339"/>
                <a:gd name="connsiteY3" fmla="*/ 50104 h 83837"/>
                <a:gd name="connsiteX4" fmla="*/ 992 w 20339"/>
                <a:gd name="connsiteY4" fmla="*/ 66475 h 83837"/>
                <a:gd name="connsiteX5" fmla="*/ 0 w 20339"/>
                <a:gd name="connsiteY5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9" h="83837">
                  <a:moveTo>
                    <a:pt x="20339" y="0"/>
                  </a:moveTo>
                  <a:cubicBezTo>
                    <a:pt x="17363" y="7937"/>
                    <a:pt x="19347" y="6945"/>
                    <a:pt x="15874" y="16867"/>
                  </a:cubicBezTo>
                  <a:cubicBezTo>
                    <a:pt x="14386" y="21828"/>
                    <a:pt x="11906" y="26788"/>
                    <a:pt x="9922" y="33237"/>
                  </a:cubicBezTo>
                  <a:cubicBezTo>
                    <a:pt x="8433" y="38694"/>
                    <a:pt x="7441" y="44151"/>
                    <a:pt x="5953" y="50104"/>
                  </a:cubicBezTo>
                  <a:cubicBezTo>
                    <a:pt x="4465" y="55561"/>
                    <a:pt x="1984" y="61018"/>
                    <a:pt x="992" y="66475"/>
                  </a:cubicBezTo>
                  <a:cubicBezTo>
                    <a:pt x="0" y="72428"/>
                    <a:pt x="0" y="78380"/>
                    <a:pt x="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8C3F5107-61C4-EF00-138D-40E308C6F6C4}"/>
                </a:ext>
              </a:extLst>
            </p:cNvPr>
            <p:cNvSpPr/>
            <p:nvPr/>
          </p:nvSpPr>
          <p:spPr>
            <a:xfrm>
              <a:off x="4568251" y="3286020"/>
              <a:ext cx="3968" cy="65482"/>
            </a:xfrm>
            <a:custGeom>
              <a:avLst/>
              <a:gdLst>
                <a:gd name="connsiteX0" fmla="*/ 3969 w 3968"/>
                <a:gd name="connsiteY0" fmla="*/ 0 h 65482"/>
                <a:gd name="connsiteX1" fmla="*/ 1488 w 3968"/>
                <a:gd name="connsiteY1" fmla="*/ 16371 h 65482"/>
                <a:gd name="connsiteX2" fmla="*/ 496 w 3968"/>
                <a:gd name="connsiteY2" fmla="*/ 32741 h 65482"/>
                <a:gd name="connsiteX3" fmla="*/ 0 w 3968"/>
                <a:gd name="connsiteY3" fmla="*/ 49112 h 65482"/>
                <a:gd name="connsiteX4" fmla="*/ 1984 w 3968"/>
                <a:gd name="connsiteY4" fmla="*/ 65482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" h="65482">
                  <a:moveTo>
                    <a:pt x="3969" y="0"/>
                  </a:moveTo>
                  <a:cubicBezTo>
                    <a:pt x="2976" y="8433"/>
                    <a:pt x="2480" y="6449"/>
                    <a:pt x="1488" y="16371"/>
                  </a:cubicBezTo>
                  <a:cubicBezTo>
                    <a:pt x="992" y="21331"/>
                    <a:pt x="496" y="26788"/>
                    <a:pt x="496" y="32741"/>
                  </a:cubicBezTo>
                  <a:cubicBezTo>
                    <a:pt x="0" y="38198"/>
                    <a:pt x="0" y="43655"/>
                    <a:pt x="0" y="49112"/>
                  </a:cubicBezTo>
                  <a:cubicBezTo>
                    <a:pt x="0" y="54569"/>
                    <a:pt x="1984" y="60521"/>
                    <a:pt x="1984" y="654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F6ED0FAA-6E0D-9388-07CE-13F435FE6936}"/>
                </a:ext>
              </a:extLst>
            </p:cNvPr>
            <p:cNvSpPr/>
            <p:nvPr/>
          </p:nvSpPr>
          <p:spPr>
            <a:xfrm>
              <a:off x="4613891" y="3184324"/>
              <a:ext cx="36038" cy="46135"/>
            </a:xfrm>
            <a:custGeom>
              <a:avLst/>
              <a:gdLst>
                <a:gd name="connsiteX0" fmla="*/ 0 w 36038"/>
                <a:gd name="connsiteY0" fmla="*/ 46135 h 46135"/>
                <a:gd name="connsiteX1" fmla="*/ 8929 w 36038"/>
                <a:gd name="connsiteY1" fmla="*/ 34229 h 46135"/>
                <a:gd name="connsiteX2" fmla="*/ 17363 w 36038"/>
                <a:gd name="connsiteY2" fmla="*/ 22324 h 46135"/>
                <a:gd name="connsiteX3" fmla="*/ 25300 w 36038"/>
                <a:gd name="connsiteY3" fmla="*/ 9922 h 46135"/>
                <a:gd name="connsiteX4" fmla="*/ 35717 w 36038"/>
                <a:gd name="connsiteY4" fmla="*/ 0 h 46135"/>
                <a:gd name="connsiteX5" fmla="*/ 33733 w 36038"/>
                <a:gd name="connsiteY5" fmla="*/ 14882 h 46135"/>
                <a:gd name="connsiteX6" fmla="*/ 30757 w 36038"/>
                <a:gd name="connsiteY6" fmla="*/ 30261 h 46135"/>
                <a:gd name="connsiteX7" fmla="*/ 26788 w 36038"/>
                <a:gd name="connsiteY7" fmla="*/ 45639 h 4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038" h="46135">
                  <a:moveTo>
                    <a:pt x="0" y="46135"/>
                  </a:moveTo>
                  <a:cubicBezTo>
                    <a:pt x="4465" y="40182"/>
                    <a:pt x="3969" y="41174"/>
                    <a:pt x="8929" y="34229"/>
                  </a:cubicBezTo>
                  <a:cubicBezTo>
                    <a:pt x="11410" y="30757"/>
                    <a:pt x="14386" y="26292"/>
                    <a:pt x="17363" y="22324"/>
                  </a:cubicBezTo>
                  <a:cubicBezTo>
                    <a:pt x="20339" y="18355"/>
                    <a:pt x="22324" y="13394"/>
                    <a:pt x="25300" y="9922"/>
                  </a:cubicBezTo>
                  <a:cubicBezTo>
                    <a:pt x="30261" y="3472"/>
                    <a:pt x="35221" y="0"/>
                    <a:pt x="35717" y="0"/>
                  </a:cubicBezTo>
                  <a:cubicBezTo>
                    <a:pt x="36710" y="496"/>
                    <a:pt x="35221" y="6945"/>
                    <a:pt x="33733" y="14882"/>
                  </a:cubicBezTo>
                  <a:cubicBezTo>
                    <a:pt x="32741" y="19843"/>
                    <a:pt x="31749" y="25300"/>
                    <a:pt x="30757" y="30261"/>
                  </a:cubicBezTo>
                  <a:cubicBezTo>
                    <a:pt x="28772" y="38694"/>
                    <a:pt x="28772" y="37702"/>
                    <a:pt x="26788" y="456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782CAB37-70E5-F0BB-A501-2BA7557DA579}"/>
                </a:ext>
              </a:extLst>
            </p:cNvPr>
            <p:cNvSpPr/>
            <p:nvPr/>
          </p:nvSpPr>
          <p:spPr>
            <a:xfrm>
              <a:off x="4596940" y="3265680"/>
              <a:ext cx="39273" cy="59529"/>
            </a:xfrm>
            <a:custGeom>
              <a:avLst/>
              <a:gdLst>
                <a:gd name="connsiteX0" fmla="*/ 39274 w 39273"/>
                <a:gd name="connsiteY0" fmla="*/ 2977 h 59529"/>
                <a:gd name="connsiteX1" fmla="*/ 34809 w 39273"/>
                <a:gd name="connsiteY1" fmla="*/ 19843 h 59529"/>
                <a:gd name="connsiteX2" fmla="*/ 25880 w 39273"/>
                <a:gd name="connsiteY2" fmla="*/ 34725 h 59529"/>
                <a:gd name="connsiteX3" fmla="*/ 15462 w 39273"/>
                <a:gd name="connsiteY3" fmla="*/ 48616 h 59529"/>
                <a:gd name="connsiteX4" fmla="*/ 3556 w 39273"/>
                <a:gd name="connsiteY4" fmla="*/ 59529 h 59529"/>
                <a:gd name="connsiteX5" fmla="*/ 1572 w 39273"/>
                <a:gd name="connsiteY5" fmla="*/ 45143 h 59529"/>
                <a:gd name="connsiteX6" fmla="*/ 1076 w 39273"/>
                <a:gd name="connsiteY6" fmla="*/ 29765 h 59529"/>
                <a:gd name="connsiteX7" fmla="*/ 3060 w 39273"/>
                <a:gd name="connsiteY7" fmla="*/ 14386 h 59529"/>
                <a:gd name="connsiteX8" fmla="*/ 9013 w 39273"/>
                <a:gd name="connsiteY8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273" h="59529">
                  <a:moveTo>
                    <a:pt x="39274" y="2977"/>
                  </a:moveTo>
                  <a:cubicBezTo>
                    <a:pt x="36793" y="11410"/>
                    <a:pt x="39274" y="10418"/>
                    <a:pt x="34809" y="19843"/>
                  </a:cubicBezTo>
                  <a:cubicBezTo>
                    <a:pt x="32825" y="24804"/>
                    <a:pt x="29352" y="29765"/>
                    <a:pt x="25880" y="34725"/>
                  </a:cubicBezTo>
                  <a:cubicBezTo>
                    <a:pt x="22903" y="39686"/>
                    <a:pt x="19431" y="44151"/>
                    <a:pt x="15462" y="48616"/>
                  </a:cubicBezTo>
                  <a:cubicBezTo>
                    <a:pt x="11493" y="53080"/>
                    <a:pt x="8021" y="56057"/>
                    <a:pt x="3556" y="59529"/>
                  </a:cubicBezTo>
                  <a:cubicBezTo>
                    <a:pt x="-3389" y="56553"/>
                    <a:pt x="2068" y="54569"/>
                    <a:pt x="1572" y="45143"/>
                  </a:cubicBezTo>
                  <a:cubicBezTo>
                    <a:pt x="1076" y="40678"/>
                    <a:pt x="84" y="35222"/>
                    <a:pt x="1076" y="29765"/>
                  </a:cubicBezTo>
                  <a:cubicBezTo>
                    <a:pt x="1572" y="24804"/>
                    <a:pt x="1572" y="19843"/>
                    <a:pt x="3060" y="14386"/>
                  </a:cubicBezTo>
                  <a:cubicBezTo>
                    <a:pt x="4052" y="9426"/>
                    <a:pt x="6533" y="4961"/>
                    <a:pt x="90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F0088226-FA28-6D42-3A8B-9E63DB08D5B0}"/>
                </a:ext>
              </a:extLst>
            </p:cNvPr>
            <p:cNvSpPr/>
            <p:nvPr/>
          </p:nvSpPr>
          <p:spPr>
            <a:xfrm>
              <a:off x="4611410" y="3300644"/>
              <a:ext cx="66970" cy="79324"/>
            </a:xfrm>
            <a:custGeom>
              <a:avLst/>
              <a:gdLst>
                <a:gd name="connsiteX0" fmla="*/ 0 w 66970"/>
                <a:gd name="connsiteY0" fmla="*/ 50858 h 79324"/>
                <a:gd name="connsiteX1" fmla="*/ 8433 w 66970"/>
                <a:gd name="connsiteY1" fmla="*/ 37960 h 79324"/>
                <a:gd name="connsiteX2" fmla="*/ 18851 w 66970"/>
                <a:gd name="connsiteY2" fmla="*/ 27046 h 79324"/>
                <a:gd name="connsiteX3" fmla="*/ 30757 w 66970"/>
                <a:gd name="connsiteY3" fmla="*/ 18117 h 79324"/>
                <a:gd name="connsiteX4" fmla="*/ 45143 w 66970"/>
                <a:gd name="connsiteY4" fmla="*/ 20597 h 79324"/>
                <a:gd name="connsiteX5" fmla="*/ 53576 w 66970"/>
                <a:gd name="connsiteY5" fmla="*/ 33495 h 79324"/>
                <a:gd name="connsiteX6" fmla="*/ 55560 w 66970"/>
                <a:gd name="connsiteY6" fmla="*/ 48874 h 79324"/>
                <a:gd name="connsiteX7" fmla="*/ 57049 w 66970"/>
                <a:gd name="connsiteY7" fmla="*/ 64252 h 79324"/>
                <a:gd name="connsiteX8" fmla="*/ 59033 w 66970"/>
                <a:gd name="connsiteY8" fmla="*/ 79134 h 79324"/>
                <a:gd name="connsiteX9" fmla="*/ 63498 w 66970"/>
                <a:gd name="connsiteY9" fmla="*/ 62764 h 79324"/>
                <a:gd name="connsiteX10" fmla="*/ 64986 w 66970"/>
                <a:gd name="connsiteY10" fmla="*/ 45897 h 79324"/>
                <a:gd name="connsiteX11" fmla="*/ 66971 w 66970"/>
                <a:gd name="connsiteY11" fmla="*/ 29031 h 79324"/>
                <a:gd name="connsiteX12" fmla="*/ 64986 w 66970"/>
                <a:gd name="connsiteY12" fmla="*/ 12660 h 79324"/>
                <a:gd name="connsiteX13" fmla="*/ 54072 w 66970"/>
                <a:gd name="connsiteY13" fmla="*/ 258 h 79324"/>
                <a:gd name="connsiteX14" fmla="*/ 38198 w 66970"/>
                <a:gd name="connsiteY14" fmla="*/ 4227 h 7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70" h="79324">
                  <a:moveTo>
                    <a:pt x="0" y="50858"/>
                  </a:moveTo>
                  <a:cubicBezTo>
                    <a:pt x="2976" y="45897"/>
                    <a:pt x="5953" y="41928"/>
                    <a:pt x="8433" y="37960"/>
                  </a:cubicBezTo>
                  <a:cubicBezTo>
                    <a:pt x="11906" y="32999"/>
                    <a:pt x="15874" y="30023"/>
                    <a:pt x="18851" y="27046"/>
                  </a:cubicBezTo>
                  <a:cubicBezTo>
                    <a:pt x="23315" y="22582"/>
                    <a:pt x="27284" y="19605"/>
                    <a:pt x="30757" y="18117"/>
                  </a:cubicBezTo>
                  <a:cubicBezTo>
                    <a:pt x="36710" y="15636"/>
                    <a:pt x="41670" y="17125"/>
                    <a:pt x="45143" y="20597"/>
                  </a:cubicBezTo>
                  <a:cubicBezTo>
                    <a:pt x="48119" y="23574"/>
                    <a:pt x="51592" y="28038"/>
                    <a:pt x="53576" y="33495"/>
                  </a:cubicBezTo>
                  <a:cubicBezTo>
                    <a:pt x="55065" y="37960"/>
                    <a:pt x="54569" y="43913"/>
                    <a:pt x="55560" y="48874"/>
                  </a:cubicBezTo>
                  <a:cubicBezTo>
                    <a:pt x="56553" y="54330"/>
                    <a:pt x="56553" y="59291"/>
                    <a:pt x="57049" y="64252"/>
                  </a:cubicBezTo>
                  <a:cubicBezTo>
                    <a:pt x="58041" y="73181"/>
                    <a:pt x="51592" y="80623"/>
                    <a:pt x="59033" y="79134"/>
                  </a:cubicBezTo>
                  <a:cubicBezTo>
                    <a:pt x="67466" y="78142"/>
                    <a:pt x="61018" y="72685"/>
                    <a:pt x="63498" y="62764"/>
                  </a:cubicBezTo>
                  <a:cubicBezTo>
                    <a:pt x="64490" y="57803"/>
                    <a:pt x="64490" y="51850"/>
                    <a:pt x="64986" y="45897"/>
                  </a:cubicBezTo>
                  <a:cubicBezTo>
                    <a:pt x="65482" y="40440"/>
                    <a:pt x="66971" y="34487"/>
                    <a:pt x="66971" y="29031"/>
                  </a:cubicBezTo>
                  <a:cubicBezTo>
                    <a:pt x="66971" y="23078"/>
                    <a:pt x="66474" y="17125"/>
                    <a:pt x="64986" y="12660"/>
                  </a:cubicBezTo>
                  <a:cubicBezTo>
                    <a:pt x="63002" y="6707"/>
                    <a:pt x="60025" y="1746"/>
                    <a:pt x="54072" y="258"/>
                  </a:cubicBezTo>
                  <a:cubicBezTo>
                    <a:pt x="50104" y="-734"/>
                    <a:pt x="44647" y="1250"/>
                    <a:pt x="38198" y="42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E996E2BD-C642-C1EC-EDDC-961A6CED5001}"/>
                </a:ext>
              </a:extLst>
            </p:cNvPr>
            <p:cNvSpPr/>
            <p:nvPr/>
          </p:nvSpPr>
          <p:spPr>
            <a:xfrm>
              <a:off x="4621332" y="3302345"/>
              <a:ext cx="50599" cy="36258"/>
            </a:xfrm>
            <a:custGeom>
              <a:avLst/>
              <a:gdLst>
                <a:gd name="connsiteX0" fmla="*/ 50600 w 50599"/>
                <a:gd name="connsiteY0" fmla="*/ 29810 h 36258"/>
                <a:gd name="connsiteX1" fmla="*/ 42167 w 50599"/>
                <a:gd name="connsiteY1" fmla="*/ 14431 h 36258"/>
                <a:gd name="connsiteX2" fmla="*/ 28772 w 50599"/>
                <a:gd name="connsiteY2" fmla="*/ 3022 h 36258"/>
                <a:gd name="connsiteX3" fmla="*/ 12402 w 50599"/>
                <a:gd name="connsiteY3" fmla="*/ 3022 h 36258"/>
                <a:gd name="connsiteX4" fmla="*/ 3969 w 50599"/>
                <a:gd name="connsiteY4" fmla="*/ 18896 h 36258"/>
                <a:gd name="connsiteX5" fmla="*/ 0 w 50599"/>
                <a:gd name="connsiteY5" fmla="*/ 36259 h 3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99" h="36258">
                  <a:moveTo>
                    <a:pt x="50600" y="29810"/>
                  </a:moveTo>
                  <a:cubicBezTo>
                    <a:pt x="46631" y="21872"/>
                    <a:pt x="47623" y="21872"/>
                    <a:pt x="42167" y="14431"/>
                  </a:cubicBezTo>
                  <a:cubicBezTo>
                    <a:pt x="38694" y="9471"/>
                    <a:pt x="33733" y="5998"/>
                    <a:pt x="28772" y="3022"/>
                  </a:cubicBezTo>
                  <a:cubicBezTo>
                    <a:pt x="23315" y="45"/>
                    <a:pt x="17859" y="-1939"/>
                    <a:pt x="12402" y="3022"/>
                  </a:cubicBezTo>
                  <a:cubicBezTo>
                    <a:pt x="9425" y="5998"/>
                    <a:pt x="6945" y="11455"/>
                    <a:pt x="3969" y="18896"/>
                  </a:cubicBezTo>
                  <a:cubicBezTo>
                    <a:pt x="2480" y="23361"/>
                    <a:pt x="1488" y="29314"/>
                    <a:pt x="0" y="362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1A857153-B40C-F166-7ABC-E3164681C1F3}"/>
                </a:ext>
              </a:extLst>
            </p:cNvPr>
            <p:cNvSpPr/>
            <p:nvPr/>
          </p:nvSpPr>
          <p:spPr>
            <a:xfrm>
              <a:off x="4760900" y="3266177"/>
              <a:ext cx="64319" cy="83836"/>
            </a:xfrm>
            <a:custGeom>
              <a:avLst/>
              <a:gdLst>
                <a:gd name="connsiteX0" fmla="*/ 326 w 64319"/>
                <a:gd name="connsiteY0" fmla="*/ 0 h 83836"/>
                <a:gd name="connsiteX1" fmla="*/ 822 w 64319"/>
                <a:gd name="connsiteY1" fmla="*/ 16866 h 83836"/>
                <a:gd name="connsiteX2" fmla="*/ 5287 w 64319"/>
                <a:gd name="connsiteY2" fmla="*/ 33237 h 83836"/>
                <a:gd name="connsiteX3" fmla="*/ 11240 w 64319"/>
                <a:gd name="connsiteY3" fmla="*/ 48616 h 83836"/>
                <a:gd name="connsiteX4" fmla="*/ 18681 w 64319"/>
                <a:gd name="connsiteY4" fmla="*/ 63994 h 83836"/>
                <a:gd name="connsiteX5" fmla="*/ 31083 w 64319"/>
                <a:gd name="connsiteY5" fmla="*/ 75900 h 83836"/>
                <a:gd name="connsiteX6" fmla="*/ 47453 w 64319"/>
                <a:gd name="connsiteY6" fmla="*/ 80861 h 83836"/>
                <a:gd name="connsiteX7" fmla="*/ 64320 w 64319"/>
                <a:gd name="connsiteY7" fmla="*/ 83837 h 8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319" h="83836">
                  <a:moveTo>
                    <a:pt x="326" y="0"/>
                  </a:moveTo>
                  <a:cubicBezTo>
                    <a:pt x="-170" y="8433"/>
                    <a:pt x="-170" y="6945"/>
                    <a:pt x="822" y="16866"/>
                  </a:cubicBezTo>
                  <a:cubicBezTo>
                    <a:pt x="1318" y="21827"/>
                    <a:pt x="3798" y="27284"/>
                    <a:pt x="5287" y="33237"/>
                  </a:cubicBezTo>
                  <a:cubicBezTo>
                    <a:pt x="6775" y="38694"/>
                    <a:pt x="8759" y="43655"/>
                    <a:pt x="11240" y="48616"/>
                  </a:cubicBezTo>
                  <a:cubicBezTo>
                    <a:pt x="13720" y="53576"/>
                    <a:pt x="15208" y="59529"/>
                    <a:pt x="18681" y="63994"/>
                  </a:cubicBezTo>
                  <a:cubicBezTo>
                    <a:pt x="22153" y="68459"/>
                    <a:pt x="26122" y="72427"/>
                    <a:pt x="31083" y="75900"/>
                  </a:cubicBezTo>
                  <a:cubicBezTo>
                    <a:pt x="35547" y="78876"/>
                    <a:pt x="41500" y="79372"/>
                    <a:pt x="47453" y="80861"/>
                  </a:cubicBezTo>
                  <a:cubicBezTo>
                    <a:pt x="52414" y="82349"/>
                    <a:pt x="57871" y="83837"/>
                    <a:pt x="6432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8C7DEBDB-6FB4-F4EE-ABAB-CD7D02365EF4}"/>
                </a:ext>
              </a:extLst>
            </p:cNvPr>
            <p:cNvSpPr/>
            <p:nvPr/>
          </p:nvSpPr>
          <p:spPr>
            <a:xfrm>
              <a:off x="4810054" y="3348029"/>
              <a:ext cx="40465" cy="22181"/>
            </a:xfrm>
            <a:custGeom>
              <a:avLst/>
              <a:gdLst>
                <a:gd name="connsiteX0" fmla="*/ 283 w 40465"/>
                <a:gd name="connsiteY0" fmla="*/ 0 h 22181"/>
                <a:gd name="connsiteX1" fmla="*/ 6732 w 40465"/>
                <a:gd name="connsiteY1" fmla="*/ 16371 h 22181"/>
                <a:gd name="connsiteX2" fmla="*/ 23103 w 40465"/>
                <a:gd name="connsiteY2" fmla="*/ 21827 h 22181"/>
                <a:gd name="connsiteX3" fmla="*/ 40466 w 40465"/>
                <a:gd name="connsiteY3" fmla="*/ 15378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5" h="22181">
                  <a:moveTo>
                    <a:pt x="283" y="0"/>
                  </a:moveTo>
                  <a:cubicBezTo>
                    <a:pt x="-709" y="8929"/>
                    <a:pt x="779" y="10418"/>
                    <a:pt x="6732" y="16371"/>
                  </a:cubicBezTo>
                  <a:cubicBezTo>
                    <a:pt x="9709" y="19843"/>
                    <a:pt x="14670" y="23315"/>
                    <a:pt x="23103" y="21827"/>
                  </a:cubicBezTo>
                  <a:cubicBezTo>
                    <a:pt x="27568" y="20835"/>
                    <a:pt x="33521" y="18851"/>
                    <a:pt x="40466" y="153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353C7774-CC09-4DD4-16F8-49EE83C4891C}"/>
                </a:ext>
              </a:extLst>
            </p:cNvPr>
            <p:cNvSpPr/>
            <p:nvPr/>
          </p:nvSpPr>
          <p:spPr>
            <a:xfrm>
              <a:off x="4797715" y="3366880"/>
              <a:ext cx="20559" cy="60025"/>
            </a:xfrm>
            <a:custGeom>
              <a:avLst/>
              <a:gdLst>
                <a:gd name="connsiteX0" fmla="*/ 20560 w 20559"/>
                <a:gd name="connsiteY0" fmla="*/ 0 h 60025"/>
                <a:gd name="connsiteX1" fmla="*/ 10142 w 20559"/>
                <a:gd name="connsiteY1" fmla="*/ 12402 h 60025"/>
                <a:gd name="connsiteX2" fmla="*/ 3693 w 20559"/>
                <a:gd name="connsiteY2" fmla="*/ 27284 h 60025"/>
                <a:gd name="connsiteX3" fmla="*/ 220 w 20559"/>
                <a:gd name="connsiteY3" fmla="*/ 43655 h 60025"/>
                <a:gd name="connsiteX4" fmla="*/ 220 w 20559"/>
                <a:gd name="connsiteY4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59" h="60025">
                  <a:moveTo>
                    <a:pt x="20560" y="0"/>
                  </a:moveTo>
                  <a:cubicBezTo>
                    <a:pt x="13118" y="3473"/>
                    <a:pt x="15599" y="2976"/>
                    <a:pt x="10142" y="12402"/>
                  </a:cubicBezTo>
                  <a:cubicBezTo>
                    <a:pt x="7662" y="16371"/>
                    <a:pt x="5677" y="20835"/>
                    <a:pt x="3693" y="27284"/>
                  </a:cubicBezTo>
                  <a:cubicBezTo>
                    <a:pt x="2205" y="31749"/>
                    <a:pt x="1213" y="37206"/>
                    <a:pt x="220" y="43655"/>
                  </a:cubicBezTo>
                  <a:cubicBezTo>
                    <a:pt x="-276" y="48616"/>
                    <a:pt x="220" y="54072"/>
                    <a:pt x="220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AA9048FE-1C2E-833B-EBFD-C9D61CC38580}"/>
                </a:ext>
              </a:extLst>
            </p:cNvPr>
            <p:cNvSpPr/>
            <p:nvPr/>
          </p:nvSpPr>
          <p:spPr>
            <a:xfrm>
              <a:off x="4561306" y="3265680"/>
              <a:ext cx="27284" cy="63994"/>
            </a:xfrm>
            <a:custGeom>
              <a:avLst/>
              <a:gdLst>
                <a:gd name="connsiteX0" fmla="*/ 4961 w 27284"/>
                <a:gd name="connsiteY0" fmla="*/ 496 h 63994"/>
                <a:gd name="connsiteX1" fmla="*/ 992 w 27284"/>
                <a:gd name="connsiteY1" fmla="*/ 16371 h 63994"/>
                <a:gd name="connsiteX2" fmla="*/ 0 w 27284"/>
                <a:gd name="connsiteY2" fmla="*/ 32741 h 63994"/>
                <a:gd name="connsiteX3" fmla="*/ 1984 w 27284"/>
                <a:gd name="connsiteY3" fmla="*/ 48616 h 63994"/>
                <a:gd name="connsiteX4" fmla="*/ 8929 w 27284"/>
                <a:gd name="connsiteY4" fmla="*/ 63994 h 63994"/>
                <a:gd name="connsiteX5" fmla="*/ 18355 w 27284"/>
                <a:gd name="connsiteY5" fmla="*/ 49112 h 63994"/>
                <a:gd name="connsiteX6" fmla="*/ 23316 w 27284"/>
                <a:gd name="connsiteY6" fmla="*/ 33237 h 63994"/>
                <a:gd name="connsiteX7" fmla="*/ 26292 w 27284"/>
                <a:gd name="connsiteY7" fmla="*/ 16867 h 63994"/>
                <a:gd name="connsiteX8" fmla="*/ 27284 w 27284"/>
                <a:gd name="connsiteY8" fmla="*/ 0 h 6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84" h="63994">
                  <a:moveTo>
                    <a:pt x="4961" y="496"/>
                  </a:moveTo>
                  <a:cubicBezTo>
                    <a:pt x="3473" y="8433"/>
                    <a:pt x="1984" y="6945"/>
                    <a:pt x="992" y="16371"/>
                  </a:cubicBezTo>
                  <a:cubicBezTo>
                    <a:pt x="496" y="21331"/>
                    <a:pt x="0" y="26788"/>
                    <a:pt x="0" y="32741"/>
                  </a:cubicBezTo>
                  <a:cubicBezTo>
                    <a:pt x="0" y="38198"/>
                    <a:pt x="1488" y="43655"/>
                    <a:pt x="1984" y="48616"/>
                  </a:cubicBezTo>
                  <a:cubicBezTo>
                    <a:pt x="2977" y="54569"/>
                    <a:pt x="4961" y="61018"/>
                    <a:pt x="8929" y="63994"/>
                  </a:cubicBezTo>
                  <a:cubicBezTo>
                    <a:pt x="17363" y="62506"/>
                    <a:pt x="13890" y="59033"/>
                    <a:pt x="18355" y="49112"/>
                  </a:cubicBezTo>
                  <a:cubicBezTo>
                    <a:pt x="20339" y="45143"/>
                    <a:pt x="21828" y="39190"/>
                    <a:pt x="23316" y="33237"/>
                  </a:cubicBezTo>
                  <a:cubicBezTo>
                    <a:pt x="24804" y="28277"/>
                    <a:pt x="25796" y="22820"/>
                    <a:pt x="26292" y="16867"/>
                  </a:cubicBezTo>
                  <a:cubicBezTo>
                    <a:pt x="26788" y="11906"/>
                    <a:pt x="27284" y="5953"/>
                    <a:pt x="2728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9B3FA95E-E924-1FEB-027E-1A8045166930}"/>
                </a:ext>
              </a:extLst>
            </p:cNvPr>
            <p:cNvSpPr/>
            <p:nvPr/>
          </p:nvSpPr>
          <p:spPr>
            <a:xfrm>
              <a:off x="4569244" y="3169441"/>
              <a:ext cx="24307" cy="62009"/>
            </a:xfrm>
            <a:custGeom>
              <a:avLst/>
              <a:gdLst>
                <a:gd name="connsiteX0" fmla="*/ 0 w 24307"/>
                <a:gd name="connsiteY0" fmla="*/ 62010 h 62009"/>
                <a:gd name="connsiteX1" fmla="*/ 5953 w 24307"/>
                <a:gd name="connsiteY1" fmla="*/ 46631 h 62009"/>
                <a:gd name="connsiteX2" fmla="*/ 10913 w 24307"/>
                <a:gd name="connsiteY2" fmla="*/ 30757 h 62009"/>
                <a:gd name="connsiteX3" fmla="*/ 15378 w 24307"/>
                <a:gd name="connsiteY3" fmla="*/ 14882 h 62009"/>
                <a:gd name="connsiteX4" fmla="*/ 21827 w 24307"/>
                <a:gd name="connsiteY4" fmla="*/ 0 h 62009"/>
                <a:gd name="connsiteX5" fmla="*/ 23315 w 24307"/>
                <a:gd name="connsiteY5" fmla="*/ 14882 h 62009"/>
                <a:gd name="connsiteX6" fmla="*/ 23812 w 24307"/>
                <a:gd name="connsiteY6" fmla="*/ 29765 h 62009"/>
                <a:gd name="connsiteX7" fmla="*/ 24308 w 24307"/>
                <a:gd name="connsiteY7" fmla="*/ 44647 h 62009"/>
                <a:gd name="connsiteX8" fmla="*/ 22324 w 24307"/>
                <a:gd name="connsiteY8" fmla="*/ 59529 h 6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7" h="62009">
                  <a:moveTo>
                    <a:pt x="0" y="62010"/>
                  </a:moveTo>
                  <a:cubicBezTo>
                    <a:pt x="2480" y="54072"/>
                    <a:pt x="2976" y="55560"/>
                    <a:pt x="5953" y="46631"/>
                  </a:cubicBezTo>
                  <a:cubicBezTo>
                    <a:pt x="7441" y="41670"/>
                    <a:pt x="8929" y="36214"/>
                    <a:pt x="10913" y="30757"/>
                  </a:cubicBezTo>
                  <a:cubicBezTo>
                    <a:pt x="12898" y="25300"/>
                    <a:pt x="13890" y="19843"/>
                    <a:pt x="15378" y="14882"/>
                  </a:cubicBezTo>
                  <a:cubicBezTo>
                    <a:pt x="18355" y="5953"/>
                    <a:pt x="21331" y="0"/>
                    <a:pt x="21827" y="0"/>
                  </a:cubicBezTo>
                  <a:cubicBezTo>
                    <a:pt x="22324" y="0"/>
                    <a:pt x="22819" y="5953"/>
                    <a:pt x="23315" y="14882"/>
                  </a:cubicBezTo>
                  <a:cubicBezTo>
                    <a:pt x="23812" y="19347"/>
                    <a:pt x="23812" y="24804"/>
                    <a:pt x="23812" y="29765"/>
                  </a:cubicBezTo>
                  <a:cubicBezTo>
                    <a:pt x="23812" y="35221"/>
                    <a:pt x="24308" y="40182"/>
                    <a:pt x="24308" y="44647"/>
                  </a:cubicBezTo>
                  <a:cubicBezTo>
                    <a:pt x="24308" y="52088"/>
                    <a:pt x="22819" y="57545"/>
                    <a:pt x="22324" y="595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4" name="Graphic 10">
              <a:extLst>
                <a:ext uri="{FF2B5EF4-FFF2-40B4-BE49-F238E27FC236}">
                  <a16:creationId xmlns:a16="http://schemas.microsoft.com/office/drawing/2014/main" id="{609ACB1B-13AD-9128-CCD4-E68E4C2430A9}"/>
                </a:ext>
              </a:extLst>
            </p:cNvPr>
            <p:cNvGrpSpPr/>
            <p:nvPr/>
          </p:nvGrpSpPr>
          <p:grpSpPr>
            <a:xfrm>
              <a:off x="4522695" y="3096217"/>
              <a:ext cx="362894" cy="392835"/>
              <a:chOff x="4522695" y="3096217"/>
              <a:chExt cx="362894" cy="392835"/>
            </a:xfrm>
            <a:noFill/>
          </p:grpSpPr>
          <p:sp>
            <p:nvSpPr>
              <p:cNvPr id="1727" name="Freeform: Shape 1726">
                <a:extLst>
                  <a:ext uri="{FF2B5EF4-FFF2-40B4-BE49-F238E27FC236}">
                    <a16:creationId xmlns:a16="http://schemas.microsoft.com/office/drawing/2014/main" id="{9ACCF65D-6525-704B-58D4-87AF462FF824}"/>
                  </a:ext>
                </a:extLst>
              </p:cNvPr>
              <p:cNvSpPr/>
              <p:nvPr/>
            </p:nvSpPr>
            <p:spPr>
              <a:xfrm>
                <a:off x="4538444" y="3096217"/>
                <a:ext cx="333310" cy="334461"/>
              </a:xfrm>
              <a:custGeom>
                <a:avLst/>
                <a:gdLst>
                  <a:gd name="connsiteX0" fmla="*/ 330430 w 333310"/>
                  <a:gd name="connsiteY0" fmla="*/ 330192 h 334461"/>
                  <a:gd name="connsiteX1" fmla="*/ 314556 w 333310"/>
                  <a:gd name="connsiteY1" fmla="*/ 330688 h 334461"/>
                  <a:gd name="connsiteX2" fmla="*/ 298185 w 333310"/>
                  <a:gd name="connsiteY2" fmla="*/ 329696 h 334461"/>
                  <a:gd name="connsiteX3" fmla="*/ 281815 w 333310"/>
                  <a:gd name="connsiteY3" fmla="*/ 330192 h 334461"/>
                  <a:gd name="connsiteX4" fmla="*/ 265444 w 333310"/>
                  <a:gd name="connsiteY4" fmla="*/ 331185 h 334461"/>
                  <a:gd name="connsiteX5" fmla="*/ 249074 w 333310"/>
                  <a:gd name="connsiteY5" fmla="*/ 330192 h 334461"/>
                  <a:gd name="connsiteX6" fmla="*/ 232703 w 333310"/>
                  <a:gd name="connsiteY6" fmla="*/ 331185 h 334461"/>
                  <a:gd name="connsiteX7" fmla="*/ 216333 w 333310"/>
                  <a:gd name="connsiteY7" fmla="*/ 331680 h 334461"/>
                  <a:gd name="connsiteX8" fmla="*/ 199962 w 333310"/>
                  <a:gd name="connsiteY8" fmla="*/ 332176 h 334461"/>
                  <a:gd name="connsiteX9" fmla="*/ 183591 w 333310"/>
                  <a:gd name="connsiteY9" fmla="*/ 329696 h 334461"/>
                  <a:gd name="connsiteX10" fmla="*/ 167221 w 333310"/>
                  <a:gd name="connsiteY10" fmla="*/ 330192 h 334461"/>
                  <a:gd name="connsiteX11" fmla="*/ 150850 w 333310"/>
                  <a:gd name="connsiteY11" fmla="*/ 330192 h 334461"/>
                  <a:gd name="connsiteX12" fmla="*/ 134480 w 333310"/>
                  <a:gd name="connsiteY12" fmla="*/ 331185 h 334461"/>
                  <a:gd name="connsiteX13" fmla="*/ 118109 w 333310"/>
                  <a:gd name="connsiteY13" fmla="*/ 331680 h 334461"/>
                  <a:gd name="connsiteX14" fmla="*/ 101739 w 333310"/>
                  <a:gd name="connsiteY14" fmla="*/ 330192 h 334461"/>
                  <a:gd name="connsiteX15" fmla="*/ 85368 w 333310"/>
                  <a:gd name="connsiteY15" fmla="*/ 330192 h 334461"/>
                  <a:gd name="connsiteX16" fmla="*/ 68997 w 333310"/>
                  <a:gd name="connsiteY16" fmla="*/ 331680 h 334461"/>
                  <a:gd name="connsiteX17" fmla="*/ 52627 w 333310"/>
                  <a:gd name="connsiteY17" fmla="*/ 330688 h 334461"/>
                  <a:gd name="connsiteX18" fmla="*/ 36256 w 333310"/>
                  <a:gd name="connsiteY18" fmla="*/ 331185 h 334461"/>
                  <a:gd name="connsiteX19" fmla="*/ 19886 w 333310"/>
                  <a:gd name="connsiteY19" fmla="*/ 332176 h 334461"/>
                  <a:gd name="connsiteX20" fmla="*/ 2523 w 333310"/>
                  <a:gd name="connsiteY20" fmla="*/ 331680 h 334461"/>
                  <a:gd name="connsiteX21" fmla="*/ 3019 w 333310"/>
                  <a:gd name="connsiteY21" fmla="*/ 314318 h 334461"/>
                  <a:gd name="connsiteX22" fmla="*/ 4011 w 333310"/>
                  <a:gd name="connsiteY22" fmla="*/ 297947 h 334461"/>
                  <a:gd name="connsiteX23" fmla="*/ 3019 w 333310"/>
                  <a:gd name="connsiteY23" fmla="*/ 281577 h 334461"/>
                  <a:gd name="connsiteX24" fmla="*/ 4011 w 333310"/>
                  <a:gd name="connsiteY24" fmla="*/ 265206 h 334461"/>
                  <a:gd name="connsiteX25" fmla="*/ 2523 w 333310"/>
                  <a:gd name="connsiteY25" fmla="*/ 248835 h 334461"/>
                  <a:gd name="connsiteX26" fmla="*/ 3515 w 333310"/>
                  <a:gd name="connsiteY26" fmla="*/ 232465 h 334461"/>
                  <a:gd name="connsiteX27" fmla="*/ 3515 w 333310"/>
                  <a:gd name="connsiteY27" fmla="*/ 216094 h 334461"/>
                  <a:gd name="connsiteX28" fmla="*/ 3019 w 333310"/>
                  <a:gd name="connsiteY28" fmla="*/ 199724 h 334461"/>
                  <a:gd name="connsiteX29" fmla="*/ 2523 w 333310"/>
                  <a:gd name="connsiteY29" fmla="*/ 183353 h 334461"/>
                  <a:gd name="connsiteX30" fmla="*/ 4011 w 333310"/>
                  <a:gd name="connsiteY30" fmla="*/ 166983 h 334461"/>
                  <a:gd name="connsiteX31" fmla="*/ 3515 w 333310"/>
                  <a:gd name="connsiteY31" fmla="*/ 150612 h 334461"/>
                  <a:gd name="connsiteX32" fmla="*/ 4011 w 333310"/>
                  <a:gd name="connsiteY32" fmla="*/ 134242 h 334461"/>
                  <a:gd name="connsiteX33" fmla="*/ 2523 w 333310"/>
                  <a:gd name="connsiteY33" fmla="*/ 117871 h 334461"/>
                  <a:gd name="connsiteX34" fmla="*/ 2523 w 333310"/>
                  <a:gd name="connsiteY34" fmla="*/ 101500 h 334461"/>
                  <a:gd name="connsiteX35" fmla="*/ 2027 w 333310"/>
                  <a:gd name="connsiteY35" fmla="*/ 85130 h 334461"/>
                  <a:gd name="connsiteX36" fmla="*/ 3515 w 333310"/>
                  <a:gd name="connsiteY36" fmla="*/ 68759 h 334461"/>
                  <a:gd name="connsiteX37" fmla="*/ 3515 w 333310"/>
                  <a:gd name="connsiteY37" fmla="*/ 52389 h 334461"/>
                  <a:gd name="connsiteX38" fmla="*/ 4011 w 333310"/>
                  <a:gd name="connsiteY38" fmla="*/ 36018 h 334461"/>
                  <a:gd name="connsiteX39" fmla="*/ 3515 w 333310"/>
                  <a:gd name="connsiteY39" fmla="*/ 19647 h 334461"/>
                  <a:gd name="connsiteX40" fmla="*/ 2523 w 333310"/>
                  <a:gd name="connsiteY40" fmla="*/ 2781 h 334461"/>
                  <a:gd name="connsiteX41" fmla="*/ 19390 w 333310"/>
                  <a:gd name="connsiteY41" fmla="*/ 2285 h 334461"/>
                  <a:gd name="connsiteX42" fmla="*/ 35760 w 333310"/>
                  <a:gd name="connsiteY42" fmla="*/ 2285 h 334461"/>
                  <a:gd name="connsiteX43" fmla="*/ 52131 w 333310"/>
                  <a:gd name="connsiteY43" fmla="*/ 2285 h 334461"/>
                  <a:gd name="connsiteX44" fmla="*/ 68501 w 333310"/>
                  <a:gd name="connsiteY44" fmla="*/ 4269 h 334461"/>
                  <a:gd name="connsiteX45" fmla="*/ 84872 w 333310"/>
                  <a:gd name="connsiteY45" fmla="*/ 3277 h 334461"/>
                  <a:gd name="connsiteX46" fmla="*/ 101242 w 333310"/>
                  <a:gd name="connsiteY46" fmla="*/ 3277 h 334461"/>
                  <a:gd name="connsiteX47" fmla="*/ 117613 w 333310"/>
                  <a:gd name="connsiteY47" fmla="*/ 4269 h 334461"/>
                  <a:gd name="connsiteX48" fmla="*/ 133984 w 333310"/>
                  <a:gd name="connsiteY48" fmla="*/ 2285 h 334461"/>
                  <a:gd name="connsiteX49" fmla="*/ 150354 w 333310"/>
                  <a:gd name="connsiteY49" fmla="*/ 3277 h 334461"/>
                  <a:gd name="connsiteX50" fmla="*/ 166725 w 333310"/>
                  <a:gd name="connsiteY50" fmla="*/ 4269 h 334461"/>
                  <a:gd name="connsiteX51" fmla="*/ 183095 w 333310"/>
                  <a:gd name="connsiteY51" fmla="*/ 2285 h 334461"/>
                  <a:gd name="connsiteX52" fmla="*/ 199466 w 333310"/>
                  <a:gd name="connsiteY52" fmla="*/ 2285 h 334461"/>
                  <a:gd name="connsiteX53" fmla="*/ 215837 w 333310"/>
                  <a:gd name="connsiteY53" fmla="*/ 3277 h 334461"/>
                  <a:gd name="connsiteX54" fmla="*/ 232207 w 333310"/>
                  <a:gd name="connsiteY54" fmla="*/ 4269 h 334461"/>
                  <a:gd name="connsiteX55" fmla="*/ 248578 w 333310"/>
                  <a:gd name="connsiteY55" fmla="*/ 3277 h 334461"/>
                  <a:gd name="connsiteX56" fmla="*/ 264948 w 333310"/>
                  <a:gd name="connsiteY56" fmla="*/ 3773 h 334461"/>
                  <a:gd name="connsiteX57" fmla="*/ 281319 w 333310"/>
                  <a:gd name="connsiteY57" fmla="*/ 3277 h 334461"/>
                  <a:gd name="connsiteX58" fmla="*/ 297689 w 333310"/>
                  <a:gd name="connsiteY58" fmla="*/ 4269 h 334461"/>
                  <a:gd name="connsiteX59" fmla="*/ 314060 w 333310"/>
                  <a:gd name="connsiteY59" fmla="*/ 2285 h 334461"/>
                  <a:gd name="connsiteX60" fmla="*/ 330927 w 333310"/>
                  <a:gd name="connsiteY60" fmla="*/ 3277 h 334461"/>
                  <a:gd name="connsiteX61" fmla="*/ 329438 w 333310"/>
                  <a:gd name="connsiteY61" fmla="*/ 20144 h 334461"/>
                  <a:gd name="connsiteX62" fmla="*/ 330927 w 333310"/>
                  <a:gd name="connsiteY62" fmla="*/ 36514 h 334461"/>
                  <a:gd name="connsiteX63" fmla="*/ 331919 w 333310"/>
                  <a:gd name="connsiteY63" fmla="*/ 52885 h 334461"/>
                  <a:gd name="connsiteX64" fmla="*/ 330430 w 333310"/>
                  <a:gd name="connsiteY64" fmla="*/ 69255 h 334461"/>
                  <a:gd name="connsiteX65" fmla="*/ 329438 w 333310"/>
                  <a:gd name="connsiteY65" fmla="*/ 85626 h 334461"/>
                  <a:gd name="connsiteX66" fmla="*/ 331919 w 333310"/>
                  <a:gd name="connsiteY66" fmla="*/ 101996 h 334461"/>
                  <a:gd name="connsiteX67" fmla="*/ 330430 w 333310"/>
                  <a:gd name="connsiteY67" fmla="*/ 118367 h 334461"/>
                  <a:gd name="connsiteX68" fmla="*/ 330430 w 333310"/>
                  <a:gd name="connsiteY68" fmla="*/ 134737 h 334461"/>
                  <a:gd name="connsiteX69" fmla="*/ 329438 w 333310"/>
                  <a:gd name="connsiteY69" fmla="*/ 151108 h 334461"/>
                  <a:gd name="connsiteX70" fmla="*/ 329438 w 333310"/>
                  <a:gd name="connsiteY70" fmla="*/ 167479 h 334461"/>
                  <a:gd name="connsiteX71" fmla="*/ 330430 w 333310"/>
                  <a:gd name="connsiteY71" fmla="*/ 183849 h 334461"/>
                  <a:gd name="connsiteX72" fmla="*/ 329438 w 333310"/>
                  <a:gd name="connsiteY72" fmla="*/ 200220 h 334461"/>
                  <a:gd name="connsiteX73" fmla="*/ 331423 w 333310"/>
                  <a:gd name="connsiteY73" fmla="*/ 216590 h 334461"/>
                  <a:gd name="connsiteX74" fmla="*/ 331423 w 333310"/>
                  <a:gd name="connsiteY74" fmla="*/ 232961 h 334461"/>
                  <a:gd name="connsiteX75" fmla="*/ 329934 w 333310"/>
                  <a:gd name="connsiteY75" fmla="*/ 249332 h 334461"/>
                  <a:gd name="connsiteX76" fmla="*/ 331919 w 333310"/>
                  <a:gd name="connsiteY76" fmla="*/ 265702 h 334461"/>
                  <a:gd name="connsiteX77" fmla="*/ 329934 w 333310"/>
                  <a:gd name="connsiteY77" fmla="*/ 282073 h 334461"/>
                  <a:gd name="connsiteX78" fmla="*/ 331423 w 333310"/>
                  <a:gd name="connsiteY78" fmla="*/ 298443 h 334461"/>
                  <a:gd name="connsiteX79" fmla="*/ 330430 w 333310"/>
                  <a:gd name="connsiteY79" fmla="*/ 315310 h 334461"/>
                  <a:gd name="connsiteX80" fmla="*/ 330430 w 333310"/>
                  <a:gd name="connsiteY80" fmla="*/ 330192 h 33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3310" h="334461">
                    <a:moveTo>
                      <a:pt x="330430" y="330192"/>
                    </a:moveTo>
                    <a:cubicBezTo>
                      <a:pt x="324477" y="336145"/>
                      <a:pt x="322493" y="330688"/>
                      <a:pt x="314556" y="330688"/>
                    </a:cubicBezTo>
                    <a:cubicBezTo>
                      <a:pt x="306123" y="330688"/>
                      <a:pt x="306123" y="329696"/>
                      <a:pt x="298185" y="329696"/>
                    </a:cubicBezTo>
                    <a:cubicBezTo>
                      <a:pt x="289752" y="329696"/>
                      <a:pt x="289752" y="330192"/>
                      <a:pt x="281815" y="330192"/>
                    </a:cubicBezTo>
                    <a:cubicBezTo>
                      <a:pt x="273381" y="330192"/>
                      <a:pt x="273381" y="331185"/>
                      <a:pt x="265444" y="331185"/>
                    </a:cubicBezTo>
                    <a:cubicBezTo>
                      <a:pt x="257011" y="331185"/>
                      <a:pt x="257011" y="330192"/>
                      <a:pt x="249074" y="330192"/>
                    </a:cubicBezTo>
                    <a:cubicBezTo>
                      <a:pt x="240640" y="330192"/>
                      <a:pt x="240640" y="331185"/>
                      <a:pt x="232703" y="331185"/>
                    </a:cubicBezTo>
                    <a:cubicBezTo>
                      <a:pt x="224270" y="331185"/>
                      <a:pt x="224270" y="331680"/>
                      <a:pt x="216333" y="331680"/>
                    </a:cubicBezTo>
                    <a:cubicBezTo>
                      <a:pt x="207899" y="331680"/>
                      <a:pt x="207899" y="332176"/>
                      <a:pt x="199962" y="332176"/>
                    </a:cubicBezTo>
                    <a:cubicBezTo>
                      <a:pt x="191529" y="332176"/>
                      <a:pt x="191529" y="329696"/>
                      <a:pt x="183591" y="329696"/>
                    </a:cubicBezTo>
                    <a:cubicBezTo>
                      <a:pt x="175158" y="329696"/>
                      <a:pt x="175158" y="330192"/>
                      <a:pt x="167221" y="330192"/>
                    </a:cubicBezTo>
                    <a:cubicBezTo>
                      <a:pt x="158788" y="330192"/>
                      <a:pt x="158788" y="330192"/>
                      <a:pt x="150850" y="330192"/>
                    </a:cubicBezTo>
                    <a:cubicBezTo>
                      <a:pt x="142417" y="330192"/>
                      <a:pt x="142417" y="331185"/>
                      <a:pt x="134480" y="331185"/>
                    </a:cubicBezTo>
                    <a:cubicBezTo>
                      <a:pt x="126046" y="331185"/>
                      <a:pt x="126046" y="331680"/>
                      <a:pt x="118109" y="331680"/>
                    </a:cubicBezTo>
                    <a:cubicBezTo>
                      <a:pt x="110172" y="331680"/>
                      <a:pt x="109676" y="330192"/>
                      <a:pt x="101739" y="330192"/>
                    </a:cubicBezTo>
                    <a:cubicBezTo>
                      <a:pt x="93305" y="330192"/>
                      <a:pt x="93305" y="330192"/>
                      <a:pt x="85368" y="330192"/>
                    </a:cubicBezTo>
                    <a:cubicBezTo>
                      <a:pt x="76935" y="330192"/>
                      <a:pt x="76935" y="331680"/>
                      <a:pt x="68997" y="331680"/>
                    </a:cubicBezTo>
                    <a:cubicBezTo>
                      <a:pt x="60564" y="331680"/>
                      <a:pt x="60564" y="330688"/>
                      <a:pt x="52627" y="330688"/>
                    </a:cubicBezTo>
                    <a:cubicBezTo>
                      <a:pt x="44193" y="330688"/>
                      <a:pt x="44193" y="331185"/>
                      <a:pt x="36256" y="331185"/>
                    </a:cubicBezTo>
                    <a:cubicBezTo>
                      <a:pt x="27823" y="331185"/>
                      <a:pt x="27823" y="332176"/>
                      <a:pt x="19886" y="332176"/>
                    </a:cubicBezTo>
                    <a:cubicBezTo>
                      <a:pt x="11948" y="332176"/>
                      <a:pt x="8476" y="337633"/>
                      <a:pt x="2523" y="331680"/>
                    </a:cubicBezTo>
                    <a:cubicBezTo>
                      <a:pt x="-3430" y="325727"/>
                      <a:pt x="3019" y="322751"/>
                      <a:pt x="3019" y="314318"/>
                    </a:cubicBezTo>
                    <a:cubicBezTo>
                      <a:pt x="3019" y="305884"/>
                      <a:pt x="4011" y="305884"/>
                      <a:pt x="4011" y="297947"/>
                    </a:cubicBezTo>
                    <a:cubicBezTo>
                      <a:pt x="4011" y="289514"/>
                      <a:pt x="3019" y="289514"/>
                      <a:pt x="3019" y="281577"/>
                    </a:cubicBezTo>
                    <a:cubicBezTo>
                      <a:pt x="3019" y="273143"/>
                      <a:pt x="4011" y="273143"/>
                      <a:pt x="4011" y="265206"/>
                    </a:cubicBezTo>
                    <a:cubicBezTo>
                      <a:pt x="4011" y="256773"/>
                      <a:pt x="2523" y="256773"/>
                      <a:pt x="2523" y="248835"/>
                    </a:cubicBezTo>
                    <a:cubicBezTo>
                      <a:pt x="2523" y="240402"/>
                      <a:pt x="3515" y="240402"/>
                      <a:pt x="3515" y="232465"/>
                    </a:cubicBezTo>
                    <a:cubicBezTo>
                      <a:pt x="3515" y="224031"/>
                      <a:pt x="3515" y="224031"/>
                      <a:pt x="3515" y="216094"/>
                    </a:cubicBezTo>
                    <a:cubicBezTo>
                      <a:pt x="3515" y="207661"/>
                      <a:pt x="3019" y="207661"/>
                      <a:pt x="3019" y="199724"/>
                    </a:cubicBezTo>
                    <a:cubicBezTo>
                      <a:pt x="3019" y="191290"/>
                      <a:pt x="2523" y="191290"/>
                      <a:pt x="2523" y="183353"/>
                    </a:cubicBezTo>
                    <a:cubicBezTo>
                      <a:pt x="2523" y="174920"/>
                      <a:pt x="4011" y="174920"/>
                      <a:pt x="4011" y="166983"/>
                    </a:cubicBezTo>
                    <a:cubicBezTo>
                      <a:pt x="4011" y="158549"/>
                      <a:pt x="3515" y="158549"/>
                      <a:pt x="3515" y="150612"/>
                    </a:cubicBezTo>
                    <a:cubicBezTo>
                      <a:pt x="3515" y="142179"/>
                      <a:pt x="4011" y="142179"/>
                      <a:pt x="4011" y="134242"/>
                    </a:cubicBezTo>
                    <a:cubicBezTo>
                      <a:pt x="4011" y="125808"/>
                      <a:pt x="2523" y="125808"/>
                      <a:pt x="2523" y="117871"/>
                    </a:cubicBezTo>
                    <a:cubicBezTo>
                      <a:pt x="2523" y="109934"/>
                      <a:pt x="2523" y="109438"/>
                      <a:pt x="2523" y="101500"/>
                    </a:cubicBezTo>
                    <a:cubicBezTo>
                      <a:pt x="2523" y="93067"/>
                      <a:pt x="2027" y="93067"/>
                      <a:pt x="2027" y="85130"/>
                    </a:cubicBezTo>
                    <a:cubicBezTo>
                      <a:pt x="2027" y="76696"/>
                      <a:pt x="3515" y="76696"/>
                      <a:pt x="3515" y="68759"/>
                    </a:cubicBezTo>
                    <a:cubicBezTo>
                      <a:pt x="3515" y="60326"/>
                      <a:pt x="3515" y="60326"/>
                      <a:pt x="3515" y="52389"/>
                    </a:cubicBezTo>
                    <a:cubicBezTo>
                      <a:pt x="3515" y="43955"/>
                      <a:pt x="4011" y="43955"/>
                      <a:pt x="4011" y="36018"/>
                    </a:cubicBezTo>
                    <a:cubicBezTo>
                      <a:pt x="4011" y="27585"/>
                      <a:pt x="3515" y="27585"/>
                      <a:pt x="3515" y="19647"/>
                    </a:cubicBezTo>
                    <a:cubicBezTo>
                      <a:pt x="3515" y="11710"/>
                      <a:pt x="-2934" y="8734"/>
                      <a:pt x="2523" y="2781"/>
                    </a:cubicBezTo>
                    <a:cubicBezTo>
                      <a:pt x="8476" y="-3172"/>
                      <a:pt x="11452" y="2285"/>
                      <a:pt x="19390" y="2285"/>
                    </a:cubicBezTo>
                    <a:cubicBezTo>
                      <a:pt x="27823" y="2285"/>
                      <a:pt x="27823" y="2285"/>
                      <a:pt x="35760" y="2285"/>
                    </a:cubicBezTo>
                    <a:cubicBezTo>
                      <a:pt x="44193" y="2285"/>
                      <a:pt x="44193" y="2285"/>
                      <a:pt x="52131" y="2285"/>
                    </a:cubicBezTo>
                    <a:cubicBezTo>
                      <a:pt x="60564" y="2285"/>
                      <a:pt x="60564" y="4269"/>
                      <a:pt x="68501" y="4269"/>
                    </a:cubicBezTo>
                    <a:cubicBezTo>
                      <a:pt x="76935" y="4269"/>
                      <a:pt x="76935" y="3277"/>
                      <a:pt x="84872" y="3277"/>
                    </a:cubicBezTo>
                    <a:cubicBezTo>
                      <a:pt x="93305" y="3277"/>
                      <a:pt x="93305" y="3277"/>
                      <a:pt x="101242" y="3277"/>
                    </a:cubicBezTo>
                    <a:cubicBezTo>
                      <a:pt x="109676" y="3277"/>
                      <a:pt x="109676" y="4269"/>
                      <a:pt x="117613" y="4269"/>
                    </a:cubicBezTo>
                    <a:cubicBezTo>
                      <a:pt x="126046" y="4269"/>
                      <a:pt x="126046" y="2285"/>
                      <a:pt x="133984" y="2285"/>
                    </a:cubicBezTo>
                    <a:cubicBezTo>
                      <a:pt x="142417" y="2285"/>
                      <a:pt x="142417" y="3277"/>
                      <a:pt x="150354" y="3277"/>
                    </a:cubicBezTo>
                    <a:cubicBezTo>
                      <a:pt x="158788" y="3277"/>
                      <a:pt x="158788" y="4269"/>
                      <a:pt x="166725" y="4269"/>
                    </a:cubicBezTo>
                    <a:cubicBezTo>
                      <a:pt x="175158" y="4269"/>
                      <a:pt x="175158" y="2285"/>
                      <a:pt x="183095" y="2285"/>
                    </a:cubicBezTo>
                    <a:cubicBezTo>
                      <a:pt x="191529" y="2285"/>
                      <a:pt x="191529" y="2285"/>
                      <a:pt x="199466" y="2285"/>
                    </a:cubicBezTo>
                    <a:cubicBezTo>
                      <a:pt x="207899" y="2285"/>
                      <a:pt x="207899" y="3277"/>
                      <a:pt x="215837" y="3277"/>
                    </a:cubicBezTo>
                    <a:cubicBezTo>
                      <a:pt x="223774" y="3277"/>
                      <a:pt x="224270" y="4269"/>
                      <a:pt x="232207" y="4269"/>
                    </a:cubicBezTo>
                    <a:cubicBezTo>
                      <a:pt x="240640" y="4269"/>
                      <a:pt x="240640" y="3277"/>
                      <a:pt x="248578" y="3277"/>
                    </a:cubicBezTo>
                    <a:cubicBezTo>
                      <a:pt x="257011" y="3277"/>
                      <a:pt x="257011" y="3773"/>
                      <a:pt x="264948" y="3773"/>
                    </a:cubicBezTo>
                    <a:cubicBezTo>
                      <a:pt x="273381" y="3773"/>
                      <a:pt x="273381" y="3277"/>
                      <a:pt x="281319" y="3277"/>
                    </a:cubicBezTo>
                    <a:cubicBezTo>
                      <a:pt x="289752" y="3277"/>
                      <a:pt x="289752" y="4269"/>
                      <a:pt x="297689" y="4269"/>
                    </a:cubicBezTo>
                    <a:cubicBezTo>
                      <a:pt x="306123" y="4269"/>
                      <a:pt x="306123" y="2285"/>
                      <a:pt x="314060" y="2285"/>
                    </a:cubicBezTo>
                    <a:cubicBezTo>
                      <a:pt x="321997" y="2285"/>
                      <a:pt x="324974" y="-2676"/>
                      <a:pt x="330927" y="3277"/>
                    </a:cubicBezTo>
                    <a:cubicBezTo>
                      <a:pt x="336879" y="9230"/>
                      <a:pt x="329438" y="11710"/>
                      <a:pt x="329438" y="20144"/>
                    </a:cubicBezTo>
                    <a:cubicBezTo>
                      <a:pt x="329438" y="28577"/>
                      <a:pt x="330927" y="28577"/>
                      <a:pt x="330927" y="36514"/>
                    </a:cubicBezTo>
                    <a:cubicBezTo>
                      <a:pt x="330927" y="44947"/>
                      <a:pt x="331919" y="44947"/>
                      <a:pt x="331919" y="52885"/>
                    </a:cubicBezTo>
                    <a:cubicBezTo>
                      <a:pt x="331919" y="61318"/>
                      <a:pt x="330430" y="61318"/>
                      <a:pt x="330430" y="69255"/>
                    </a:cubicBezTo>
                    <a:cubicBezTo>
                      <a:pt x="330430" y="77689"/>
                      <a:pt x="329438" y="77689"/>
                      <a:pt x="329438" y="85626"/>
                    </a:cubicBezTo>
                    <a:cubicBezTo>
                      <a:pt x="329438" y="94059"/>
                      <a:pt x="331919" y="94059"/>
                      <a:pt x="331919" y="101996"/>
                    </a:cubicBezTo>
                    <a:cubicBezTo>
                      <a:pt x="331919" y="110430"/>
                      <a:pt x="330430" y="110430"/>
                      <a:pt x="330430" y="118367"/>
                    </a:cubicBezTo>
                    <a:cubicBezTo>
                      <a:pt x="330430" y="126800"/>
                      <a:pt x="330430" y="126800"/>
                      <a:pt x="330430" y="134737"/>
                    </a:cubicBezTo>
                    <a:cubicBezTo>
                      <a:pt x="330430" y="143171"/>
                      <a:pt x="329438" y="143171"/>
                      <a:pt x="329438" y="151108"/>
                    </a:cubicBezTo>
                    <a:cubicBezTo>
                      <a:pt x="329438" y="159541"/>
                      <a:pt x="329438" y="159541"/>
                      <a:pt x="329438" y="167479"/>
                    </a:cubicBezTo>
                    <a:cubicBezTo>
                      <a:pt x="329438" y="175912"/>
                      <a:pt x="330430" y="175912"/>
                      <a:pt x="330430" y="183849"/>
                    </a:cubicBezTo>
                    <a:cubicBezTo>
                      <a:pt x="330430" y="192283"/>
                      <a:pt x="329438" y="192283"/>
                      <a:pt x="329438" y="200220"/>
                    </a:cubicBezTo>
                    <a:cubicBezTo>
                      <a:pt x="329438" y="208653"/>
                      <a:pt x="331423" y="208653"/>
                      <a:pt x="331423" y="216590"/>
                    </a:cubicBezTo>
                    <a:cubicBezTo>
                      <a:pt x="331423" y="224528"/>
                      <a:pt x="331423" y="225024"/>
                      <a:pt x="331423" y="232961"/>
                    </a:cubicBezTo>
                    <a:cubicBezTo>
                      <a:pt x="331423" y="241394"/>
                      <a:pt x="329934" y="241394"/>
                      <a:pt x="329934" y="249332"/>
                    </a:cubicBezTo>
                    <a:cubicBezTo>
                      <a:pt x="329934" y="257765"/>
                      <a:pt x="331919" y="257765"/>
                      <a:pt x="331919" y="265702"/>
                    </a:cubicBezTo>
                    <a:cubicBezTo>
                      <a:pt x="331919" y="274136"/>
                      <a:pt x="329934" y="274136"/>
                      <a:pt x="329934" y="282073"/>
                    </a:cubicBezTo>
                    <a:cubicBezTo>
                      <a:pt x="329934" y="290506"/>
                      <a:pt x="331423" y="290506"/>
                      <a:pt x="331423" y="298443"/>
                    </a:cubicBezTo>
                    <a:cubicBezTo>
                      <a:pt x="331423" y="306877"/>
                      <a:pt x="328446" y="306877"/>
                      <a:pt x="330430" y="315310"/>
                    </a:cubicBezTo>
                    <a:cubicBezTo>
                      <a:pt x="331423" y="322751"/>
                      <a:pt x="336383" y="324735"/>
                      <a:pt x="330430" y="33019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8" name="Freeform: Shape 1727">
                <a:extLst>
                  <a:ext uri="{FF2B5EF4-FFF2-40B4-BE49-F238E27FC236}">
                    <a16:creationId xmlns:a16="http://schemas.microsoft.com/office/drawing/2014/main" id="{F95F51E4-EA84-C320-27E5-9492EB56DB7C}"/>
                  </a:ext>
                </a:extLst>
              </p:cNvPr>
              <p:cNvSpPr/>
              <p:nvPr/>
            </p:nvSpPr>
            <p:spPr>
              <a:xfrm>
                <a:off x="4552076" y="3227813"/>
                <a:ext cx="300782" cy="41505"/>
              </a:xfrm>
              <a:custGeom>
                <a:avLst/>
                <a:gdLst>
                  <a:gd name="connsiteX0" fmla="*/ 297947 w 300782"/>
                  <a:gd name="connsiteY0" fmla="*/ 38363 h 41505"/>
                  <a:gd name="connsiteX1" fmla="*/ 281577 w 300782"/>
                  <a:gd name="connsiteY1" fmla="*/ 37867 h 41505"/>
                  <a:gd name="connsiteX2" fmla="*/ 265206 w 300782"/>
                  <a:gd name="connsiteY2" fmla="*/ 37867 h 41505"/>
                  <a:gd name="connsiteX3" fmla="*/ 248835 w 300782"/>
                  <a:gd name="connsiteY3" fmla="*/ 37867 h 41505"/>
                  <a:gd name="connsiteX4" fmla="*/ 232465 w 300782"/>
                  <a:gd name="connsiteY4" fmla="*/ 37867 h 41505"/>
                  <a:gd name="connsiteX5" fmla="*/ 216094 w 300782"/>
                  <a:gd name="connsiteY5" fmla="*/ 38363 h 41505"/>
                  <a:gd name="connsiteX6" fmla="*/ 199724 w 300782"/>
                  <a:gd name="connsiteY6" fmla="*/ 38363 h 41505"/>
                  <a:gd name="connsiteX7" fmla="*/ 183353 w 300782"/>
                  <a:gd name="connsiteY7" fmla="*/ 38363 h 41505"/>
                  <a:gd name="connsiteX8" fmla="*/ 166982 w 300782"/>
                  <a:gd name="connsiteY8" fmla="*/ 37371 h 41505"/>
                  <a:gd name="connsiteX9" fmla="*/ 150612 w 300782"/>
                  <a:gd name="connsiteY9" fmla="*/ 38859 h 41505"/>
                  <a:gd name="connsiteX10" fmla="*/ 134241 w 300782"/>
                  <a:gd name="connsiteY10" fmla="*/ 37371 h 41505"/>
                  <a:gd name="connsiteX11" fmla="*/ 117871 w 300782"/>
                  <a:gd name="connsiteY11" fmla="*/ 37867 h 41505"/>
                  <a:gd name="connsiteX12" fmla="*/ 101500 w 300782"/>
                  <a:gd name="connsiteY12" fmla="*/ 39355 h 41505"/>
                  <a:gd name="connsiteX13" fmla="*/ 85130 w 300782"/>
                  <a:gd name="connsiteY13" fmla="*/ 38859 h 41505"/>
                  <a:gd name="connsiteX14" fmla="*/ 68759 w 300782"/>
                  <a:gd name="connsiteY14" fmla="*/ 39852 h 41505"/>
                  <a:gd name="connsiteX15" fmla="*/ 52389 w 300782"/>
                  <a:gd name="connsiteY15" fmla="*/ 37867 h 41505"/>
                  <a:gd name="connsiteX16" fmla="*/ 36018 w 300782"/>
                  <a:gd name="connsiteY16" fmla="*/ 38363 h 41505"/>
                  <a:gd name="connsiteX17" fmla="*/ 19648 w 300782"/>
                  <a:gd name="connsiteY17" fmla="*/ 38859 h 41505"/>
                  <a:gd name="connsiteX18" fmla="*/ 3277 w 300782"/>
                  <a:gd name="connsiteY18" fmla="*/ 38859 h 41505"/>
                  <a:gd name="connsiteX19" fmla="*/ 2285 w 300782"/>
                  <a:gd name="connsiteY19" fmla="*/ 21497 h 41505"/>
                  <a:gd name="connsiteX20" fmla="*/ 2781 w 300782"/>
                  <a:gd name="connsiteY20" fmla="*/ 4134 h 41505"/>
                  <a:gd name="connsiteX21" fmla="*/ 19151 w 300782"/>
                  <a:gd name="connsiteY21" fmla="*/ 5126 h 41505"/>
                  <a:gd name="connsiteX22" fmla="*/ 35522 w 300782"/>
                  <a:gd name="connsiteY22" fmla="*/ 3142 h 41505"/>
                  <a:gd name="connsiteX23" fmla="*/ 51893 w 300782"/>
                  <a:gd name="connsiteY23" fmla="*/ 3638 h 41505"/>
                  <a:gd name="connsiteX24" fmla="*/ 68263 w 300782"/>
                  <a:gd name="connsiteY24" fmla="*/ 2646 h 41505"/>
                  <a:gd name="connsiteX25" fmla="*/ 84634 w 300782"/>
                  <a:gd name="connsiteY25" fmla="*/ 3638 h 41505"/>
                  <a:gd name="connsiteX26" fmla="*/ 101004 w 300782"/>
                  <a:gd name="connsiteY26" fmla="*/ 3638 h 41505"/>
                  <a:gd name="connsiteX27" fmla="*/ 117375 w 300782"/>
                  <a:gd name="connsiteY27" fmla="*/ 2646 h 41505"/>
                  <a:gd name="connsiteX28" fmla="*/ 133745 w 300782"/>
                  <a:gd name="connsiteY28" fmla="*/ 2150 h 41505"/>
                  <a:gd name="connsiteX29" fmla="*/ 150116 w 300782"/>
                  <a:gd name="connsiteY29" fmla="*/ 3142 h 41505"/>
                  <a:gd name="connsiteX30" fmla="*/ 166486 w 300782"/>
                  <a:gd name="connsiteY30" fmla="*/ 2646 h 41505"/>
                  <a:gd name="connsiteX31" fmla="*/ 182857 w 300782"/>
                  <a:gd name="connsiteY31" fmla="*/ 3142 h 41505"/>
                  <a:gd name="connsiteX32" fmla="*/ 199228 w 300782"/>
                  <a:gd name="connsiteY32" fmla="*/ 3142 h 41505"/>
                  <a:gd name="connsiteX33" fmla="*/ 215598 w 300782"/>
                  <a:gd name="connsiteY33" fmla="*/ 2150 h 41505"/>
                  <a:gd name="connsiteX34" fmla="*/ 231969 w 300782"/>
                  <a:gd name="connsiteY34" fmla="*/ 4134 h 41505"/>
                  <a:gd name="connsiteX35" fmla="*/ 248339 w 300782"/>
                  <a:gd name="connsiteY35" fmla="*/ 2150 h 41505"/>
                  <a:gd name="connsiteX36" fmla="*/ 264710 w 300782"/>
                  <a:gd name="connsiteY36" fmla="*/ 3142 h 41505"/>
                  <a:gd name="connsiteX37" fmla="*/ 281080 w 300782"/>
                  <a:gd name="connsiteY37" fmla="*/ 2646 h 41505"/>
                  <a:gd name="connsiteX38" fmla="*/ 298443 w 300782"/>
                  <a:gd name="connsiteY38" fmla="*/ 2646 h 41505"/>
                  <a:gd name="connsiteX39" fmla="*/ 296955 w 300782"/>
                  <a:gd name="connsiteY39" fmla="*/ 21001 h 41505"/>
                  <a:gd name="connsiteX40" fmla="*/ 297947 w 300782"/>
                  <a:gd name="connsiteY40" fmla="*/ 38363 h 4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782" h="41505">
                    <a:moveTo>
                      <a:pt x="297947" y="38363"/>
                    </a:moveTo>
                    <a:cubicBezTo>
                      <a:pt x="292490" y="44316"/>
                      <a:pt x="290010" y="37867"/>
                      <a:pt x="281577" y="37867"/>
                    </a:cubicBezTo>
                    <a:cubicBezTo>
                      <a:pt x="273639" y="37867"/>
                      <a:pt x="273639" y="37867"/>
                      <a:pt x="265206" y="37867"/>
                    </a:cubicBezTo>
                    <a:cubicBezTo>
                      <a:pt x="257269" y="37867"/>
                      <a:pt x="257269" y="37867"/>
                      <a:pt x="248835" y="37867"/>
                    </a:cubicBezTo>
                    <a:cubicBezTo>
                      <a:pt x="240402" y="37867"/>
                      <a:pt x="240402" y="37867"/>
                      <a:pt x="232465" y="37867"/>
                    </a:cubicBezTo>
                    <a:cubicBezTo>
                      <a:pt x="224528" y="37867"/>
                      <a:pt x="224528" y="38363"/>
                      <a:pt x="216094" y="38363"/>
                    </a:cubicBezTo>
                    <a:cubicBezTo>
                      <a:pt x="207661" y="38363"/>
                      <a:pt x="207661" y="38363"/>
                      <a:pt x="199724" y="38363"/>
                    </a:cubicBezTo>
                    <a:cubicBezTo>
                      <a:pt x="191786" y="38363"/>
                      <a:pt x="191786" y="38363"/>
                      <a:pt x="183353" y="38363"/>
                    </a:cubicBezTo>
                    <a:cubicBezTo>
                      <a:pt x="174920" y="38363"/>
                      <a:pt x="174920" y="37371"/>
                      <a:pt x="166982" y="37371"/>
                    </a:cubicBezTo>
                    <a:cubicBezTo>
                      <a:pt x="158549" y="37371"/>
                      <a:pt x="158549" y="38859"/>
                      <a:pt x="150612" y="38859"/>
                    </a:cubicBezTo>
                    <a:cubicBezTo>
                      <a:pt x="142179" y="38859"/>
                      <a:pt x="142179" y="37371"/>
                      <a:pt x="134241" y="37371"/>
                    </a:cubicBezTo>
                    <a:cubicBezTo>
                      <a:pt x="125808" y="37371"/>
                      <a:pt x="125808" y="37867"/>
                      <a:pt x="117871" y="37867"/>
                    </a:cubicBezTo>
                    <a:cubicBezTo>
                      <a:pt x="109438" y="37867"/>
                      <a:pt x="109438" y="39355"/>
                      <a:pt x="101500" y="39355"/>
                    </a:cubicBezTo>
                    <a:cubicBezTo>
                      <a:pt x="93067" y="39355"/>
                      <a:pt x="93067" y="38859"/>
                      <a:pt x="85130" y="38859"/>
                    </a:cubicBezTo>
                    <a:cubicBezTo>
                      <a:pt x="76697" y="38859"/>
                      <a:pt x="76697" y="39852"/>
                      <a:pt x="68759" y="39852"/>
                    </a:cubicBezTo>
                    <a:cubicBezTo>
                      <a:pt x="60326" y="39852"/>
                      <a:pt x="60326" y="37867"/>
                      <a:pt x="52389" y="37867"/>
                    </a:cubicBezTo>
                    <a:cubicBezTo>
                      <a:pt x="43955" y="37867"/>
                      <a:pt x="43955" y="38363"/>
                      <a:pt x="36018" y="38363"/>
                    </a:cubicBezTo>
                    <a:cubicBezTo>
                      <a:pt x="27585" y="38363"/>
                      <a:pt x="27585" y="38859"/>
                      <a:pt x="19648" y="38859"/>
                    </a:cubicBezTo>
                    <a:cubicBezTo>
                      <a:pt x="11710" y="38859"/>
                      <a:pt x="8734" y="44812"/>
                      <a:pt x="3277" y="38859"/>
                    </a:cubicBezTo>
                    <a:cubicBezTo>
                      <a:pt x="-2676" y="32410"/>
                      <a:pt x="2285" y="29930"/>
                      <a:pt x="2285" y="21497"/>
                    </a:cubicBezTo>
                    <a:cubicBezTo>
                      <a:pt x="2285" y="13063"/>
                      <a:pt x="-3172" y="10087"/>
                      <a:pt x="2781" y="4134"/>
                    </a:cubicBezTo>
                    <a:cubicBezTo>
                      <a:pt x="8238" y="-1819"/>
                      <a:pt x="11214" y="5126"/>
                      <a:pt x="19151" y="5126"/>
                    </a:cubicBezTo>
                    <a:cubicBezTo>
                      <a:pt x="27089" y="5126"/>
                      <a:pt x="27089" y="3142"/>
                      <a:pt x="35522" y="3142"/>
                    </a:cubicBezTo>
                    <a:cubicBezTo>
                      <a:pt x="43459" y="3142"/>
                      <a:pt x="43459" y="3638"/>
                      <a:pt x="51893" y="3638"/>
                    </a:cubicBezTo>
                    <a:cubicBezTo>
                      <a:pt x="60326" y="3638"/>
                      <a:pt x="60326" y="2646"/>
                      <a:pt x="68263" y="2646"/>
                    </a:cubicBezTo>
                    <a:cubicBezTo>
                      <a:pt x="76200" y="2646"/>
                      <a:pt x="76200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8942" y="3638"/>
                      <a:pt x="108942" y="2646"/>
                      <a:pt x="117375" y="2646"/>
                    </a:cubicBezTo>
                    <a:cubicBezTo>
                      <a:pt x="125808" y="2646"/>
                      <a:pt x="125808" y="2150"/>
                      <a:pt x="133745" y="2150"/>
                    </a:cubicBezTo>
                    <a:cubicBezTo>
                      <a:pt x="142179" y="2150"/>
                      <a:pt x="142179" y="3142"/>
                      <a:pt x="150116" y="3142"/>
                    </a:cubicBezTo>
                    <a:cubicBezTo>
                      <a:pt x="158549" y="3142"/>
                      <a:pt x="158549" y="2646"/>
                      <a:pt x="166486" y="2646"/>
                    </a:cubicBezTo>
                    <a:cubicBezTo>
                      <a:pt x="174920" y="2646"/>
                      <a:pt x="174920" y="3142"/>
                      <a:pt x="182857" y="3142"/>
                    </a:cubicBezTo>
                    <a:cubicBezTo>
                      <a:pt x="190794" y="3142"/>
                      <a:pt x="191290" y="3142"/>
                      <a:pt x="199228" y="3142"/>
                    </a:cubicBezTo>
                    <a:cubicBezTo>
                      <a:pt x="207661" y="3142"/>
                      <a:pt x="207661" y="2150"/>
                      <a:pt x="215598" y="2150"/>
                    </a:cubicBezTo>
                    <a:cubicBezTo>
                      <a:pt x="224031" y="2150"/>
                      <a:pt x="224031" y="4134"/>
                      <a:pt x="231969" y="4134"/>
                    </a:cubicBezTo>
                    <a:cubicBezTo>
                      <a:pt x="240402" y="4134"/>
                      <a:pt x="240402" y="2150"/>
                      <a:pt x="248339" y="2150"/>
                    </a:cubicBezTo>
                    <a:cubicBezTo>
                      <a:pt x="256773" y="2150"/>
                      <a:pt x="256773" y="3142"/>
                      <a:pt x="264710" y="3142"/>
                    </a:cubicBezTo>
                    <a:cubicBezTo>
                      <a:pt x="273143" y="3142"/>
                      <a:pt x="273143" y="2646"/>
                      <a:pt x="281080" y="2646"/>
                    </a:cubicBezTo>
                    <a:cubicBezTo>
                      <a:pt x="289018" y="2646"/>
                      <a:pt x="292490" y="-3307"/>
                      <a:pt x="298443" y="2646"/>
                    </a:cubicBezTo>
                    <a:cubicBezTo>
                      <a:pt x="304396" y="9095"/>
                      <a:pt x="294971" y="12567"/>
                      <a:pt x="296955" y="21001"/>
                    </a:cubicBezTo>
                    <a:cubicBezTo>
                      <a:pt x="298939" y="29930"/>
                      <a:pt x="303900" y="31914"/>
                      <a:pt x="297947" y="3836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9" name="Freeform: Shape 1728">
                <a:extLst>
                  <a:ext uri="{FF2B5EF4-FFF2-40B4-BE49-F238E27FC236}">
                    <a16:creationId xmlns:a16="http://schemas.microsoft.com/office/drawing/2014/main" id="{EAD66CB5-0A9A-2BB4-EA49-F0619DFD7C89}"/>
                  </a:ext>
                </a:extLst>
              </p:cNvPr>
              <p:cNvSpPr/>
              <p:nvPr/>
            </p:nvSpPr>
            <p:spPr>
              <a:xfrm>
                <a:off x="4552296" y="3122149"/>
                <a:ext cx="299876" cy="305253"/>
              </a:xfrm>
              <a:custGeom>
                <a:avLst/>
                <a:gdLst>
                  <a:gd name="connsiteX0" fmla="*/ 3057 w 299876"/>
                  <a:gd name="connsiteY0" fmla="*/ 304757 h 305253"/>
                  <a:gd name="connsiteX1" fmla="*/ 4049 w 299876"/>
                  <a:gd name="connsiteY1" fmla="*/ 288883 h 305253"/>
                  <a:gd name="connsiteX2" fmla="*/ 2561 w 299876"/>
                  <a:gd name="connsiteY2" fmla="*/ 273008 h 305253"/>
                  <a:gd name="connsiteX3" fmla="*/ 3553 w 299876"/>
                  <a:gd name="connsiteY3" fmla="*/ 257134 h 305253"/>
                  <a:gd name="connsiteX4" fmla="*/ 2561 w 299876"/>
                  <a:gd name="connsiteY4" fmla="*/ 241259 h 305253"/>
                  <a:gd name="connsiteX5" fmla="*/ 2561 w 299876"/>
                  <a:gd name="connsiteY5" fmla="*/ 225385 h 305253"/>
                  <a:gd name="connsiteX6" fmla="*/ 1569 w 299876"/>
                  <a:gd name="connsiteY6" fmla="*/ 209510 h 305253"/>
                  <a:gd name="connsiteX7" fmla="*/ 2065 w 299876"/>
                  <a:gd name="connsiteY7" fmla="*/ 193636 h 305253"/>
                  <a:gd name="connsiteX8" fmla="*/ 1569 w 299876"/>
                  <a:gd name="connsiteY8" fmla="*/ 177761 h 305253"/>
                  <a:gd name="connsiteX9" fmla="*/ 4049 w 299876"/>
                  <a:gd name="connsiteY9" fmla="*/ 161887 h 305253"/>
                  <a:gd name="connsiteX10" fmla="*/ 1569 w 299876"/>
                  <a:gd name="connsiteY10" fmla="*/ 146012 h 305253"/>
                  <a:gd name="connsiteX11" fmla="*/ 3057 w 299876"/>
                  <a:gd name="connsiteY11" fmla="*/ 130138 h 305253"/>
                  <a:gd name="connsiteX12" fmla="*/ 2561 w 299876"/>
                  <a:gd name="connsiteY12" fmla="*/ 114263 h 305253"/>
                  <a:gd name="connsiteX13" fmla="*/ 2065 w 299876"/>
                  <a:gd name="connsiteY13" fmla="*/ 98389 h 305253"/>
                  <a:gd name="connsiteX14" fmla="*/ 1569 w 299876"/>
                  <a:gd name="connsiteY14" fmla="*/ 82514 h 305253"/>
                  <a:gd name="connsiteX15" fmla="*/ 2561 w 299876"/>
                  <a:gd name="connsiteY15" fmla="*/ 66640 h 305253"/>
                  <a:gd name="connsiteX16" fmla="*/ 2561 w 299876"/>
                  <a:gd name="connsiteY16" fmla="*/ 50765 h 305253"/>
                  <a:gd name="connsiteX17" fmla="*/ 2065 w 299876"/>
                  <a:gd name="connsiteY17" fmla="*/ 34891 h 305253"/>
                  <a:gd name="connsiteX18" fmla="*/ 2065 w 299876"/>
                  <a:gd name="connsiteY18" fmla="*/ 19016 h 305253"/>
                  <a:gd name="connsiteX19" fmla="*/ 2561 w 299876"/>
                  <a:gd name="connsiteY19" fmla="*/ 2646 h 305253"/>
                  <a:gd name="connsiteX20" fmla="*/ 18931 w 299876"/>
                  <a:gd name="connsiteY20" fmla="*/ 2646 h 305253"/>
                  <a:gd name="connsiteX21" fmla="*/ 35302 w 299876"/>
                  <a:gd name="connsiteY21" fmla="*/ 3638 h 305253"/>
                  <a:gd name="connsiteX22" fmla="*/ 51673 w 299876"/>
                  <a:gd name="connsiteY22" fmla="*/ 3638 h 305253"/>
                  <a:gd name="connsiteX23" fmla="*/ 68043 w 299876"/>
                  <a:gd name="connsiteY23" fmla="*/ 3638 h 305253"/>
                  <a:gd name="connsiteX24" fmla="*/ 84414 w 299876"/>
                  <a:gd name="connsiteY24" fmla="*/ 3142 h 305253"/>
                  <a:gd name="connsiteX25" fmla="*/ 100784 w 299876"/>
                  <a:gd name="connsiteY25" fmla="*/ 3142 h 305253"/>
                  <a:gd name="connsiteX26" fmla="*/ 117155 w 299876"/>
                  <a:gd name="connsiteY26" fmla="*/ 3142 h 305253"/>
                  <a:gd name="connsiteX27" fmla="*/ 133526 w 299876"/>
                  <a:gd name="connsiteY27" fmla="*/ 2150 h 305253"/>
                  <a:gd name="connsiteX28" fmla="*/ 149896 w 299876"/>
                  <a:gd name="connsiteY28" fmla="*/ 2646 h 305253"/>
                  <a:gd name="connsiteX29" fmla="*/ 166267 w 299876"/>
                  <a:gd name="connsiteY29" fmla="*/ 4134 h 305253"/>
                  <a:gd name="connsiteX30" fmla="*/ 182637 w 299876"/>
                  <a:gd name="connsiteY30" fmla="*/ 3142 h 305253"/>
                  <a:gd name="connsiteX31" fmla="*/ 199008 w 299876"/>
                  <a:gd name="connsiteY31" fmla="*/ 4134 h 305253"/>
                  <a:gd name="connsiteX32" fmla="*/ 215378 w 299876"/>
                  <a:gd name="connsiteY32" fmla="*/ 4630 h 305253"/>
                  <a:gd name="connsiteX33" fmla="*/ 231749 w 299876"/>
                  <a:gd name="connsiteY33" fmla="*/ 4630 h 305253"/>
                  <a:gd name="connsiteX34" fmla="*/ 248119 w 299876"/>
                  <a:gd name="connsiteY34" fmla="*/ 2646 h 305253"/>
                  <a:gd name="connsiteX35" fmla="*/ 264490 w 299876"/>
                  <a:gd name="connsiteY35" fmla="*/ 3142 h 305253"/>
                  <a:gd name="connsiteX36" fmla="*/ 280860 w 299876"/>
                  <a:gd name="connsiteY36" fmla="*/ 2646 h 305253"/>
                  <a:gd name="connsiteX37" fmla="*/ 297231 w 299876"/>
                  <a:gd name="connsiteY37" fmla="*/ 3638 h 305253"/>
                  <a:gd name="connsiteX38" fmla="*/ 297231 w 299876"/>
                  <a:gd name="connsiteY38" fmla="*/ 19512 h 305253"/>
                  <a:gd name="connsiteX39" fmla="*/ 298223 w 299876"/>
                  <a:gd name="connsiteY39" fmla="*/ 35387 h 305253"/>
                  <a:gd name="connsiteX40" fmla="*/ 296239 w 299876"/>
                  <a:gd name="connsiteY40" fmla="*/ 51261 h 305253"/>
                  <a:gd name="connsiteX41" fmla="*/ 297727 w 299876"/>
                  <a:gd name="connsiteY41" fmla="*/ 67136 h 305253"/>
                  <a:gd name="connsiteX42" fmla="*/ 296735 w 299876"/>
                  <a:gd name="connsiteY42" fmla="*/ 83010 h 305253"/>
                  <a:gd name="connsiteX43" fmla="*/ 297727 w 299876"/>
                  <a:gd name="connsiteY43" fmla="*/ 98885 h 305253"/>
                  <a:gd name="connsiteX44" fmla="*/ 296239 w 299876"/>
                  <a:gd name="connsiteY44" fmla="*/ 114759 h 305253"/>
                  <a:gd name="connsiteX45" fmla="*/ 297231 w 299876"/>
                  <a:gd name="connsiteY45" fmla="*/ 130634 h 305253"/>
                  <a:gd name="connsiteX46" fmla="*/ 297231 w 299876"/>
                  <a:gd name="connsiteY46" fmla="*/ 146508 h 305253"/>
                  <a:gd name="connsiteX47" fmla="*/ 297231 w 299876"/>
                  <a:gd name="connsiteY47" fmla="*/ 162383 h 305253"/>
                  <a:gd name="connsiteX48" fmla="*/ 297231 w 299876"/>
                  <a:gd name="connsiteY48" fmla="*/ 178257 h 305253"/>
                  <a:gd name="connsiteX49" fmla="*/ 296735 w 299876"/>
                  <a:gd name="connsiteY49" fmla="*/ 194132 h 305253"/>
                  <a:gd name="connsiteX50" fmla="*/ 298223 w 299876"/>
                  <a:gd name="connsiteY50" fmla="*/ 210006 h 305253"/>
                  <a:gd name="connsiteX51" fmla="*/ 297231 w 299876"/>
                  <a:gd name="connsiteY51" fmla="*/ 225881 h 305253"/>
                  <a:gd name="connsiteX52" fmla="*/ 297727 w 299876"/>
                  <a:gd name="connsiteY52" fmla="*/ 241755 h 305253"/>
                  <a:gd name="connsiteX53" fmla="*/ 296735 w 299876"/>
                  <a:gd name="connsiteY53" fmla="*/ 257630 h 305253"/>
                  <a:gd name="connsiteX54" fmla="*/ 297231 w 299876"/>
                  <a:gd name="connsiteY54" fmla="*/ 273504 h 305253"/>
                  <a:gd name="connsiteX55" fmla="*/ 297727 w 299876"/>
                  <a:gd name="connsiteY55" fmla="*/ 289379 h 305253"/>
                  <a:gd name="connsiteX56" fmla="*/ 296735 w 299876"/>
                  <a:gd name="connsiteY56" fmla="*/ 305253 h 30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876" h="305253">
                    <a:moveTo>
                      <a:pt x="3057" y="304757"/>
                    </a:moveTo>
                    <a:cubicBezTo>
                      <a:pt x="3057" y="296820"/>
                      <a:pt x="4049" y="296820"/>
                      <a:pt x="4049" y="288883"/>
                    </a:cubicBezTo>
                    <a:cubicBezTo>
                      <a:pt x="4049" y="280945"/>
                      <a:pt x="2561" y="280945"/>
                      <a:pt x="2561" y="273008"/>
                    </a:cubicBezTo>
                    <a:cubicBezTo>
                      <a:pt x="2561" y="265071"/>
                      <a:pt x="3553" y="265071"/>
                      <a:pt x="3553" y="257134"/>
                    </a:cubicBezTo>
                    <a:cubicBezTo>
                      <a:pt x="3553" y="249196"/>
                      <a:pt x="2561" y="249196"/>
                      <a:pt x="2561" y="241259"/>
                    </a:cubicBezTo>
                    <a:cubicBezTo>
                      <a:pt x="2561" y="233322"/>
                      <a:pt x="2561" y="233322"/>
                      <a:pt x="2561" y="225385"/>
                    </a:cubicBezTo>
                    <a:cubicBezTo>
                      <a:pt x="2561" y="217447"/>
                      <a:pt x="1569" y="217447"/>
                      <a:pt x="1569" y="209510"/>
                    </a:cubicBezTo>
                    <a:cubicBezTo>
                      <a:pt x="1569" y="201573"/>
                      <a:pt x="2065" y="201573"/>
                      <a:pt x="2065" y="193636"/>
                    </a:cubicBezTo>
                    <a:cubicBezTo>
                      <a:pt x="2065" y="185698"/>
                      <a:pt x="1569" y="185698"/>
                      <a:pt x="1569" y="177761"/>
                    </a:cubicBezTo>
                    <a:cubicBezTo>
                      <a:pt x="1569" y="169824"/>
                      <a:pt x="4049" y="169824"/>
                      <a:pt x="4049" y="161887"/>
                    </a:cubicBezTo>
                    <a:cubicBezTo>
                      <a:pt x="4049" y="153950"/>
                      <a:pt x="1569" y="153950"/>
                      <a:pt x="1569" y="146012"/>
                    </a:cubicBezTo>
                    <a:cubicBezTo>
                      <a:pt x="1569" y="138075"/>
                      <a:pt x="3057" y="138075"/>
                      <a:pt x="3057" y="130138"/>
                    </a:cubicBezTo>
                    <a:cubicBezTo>
                      <a:pt x="3057" y="122200"/>
                      <a:pt x="2561" y="122200"/>
                      <a:pt x="2561" y="114263"/>
                    </a:cubicBezTo>
                    <a:cubicBezTo>
                      <a:pt x="2561" y="106326"/>
                      <a:pt x="2065" y="106326"/>
                      <a:pt x="2065" y="98389"/>
                    </a:cubicBezTo>
                    <a:cubicBezTo>
                      <a:pt x="2065" y="90451"/>
                      <a:pt x="1569" y="90451"/>
                      <a:pt x="1569" y="82514"/>
                    </a:cubicBezTo>
                    <a:cubicBezTo>
                      <a:pt x="1569" y="74577"/>
                      <a:pt x="2561" y="74577"/>
                      <a:pt x="2561" y="66640"/>
                    </a:cubicBezTo>
                    <a:cubicBezTo>
                      <a:pt x="2561" y="58703"/>
                      <a:pt x="2561" y="58703"/>
                      <a:pt x="2561" y="50765"/>
                    </a:cubicBezTo>
                    <a:cubicBezTo>
                      <a:pt x="2561" y="42828"/>
                      <a:pt x="2065" y="42828"/>
                      <a:pt x="2065" y="34891"/>
                    </a:cubicBezTo>
                    <a:cubicBezTo>
                      <a:pt x="2065" y="26953"/>
                      <a:pt x="2065" y="26953"/>
                      <a:pt x="2065" y="19016"/>
                    </a:cubicBezTo>
                    <a:cubicBezTo>
                      <a:pt x="2065" y="11079"/>
                      <a:pt x="-2896" y="8598"/>
                      <a:pt x="2561" y="2646"/>
                    </a:cubicBezTo>
                    <a:cubicBezTo>
                      <a:pt x="8514" y="-3307"/>
                      <a:pt x="10994" y="2646"/>
                      <a:pt x="18931" y="2646"/>
                    </a:cubicBezTo>
                    <a:cubicBezTo>
                      <a:pt x="26869" y="2646"/>
                      <a:pt x="26869" y="3638"/>
                      <a:pt x="35302" y="3638"/>
                    </a:cubicBezTo>
                    <a:cubicBezTo>
                      <a:pt x="43239" y="3638"/>
                      <a:pt x="43239" y="3638"/>
                      <a:pt x="51673" y="3638"/>
                    </a:cubicBezTo>
                    <a:cubicBezTo>
                      <a:pt x="60106" y="3638"/>
                      <a:pt x="60106" y="3638"/>
                      <a:pt x="68043" y="3638"/>
                    </a:cubicBezTo>
                    <a:cubicBezTo>
                      <a:pt x="75980" y="3638"/>
                      <a:pt x="75980" y="3142"/>
                      <a:pt x="84414" y="3142"/>
                    </a:cubicBezTo>
                    <a:cubicBezTo>
                      <a:pt x="92847" y="3142"/>
                      <a:pt x="92847" y="3142"/>
                      <a:pt x="100784" y="3142"/>
                    </a:cubicBezTo>
                    <a:cubicBezTo>
                      <a:pt x="108722" y="3142"/>
                      <a:pt x="108722" y="3142"/>
                      <a:pt x="117155" y="3142"/>
                    </a:cubicBezTo>
                    <a:cubicBezTo>
                      <a:pt x="125588" y="3142"/>
                      <a:pt x="125588" y="2150"/>
                      <a:pt x="133526" y="2150"/>
                    </a:cubicBezTo>
                    <a:cubicBezTo>
                      <a:pt x="141959" y="2150"/>
                      <a:pt x="141959" y="2646"/>
                      <a:pt x="149896" y="2646"/>
                    </a:cubicBezTo>
                    <a:cubicBezTo>
                      <a:pt x="158329" y="2646"/>
                      <a:pt x="158329" y="4134"/>
                      <a:pt x="166267" y="4134"/>
                    </a:cubicBezTo>
                    <a:cubicBezTo>
                      <a:pt x="174700" y="4134"/>
                      <a:pt x="174700" y="3142"/>
                      <a:pt x="182637" y="3142"/>
                    </a:cubicBezTo>
                    <a:cubicBezTo>
                      <a:pt x="190574" y="3142"/>
                      <a:pt x="191070" y="4134"/>
                      <a:pt x="199008" y="4134"/>
                    </a:cubicBezTo>
                    <a:cubicBezTo>
                      <a:pt x="207441" y="4134"/>
                      <a:pt x="207441" y="4630"/>
                      <a:pt x="215378" y="4630"/>
                    </a:cubicBezTo>
                    <a:cubicBezTo>
                      <a:pt x="223811" y="4630"/>
                      <a:pt x="223811" y="4630"/>
                      <a:pt x="231749" y="4630"/>
                    </a:cubicBezTo>
                    <a:cubicBezTo>
                      <a:pt x="240182" y="4630"/>
                      <a:pt x="240182" y="2646"/>
                      <a:pt x="248119" y="2646"/>
                    </a:cubicBezTo>
                    <a:cubicBezTo>
                      <a:pt x="256553" y="2646"/>
                      <a:pt x="256553" y="3142"/>
                      <a:pt x="264490" y="3142"/>
                    </a:cubicBezTo>
                    <a:cubicBezTo>
                      <a:pt x="272923" y="3142"/>
                      <a:pt x="272923" y="2646"/>
                      <a:pt x="280860" y="2646"/>
                    </a:cubicBezTo>
                    <a:cubicBezTo>
                      <a:pt x="288798" y="2646"/>
                      <a:pt x="291278" y="-2315"/>
                      <a:pt x="297231" y="3638"/>
                    </a:cubicBezTo>
                    <a:cubicBezTo>
                      <a:pt x="303184" y="9095"/>
                      <a:pt x="297231" y="11575"/>
                      <a:pt x="297231" y="19512"/>
                    </a:cubicBezTo>
                    <a:cubicBezTo>
                      <a:pt x="297231" y="27450"/>
                      <a:pt x="298223" y="27450"/>
                      <a:pt x="298223" y="35387"/>
                    </a:cubicBezTo>
                    <a:cubicBezTo>
                      <a:pt x="298223" y="43324"/>
                      <a:pt x="296239" y="43324"/>
                      <a:pt x="296239" y="51261"/>
                    </a:cubicBezTo>
                    <a:cubicBezTo>
                      <a:pt x="296239" y="59198"/>
                      <a:pt x="297727" y="59198"/>
                      <a:pt x="297727" y="67136"/>
                    </a:cubicBezTo>
                    <a:cubicBezTo>
                      <a:pt x="297727" y="75073"/>
                      <a:pt x="296735" y="75073"/>
                      <a:pt x="296735" y="83010"/>
                    </a:cubicBezTo>
                    <a:cubicBezTo>
                      <a:pt x="296735" y="90948"/>
                      <a:pt x="297727" y="90948"/>
                      <a:pt x="297727" y="98885"/>
                    </a:cubicBezTo>
                    <a:cubicBezTo>
                      <a:pt x="297727" y="106822"/>
                      <a:pt x="296239" y="106822"/>
                      <a:pt x="296239" y="114759"/>
                    </a:cubicBezTo>
                    <a:cubicBezTo>
                      <a:pt x="296239" y="122696"/>
                      <a:pt x="297231" y="122696"/>
                      <a:pt x="297231" y="130634"/>
                    </a:cubicBezTo>
                    <a:cubicBezTo>
                      <a:pt x="297231" y="138571"/>
                      <a:pt x="297231" y="138571"/>
                      <a:pt x="297231" y="146508"/>
                    </a:cubicBezTo>
                    <a:cubicBezTo>
                      <a:pt x="297231" y="154446"/>
                      <a:pt x="297231" y="154446"/>
                      <a:pt x="297231" y="162383"/>
                    </a:cubicBezTo>
                    <a:cubicBezTo>
                      <a:pt x="297231" y="170320"/>
                      <a:pt x="297231" y="170320"/>
                      <a:pt x="297231" y="178257"/>
                    </a:cubicBezTo>
                    <a:cubicBezTo>
                      <a:pt x="297231" y="186195"/>
                      <a:pt x="296735" y="186195"/>
                      <a:pt x="296735" y="194132"/>
                    </a:cubicBezTo>
                    <a:cubicBezTo>
                      <a:pt x="296735" y="202069"/>
                      <a:pt x="298223" y="202069"/>
                      <a:pt x="298223" y="210006"/>
                    </a:cubicBezTo>
                    <a:cubicBezTo>
                      <a:pt x="298223" y="217943"/>
                      <a:pt x="297231" y="217943"/>
                      <a:pt x="297231" y="225881"/>
                    </a:cubicBezTo>
                    <a:cubicBezTo>
                      <a:pt x="297231" y="233818"/>
                      <a:pt x="297727" y="233818"/>
                      <a:pt x="297727" y="241755"/>
                    </a:cubicBezTo>
                    <a:cubicBezTo>
                      <a:pt x="297727" y="249693"/>
                      <a:pt x="296735" y="249693"/>
                      <a:pt x="296735" y="257630"/>
                    </a:cubicBezTo>
                    <a:cubicBezTo>
                      <a:pt x="296735" y="265567"/>
                      <a:pt x="297231" y="265567"/>
                      <a:pt x="297231" y="273504"/>
                    </a:cubicBezTo>
                    <a:cubicBezTo>
                      <a:pt x="297231" y="281441"/>
                      <a:pt x="297727" y="281441"/>
                      <a:pt x="297727" y="289379"/>
                    </a:cubicBezTo>
                    <a:cubicBezTo>
                      <a:pt x="297727" y="297316"/>
                      <a:pt x="296735" y="297316"/>
                      <a:pt x="296735" y="30525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0" name="Freeform: Shape 1729">
                <a:extLst>
                  <a:ext uri="{FF2B5EF4-FFF2-40B4-BE49-F238E27FC236}">
                    <a16:creationId xmlns:a16="http://schemas.microsoft.com/office/drawing/2014/main" id="{38F40F68-78F2-DD14-A242-17C2CAEA6EBC}"/>
                  </a:ext>
                </a:extLst>
              </p:cNvPr>
              <p:cNvSpPr/>
              <p:nvPr/>
            </p:nvSpPr>
            <p:spPr>
              <a:xfrm>
                <a:off x="4522695" y="3425319"/>
                <a:ext cx="362894" cy="63734"/>
              </a:xfrm>
              <a:custGeom>
                <a:avLst/>
                <a:gdLst>
                  <a:gd name="connsiteX0" fmla="*/ 2893 w 362894"/>
                  <a:gd name="connsiteY0" fmla="*/ 2083 h 63734"/>
                  <a:gd name="connsiteX1" fmla="*/ 18768 w 362894"/>
                  <a:gd name="connsiteY1" fmla="*/ 2579 h 63734"/>
                  <a:gd name="connsiteX2" fmla="*/ 35138 w 362894"/>
                  <a:gd name="connsiteY2" fmla="*/ 1091 h 63734"/>
                  <a:gd name="connsiteX3" fmla="*/ 51509 w 362894"/>
                  <a:gd name="connsiteY3" fmla="*/ 1587 h 63734"/>
                  <a:gd name="connsiteX4" fmla="*/ 67880 w 362894"/>
                  <a:gd name="connsiteY4" fmla="*/ 595 h 63734"/>
                  <a:gd name="connsiteX5" fmla="*/ 84250 w 362894"/>
                  <a:gd name="connsiteY5" fmla="*/ 595 h 63734"/>
                  <a:gd name="connsiteX6" fmla="*/ 100125 w 362894"/>
                  <a:gd name="connsiteY6" fmla="*/ 595 h 63734"/>
                  <a:gd name="connsiteX7" fmla="*/ 115999 w 362894"/>
                  <a:gd name="connsiteY7" fmla="*/ 2083 h 63734"/>
                  <a:gd name="connsiteX8" fmla="*/ 132370 w 362894"/>
                  <a:gd name="connsiteY8" fmla="*/ 2579 h 63734"/>
                  <a:gd name="connsiteX9" fmla="*/ 148244 w 362894"/>
                  <a:gd name="connsiteY9" fmla="*/ 1587 h 63734"/>
                  <a:gd name="connsiteX10" fmla="*/ 164615 w 362894"/>
                  <a:gd name="connsiteY10" fmla="*/ 1091 h 63734"/>
                  <a:gd name="connsiteX11" fmla="*/ 180985 w 362894"/>
                  <a:gd name="connsiteY11" fmla="*/ 595 h 63734"/>
                  <a:gd name="connsiteX12" fmla="*/ 197356 w 362894"/>
                  <a:gd name="connsiteY12" fmla="*/ 1091 h 63734"/>
                  <a:gd name="connsiteX13" fmla="*/ 213726 w 362894"/>
                  <a:gd name="connsiteY13" fmla="*/ 2579 h 63734"/>
                  <a:gd name="connsiteX14" fmla="*/ 230097 w 362894"/>
                  <a:gd name="connsiteY14" fmla="*/ 2579 h 63734"/>
                  <a:gd name="connsiteX15" fmla="*/ 246468 w 362894"/>
                  <a:gd name="connsiteY15" fmla="*/ 2579 h 63734"/>
                  <a:gd name="connsiteX16" fmla="*/ 262838 w 362894"/>
                  <a:gd name="connsiteY16" fmla="*/ 595 h 63734"/>
                  <a:gd name="connsiteX17" fmla="*/ 279209 w 362894"/>
                  <a:gd name="connsiteY17" fmla="*/ 2579 h 63734"/>
                  <a:gd name="connsiteX18" fmla="*/ 295579 w 362894"/>
                  <a:gd name="connsiteY18" fmla="*/ 595 h 63734"/>
                  <a:gd name="connsiteX19" fmla="*/ 311950 w 362894"/>
                  <a:gd name="connsiteY19" fmla="*/ 1091 h 63734"/>
                  <a:gd name="connsiteX20" fmla="*/ 328321 w 362894"/>
                  <a:gd name="connsiteY20" fmla="*/ 595 h 63734"/>
                  <a:gd name="connsiteX21" fmla="*/ 344691 w 362894"/>
                  <a:gd name="connsiteY21" fmla="*/ 2579 h 63734"/>
                  <a:gd name="connsiteX22" fmla="*/ 360566 w 362894"/>
                  <a:gd name="connsiteY22" fmla="*/ 2083 h 63734"/>
                  <a:gd name="connsiteX23" fmla="*/ 360069 w 362894"/>
                  <a:gd name="connsiteY23" fmla="*/ 12997 h 63734"/>
                  <a:gd name="connsiteX24" fmla="*/ 352132 w 362894"/>
                  <a:gd name="connsiteY24" fmla="*/ 28871 h 63734"/>
                  <a:gd name="connsiteX25" fmla="*/ 343699 w 362894"/>
                  <a:gd name="connsiteY25" fmla="*/ 44746 h 63734"/>
                  <a:gd name="connsiteX26" fmla="*/ 336258 w 362894"/>
                  <a:gd name="connsiteY26" fmla="*/ 61613 h 63734"/>
                  <a:gd name="connsiteX27" fmla="*/ 319887 w 362894"/>
                  <a:gd name="connsiteY27" fmla="*/ 62108 h 63734"/>
                  <a:gd name="connsiteX28" fmla="*/ 304013 w 362894"/>
                  <a:gd name="connsiteY28" fmla="*/ 61116 h 63734"/>
                  <a:gd name="connsiteX29" fmla="*/ 288138 w 362894"/>
                  <a:gd name="connsiteY29" fmla="*/ 60620 h 63734"/>
                  <a:gd name="connsiteX30" fmla="*/ 272264 w 362894"/>
                  <a:gd name="connsiteY30" fmla="*/ 61613 h 63734"/>
                  <a:gd name="connsiteX31" fmla="*/ 256389 w 362894"/>
                  <a:gd name="connsiteY31" fmla="*/ 60620 h 63734"/>
                  <a:gd name="connsiteX32" fmla="*/ 240515 w 362894"/>
                  <a:gd name="connsiteY32" fmla="*/ 61613 h 63734"/>
                  <a:gd name="connsiteX33" fmla="*/ 224640 w 362894"/>
                  <a:gd name="connsiteY33" fmla="*/ 62108 h 63734"/>
                  <a:gd name="connsiteX34" fmla="*/ 208766 w 362894"/>
                  <a:gd name="connsiteY34" fmla="*/ 62108 h 63734"/>
                  <a:gd name="connsiteX35" fmla="*/ 192891 w 362894"/>
                  <a:gd name="connsiteY35" fmla="*/ 61116 h 63734"/>
                  <a:gd name="connsiteX36" fmla="*/ 177017 w 362894"/>
                  <a:gd name="connsiteY36" fmla="*/ 61613 h 63734"/>
                  <a:gd name="connsiteX37" fmla="*/ 161142 w 362894"/>
                  <a:gd name="connsiteY37" fmla="*/ 61613 h 63734"/>
                  <a:gd name="connsiteX38" fmla="*/ 145268 w 362894"/>
                  <a:gd name="connsiteY38" fmla="*/ 60620 h 63734"/>
                  <a:gd name="connsiteX39" fmla="*/ 129393 w 362894"/>
                  <a:gd name="connsiteY39" fmla="*/ 61613 h 63734"/>
                  <a:gd name="connsiteX40" fmla="*/ 113519 w 362894"/>
                  <a:gd name="connsiteY40" fmla="*/ 59628 h 63734"/>
                  <a:gd name="connsiteX41" fmla="*/ 97644 w 362894"/>
                  <a:gd name="connsiteY41" fmla="*/ 61116 h 63734"/>
                  <a:gd name="connsiteX42" fmla="*/ 81770 w 362894"/>
                  <a:gd name="connsiteY42" fmla="*/ 60124 h 63734"/>
                  <a:gd name="connsiteX43" fmla="*/ 65895 w 362894"/>
                  <a:gd name="connsiteY43" fmla="*/ 59628 h 63734"/>
                  <a:gd name="connsiteX44" fmla="*/ 50021 w 362894"/>
                  <a:gd name="connsiteY44" fmla="*/ 59628 h 63734"/>
                  <a:gd name="connsiteX45" fmla="*/ 33650 w 362894"/>
                  <a:gd name="connsiteY45" fmla="*/ 61116 h 63734"/>
                  <a:gd name="connsiteX46" fmla="*/ 24225 w 362894"/>
                  <a:gd name="connsiteY46" fmla="*/ 44746 h 63734"/>
                  <a:gd name="connsiteX47" fmla="*/ 13807 w 362894"/>
                  <a:gd name="connsiteY47" fmla="*/ 28871 h 63734"/>
                  <a:gd name="connsiteX48" fmla="*/ 3886 w 362894"/>
                  <a:gd name="connsiteY48" fmla="*/ 12501 h 63734"/>
                  <a:gd name="connsiteX49" fmla="*/ 2893 w 362894"/>
                  <a:gd name="connsiteY49" fmla="*/ 2083 h 6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894" h="63734">
                    <a:moveTo>
                      <a:pt x="2893" y="2083"/>
                    </a:moveTo>
                    <a:cubicBezTo>
                      <a:pt x="9343" y="-2382"/>
                      <a:pt x="10831" y="2579"/>
                      <a:pt x="18768" y="2579"/>
                    </a:cubicBezTo>
                    <a:cubicBezTo>
                      <a:pt x="26705" y="2579"/>
                      <a:pt x="26705" y="1091"/>
                      <a:pt x="35138" y="1091"/>
                    </a:cubicBezTo>
                    <a:cubicBezTo>
                      <a:pt x="43076" y="1091"/>
                      <a:pt x="43076" y="1587"/>
                      <a:pt x="51509" y="1587"/>
                    </a:cubicBezTo>
                    <a:cubicBezTo>
                      <a:pt x="59446" y="1587"/>
                      <a:pt x="59446" y="595"/>
                      <a:pt x="67880" y="595"/>
                    </a:cubicBezTo>
                    <a:cubicBezTo>
                      <a:pt x="75817" y="595"/>
                      <a:pt x="75817" y="595"/>
                      <a:pt x="84250" y="595"/>
                    </a:cubicBezTo>
                    <a:cubicBezTo>
                      <a:pt x="92187" y="595"/>
                      <a:pt x="92187" y="595"/>
                      <a:pt x="100125" y="595"/>
                    </a:cubicBezTo>
                    <a:cubicBezTo>
                      <a:pt x="108062" y="595"/>
                      <a:pt x="108062" y="2083"/>
                      <a:pt x="115999" y="2083"/>
                    </a:cubicBezTo>
                    <a:cubicBezTo>
                      <a:pt x="123936" y="2083"/>
                      <a:pt x="123936" y="2579"/>
                      <a:pt x="132370" y="2579"/>
                    </a:cubicBezTo>
                    <a:cubicBezTo>
                      <a:pt x="140307" y="2579"/>
                      <a:pt x="140307" y="1587"/>
                      <a:pt x="148244" y="1587"/>
                    </a:cubicBezTo>
                    <a:cubicBezTo>
                      <a:pt x="156182" y="1587"/>
                      <a:pt x="156182" y="1091"/>
                      <a:pt x="164615" y="1091"/>
                    </a:cubicBezTo>
                    <a:cubicBezTo>
                      <a:pt x="172552" y="1091"/>
                      <a:pt x="172552" y="595"/>
                      <a:pt x="180985" y="595"/>
                    </a:cubicBezTo>
                    <a:cubicBezTo>
                      <a:pt x="188923" y="595"/>
                      <a:pt x="188923" y="1091"/>
                      <a:pt x="197356" y="1091"/>
                    </a:cubicBezTo>
                    <a:cubicBezTo>
                      <a:pt x="205293" y="1091"/>
                      <a:pt x="205293" y="2579"/>
                      <a:pt x="213726" y="2579"/>
                    </a:cubicBezTo>
                    <a:cubicBezTo>
                      <a:pt x="221664" y="2579"/>
                      <a:pt x="221664" y="2579"/>
                      <a:pt x="230097" y="2579"/>
                    </a:cubicBezTo>
                    <a:cubicBezTo>
                      <a:pt x="238034" y="2579"/>
                      <a:pt x="238034" y="2579"/>
                      <a:pt x="246468" y="2579"/>
                    </a:cubicBezTo>
                    <a:cubicBezTo>
                      <a:pt x="254901" y="2579"/>
                      <a:pt x="254405" y="595"/>
                      <a:pt x="262838" y="595"/>
                    </a:cubicBezTo>
                    <a:cubicBezTo>
                      <a:pt x="270775" y="595"/>
                      <a:pt x="270775" y="2579"/>
                      <a:pt x="279209" y="2579"/>
                    </a:cubicBezTo>
                    <a:cubicBezTo>
                      <a:pt x="287146" y="2579"/>
                      <a:pt x="287146" y="595"/>
                      <a:pt x="295579" y="595"/>
                    </a:cubicBezTo>
                    <a:cubicBezTo>
                      <a:pt x="303517" y="595"/>
                      <a:pt x="303517" y="1091"/>
                      <a:pt x="311950" y="1091"/>
                    </a:cubicBezTo>
                    <a:cubicBezTo>
                      <a:pt x="319887" y="1091"/>
                      <a:pt x="319887" y="595"/>
                      <a:pt x="328321" y="595"/>
                    </a:cubicBezTo>
                    <a:cubicBezTo>
                      <a:pt x="336258" y="595"/>
                      <a:pt x="336258" y="2579"/>
                      <a:pt x="344691" y="2579"/>
                    </a:cubicBezTo>
                    <a:cubicBezTo>
                      <a:pt x="352628" y="2579"/>
                      <a:pt x="354117" y="-2878"/>
                      <a:pt x="360566" y="2083"/>
                    </a:cubicBezTo>
                    <a:cubicBezTo>
                      <a:pt x="365030" y="5060"/>
                      <a:pt x="362054" y="7540"/>
                      <a:pt x="360069" y="12997"/>
                    </a:cubicBezTo>
                    <a:cubicBezTo>
                      <a:pt x="357589" y="21430"/>
                      <a:pt x="356101" y="20934"/>
                      <a:pt x="352132" y="28871"/>
                    </a:cubicBezTo>
                    <a:cubicBezTo>
                      <a:pt x="348164" y="36809"/>
                      <a:pt x="347667" y="36809"/>
                      <a:pt x="343699" y="44746"/>
                    </a:cubicBezTo>
                    <a:cubicBezTo>
                      <a:pt x="339730" y="52683"/>
                      <a:pt x="343699" y="56652"/>
                      <a:pt x="336258" y="61613"/>
                    </a:cubicBezTo>
                    <a:cubicBezTo>
                      <a:pt x="329809" y="66077"/>
                      <a:pt x="327824" y="62108"/>
                      <a:pt x="319887" y="62108"/>
                    </a:cubicBezTo>
                    <a:cubicBezTo>
                      <a:pt x="311950" y="62108"/>
                      <a:pt x="311950" y="61116"/>
                      <a:pt x="304013" y="61116"/>
                    </a:cubicBezTo>
                    <a:cubicBezTo>
                      <a:pt x="296076" y="61116"/>
                      <a:pt x="296076" y="60620"/>
                      <a:pt x="288138" y="60620"/>
                    </a:cubicBezTo>
                    <a:cubicBezTo>
                      <a:pt x="280201" y="60620"/>
                      <a:pt x="280201" y="61613"/>
                      <a:pt x="272264" y="61613"/>
                    </a:cubicBezTo>
                    <a:cubicBezTo>
                      <a:pt x="264326" y="61613"/>
                      <a:pt x="264326" y="60620"/>
                      <a:pt x="256389" y="60620"/>
                    </a:cubicBezTo>
                    <a:cubicBezTo>
                      <a:pt x="248452" y="60620"/>
                      <a:pt x="248452" y="61613"/>
                      <a:pt x="240515" y="61613"/>
                    </a:cubicBezTo>
                    <a:cubicBezTo>
                      <a:pt x="232578" y="61613"/>
                      <a:pt x="232578" y="62108"/>
                      <a:pt x="224640" y="62108"/>
                    </a:cubicBezTo>
                    <a:cubicBezTo>
                      <a:pt x="216703" y="62108"/>
                      <a:pt x="216703" y="62108"/>
                      <a:pt x="208766" y="62108"/>
                    </a:cubicBezTo>
                    <a:cubicBezTo>
                      <a:pt x="200829" y="62108"/>
                      <a:pt x="200829" y="61116"/>
                      <a:pt x="192891" y="61116"/>
                    </a:cubicBezTo>
                    <a:cubicBezTo>
                      <a:pt x="184954" y="61116"/>
                      <a:pt x="184954" y="61613"/>
                      <a:pt x="177017" y="61613"/>
                    </a:cubicBezTo>
                    <a:cubicBezTo>
                      <a:pt x="169079" y="61613"/>
                      <a:pt x="169079" y="61613"/>
                      <a:pt x="161142" y="61613"/>
                    </a:cubicBezTo>
                    <a:cubicBezTo>
                      <a:pt x="153205" y="61613"/>
                      <a:pt x="153205" y="60620"/>
                      <a:pt x="145268" y="60620"/>
                    </a:cubicBezTo>
                    <a:cubicBezTo>
                      <a:pt x="137331" y="60620"/>
                      <a:pt x="137331" y="61613"/>
                      <a:pt x="129393" y="61613"/>
                    </a:cubicBezTo>
                    <a:cubicBezTo>
                      <a:pt x="121456" y="61613"/>
                      <a:pt x="121456" y="59628"/>
                      <a:pt x="113519" y="59628"/>
                    </a:cubicBezTo>
                    <a:cubicBezTo>
                      <a:pt x="105581" y="59628"/>
                      <a:pt x="105581" y="61116"/>
                      <a:pt x="97644" y="61116"/>
                    </a:cubicBezTo>
                    <a:cubicBezTo>
                      <a:pt x="89707" y="61116"/>
                      <a:pt x="89707" y="60124"/>
                      <a:pt x="81770" y="60124"/>
                    </a:cubicBezTo>
                    <a:cubicBezTo>
                      <a:pt x="73833" y="60124"/>
                      <a:pt x="73833" y="59628"/>
                      <a:pt x="65895" y="59628"/>
                    </a:cubicBezTo>
                    <a:cubicBezTo>
                      <a:pt x="57958" y="59628"/>
                      <a:pt x="57958" y="59628"/>
                      <a:pt x="50021" y="59628"/>
                    </a:cubicBezTo>
                    <a:cubicBezTo>
                      <a:pt x="42084" y="59628"/>
                      <a:pt x="40595" y="65581"/>
                      <a:pt x="33650" y="61116"/>
                    </a:cubicBezTo>
                    <a:cubicBezTo>
                      <a:pt x="25713" y="56155"/>
                      <a:pt x="29186" y="52683"/>
                      <a:pt x="24225" y="44746"/>
                    </a:cubicBezTo>
                    <a:cubicBezTo>
                      <a:pt x="19264" y="36809"/>
                      <a:pt x="18768" y="37305"/>
                      <a:pt x="13807" y="28871"/>
                    </a:cubicBezTo>
                    <a:cubicBezTo>
                      <a:pt x="8846" y="20934"/>
                      <a:pt x="8846" y="20934"/>
                      <a:pt x="3886" y="12501"/>
                    </a:cubicBezTo>
                    <a:cubicBezTo>
                      <a:pt x="-579" y="8036"/>
                      <a:pt x="-1571" y="5060"/>
                      <a:pt x="2893" y="208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DA3E4B3-2635-2154-8370-396B73FEB969}"/>
                </a:ext>
              </a:extLst>
            </p:cNvPr>
            <p:cNvSpPr/>
            <p:nvPr/>
          </p:nvSpPr>
          <p:spPr>
            <a:xfrm>
              <a:off x="5092606" y="3313800"/>
              <a:ext cx="110129" cy="112113"/>
            </a:xfrm>
            <a:custGeom>
              <a:avLst/>
              <a:gdLst>
                <a:gd name="connsiteX0" fmla="*/ 0 w 110129"/>
                <a:gd name="connsiteY0" fmla="*/ 112113 h 112113"/>
                <a:gd name="connsiteX1" fmla="*/ 10418 w 110129"/>
                <a:gd name="connsiteY1" fmla="*/ 100704 h 112113"/>
                <a:gd name="connsiteX2" fmla="*/ 21827 w 110129"/>
                <a:gd name="connsiteY2" fmla="*/ 89790 h 112113"/>
                <a:gd name="connsiteX3" fmla="*/ 32245 w 110129"/>
                <a:gd name="connsiteY3" fmla="*/ 78380 h 112113"/>
                <a:gd name="connsiteX4" fmla="*/ 44151 w 110129"/>
                <a:gd name="connsiteY4" fmla="*/ 67963 h 112113"/>
                <a:gd name="connsiteX5" fmla="*/ 54569 w 110129"/>
                <a:gd name="connsiteY5" fmla="*/ 56057 h 112113"/>
                <a:gd name="connsiteX6" fmla="*/ 64986 w 110129"/>
                <a:gd name="connsiteY6" fmla="*/ 44151 h 112113"/>
                <a:gd name="connsiteX7" fmla="*/ 76396 w 110129"/>
                <a:gd name="connsiteY7" fmla="*/ 33237 h 112113"/>
                <a:gd name="connsiteX8" fmla="*/ 88302 w 110129"/>
                <a:gd name="connsiteY8" fmla="*/ 22819 h 112113"/>
                <a:gd name="connsiteX9" fmla="*/ 98719 w 110129"/>
                <a:gd name="connsiteY9" fmla="*/ 10914 h 112113"/>
                <a:gd name="connsiteX10" fmla="*/ 110129 w 110129"/>
                <a:gd name="connsiteY10" fmla="*/ 0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29" h="112113">
                  <a:moveTo>
                    <a:pt x="0" y="112113"/>
                  </a:moveTo>
                  <a:cubicBezTo>
                    <a:pt x="5457" y="106657"/>
                    <a:pt x="4961" y="106161"/>
                    <a:pt x="10418" y="100704"/>
                  </a:cubicBezTo>
                  <a:cubicBezTo>
                    <a:pt x="15874" y="95247"/>
                    <a:pt x="16371" y="95247"/>
                    <a:pt x="21827" y="89790"/>
                  </a:cubicBezTo>
                  <a:cubicBezTo>
                    <a:pt x="27284" y="84333"/>
                    <a:pt x="26788" y="83837"/>
                    <a:pt x="32245" y="78380"/>
                  </a:cubicBezTo>
                  <a:cubicBezTo>
                    <a:pt x="37702" y="72924"/>
                    <a:pt x="38198" y="73419"/>
                    <a:pt x="44151" y="67963"/>
                  </a:cubicBezTo>
                  <a:cubicBezTo>
                    <a:pt x="49608" y="62506"/>
                    <a:pt x="49112" y="61514"/>
                    <a:pt x="54569" y="56057"/>
                  </a:cubicBezTo>
                  <a:cubicBezTo>
                    <a:pt x="60025" y="50600"/>
                    <a:pt x="59529" y="50104"/>
                    <a:pt x="64986" y="44151"/>
                  </a:cubicBezTo>
                  <a:cubicBezTo>
                    <a:pt x="70443" y="38694"/>
                    <a:pt x="70939" y="38694"/>
                    <a:pt x="76396" y="33237"/>
                  </a:cubicBezTo>
                  <a:cubicBezTo>
                    <a:pt x="81853" y="27780"/>
                    <a:pt x="82349" y="28277"/>
                    <a:pt x="88302" y="22819"/>
                  </a:cubicBezTo>
                  <a:cubicBezTo>
                    <a:pt x="93759" y="17363"/>
                    <a:pt x="92766" y="16371"/>
                    <a:pt x="98719" y="10914"/>
                  </a:cubicBezTo>
                  <a:cubicBezTo>
                    <a:pt x="104672" y="5457"/>
                    <a:pt x="104672" y="5953"/>
                    <a:pt x="110129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6AC83348-36F7-075C-B4DB-F553A72DF4F5}"/>
                </a:ext>
              </a:extLst>
            </p:cNvPr>
            <p:cNvSpPr/>
            <p:nvPr/>
          </p:nvSpPr>
          <p:spPr>
            <a:xfrm>
              <a:off x="5147174" y="3317273"/>
              <a:ext cx="108144" cy="109137"/>
            </a:xfrm>
            <a:custGeom>
              <a:avLst/>
              <a:gdLst>
                <a:gd name="connsiteX0" fmla="*/ 0 w 108144"/>
                <a:gd name="connsiteY0" fmla="*/ 109137 h 109137"/>
                <a:gd name="connsiteX1" fmla="*/ 11906 w 108144"/>
                <a:gd name="connsiteY1" fmla="*/ 96735 h 109137"/>
                <a:gd name="connsiteX2" fmla="*/ 23812 w 108144"/>
                <a:gd name="connsiteY2" fmla="*/ 84333 h 109137"/>
                <a:gd name="connsiteX3" fmla="*/ 36214 w 108144"/>
                <a:gd name="connsiteY3" fmla="*/ 72427 h 109137"/>
                <a:gd name="connsiteX4" fmla="*/ 47623 w 108144"/>
                <a:gd name="connsiteY4" fmla="*/ 59529 h 109137"/>
                <a:gd name="connsiteX5" fmla="*/ 60521 w 108144"/>
                <a:gd name="connsiteY5" fmla="*/ 48616 h 109137"/>
                <a:gd name="connsiteX6" fmla="*/ 71435 w 108144"/>
                <a:gd name="connsiteY6" fmla="*/ 35718 h 109137"/>
                <a:gd name="connsiteX7" fmla="*/ 84333 w 108144"/>
                <a:gd name="connsiteY7" fmla="*/ 24804 h 109137"/>
                <a:gd name="connsiteX8" fmla="*/ 96239 w 108144"/>
                <a:gd name="connsiteY8" fmla="*/ 12402 h 109137"/>
                <a:gd name="connsiteX9" fmla="*/ 108145 w 108144"/>
                <a:gd name="connsiteY9" fmla="*/ 0 h 10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144" h="109137">
                  <a:moveTo>
                    <a:pt x="0" y="109137"/>
                  </a:moveTo>
                  <a:cubicBezTo>
                    <a:pt x="5953" y="103184"/>
                    <a:pt x="5953" y="102688"/>
                    <a:pt x="11906" y="96735"/>
                  </a:cubicBezTo>
                  <a:cubicBezTo>
                    <a:pt x="17859" y="90782"/>
                    <a:pt x="17859" y="90286"/>
                    <a:pt x="23812" y="84333"/>
                  </a:cubicBezTo>
                  <a:cubicBezTo>
                    <a:pt x="29765" y="78380"/>
                    <a:pt x="29765" y="78380"/>
                    <a:pt x="36214" y="72427"/>
                  </a:cubicBezTo>
                  <a:cubicBezTo>
                    <a:pt x="42167" y="66474"/>
                    <a:pt x="41670" y="65482"/>
                    <a:pt x="47623" y="59529"/>
                  </a:cubicBezTo>
                  <a:cubicBezTo>
                    <a:pt x="53576" y="53576"/>
                    <a:pt x="54569" y="54569"/>
                    <a:pt x="60521" y="48616"/>
                  </a:cubicBezTo>
                  <a:cubicBezTo>
                    <a:pt x="66474" y="42663"/>
                    <a:pt x="65482" y="41670"/>
                    <a:pt x="71435" y="35718"/>
                  </a:cubicBezTo>
                  <a:cubicBezTo>
                    <a:pt x="77388" y="29765"/>
                    <a:pt x="78380" y="30757"/>
                    <a:pt x="84333" y="24804"/>
                  </a:cubicBezTo>
                  <a:cubicBezTo>
                    <a:pt x="90286" y="18851"/>
                    <a:pt x="90286" y="18355"/>
                    <a:pt x="96239" y="12402"/>
                  </a:cubicBezTo>
                  <a:cubicBezTo>
                    <a:pt x="102192" y="6449"/>
                    <a:pt x="102192" y="5953"/>
                    <a:pt x="10814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6A33C58D-1630-5863-B0B3-A0936860AB88}"/>
                </a:ext>
              </a:extLst>
            </p:cNvPr>
            <p:cNvSpPr/>
            <p:nvPr/>
          </p:nvSpPr>
          <p:spPr>
            <a:xfrm>
              <a:off x="5188845" y="3143149"/>
              <a:ext cx="68458" cy="70443"/>
            </a:xfrm>
            <a:custGeom>
              <a:avLst/>
              <a:gdLst>
                <a:gd name="connsiteX0" fmla="*/ 68459 w 68458"/>
                <a:gd name="connsiteY0" fmla="*/ 0 h 70443"/>
                <a:gd name="connsiteX1" fmla="*/ 57049 w 68458"/>
                <a:gd name="connsiteY1" fmla="*/ 11410 h 70443"/>
                <a:gd name="connsiteX2" fmla="*/ 45639 w 68458"/>
                <a:gd name="connsiteY2" fmla="*/ 23316 h 70443"/>
                <a:gd name="connsiteX3" fmla="*/ 35222 w 68458"/>
                <a:gd name="connsiteY3" fmla="*/ 35718 h 70443"/>
                <a:gd name="connsiteX4" fmla="*/ 23812 w 68458"/>
                <a:gd name="connsiteY4" fmla="*/ 47624 h 70443"/>
                <a:gd name="connsiteX5" fmla="*/ 11906 w 68458"/>
                <a:gd name="connsiteY5" fmla="*/ 59033 h 70443"/>
                <a:gd name="connsiteX6" fmla="*/ 0 w 6845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458" h="70443">
                  <a:moveTo>
                    <a:pt x="68459" y="0"/>
                  </a:moveTo>
                  <a:cubicBezTo>
                    <a:pt x="62506" y="5953"/>
                    <a:pt x="62506" y="5953"/>
                    <a:pt x="57049" y="11410"/>
                  </a:cubicBezTo>
                  <a:cubicBezTo>
                    <a:pt x="51096" y="17363"/>
                    <a:pt x="51592" y="17363"/>
                    <a:pt x="45639" y="23316"/>
                  </a:cubicBezTo>
                  <a:cubicBezTo>
                    <a:pt x="39686" y="29269"/>
                    <a:pt x="40678" y="30261"/>
                    <a:pt x="35222" y="35718"/>
                  </a:cubicBezTo>
                  <a:cubicBezTo>
                    <a:pt x="29269" y="41671"/>
                    <a:pt x="29765" y="41671"/>
                    <a:pt x="23812" y="47624"/>
                  </a:cubicBezTo>
                  <a:cubicBezTo>
                    <a:pt x="17859" y="53577"/>
                    <a:pt x="17363" y="53080"/>
                    <a:pt x="11906" y="59033"/>
                  </a:cubicBezTo>
                  <a:cubicBezTo>
                    <a:pt x="5953" y="64986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92494A47-6098-35CB-FFA4-5BD78612F13E}"/>
                </a:ext>
              </a:extLst>
            </p:cNvPr>
            <p:cNvSpPr/>
            <p:nvPr/>
          </p:nvSpPr>
          <p:spPr>
            <a:xfrm>
              <a:off x="5232996" y="3140173"/>
              <a:ext cx="74907" cy="73915"/>
            </a:xfrm>
            <a:custGeom>
              <a:avLst/>
              <a:gdLst>
                <a:gd name="connsiteX0" fmla="*/ 0 w 74907"/>
                <a:gd name="connsiteY0" fmla="*/ 73916 h 73915"/>
                <a:gd name="connsiteX1" fmla="*/ 13394 w 74907"/>
                <a:gd name="connsiteY1" fmla="*/ 62506 h 73915"/>
                <a:gd name="connsiteX2" fmla="*/ 24308 w 74907"/>
                <a:gd name="connsiteY2" fmla="*/ 48616 h 73915"/>
                <a:gd name="connsiteX3" fmla="*/ 36710 w 74907"/>
                <a:gd name="connsiteY3" fmla="*/ 36214 h 73915"/>
                <a:gd name="connsiteX4" fmla="*/ 50600 w 74907"/>
                <a:gd name="connsiteY4" fmla="*/ 25300 h 73915"/>
                <a:gd name="connsiteX5" fmla="*/ 62010 w 74907"/>
                <a:gd name="connsiteY5" fmla="*/ 11906 h 73915"/>
                <a:gd name="connsiteX6" fmla="*/ 74908 w 74907"/>
                <a:gd name="connsiteY6" fmla="*/ 0 h 7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7" h="73915">
                  <a:moveTo>
                    <a:pt x="0" y="73916"/>
                  </a:moveTo>
                  <a:cubicBezTo>
                    <a:pt x="5953" y="67963"/>
                    <a:pt x="7441" y="68955"/>
                    <a:pt x="13394" y="62506"/>
                  </a:cubicBezTo>
                  <a:cubicBezTo>
                    <a:pt x="19347" y="56553"/>
                    <a:pt x="18355" y="55065"/>
                    <a:pt x="24308" y="48616"/>
                  </a:cubicBezTo>
                  <a:cubicBezTo>
                    <a:pt x="30261" y="42663"/>
                    <a:pt x="30261" y="42167"/>
                    <a:pt x="36710" y="36214"/>
                  </a:cubicBezTo>
                  <a:cubicBezTo>
                    <a:pt x="42663" y="30261"/>
                    <a:pt x="44647" y="31749"/>
                    <a:pt x="50600" y="25300"/>
                  </a:cubicBezTo>
                  <a:cubicBezTo>
                    <a:pt x="56553" y="19347"/>
                    <a:pt x="56057" y="18355"/>
                    <a:pt x="62010" y="11906"/>
                  </a:cubicBezTo>
                  <a:cubicBezTo>
                    <a:pt x="67963" y="5457"/>
                    <a:pt x="68459" y="5953"/>
                    <a:pt x="7490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9" name="Graphic 10">
              <a:extLst>
                <a:ext uri="{FF2B5EF4-FFF2-40B4-BE49-F238E27FC236}">
                  <a16:creationId xmlns:a16="http://schemas.microsoft.com/office/drawing/2014/main" id="{5EE4D251-012F-1E23-EB7D-E20FF468D331}"/>
                </a:ext>
              </a:extLst>
            </p:cNvPr>
            <p:cNvGrpSpPr/>
            <p:nvPr/>
          </p:nvGrpSpPr>
          <p:grpSpPr>
            <a:xfrm>
              <a:off x="4998171" y="3095360"/>
              <a:ext cx="362317" cy="392204"/>
              <a:chOff x="4998171" y="3095360"/>
              <a:chExt cx="362317" cy="392204"/>
            </a:xfrm>
            <a:noFill/>
          </p:grpSpPr>
          <p:sp>
            <p:nvSpPr>
              <p:cNvPr id="1723" name="Freeform: Shape 1722">
                <a:extLst>
                  <a:ext uri="{FF2B5EF4-FFF2-40B4-BE49-F238E27FC236}">
                    <a16:creationId xmlns:a16="http://schemas.microsoft.com/office/drawing/2014/main" id="{BAC09BA9-2103-C61D-5D79-345A5A3597BF}"/>
                  </a:ext>
                </a:extLst>
              </p:cNvPr>
              <p:cNvSpPr/>
              <p:nvPr/>
            </p:nvSpPr>
            <p:spPr>
              <a:xfrm>
                <a:off x="5012933" y="3095360"/>
                <a:ext cx="335195" cy="335318"/>
              </a:xfrm>
              <a:custGeom>
                <a:avLst/>
                <a:gdLst>
                  <a:gd name="connsiteX0" fmla="*/ 330688 w 335195"/>
                  <a:gd name="connsiteY0" fmla="*/ 331545 h 335318"/>
                  <a:gd name="connsiteX1" fmla="*/ 314814 w 335195"/>
                  <a:gd name="connsiteY1" fmla="*/ 330553 h 335318"/>
                  <a:gd name="connsiteX2" fmla="*/ 298443 w 335195"/>
                  <a:gd name="connsiteY2" fmla="*/ 332042 h 335318"/>
                  <a:gd name="connsiteX3" fmla="*/ 282073 w 335195"/>
                  <a:gd name="connsiteY3" fmla="*/ 331545 h 335318"/>
                  <a:gd name="connsiteX4" fmla="*/ 265702 w 335195"/>
                  <a:gd name="connsiteY4" fmla="*/ 331049 h 335318"/>
                  <a:gd name="connsiteX5" fmla="*/ 249331 w 335195"/>
                  <a:gd name="connsiteY5" fmla="*/ 332042 h 335318"/>
                  <a:gd name="connsiteX6" fmla="*/ 232961 w 335195"/>
                  <a:gd name="connsiteY6" fmla="*/ 331545 h 335318"/>
                  <a:gd name="connsiteX7" fmla="*/ 216590 w 335195"/>
                  <a:gd name="connsiteY7" fmla="*/ 332538 h 335318"/>
                  <a:gd name="connsiteX8" fmla="*/ 200220 w 335195"/>
                  <a:gd name="connsiteY8" fmla="*/ 331049 h 335318"/>
                  <a:gd name="connsiteX9" fmla="*/ 183849 w 335195"/>
                  <a:gd name="connsiteY9" fmla="*/ 333034 h 335318"/>
                  <a:gd name="connsiteX10" fmla="*/ 167478 w 335195"/>
                  <a:gd name="connsiteY10" fmla="*/ 331545 h 335318"/>
                  <a:gd name="connsiteX11" fmla="*/ 151108 w 335195"/>
                  <a:gd name="connsiteY11" fmla="*/ 331545 h 335318"/>
                  <a:gd name="connsiteX12" fmla="*/ 134737 w 335195"/>
                  <a:gd name="connsiteY12" fmla="*/ 332538 h 335318"/>
                  <a:gd name="connsiteX13" fmla="*/ 118367 w 335195"/>
                  <a:gd name="connsiteY13" fmla="*/ 331049 h 335318"/>
                  <a:gd name="connsiteX14" fmla="*/ 101996 w 335195"/>
                  <a:gd name="connsiteY14" fmla="*/ 331545 h 335318"/>
                  <a:gd name="connsiteX15" fmla="*/ 85626 w 335195"/>
                  <a:gd name="connsiteY15" fmla="*/ 331049 h 335318"/>
                  <a:gd name="connsiteX16" fmla="*/ 69255 w 335195"/>
                  <a:gd name="connsiteY16" fmla="*/ 331545 h 335318"/>
                  <a:gd name="connsiteX17" fmla="*/ 52885 w 335195"/>
                  <a:gd name="connsiteY17" fmla="*/ 331545 h 335318"/>
                  <a:gd name="connsiteX18" fmla="*/ 36514 w 335195"/>
                  <a:gd name="connsiteY18" fmla="*/ 331049 h 335318"/>
                  <a:gd name="connsiteX19" fmla="*/ 20144 w 335195"/>
                  <a:gd name="connsiteY19" fmla="*/ 333034 h 335318"/>
                  <a:gd name="connsiteX20" fmla="*/ 2781 w 335195"/>
                  <a:gd name="connsiteY20" fmla="*/ 332538 h 335318"/>
                  <a:gd name="connsiteX21" fmla="*/ 2285 w 335195"/>
                  <a:gd name="connsiteY21" fmla="*/ 315175 h 335318"/>
                  <a:gd name="connsiteX22" fmla="*/ 4269 w 335195"/>
                  <a:gd name="connsiteY22" fmla="*/ 298804 h 335318"/>
                  <a:gd name="connsiteX23" fmla="*/ 4269 w 335195"/>
                  <a:gd name="connsiteY23" fmla="*/ 282434 h 335318"/>
                  <a:gd name="connsiteX24" fmla="*/ 3773 w 335195"/>
                  <a:gd name="connsiteY24" fmla="*/ 266063 h 335318"/>
                  <a:gd name="connsiteX25" fmla="*/ 3277 w 335195"/>
                  <a:gd name="connsiteY25" fmla="*/ 249693 h 335318"/>
                  <a:gd name="connsiteX26" fmla="*/ 4269 w 335195"/>
                  <a:gd name="connsiteY26" fmla="*/ 233322 h 335318"/>
                  <a:gd name="connsiteX27" fmla="*/ 4269 w 335195"/>
                  <a:gd name="connsiteY27" fmla="*/ 216952 h 335318"/>
                  <a:gd name="connsiteX28" fmla="*/ 4269 w 335195"/>
                  <a:gd name="connsiteY28" fmla="*/ 200581 h 335318"/>
                  <a:gd name="connsiteX29" fmla="*/ 3773 w 335195"/>
                  <a:gd name="connsiteY29" fmla="*/ 184210 h 335318"/>
                  <a:gd name="connsiteX30" fmla="*/ 3773 w 335195"/>
                  <a:gd name="connsiteY30" fmla="*/ 167840 h 335318"/>
                  <a:gd name="connsiteX31" fmla="*/ 3773 w 335195"/>
                  <a:gd name="connsiteY31" fmla="*/ 151469 h 335318"/>
                  <a:gd name="connsiteX32" fmla="*/ 4269 w 335195"/>
                  <a:gd name="connsiteY32" fmla="*/ 135099 h 335318"/>
                  <a:gd name="connsiteX33" fmla="*/ 4765 w 335195"/>
                  <a:gd name="connsiteY33" fmla="*/ 118728 h 335318"/>
                  <a:gd name="connsiteX34" fmla="*/ 3773 w 335195"/>
                  <a:gd name="connsiteY34" fmla="*/ 102357 h 335318"/>
                  <a:gd name="connsiteX35" fmla="*/ 3277 w 335195"/>
                  <a:gd name="connsiteY35" fmla="*/ 85987 h 335318"/>
                  <a:gd name="connsiteX36" fmla="*/ 5261 w 335195"/>
                  <a:gd name="connsiteY36" fmla="*/ 69616 h 335318"/>
                  <a:gd name="connsiteX37" fmla="*/ 3773 w 335195"/>
                  <a:gd name="connsiteY37" fmla="*/ 53246 h 335318"/>
                  <a:gd name="connsiteX38" fmla="*/ 4269 w 335195"/>
                  <a:gd name="connsiteY38" fmla="*/ 36875 h 335318"/>
                  <a:gd name="connsiteX39" fmla="*/ 2781 w 335195"/>
                  <a:gd name="connsiteY39" fmla="*/ 20504 h 335318"/>
                  <a:gd name="connsiteX40" fmla="*/ 4269 w 335195"/>
                  <a:gd name="connsiteY40" fmla="*/ 4134 h 335318"/>
                  <a:gd name="connsiteX41" fmla="*/ 20640 w 335195"/>
                  <a:gd name="connsiteY41" fmla="*/ 4134 h 335318"/>
                  <a:gd name="connsiteX42" fmla="*/ 37010 w 335195"/>
                  <a:gd name="connsiteY42" fmla="*/ 3142 h 335318"/>
                  <a:gd name="connsiteX43" fmla="*/ 53381 w 335195"/>
                  <a:gd name="connsiteY43" fmla="*/ 4630 h 335318"/>
                  <a:gd name="connsiteX44" fmla="*/ 69751 w 335195"/>
                  <a:gd name="connsiteY44" fmla="*/ 3142 h 335318"/>
                  <a:gd name="connsiteX45" fmla="*/ 86122 w 335195"/>
                  <a:gd name="connsiteY45" fmla="*/ 3142 h 335318"/>
                  <a:gd name="connsiteX46" fmla="*/ 102492 w 335195"/>
                  <a:gd name="connsiteY46" fmla="*/ 5126 h 335318"/>
                  <a:gd name="connsiteX47" fmla="*/ 118863 w 335195"/>
                  <a:gd name="connsiteY47" fmla="*/ 3638 h 335318"/>
                  <a:gd name="connsiteX48" fmla="*/ 135233 w 335195"/>
                  <a:gd name="connsiteY48" fmla="*/ 2646 h 335318"/>
                  <a:gd name="connsiteX49" fmla="*/ 151604 w 335195"/>
                  <a:gd name="connsiteY49" fmla="*/ 4134 h 335318"/>
                  <a:gd name="connsiteX50" fmla="*/ 167975 w 335195"/>
                  <a:gd name="connsiteY50" fmla="*/ 4630 h 335318"/>
                  <a:gd name="connsiteX51" fmla="*/ 184345 w 335195"/>
                  <a:gd name="connsiteY51" fmla="*/ 3638 h 335318"/>
                  <a:gd name="connsiteX52" fmla="*/ 200716 w 335195"/>
                  <a:gd name="connsiteY52" fmla="*/ 4134 h 335318"/>
                  <a:gd name="connsiteX53" fmla="*/ 217086 w 335195"/>
                  <a:gd name="connsiteY53" fmla="*/ 4134 h 335318"/>
                  <a:gd name="connsiteX54" fmla="*/ 233457 w 335195"/>
                  <a:gd name="connsiteY54" fmla="*/ 4630 h 335318"/>
                  <a:gd name="connsiteX55" fmla="*/ 249828 w 335195"/>
                  <a:gd name="connsiteY55" fmla="*/ 4134 h 335318"/>
                  <a:gd name="connsiteX56" fmla="*/ 266198 w 335195"/>
                  <a:gd name="connsiteY56" fmla="*/ 3142 h 335318"/>
                  <a:gd name="connsiteX57" fmla="*/ 282569 w 335195"/>
                  <a:gd name="connsiteY57" fmla="*/ 3638 h 335318"/>
                  <a:gd name="connsiteX58" fmla="*/ 298939 w 335195"/>
                  <a:gd name="connsiteY58" fmla="*/ 4630 h 335318"/>
                  <a:gd name="connsiteX59" fmla="*/ 315310 w 335195"/>
                  <a:gd name="connsiteY59" fmla="*/ 2646 h 335318"/>
                  <a:gd name="connsiteX60" fmla="*/ 332673 w 335195"/>
                  <a:gd name="connsiteY60" fmla="*/ 2646 h 335318"/>
                  <a:gd name="connsiteX61" fmla="*/ 332176 w 335195"/>
                  <a:gd name="connsiteY61" fmla="*/ 20009 h 335318"/>
                  <a:gd name="connsiteX62" fmla="*/ 332673 w 335195"/>
                  <a:gd name="connsiteY62" fmla="*/ 36379 h 335318"/>
                  <a:gd name="connsiteX63" fmla="*/ 332673 w 335195"/>
                  <a:gd name="connsiteY63" fmla="*/ 52750 h 335318"/>
                  <a:gd name="connsiteX64" fmla="*/ 331680 w 335195"/>
                  <a:gd name="connsiteY64" fmla="*/ 69120 h 335318"/>
                  <a:gd name="connsiteX65" fmla="*/ 331680 w 335195"/>
                  <a:gd name="connsiteY65" fmla="*/ 85491 h 335318"/>
                  <a:gd name="connsiteX66" fmla="*/ 331184 w 335195"/>
                  <a:gd name="connsiteY66" fmla="*/ 101861 h 335318"/>
                  <a:gd name="connsiteX67" fmla="*/ 332176 w 335195"/>
                  <a:gd name="connsiteY67" fmla="*/ 118232 h 335318"/>
                  <a:gd name="connsiteX68" fmla="*/ 332673 w 335195"/>
                  <a:gd name="connsiteY68" fmla="*/ 134602 h 335318"/>
                  <a:gd name="connsiteX69" fmla="*/ 332176 w 335195"/>
                  <a:gd name="connsiteY69" fmla="*/ 150973 h 335318"/>
                  <a:gd name="connsiteX70" fmla="*/ 332176 w 335195"/>
                  <a:gd name="connsiteY70" fmla="*/ 167344 h 335318"/>
                  <a:gd name="connsiteX71" fmla="*/ 333169 w 335195"/>
                  <a:gd name="connsiteY71" fmla="*/ 183714 h 335318"/>
                  <a:gd name="connsiteX72" fmla="*/ 332673 w 335195"/>
                  <a:gd name="connsiteY72" fmla="*/ 200085 h 335318"/>
                  <a:gd name="connsiteX73" fmla="*/ 332176 w 335195"/>
                  <a:gd name="connsiteY73" fmla="*/ 216455 h 335318"/>
                  <a:gd name="connsiteX74" fmla="*/ 331184 w 335195"/>
                  <a:gd name="connsiteY74" fmla="*/ 232826 h 335318"/>
                  <a:gd name="connsiteX75" fmla="*/ 332176 w 335195"/>
                  <a:gd name="connsiteY75" fmla="*/ 249197 h 335318"/>
                  <a:gd name="connsiteX76" fmla="*/ 332673 w 335195"/>
                  <a:gd name="connsiteY76" fmla="*/ 265567 h 335318"/>
                  <a:gd name="connsiteX77" fmla="*/ 331184 w 335195"/>
                  <a:gd name="connsiteY77" fmla="*/ 281938 h 335318"/>
                  <a:gd name="connsiteX78" fmla="*/ 332176 w 335195"/>
                  <a:gd name="connsiteY78" fmla="*/ 298308 h 335318"/>
                  <a:gd name="connsiteX79" fmla="*/ 331184 w 335195"/>
                  <a:gd name="connsiteY79" fmla="*/ 315175 h 335318"/>
                  <a:gd name="connsiteX80" fmla="*/ 330688 w 335195"/>
                  <a:gd name="connsiteY80" fmla="*/ 331545 h 33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5195" h="335318">
                    <a:moveTo>
                      <a:pt x="330688" y="331545"/>
                    </a:moveTo>
                    <a:cubicBezTo>
                      <a:pt x="324735" y="337498"/>
                      <a:pt x="322751" y="330553"/>
                      <a:pt x="314814" y="330553"/>
                    </a:cubicBezTo>
                    <a:cubicBezTo>
                      <a:pt x="306380" y="330553"/>
                      <a:pt x="306380" y="332042"/>
                      <a:pt x="298443" y="332042"/>
                    </a:cubicBezTo>
                    <a:cubicBezTo>
                      <a:pt x="290010" y="332042"/>
                      <a:pt x="290010" y="331545"/>
                      <a:pt x="282073" y="331545"/>
                    </a:cubicBezTo>
                    <a:cubicBezTo>
                      <a:pt x="273639" y="331545"/>
                      <a:pt x="273639" y="331049"/>
                      <a:pt x="265702" y="331049"/>
                    </a:cubicBezTo>
                    <a:cubicBezTo>
                      <a:pt x="257269" y="331049"/>
                      <a:pt x="257269" y="332042"/>
                      <a:pt x="249331" y="332042"/>
                    </a:cubicBezTo>
                    <a:cubicBezTo>
                      <a:pt x="240898" y="332042"/>
                      <a:pt x="240898" y="331545"/>
                      <a:pt x="232961" y="331545"/>
                    </a:cubicBezTo>
                    <a:cubicBezTo>
                      <a:pt x="224527" y="331545"/>
                      <a:pt x="224527" y="332538"/>
                      <a:pt x="216590" y="332538"/>
                    </a:cubicBezTo>
                    <a:cubicBezTo>
                      <a:pt x="208157" y="332538"/>
                      <a:pt x="208157" y="331049"/>
                      <a:pt x="200220" y="331049"/>
                    </a:cubicBezTo>
                    <a:cubicBezTo>
                      <a:pt x="191786" y="331049"/>
                      <a:pt x="191786" y="333034"/>
                      <a:pt x="183849" y="333034"/>
                    </a:cubicBezTo>
                    <a:cubicBezTo>
                      <a:pt x="175416" y="333034"/>
                      <a:pt x="175416" y="331545"/>
                      <a:pt x="167478" y="331545"/>
                    </a:cubicBezTo>
                    <a:cubicBezTo>
                      <a:pt x="159045" y="331545"/>
                      <a:pt x="159045" y="331545"/>
                      <a:pt x="151108" y="331545"/>
                    </a:cubicBezTo>
                    <a:cubicBezTo>
                      <a:pt x="142675" y="331545"/>
                      <a:pt x="142675" y="332538"/>
                      <a:pt x="134737" y="332538"/>
                    </a:cubicBezTo>
                    <a:cubicBezTo>
                      <a:pt x="126304" y="332538"/>
                      <a:pt x="126304" y="331049"/>
                      <a:pt x="118367" y="331049"/>
                    </a:cubicBezTo>
                    <a:cubicBezTo>
                      <a:pt x="109934" y="331049"/>
                      <a:pt x="109934" y="331545"/>
                      <a:pt x="101996" y="331545"/>
                    </a:cubicBezTo>
                    <a:cubicBezTo>
                      <a:pt x="93563" y="331545"/>
                      <a:pt x="93563" y="331049"/>
                      <a:pt x="85626" y="331049"/>
                    </a:cubicBezTo>
                    <a:cubicBezTo>
                      <a:pt x="77193" y="331049"/>
                      <a:pt x="77193" y="331545"/>
                      <a:pt x="69255" y="331545"/>
                    </a:cubicBezTo>
                    <a:cubicBezTo>
                      <a:pt x="60822" y="331545"/>
                      <a:pt x="60822" y="331545"/>
                      <a:pt x="52885" y="331545"/>
                    </a:cubicBezTo>
                    <a:cubicBezTo>
                      <a:pt x="44451" y="331545"/>
                      <a:pt x="44451" y="331049"/>
                      <a:pt x="36514" y="331049"/>
                    </a:cubicBezTo>
                    <a:cubicBezTo>
                      <a:pt x="28081" y="331049"/>
                      <a:pt x="28081" y="333034"/>
                      <a:pt x="20144" y="333034"/>
                    </a:cubicBezTo>
                    <a:cubicBezTo>
                      <a:pt x="12206" y="333034"/>
                      <a:pt x="8734" y="338491"/>
                      <a:pt x="2781" y="332538"/>
                    </a:cubicBezTo>
                    <a:cubicBezTo>
                      <a:pt x="-3172" y="326585"/>
                      <a:pt x="2285" y="323608"/>
                      <a:pt x="2285" y="315175"/>
                    </a:cubicBezTo>
                    <a:cubicBezTo>
                      <a:pt x="2285" y="306741"/>
                      <a:pt x="4269" y="306741"/>
                      <a:pt x="4269" y="298804"/>
                    </a:cubicBezTo>
                    <a:cubicBezTo>
                      <a:pt x="4269" y="290371"/>
                      <a:pt x="4269" y="290371"/>
                      <a:pt x="4269" y="282434"/>
                    </a:cubicBezTo>
                    <a:cubicBezTo>
                      <a:pt x="4269" y="274000"/>
                      <a:pt x="3773" y="274000"/>
                      <a:pt x="3773" y="266063"/>
                    </a:cubicBezTo>
                    <a:cubicBezTo>
                      <a:pt x="3773" y="257630"/>
                      <a:pt x="3277" y="257630"/>
                      <a:pt x="3277" y="249693"/>
                    </a:cubicBezTo>
                    <a:cubicBezTo>
                      <a:pt x="3277" y="241259"/>
                      <a:pt x="4269" y="241259"/>
                      <a:pt x="4269" y="233322"/>
                    </a:cubicBezTo>
                    <a:cubicBezTo>
                      <a:pt x="4269" y="224889"/>
                      <a:pt x="4269" y="224889"/>
                      <a:pt x="4269" y="216952"/>
                    </a:cubicBezTo>
                    <a:cubicBezTo>
                      <a:pt x="4269" y="208518"/>
                      <a:pt x="4269" y="208518"/>
                      <a:pt x="4269" y="200581"/>
                    </a:cubicBezTo>
                    <a:cubicBezTo>
                      <a:pt x="4269" y="192148"/>
                      <a:pt x="3773" y="192148"/>
                      <a:pt x="3773" y="184210"/>
                    </a:cubicBezTo>
                    <a:cubicBezTo>
                      <a:pt x="3773" y="175777"/>
                      <a:pt x="3773" y="175777"/>
                      <a:pt x="3773" y="167840"/>
                    </a:cubicBezTo>
                    <a:cubicBezTo>
                      <a:pt x="3773" y="159406"/>
                      <a:pt x="3773" y="159406"/>
                      <a:pt x="3773" y="151469"/>
                    </a:cubicBezTo>
                    <a:cubicBezTo>
                      <a:pt x="3773" y="143036"/>
                      <a:pt x="4269" y="143036"/>
                      <a:pt x="4269" y="135099"/>
                    </a:cubicBezTo>
                    <a:cubicBezTo>
                      <a:pt x="4269" y="126665"/>
                      <a:pt x="4765" y="126665"/>
                      <a:pt x="4765" y="118728"/>
                    </a:cubicBezTo>
                    <a:cubicBezTo>
                      <a:pt x="4765" y="110791"/>
                      <a:pt x="3773" y="110295"/>
                      <a:pt x="3773" y="102357"/>
                    </a:cubicBezTo>
                    <a:cubicBezTo>
                      <a:pt x="3773" y="93924"/>
                      <a:pt x="3277" y="93924"/>
                      <a:pt x="3277" y="85987"/>
                    </a:cubicBezTo>
                    <a:cubicBezTo>
                      <a:pt x="3277" y="77553"/>
                      <a:pt x="5261" y="77553"/>
                      <a:pt x="5261" y="69616"/>
                    </a:cubicBezTo>
                    <a:cubicBezTo>
                      <a:pt x="5261" y="61183"/>
                      <a:pt x="3773" y="61183"/>
                      <a:pt x="3773" y="53246"/>
                    </a:cubicBezTo>
                    <a:cubicBezTo>
                      <a:pt x="3773" y="44812"/>
                      <a:pt x="4269" y="44812"/>
                      <a:pt x="4269" y="36875"/>
                    </a:cubicBezTo>
                    <a:cubicBezTo>
                      <a:pt x="4269" y="28442"/>
                      <a:pt x="2781" y="28442"/>
                      <a:pt x="2781" y="20504"/>
                    </a:cubicBezTo>
                    <a:cubicBezTo>
                      <a:pt x="2781" y="12567"/>
                      <a:pt x="-1684" y="10087"/>
                      <a:pt x="4269" y="4134"/>
                    </a:cubicBezTo>
                    <a:cubicBezTo>
                      <a:pt x="10222" y="-1819"/>
                      <a:pt x="12206" y="4134"/>
                      <a:pt x="20640" y="4134"/>
                    </a:cubicBezTo>
                    <a:cubicBezTo>
                      <a:pt x="29073" y="4134"/>
                      <a:pt x="29073" y="3142"/>
                      <a:pt x="37010" y="3142"/>
                    </a:cubicBezTo>
                    <a:cubicBezTo>
                      <a:pt x="45443" y="3142"/>
                      <a:pt x="45443" y="4630"/>
                      <a:pt x="53381" y="4630"/>
                    </a:cubicBezTo>
                    <a:cubicBezTo>
                      <a:pt x="61814" y="4630"/>
                      <a:pt x="61814" y="3142"/>
                      <a:pt x="69751" y="3142"/>
                    </a:cubicBezTo>
                    <a:cubicBezTo>
                      <a:pt x="78184" y="3142"/>
                      <a:pt x="78184" y="3142"/>
                      <a:pt x="86122" y="3142"/>
                    </a:cubicBezTo>
                    <a:cubicBezTo>
                      <a:pt x="94555" y="3142"/>
                      <a:pt x="94555" y="5126"/>
                      <a:pt x="102492" y="5126"/>
                    </a:cubicBezTo>
                    <a:cubicBezTo>
                      <a:pt x="110926" y="5126"/>
                      <a:pt x="110926" y="3638"/>
                      <a:pt x="118863" y="3638"/>
                    </a:cubicBezTo>
                    <a:cubicBezTo>
                      <a:pt x="127296" y="3638"/>
                      <a:pt x="127296" y="2646"/>
                      <a:pt x="135233" y="2646"/>
                    </a:cubicBezTo>
                    <a:cubicBezTo>
                      <a:pt x="143667" y="2646"/>
                      <a:pt x="143667" y="4134"/>
                      <a:pt x="151604" y="4134"/>
                    </a:cubicBezTo>
                    <a:cubicBezTo>
                      <a:pt x="160037" y="4134"/>
                      <a:pt x="160037" y="4630"/>
                      <a:pt x="167975" y="4630"/>
                    </a:cubicBezTo>
                    <a:cubicBezTo>
                      <a:pt x="176408" y="4630"/>
                      <a:pt x="176408" y="3638"/>
                      <a:pt x="184345" y="3638"/>
                    </a:cubicBezTo>
                    <a:cubicBezTo>
                      <a:pt x="192779" y="3638"/>
                      <a:pt x="192779" y="4134"/>
                      <a:pt x="200716" y="4134"/>
                    </a:cubicBezTo>
                    <a:cubicBezTo>
                      <a:pt x="209149" y="4134"/>
                      <a:pt x="209149" y="4134"/>
                      <a:pt x="217086" y="4134"/>
                    </a:cubicBezTo>
                    <a:cubicBezTo>
                      <a:pt x="225024" y="4134"/>
                      <a:pt x="225520" y="4630"/>
                      <a:pt x="233457" y="4630"/>
                    </a:cubicBezTo>
                    <a:cubicBezTo>
                      <a:pt x="241890" y="4630"/>
                      <a:pt x="241890" y="4134"/>
                      <a:pt x="249828" y="4134"/>
                    </a:cubicBezTo>
                    <a:cubicBezTo>
                      <a:pt x="258261" y="4134"/>
                      <a:pt x="258261" y="3142"/>
                      <a:pt x="266198" y="3142"/>
                    </a:cubicBezTo>
                    <a:cubicBezTo>
                      <a:pt x="274632" y="3142"/>
                      <a:pt x="274632" y="3638"/>
                      <a:pt x="282569" y="3638"/>
                    </a:cubicBezTo>
                    <a:cubicBezTo>
                      <a:pt x="291002" y="3638"/>
                      <a:pt x="291002" y="4630"/>
                      <a:pt x="298939" y="4630"/>
                    </a:cubicBezTo>
                    <a:cubicBezTo>
                      <a:pt x="307373" y="4630"/>
                      <a:pt x="307373" y="2646"/>
                      <a:pt x="315310" y="2646"/>
                    </a:cubicBezTo>
                    <a:cubicBezTo>
                      <a:pt x="323247" y="2646"/>
                      <a:pt x="326720" y="-3307"/>
                      <a:pt x="332673" y="2646"/>
                    </a:cubicBezTo>
                    <a:cubicBezTo>
                      <a:pt x="338625" y="8599"/>
                      <a:pt x="332176" y="11575"/>
                      <a:pt x="332176" y="20009"/>
                    </a:cubicBezTo>
                    <a:cubicBezTo>
                      <a:pt x="332176" y="28442"/>
                      <a:pt x="332673" y="28442"/>
                      <a:pt x="332673" y="36379"/>
                    </a:cubicBezTo>
                    <a:cubicBezTo>
                      <a:pt x="332673" y="44812"/>
                      <a:pt x="332673" y="44812"/>
                      <a:pt x="332673" y="52750"/>
                    </a:cubicBezTo>
                    <a:cubicBezTo>
                      <a:pt x="332673" y="61183"/>
                      <a:pt x="331680" y="61183"/>
                      <a:pt x="331680" y="69120"/>
                    </a:cubicBezTo>
                    <a:cubicBezTo>
                      <a:pt x="331680" y="77553"/>
                      <a:pt x="331680" y="77553"/>
                      <a:pt x="331680" y="85491"/>
                    </a:cubicBezTo>
                    <a:cubicBezTo>
                      <a:pt x="331680" y="93924"/>
                      <a:pt x="331184" y="93924"/>
                      <a:pt x="331184" y="101861"/>
                    </a:cubicBezTo>
                    <a:cubicBezTo>
                      <a:pt x="331184" y="110295"/>
                      <a:pt x="332176" y="110295"/>
                      <a:pt x="332176" y="118232"/>
                    </a:cubicBezTo>
                    <a:cubicBezTo>
                      <a:pt x="332176" y="126665"/>
                      <a:pt x="332673" y="126665"/>
                      <a:pt x="332673" y="134602"/>
                    </a:cubicBezTo>
                    <a:cubicBezTo>
                      <a:pt x="332673" y="143036"/>
                      <a:pt x="332176" y="143036"/>
                      <a:pt x="332176" y="150973"/>
                    </a:cubicBezTo>
                    <a:cubicBezTo>
                      <a:pt x="332176" y="159406"/>
                      <a:pt x="332176" y="159406"/>
                      <a:pt x="332176" y="167344"/>
                    </a:cubicBezTo>
                    <a:cubicBezTo>
                      <a:pt x="332176" y="175777"/>
                      <a:pt x="333169" y="175777"/>
                      <a:pt x="333169" y="183714"/>
                    </a:cubicBezTo>
                    <a:cubicBezTo>
                      <a:pt x="333169" y="192148"/>
                      <a:pt x="332673" y="192148"/>
                      <a:pt x="332673" y="200085"/>
                    </a:cubicBezTo>
                    <a:cubicBezTo>
                      <a:pt x="332673" y="208518"/>
                      <a:pt x="332176" y="208518"/>
                      <a:pt x="332176" y="216455"/>
                    </a:cubicBezTo>
                    <a:cubicBezTo>
                      <a:pt x="332176" y="224393"/>
                      <a:pt x="331184" y="224889"/>
                      <a:pt x="331184" y="232826"/>
                    </a:cubicBezTo>
                    <a:cubicBezTo>
                      <a:pt x="331184" y="241259"/>
                      <a:pt x="332176" y="241259"/>
                      <a:pt x="332176" y="249197"/>
                    </a:cubicBezTo>
                    <a:cubicBezTo>
                      <a:pt x="332176" y="257630"/>
                      <a:pt x="332673" y="257630"/>
                      <a:pt x="332673" y="265567"/>
                    </a:cubicBezTo>
                    <a:cubicBezTo>
                      <a:pt x="332673" y="274000"/>
                      <a:pt x="331184" y="274000"/>
                      <a:pt x="331184" y="281938"/>
                    </a:cubicBezTo>
                    <a:cubicBezTo>
                      <a:pt x="331184" y="290371"/>
                      <a:pt x="332176" y="290371"/>
                      <a:pt x="332176" y="298308"/>
                    </a:cubicBezTo>
                    <a:cubicBezTo>
                      <a:pt x="332176" y="306741"/>
                      <a:pt x="329696" y="306741"/>
                      <a:pt x="331184" y="315175"/>
                    </a:cubicBezTo>
                    <a:cubicBezTo>
                      <a:pt x="332176" y="323608"/>
                      <a:pt x="336641" y="325592"/>
                      <a:pt x="33068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4" name="Freeform: Shape 1723">
                <a:extLst>
                  <a:ext uri="{FF2B5EF4-FFF2-40B4-BE49-F238E27FC236}">
                    <a16:creationId xmlns:a16="http://schemas.microsoft.com/office/drawing/2014/main" id="{FE6926AF-6FC4-3422-9983-4D01704FD4B0}"/>
                  </a:ext>
                </a:extLst>
              </p:cNvPr>
              <p:cNvSpPr/>
              <p:nvPr/>
            </p:nvSpPr>
            <p:spPr>
              <a:xfrm>
                <a:off x="5026823" y="3228356"/>
                <a:ext cx="300433" cy="40343"/>
              </a:xfrm>
              <a:custGeom>
                <a:avLst/>
                <a:gdLst>
                  <a:gd name="connsiteX0" fmla="*/ 297451 w 300433"/>
                  <a:gd name="connsiteY0" fmla="*/ 37325 h 40343"/>
                  <a:gd name="connsiteX1" fmla="*/ 281577 w 300433"/>
                  <a:gd name="connsiteY1" fmla="*/ 36829 h 40343"/>
                  <a:gd name="connsiteX2" fmla="*/ 265206 w 300433"/>
                  <a:gd name="connsiteY2" fmla="*/ 37325 h 40343"/>
                  <a:gd name="connsiteX3" fmla="*/ 248835 w 300433"/>
                  <a:gd name="connsiteY3" fmla="*/ 38813 h 40343"/>
                  <a:gd name="connsiteX4" fmla="*/ 232465 w 300433"/>
                  <a:gd name="connsiteY4" fmla="*/ 39309 h 40343"/>
                  <a:gd name="connsiteX5" fmla="*/ 216094 w 300433"/>
                  <a:gd name="connsiteY5" fmla="*/ 36829 h 40343"/>
                  <a:gd name="connsiteX6" fmla="*/ 199724 w 300433"/>
                  <a:gd name="connsiteY6" fmla="*/ 38813 h 40343"/>
                  <a:gd name="connsiteX7" fmla="*/ 183353 w 300433"/>
                  <a:gd name="connsiteY7" fmla="*/ 38813 h 40343"/>
                  <a:gd name="connsiteX8" fmla="*/ 166983 w 300433"/>
                  <a:gd name="connsiteY8" fmla="*/ 38813 h 40343"/>
                  <a:gd name="connsiteX9" fmla="*/ 150612 w 300433"/>
                  <a:gd name="connsiteY9" fmla="*/ 38317 h 40343"/>
                  <a:gd name="connsiteX10" fmla="*/ 134242 w 300433"/>
                  <a:gd name="connsiteY10" fmla="*/ 36829 h 40343"/>
                  <a:gd name="connsiteX11" fmla="*/ 117871 w 300433"/>
                  <a:gd name="connsiteY11" fmla="*/ 37325 h 40343"/>
                  <a:gd name="connsiteX12" fmla="*/ 101500 w 300433"/>
                  <a:gd name="connsiteY12" fmla="*/ 36829 h 40343"/>
                  <a:gd name="connsiteX13" fmla="*/ 85130 w 300433"/>
                  <a:gd name="connsiteY13" fmla="*/ 37325 h 40343"/>
                  <a:gd name="connsiteX14" fmla="*/ 68759 w 300433"/>
                  <a:gd name="connsiteY14" fmla="*/ 37325 h 40343"/>
                  <a:gd name="connsiteX15" fmla="*/ 52389 w 300433"/>
                  <a:gd name="connsiteY15" fmla="*/ 37325 h 40343"/>
                  <a:gd name="connsiteX16" fmla="*/ 36018 w 300433"/>
                  <a:gd name="connsiteY16" fmla="*/ 37821 h 40343"/>
                  <a:gd name="connsiteX17" fmla="*/ 19647 w 300433"/>
                  <a:gd name="connsiteY17" fmla="*/ 37325 h 40343"/>
                  <a:gd name="connsiteX18" fmla="*/ 2781 w 300433"/>
                  <a:gd name="connsiteY18" fmla="*/ 37821 h 40343"/>
                  <a:gd name="connsiteX19" fmla="*/ 2285 w 300433"/>
                  <a:gd name="connsiteY19" fmla="*/ 19962 h 40343"/>
                  <a:gd name="connsiteX20" fmla="*/ 3277 w 300433"/>
                  <a:gd name="connsiteY20" fmla="*/ 3096 h 40343"/>
                  <a:gd name="connsiteX21" fmla="*/ 19151 w 300433"/>
                  <a:gd name="connsiteY21" fmla="*/ 1607 h 40343"/>
                  <a:gd name="connsiteX22" fmla="*/ 35522 w 300433"/>
                  <a:gd name="connsiteY22" fmla="*/ 3592 h 40343"/>
                  <a:gd name="connsiteX23" fmla="*/ 51892 w 300433"/>
                  <a:gd name="connsiteY23" fmla="*/ 2103 h 40343"/>
                  <a:gd name="connsiteX24" fmla="*/ 68263 w 300433"/>
                  <a:gd name="connsiteY24" fmla="*/ 4088 h 40343"/>
                  <a:gd name="connsiteX25" fmla="*/ 84634 w 300433"/>
                  <a:gd name="connsiteY25" fmla="*/ 2599 h 40343"/>
                  <a:gd name="connsiteX26" fmla="*/ 101004 w 300433"/>
                  <a:gd name="connsiteY26" fmla="*/ 3592 h 40343"/>
                  <a:gd name="connsiteX27" fmla="*/ 117375 w 300433"/>
                  <a:gd name="connsiteY27" fmla="*/ 2599 h 40343"/>
                  <a:gd name="connsiteX28" fmla="*/ 133745 w 300433"/>
                  <a:gd name="connsiteY28" fmla="*/ 1607 h 40343"/>
                  <a:gd name="connsiteX29" fmla="*/ 150116 w 300433"/>
                  <a:gd name="connsiteY29" fmla="*/ 2103 h 40343"/>
                  <a:gd name="connsiteX30" fmla="*/ 166487 w 300433"/>
                  <a:gd name="connsiteY30" fmla="*/ 3592 h 40343"/>
                  <a:gd name="connsiteX31" fmla="*/ 182857 w 300433"/>
                  <a:gd name="connsiteY31" fmla="*/ 3096 h 40343"/>
                  <a:gd name="connsiteX32" fmla="*/ 199228 w 300433"/>
                  <a:gd name="connsiteY32" fmla="*/ 2599 h 40343"/>
                  <a:gd name="connsiteX33" fmla="*/ 215598 w 300433"/>
                  <a:gd name="connsiteY33" fmla="*/ 3096 h 40343"/>
                  <a:gd name="connsiteX34" fmla="*/ 231969 w 300433"/>
                  <a:gd name="connsiteY34" fmla="*/ 2599 h 40343"/>
                  <a:gd name="connsiteX35" fmla="*/ 248339 w 300433"/>
                  <a:gd name="connsiteY35" fmla="*/ 4584 h 40343"/>
                  <a:gd name="connsiteX36" fmla="*/ 264710 w 300433"/>
                  <a:gd name="connsiteY36" fmla="*/ 2103 h 40343"/>
                  <a:gd name="connsiteX37" fmla="*/ 281080 w 300433"/>
                  <a:gd name="connsiteY37" fmla="*/ 3096 h 40343"/>
                  <a:gd name="connsiteX38" fmla="*/ 296955 w 300433"/>
                  <a:gd name="connsiteY38" fmla="*/ 4088 h 40343"/>
                  <a:gd name="connsiteX39" fmla="*/ 296955 w 300433"/>
                  <a:gd name="connsiteY39" fmla="*/ 20954 h 40343"/>
                  <a:gd name="connsiteX40" fmla="*/ 297451 w 300433"/>
                  <a:gd name="connsiteY40" fmla="*/ 37325 h 4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433" h="40343">
                    <a:moveTo>
                      <a:pt x="297451" y="37325"/>
                    </a:moveTo>
                    <a:cubicBezTo>
                      <a:pt x="291994" y="43278"/>
                      <a:pt x="289514" y="36829"/>
                      <a:pt x="281577" y="36829"/>
                    </a:cubicBezTo>
                    <a:cubicBezTo>
                      <a:pt x="273639" y="36829"/>
                      <a:pt x="273639" y="37325"/>
                      <a:pt x="265206" y="37325"/>
                    </a:cubicBezTo>
                    <a:cubicBezTo>
                      <a:pt x="257269" y="37325"/>
                      <a:pt x="257269" y="38813"/>
                      <a:pt x="248835" y="38813"/>
                    </a:cubicBezTo>
                    <a:cubicBezTo>
                      <a:pt x="240402" y="38813"/>
                      <a:pt x="240402" y="39309"/>
                      <a:pt x="232465" y="39309"/>
                    </a:cubicBezTo>
                    <a:cubicBezTo>
                      <a:pt x="224528" y="39309"/>
                      <a:pt x="224528" y="36829"/>
                      <a:pt x="216094" y="36829"/>
                    </a:cubicBezTo>
                    <a:cubicBezTo>
                      <a:pt x="207661" y="36829"/>
                      <a:pt x="207661" y="38813"/>
                      <a:pt x="199724" y="38813"/>
                    </a:cubicBezTo>
                    <a:cubicBezTo>
                      <a:pt x="191786" y="38813"/>
                      <a:pt x="191786" y="38813"/>
                      <a:pt x="183353" y="38813"/>
                    </a:cubicBezTo>
                    <a:cubicBezTo>
                      <a:pt x="174920" y="38813"/>
                      <a:pt x="174920" y="38813"/>
                      <a:pt x="166983" y="38813"/>
                    </a:cubicBezTo>
                    <a:cubicBezTo>
                      <a:pt x="158549" y="38813"/>
                      <a:pt x="158549" y="38317"/>
                      <a:pt x="150612" y="38317"/>
                    </a:cubicBezTo>
                    <a:cubicBezTo>
                      <a:pt x="142179" y="38317"/>
                      <a:pt x="142179" y="36829"/>
                      <a:pt x="134242" y="36829"/>
                    </a:cubicBezTo>
                    <a:cubicBezTo>
                      <a:pt x="125808" y="36829"/>
                      <a:pt x="125808" y="37325"/>
                      <a:pt x="117871" y="37325"/>
                    </a:cubicBezTo>
                    <a:cubicBezTo>
                      <a:pt x="109438" y="37325"/>
                      <a:pt x="109438" y="36829"/>
                      <a:pt x="101500" y="36829"/>
                    </a:cubicBezTo>
                    <a:cubicBezTo>
                      <a:pt x="93067" y="36829"/>
                      <a:pt x="93067" y="37325"/>
                      <a:pt x="85130" y="37325"/>
                    </a:cubicBezTo>
                    <a:cubicBezTo>
                      <a:pt x="76696" y="37325"/>
                      <a:pt x="76696" y="37325"/>
                      <a:pt x="68759" y="37325"/>
                    </a:cubicBezTo>
                    <a:cubicBezTo>
                      <a:pt x="60326" y="37325"/>
                      <a:pt x="60326" y="37325"/>
                      <a:pt x="52389" y="37325"/>
                    </a:cubicBezTo>
                    <a:cubicBezTo>
                      <a:pt x="43955" y="37325"/>
                      <a:pt x="43955" y="37821"/>
                      <a:pt x="36018" y="37821"/>
                    </a:cubicBezTo>
                    <a:cubicBezTo>
                      <a:pt x="27585" y="37821"/>
                      <a:pt x="27585" y="37325"/>
                      <a:pt x="19647" y="37325"/>
                    </a:cubicBezTo>
                    <a:cubicBezTo>
                      <a:pt x="11710" y="37325"/>
                      <a:pt x="8238" y="43774"/>
                      <a:pt x="2781" y="37821"/>
                    </a:cubicBezTo>
                    <a:cubicBezTo>
                      <a:pt x="-3172" y="31372"/>
                      <a:pt x="2285" y="28891"/>
                      <a:pt x="2285" y="19962"/>
                    </a:cubicBezTo>
                    <a:cubicBezTo>
                      <a:pt x="2285" y="11033"/>
                      <a:pt x="-2676" y="9048"/>
                      <a:pt x="3277" y="3096"/>
                    </a:cubicBezTo>
                    <a:cubicBezTo>
                      <a:pt x="8734" y="-2857"/>
                      <a:pt x="11214" y="1607"/>
                      <a:pt x="19151" y="1607"/>
                    </a:cubicBezTo>
                    <a:cubicBezTo>
                      <a:pt x="27088" y="1607"/>
                      <a:pt x="27088" y="3592"/>
                      <a:pt x="35522" y="3592"/>
                    </a:cubicBezTo>
                    <a:cubicBezTo>
                      <a:pt x="43459" y="3592"/>
                      <a:pt x="43459" y="2103"/>
                      <a:pt x="51892" y="2103"/>
                    </a:cubicBezTo>
                    <a:cubicBezTo>
                      <a:pt x="60326" y="2103"/>
                      <a:pt x="60326" y="4088"/>
                      <a:pt x="68263" y="4088"/>
                    </a:cubicBezTo>
                    <a:cubicBezTo>
                      <a:pt x="76200" y="4088"/>
                      <a:pt x="76200" y="2599"/>
                      <a:pt x="84634" y="2599"/>
                    </a:cubicBezTo>
                    <a:cubicBezTo>
                      <a:pt x="93067" y="2599"/>
                      <a:pt x="93067" y="3592"/>
                      <a:pt x="101004" y="3592"/>
                    </a:cubicBezTo>
                    <a:cubicBezTo>
                      <a:pt x="108941" y="3592"/>
                      <a:pt x="108941" y="2599"/>
                      <a:pt x="117375" y="2599"/>
                    </a:cubicBezTo>
                    <a:cubicBezTo>
                      <a:pt x="125808" y="2599"/>
                      <a:pt x="125808" y="1607"/>
                      <a:pt x="133745" y="1607"/>
                    </a:cubicBezTo>
                    <a:cubicBezTo>
                      <a:pt x="142179" y="1607"/>
                      <a:pt x="142179" y="2103"/>
                      <a:pt x="150116" y="2103"/>
                    </a:cubicBezTo>
                    <a:cubicBezTo>
                      <a:pt x="158549" y="2103"/>
                      <a:pt x="158549" y="3592"/>
                      <a:pt x="166487" y="3592"/>
                    </a:cubicBezTo>
                    <a:cubicBezTo>
                      <a:pt x="174920" y="3592"/>
                      <a:pt x="174920" y="3096"/>
                      <a:pt x="182857" y="3096"/>
                    </a:cubicBezTo>
                    <a:cubicBezTo>
                      <a:pt x="191290" y="3096"/>
                      <a:pt x="191290" y="2599"/>
                      <a:pt x="199228" y="2599"/>
                    </a:cubicBezTo>
                    <a:cubicBezTo>
                      <a:pt x="207661" y="2599"/>
                      <a:pt x="207661" y="3096"/>
                      <a:pt x="215598" y="3096"/>
                    </a:cubicBezTo>
                    <a:cubicBezTo>
                      <a:pt x="224032" y="3096"/>
                      <a:pt x="224032" y="2599"/>
                      <a:pt x="231969" y="2599"/>
                    </a:cubicBezTo>
                    <a:cubicBezTo>
                      <a:pt x="240402" y="2599"/>
                      <a:pt x="240402" y="4584"/>
                      <a:pt x="248339" y="4584"/>
                    </a:cubicBezTo>
                    <a:cubicBezTo>
                      <a:pt x="256773" y="4584"/>
                      <a:pt x="256773" y="2103"/>
                      <a:pt x="264710" y="2103"/>
                    </a:cubicBezTo>
                    <a:cubicBezTo>
                      <a:pt x="273143" y="2103"/>
                      <a:pt x="273143" y="3096"/>
                      <a:pt x="281080" y="3096"/>
                    </a:cubicBezTo>
                    <a:cubicBezTo>
                      <a:pt x="289018" y="3096"/>
                      <a:pt x="291002" y="-1865"/>
                      <a:pt x="296955" y="4088"/>
                    </a:cubicBezTo>
                    <a:cubicBezTo>
                      <a:pt x="302908" y="10537"/>
                      <a:pt x="295467" y="12521"/>
                      <a:pt x="296955" y="20954"/>
                    </a:cubicBezTo>
                    <a:cubicBezTo>
                      <a:pt x="298939" y="29388"/>
                      <a:pt x="303404" y="30876"/>
                      <a:pt x="297451" y="3732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5" name="Freeform: Shape 1724">
                <a:extLst>
                  <a:ext uri="{FF2B5EF4-FFF2-40B4-BE49-F238E27FC236}">
                    <a16:creationId xmlns:a16="http://schemas.microsoft.com/office/drawing/2014/main" id="{14B8BBB6-0D7D-79F8-23C6-A199563FD058}"/>
                  </a:ext>
                </a:extLst>
              </p:cNvPr>
              <p:cNvSpPr/>
              <p:nvPr/>
            </p:nvSpPr>
            <p:spPr>
              <a:xfrm>
                <a:off x="5027539" y="3121873"/>
                <a:ext cx="299539" cy="305032"/>
              </a:xfrm>
              <a:custGeom>
                <a:avLst/>
                <a:gdLst>
                  <a:gd name="connsiteX0" fmla="*/ 1569 w 299539"/>
                  <a:gd name="connsiteY0" fmla="*/ 305033 h 305032"/>
                  <a:gd name="connsiteX1" fmla="*/ 3553 w 299539"/>
                  <a:gd name="connsiteY1" fmla="*/ 289158 h 305032"/>
                  <a:gd name="connsiteX2" fmla="*/ 3057 w 299539"/>
                  <a:gd name="connsiteY2" fmla="*/ 273284 h 305032"/>
                  <a:gd name="connsiteX3" fmla="*/ 3057 w 299539"/>
                  <a:gd name="connsiteY3" fmla="*/ 257409 h 305032"/>
                  <a:gd name="connsiteX4" fmla="*/ 1569 w 299539"/>
                  <a:gd name="connsiteY4" fmla="*/ 241535 h 305032"/>
                  <a:gd name="connsiteX5" fmla="*/ 3057 w 299539"/>
                  <a:gd name="connsiteY5" fmla="*/ 225660 h 305032"/>
                  <a:gd name="connsiteX6" fmla="*/ 2561 w 299539"/>
                  <a:gd name="connsiteY6" fmla="*/ 209786 h 305032"/>
                  <a:gd name="connsiteX7" fmla="*/ 1569 w 299539"/>
                  <a:gd name="connsiteY7" fmla="*/ 193911 h 305032"/>
                  <a:gd name="connsiteX8" fmla="*/ 1569 w 299539"/>
                  <a:gd name="connsiteY8" fmla="*/ 178037 h 305032"/>
                  <a:gd name="connsiteX9" fmla="*/ 1569 w 299539"/>
                  <a:gd name="connsiteY9" fmla="*/ 162162 h 305032"/>
                  <a:gd name="connsiteX10" fmla="*/ 1073 w 299539"/>
                  <a:gd name="connsiteY10" fmla="*/ 146288 h 305032"/>
                  <a:gd name="connsiteX11" fmla="*/ 2065 w 299539"/>
                  <a:gd name="connsiteY11" fmla="*/ 130413 h 305032"/>
                  <a:gd name="connsiteX12" fmla="*/ 1073 w 299539"/>
                  <a:gd name="connsiteY12" fmla="*/ 114539 h 305032"/>
                  <a:gd name="connsiteX13" fmla="*/ 2561 w 299539"/>
                  <a:gd name="connsiteY13" fmla="*/ 98664 h 305032"/>
                  <a:gd name="connsiteX14" fmla="*/ 3057 w 299539"/>
                  <a:gd name="connsiteY14" fmla="*/ 82790 h 305032"/>
                  <a:gd name="connsiteX15" fmla="*/ 2065 w 299539"/>
                  <a:gd name="connsiteY15" fmla="*/ 66915 h 305032"/>
                  <a:gd name="connsiteX16" fmla="*/ 3057 w 299539"/>
                  <a:gd name="connsiteY16" fmla="*/ 51041 h 305032"/>
                  <a:gd name="connsiteX17" fmla="*/ 2561 w 299539"/>
                  <a:gd name="connsiteY17" fmla="*/ 35167 h 305032"/>
                  <a:gd name="connsiteX18" fmla="*/ 2065 w 299539"/>
                  <a:gd name="connsiteY18" fmla="*/ 19292 h 305032"/>
                  <a:gd name="connsiteX19" fmla="*/ 2561 w 299539"/>
                  <a:gd name="connsiteY19" fmla="*/ 3913 h 305032"/>
                  <a:gd name="connsiteX20" fmla="*/ 18435 w 299539"/>
                  <a:gd name="connsiteY20" fmla="*/ 4410 h 305032"/>
                  <a:gd name="connsiteX21" fmla="*/ 34806 w 299539"/>
                  <a:gd name="connsiteY21" fmla="*/ 4410 h 305032"/>
                  <a:gd name="connsiteX22" fmla="*/ 51176 w 299539"/>
                  <a:gd name="connsiteY22" fmla="*/ 1929 h 305032"/>
                  <a:gd name="connsiteX23" fmla="*/ 67547 w 299539"/>
                  <a:gd name="connsiteY23" fmla="*/ 3913 h 305032"/>
                  <a:gd name="connsiteX24" fmla="*/ 83918 w 299539"/>
                  <a:gd name="connsiteY24" fmla="*/ 3913 h 305032"/>
                  <a:gd name="connsiteX25" fmla="*/ 100288 w 299539"/>
                  <a:gd name="connsiteY25" fmla="*/ 1929 h 305032"/>
                  <a:gd name="connsiteX26" fmla="*/ 116659 w 299539"/>
                  <a:gd name="connsiteY26" fmla="*/ 3913 h 305032"/>
                  <a:gd name="connsiteX27" fmla="*/ 133029 w 299539"/>
                  <a:gd name="connsiteY27" fmla="*/ 3913 h 305032"/>
                  <a:gd name="connsiteX28" fmla="*/ 149400 w 299539"/>
                  <a:gd name="connsiteY28" fmla="*/ 1929 h 305032"/>
                  <a:gd name="connsiteX29" fmla="*/ 165771 w 299539"/>
                  <a:gd name="connsiteY29" fmla="*/ 2425 h 305032"/>
                  <a:gd name="connsiteX30" fmla="*/ 182141 w 299539"/>
                  <a:gd name="connsiteY30" fmla="*/ 1433 h 305032"/>
                  <a:gd name="connsiteX31" fmla="*/ 198512 w 299539"/>
                  <a:gd name="connsiteY31" fmla="*/ 3417 h 305032"/>
                  <a:gd name="connsiteX32" fmla="*/ 214882 w 299539"/>
                  <a:gd name="connsiteY32" fmla="*/ 3417 h 305032"/>
                  <a:gd name="connsiteX33" fmla="*/ 231253 w 299539"/>
                  <a:gd name="connsiteY33" fmla="*/ 3417 h 305032"/>
                  <a:gd name="connsiteX34" fmla="*/ 247623 w 299539"/>
                  <a:gd name="connsiteY34" fmla="*/ 2425 h 305032"/>
                  <a:gd name="connsiteX35" fmla="*/ 263994 w 299539"/>
                  <a:gd name="connsiteY35" fmla="*/ 1433 h 305032"/>
                  <a:gd name="connsiteX36" fmla="*/ 280364 w 299539"/>
                  <a:gd name="connsiteY36" fmla="*/ 2425 h 305032"/>
                  <a:gd name="connsiteX37" fmla="*/ 297231 w 299539"/>
                  <a:gd name="connsiteY37" fmla="*/ 2425 h 305032"/>
                  <a:gd name="connsiteX38" fmla="*/ 295743 w 299539"/>
                  <a:gd name="connsiteY38" fmla="*/ 18796 h 305032"/>
                  <a:gd name="connsiteX39" fmla="*/ 297231 w 299539"/>
                  <a:gd name="connsiteY39" fmla="*/ 34670 h 305032"/>
                  <a:gd name="connsiteX40" fmla="*/ 296735 w 299539"/>
                  <a:gd name="connsiteY40" fmla="*/ 50545 h 305032"/>
                  <a:gd name="connsiteX41" fmla="*/ 296735 w 299539"/>
                  <a:gd name="connsiteY41" fmla="*/ 66419 h 305032"/>
                  <a:gd name="connsiteX42" fmla="*/ 296239 w 299539"/>
                  <a:gd name="connsiteY42" fmla="*/ 82294 h 305032"/>
                  <a:gd name="connsiteX43" fmla="*/ 296735 w 299539"/>
                  <a:gd name="connsiteY43" fmla="*/ 98168 h 305032"/>
                  <a:gd name="connsiteX44" fmla="*/ 296735 w 299539"/>
                  <a:gd name="connsiteY44" fmla="*/ 114043 h 305032"/>
                  <a:gd name="connsiteX45" fmla="*/ 296735 w 299539"/>
                  <a:gd name="connsiteY45" fmla="*/ 129917 h 305032"/>
                  <a:gd name="connsiteX46" fmla="*/ 296239 w 299539"/>
                  <a:gd name="connsiteY46" fmla="*/ 145792 h 305032"/>
                  <a:gd name="connsiteX47" fmla="*/ 297231 w 299539"/>
                  <a:gd name="connsiteY47" fmla="*/ 161666 h 305032"/>
                  <a:gd name="connsiteX48" fmla="*/ 296735 w 299539"/>
                  <a:gd name="connsiteY48" fmla="*/ 177541 h 305032"/>
                  <a:gd name="connsiteX49" fmla="*/ 296735 w 299539"/>
                  <a:gd name="connsiteY49" fmla="*/ 193415 h 305032"/>
                  <a:gd name="connsiteX50" fmla="*/ 297727 w 299539"/>
                  <a:gd name="connsiteY50" fmla="*/ 209290 h 305032"/>
                  <a:gd name="connsiteX51" fmla="*/ 297727 w 299539"/>
                  <a:gd name="connsiteY51" fmla="*/ 225164 h 305032"/>
                  <a:gd name="connsiteX52" fmla="*/ 297231 w 299539"/>
                  <a:gd name="connsiteY52" fmla="*/ 241039 h 305032"/>
                  <a:gd name="connsiteX53" fmla="*/ 296239 w 299539"/>
                  <a:gd name="connsiteY53" fmla="*/ 256913 h 305032"/>
                  <a:gd name="connsiteX54" fmla="*/ 297231 w 299539"/>
                  <a:gd name="connsiteY54" fmla="*/ 272788 h 305032"/>
                  <a:gd name="connsiteX55" fmla="*/ 296239 w 299539"/>
                  <a:gd name="connsiteY55" fmla="*/ 288662 h 305032"/>
                  <a:gd name="connsiteX56" fmla="*/ 297727 w 299539"/>
                  <a:gd name="connsiteY56" fmla="*/ 304537 h 305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539" h="305032">
                    <a:moveTo>
                      <a:pt x="1569" y="305033"/>
                    </a:moveTo>
                    <a:cubicBezTo>
                      <a:pt x="1569" y="297096"/>
                      <a:pt x="3553" y="297096"/>
                      <a:pt x="3553" y="289158"/>
                    </a:cubicBezTo>
                    <a:cubicBezTo>
                      <a:pt x="3553" y="281221"/>
                      <a:pt x="3057" y="281221"/>
                      <a:pt x="3057" y="273284"/>
                    </a:cubicBezTo>
                    <a:cubicBezTo>
                      <a:pt x="3057" y="265347"/>
                      <a:pt x="3057" y="265347"/>
                      <a:pt x="3057" y="257409"/>
                    </a:cubicBezTo>
                    <a:cubicBezTo>
                      <a:pt x="3057" y="249472"/>
                      <a:pt x="1569" y="249472"/>
                      <a:pt x="1569" y="241535"/>
                    </a:cubicBezTo>
                    <a:cubicBezTo>
                      <a:pt x="1569" y="233598"/>
                      <a:pt x="3057" y="233598"/>
                      <a:pt x="3057" y="225660"/>
                    </a:cubicBezTo>
                    <a:cubicBezTo>
                      <a:pt x="3057" y="217723"/>
                      <a:pt x="2561" y="217723"/>
                      <a:pt x="2561" y="209786"/>
                    </a:cubicBezTo>
                    <a:cubicBezTo>
                      <a:pt x="2561" y="201849"/>
                      <a:pt x="1569" y="201849"/>
                      <a:pt x="1569" y="193911"/>
                    </a:cubicBezTo>
                    <a:cubicBezTo>
                      <a:pt x="1569" y="185974"/>
                      <a:pt x="1569" y="185974"/>
                      <a:pt x="1569" y="178037"/>
                    </a:cubicBezTo>
                    <a:cubicBezTo>
                      <a:pt x="1569" y="170099"/>
                      <a:pt x="1569" y="170099"/>
                      <a:pt x="1569" y="162162"/>
                    </a:cubicBezTo>
                    <a:cubicBezTo>
                      <a:pt x="1569" y="154225"/>
                      <a:pt x="1073" y="154225"/>
                      <a:pt x="1073" y="146288"/>
                    </a:cubicBezTo>
                    <a:cubicBezTo>
                      <a:pt x="1073" y="138351"/>
                      <a:pt x="2065" y="138351"/>
                      <a:pt x="2065" y="130413"/>
                    </a:cubicBezTo>
                    <a:cubicBezTo>
                      <a:pt x="2065" y="122476"/>
                      <a:pt x="1073" y="122476"/>
                      <a:pt x="1073" y="114539"/>
                    </a:cubicBezTo>
                    <a:cubicBezTo>
                      <a:pt x="1073" y="106602"/>
                      <a:pt x="2561" y="106602"/>
                      <a:pt x="2561" y="98664"/>
                    </a:cubicBezTo>
                    <a:cubicBezTo>
                      <a:pt x="2561" y="90727"/>
                      <a:pt x="3057" y="90727"/>
                      <a:pt x="3057" y="82790"/>
                    </a:cubicBezTo>
                    <a:cubicBezTo>
                      <a:pt x="3057" y="74853"/>
                      <a:pt x="2065" y="74853"/>
                      <a:pt x="2065" y="66915"/>
                    </a:cubicBezTo>
                    <a:cubicBezTo>
                      <a:pt x="2065" y="58978"/>
                      <a:pt x="3057" y="58978"/>
                      <a:pt x="3057" y="51041"/>
                    </a:cubicBezTo>
                    <a:cubicBezTo>
                      <a:pt x="3057" y="43104"/>
                      <a:pt x="2561" y="43104"/>
                      <a:pt x="2561" y="35167"/>
                    </a:cubicBezTo>
                    <a:cubicBezTo>
                      <a:pt x="2561" y="27229"/>
                      <a:pt x="2065" y="27229"/>
                      <a:pt x="2065" y="19292"/>
                    </a:cubicBezTo>
                    <a:cubicBezTo>
                      <a:pt x="2065" y="11355"/>
                      <a:pt x="-2896" y="9370"/>
                      <a:pt x="2561" y="3913"/>
                    </a:cubicBezTo>
                    <a:cubicBezTo>
                      <a:pt x="8514" y="-2039"/>
                      <a:pt x="10002" y="4410"/>
                      <a:pt x="18435" y="4410"/>
                    </a:cubicBezTo>
                    <a:cubicBezTo>
                      <a:pt x="26373" y="4410"/>
                      <a:pt x="26373" y="4410"/>
                      <a:pt x="34806" y="4410"/>
                    </a:cubicBezTo>
                    <a:cubicBezTo>
                      <a:pt x="42743" y="4410"/>
                      <a:pt x="42743" y="1929"/>
                      <a:pt x="51176" y="1929"/>
                    </a:cubicBezTo>
                    <a:cubicBezTo>
                      <a:pt x="59610" y="1929"/>
                      <a:pt x="59610" y="3913"/>
                      <a:pt x="67547" y="3913"/>
                    </a:cubicBezTo>
                    <a:cubicBezTo>
                      <a:pt x="75484" y="3913"/>
                      <a:pt x="75484" y="3913"/>
                      <a:pt x="83918" y="3913"/>
                    </a:cubicBezTo>
                    <a:cubicBezTo>
                      <a:pt x="92351" y="3913"/>
                      <a:pt x="92351" y="1929"/>
                      <a:pt x="100288" y="1929"/>
                    </a:cubicBezTo>
                    <a:cubicBezTo>
                      <a:pt x="108225" y="1929"/>
                      <a:pt x="108225" y="3913"/>
                      <a:pt x="116659" y="3913"/>
                    </a:cubicBezTo>
                    <a:cubicBezTo>
                      <a:pt x="125092" y="3913"/>
                      <a:pt x="125092" y="3913"/>
                      <a:pt x="133029" y="3913"/>
                    </a:cubicBezTo>
                    <a:cubicBezTo>
                      <a:pt x="141463" y="3913"/>
                      <a:pt x="141463" y="1929"/>
                      <a:pt x="149400" y="1929"/>
                    </a:cubicBezTo>
                    <a:cubicBezTo>
                      <a:pt x="157833" y="1929"/>
                      <a:pt x="157833" y="2425"/>
                      <a:pt x="165771" y="2425"/>
                    </a:cubicBezTo>
                    <a:cubicBezTo>
                      <a:pt x="174204" y="2425"/>
                      <a:pt x="174204" y="1433"/>
                      <a:pt x="182141" y="1433"/>
                    </a:cubicBezTo>
                    <a:cubicBezTo>
                      <a:pt x="190574" y="1433"/>
                      <a:pt x="190574" y="3417"/>
                      <a:pt x="198512" y="3417"/>
                    </a:cubicBezTo>
                    <a:cubicBezTo>
                      <a:pt x="206945" y="3417"/>
                      <a:pt x="206945" y="3417"/>
                      <a:pt x="214882" y="3417"/>
                    </a:cubicBezTo>
                    <a:cubicBezTo>
                      <a:pt x="223316" y="3417"/>
                      <a:pt x="223316" y="3417"/>
                      <a:pt x="231253" y="3417"/>
                    </a:cubicBezTo>
                    <a:cubicBezTo>
                      <a:pt x="239686" y="3417"/>
                      <a:pt x="239686" y="2425"/>
                      <a:pt x="247623" y="2425"/>
                    </a:cubicBezTo>
                    <a:cubicBezTo>
                      <a:pt x="256057" y="2425"/>
                      <a:pt x="256057" y="1433"/>
                      <a:pt x="263994" y="1433"/>
                    </a:cubicBezTo>
                    <a:cubicBezTo>
                      <a:pt x="272427" y="1433"/>
                      <a:pt x="272427" y="2425"/>
                      <a:pt x="280364" y="2425"/>
                    </a:cubicBezTo>
                    <a:cubicBezTo>
                      <a:pt x="288302" y="2425"/>
                      <a:pt x="291278" y="-3032"/>
                      <a:pt x="297231" y="2425"/>
                    </a:cubicBezTo>
                    <a:cubicBezTo>
                      <a:pt x="303184" y="7882"/>
                      <a:pt x="295743" y="10859"/>
                      <a:pt x="295743" y="18796"/>
                    </a:cubicBezTo>
                    <a:cubicBezTo>
                      <a:pt x="295743" y="26733"/>
                      <a:pt x="297231" y="26733"/>
                      <a:pt x="297231" y="34670"/>
                    </a:cubicBezTo>
                    <a:cubicBezTo>
                      <a:pt x="297231" y="42608"/>
                      <a:pt x="296735" y="42608"/>
                      <a:pt x="296735" y="50545"/>
                    </a:cubicBezTo>
                    <a:cubicBezTo>
                      <a:pt x="296735" y="58482"/>
                      <a:pt x="296735" y="58482"/>
                      <a:pt x="296735" y="66419"/>
                    </a:cubicBezTo>
                    <a:cubicBezTo>
                      <a:pt x="296735" y="74357"/>
                      <a:pt x="296239" y="74357"/>
                      <a:pt x="296239" y="82294"/>
                    </a:cubicBezTo>
                    <a:cubicBezTo>
                      <a:pt x="296239" y="90231"/>
                      <a:pt x="296735" y="90231"/>
                      <a:pt x="296735" y="98168"/>
                    </a:cubicBezTo>
                    <a:cubicBezTo>
                      <a:pt x="296735" y="106106"/>
                      <a:pt x="296735" y="106106"/>
                      <a:pt x="296735" y="114043"/>
                    </a:cubicBezTo>
                    <a:cubicBezTo>
                      <a:pt x="296735" y="121980"/>
                      <a:pt x="296735" y="121980"/>
                      <a:pt x="296735" y="129917"/>
                    </a:cubicBezTo>
                    <a:cubicBezTo>
                      <a:pt x="296735" y="137854"/>
                      <a:pt x="296239" y="137854"/>
                      <a:pt x="296239" y="145792"/>
                    </a:cubicBezTo>
                    <a:cubicBezTo>
                      <a:pt x="296239" y="153729"/>
                      <a:pt x="297231" y="153729"/>
                      <a:pt x="297231" y="161666"/>
                    </a:cubicBezTo>
                    <a:cubicBezTo>
                      <a:pt x="297231" y="169604"/>
                      <a:pt x="296735" y="169604"/>
                      <a:pt x="296735" y="177541"/>
                    </a:cubicBezTo>
                    <a:cubicBezTo>
                      <a:pt x="296735" y="185478"/>
                      <a:pt x="296735" y="185478"/>
                      <a:pt x="296735" y="193415"/>
                    </a:cubicBezTo>
                    <a:cubicBezTo>
                      <a:pt x="296735" y="201353"/>
                      <a:pt x="297727" y="201353"/>
                      <a:pt x="297727" y="209290"/>
                    </a:cubicBezTo>
                    <a:cubicBezTo>
                      <a:pt x="297727" y="217227"/>
                      <a:pt x="297727" y="217227"/>
                      <a:pt x="297727" y="225164"/>
                    </a:cubicBezTo>
                    <a:cubicBezTo>
                      <a:pt x="297727" y="233101"/>
                      <a:pt x="297231" y="233101"/>
                      <a:pt x="297231" y="241039"/>
                    </a:cubicBezTo>
                    <a:cubicBezTo>
                      <a:pt x="297231" y="248976"/>
                      <a:pt x="296239" y="248976"/>
                      <a:pt x="296239" y="256913"/>
                    </a:cubicBezTo>
                    <a:cubicBezTo>
                      <a:pt x="296239" y="264851"/>
                      <a:pt x="297231" y="264851"/>
                      <a:pt x="297231" y="272788"/>
                    </a:cubicBezTo>
                    <a:cubicBezTo>
                      <a:pt x="297231" y="280725"/>
                      <a:pt x="296239" y="280725"/>
                      <a:pt x="296239" y="288662"/>
                    </a:cubicBezTo>
                    <a:cubicBezTo>
                      <a:pt x="296239" y="296599"/>
                      <a:pt x="297727" y="296599"/>
                      <a:pt x="297727" y="30453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6" name="Freeform: Shape 1725">
                <a:extLst>
                  <a:ext uri="{FF2B5EF4-FFF2-40B4-BE49-F238E27FC236}">
                    <a16:creationId xmlns:a16="http://schemas.microsoft.com/office/drawing/2014/main" id="{B4A6EECC-FDD8-AFA4-20EF-16D54C4EC0B2}"/>
                  </a:ext>
                </a:extLst>
              </p:cNvPr>
              <p:cNvSpPr/>
              <p:nvPr/>
            </p:nvSpPr>
            <p:spPr>
              <a:xfrm>
                <a:off x="4998171" y="3425913"/>
                <a:ext cx="362317" cy="61651"/>
              </a:xfrm>
              <a:custGeom>
                <a:avLst/>
                <a:gdLst>
                  <a:gd name="connsiteX0" fmla="*/ 2661 w 362317"/>
                  <a:gd name="connsiteY0" fmla="*/ 1984 h 61651"/>
                  <a:gd name="connsiteX1" fmla="*/ 18039 w 362317"/>
                  <a:gd name="connsiteY1" fmla="*/ 1984 h 61651"/>
                  <a:gd name="connsiteX2" fmla="*/ 34409 w 362317"/>
                  <a:gd name="connsiteY2" fmla="*/ 1984 h 61651"/>
                  <a:gd name="connsiteX3" fmla="*/ 50780 w 362317"/>
                  <a:gd name="connsiteY3" fmla="*/ 2480 h 61651"/>
                  <a:gd name="connsiteX4" fmla="*/ 67151 w 362317"/>
                  <a:gd name="connsiteY4" fmla="*/ 1984 h 61651"/>
                  <a:gd name="connsiteX5" fmla="*/ 83521 w 362317"/>
                  <a:gd name="connsiteY5" fmla="*/ 992 h 61651"/>
                  <a:gd name="connsiteX6" fmla="*/ 99396 w 362317"/>
                  <a:gd name="connsiteY6" fmla="*/ 496 h 61651"/>
                  <a:gd name="connsiteX7" fmla="*/ 115270 w 362317"/>
                  <a:gd name="connsiteY7" fmla="*/ 496 h 61651"/>
                  <a:gd name="connsiteX8" fmla="*/ 131641 w 362317"/>
                  <a:gd name="connsiteY8" fmla="*/ 992 h 61651"/>
                  <a:gd name="connsiteX9" fmla="*/ 147515 w 362317"/>
                  <a:gd name="connsiteY9" fmla="*/ 0 h 61651"/>
                  <a:gd name="connsiteX10" fmla="*/ 163886 w 362317"/>
                  <a:gd name="connsiteY10" fmla="*/ 496 h 61651"/>
                  <a:gd name="connsiteX11" fmla="*/ 180256 w 362317"/>
                  <a:gd name="connsiteY11" fmla="*/ 0 h 61651"/>
                  <a:gd name="connsiteX12" fmla="*/ 196627 w 362317"/>
                  <a:gd name="connsiteY12" fmla="*/ 1488 h 61651"/>
                  <a:gd name="connsiteX13" fmla="*/ 212997 w 362317"/>
                  <a:gd name="connsiteY13" fmla="*/ 2480 h 61651"/>
                  <a:gd name="connsiteX14" fmla="*/ 229368 w 362317"/>
                  <a:gd name="connsiteY14" fmla="*/ 1984 h 61651"/>
                  <a:gd name="connsiteX15" fmla="*/ 245739 w 362317"/>
                  <a:gd name="connsiteY15" fmla="*/ 2480 h 61651"/>
                  <a:gd name="connsiteX16" fmla="*/ 262109 w 362317"/>
                  <a:gd name="connsiteY16" fmla="*/ 496 h 61651"/>
                  <a:gd name="connsiteX17" fmla="*/ 278480 w 362317"/>
                  <a:gd name="connsiteY17" fmla="*/ 496 h 61651"/>
                  <a:gd name="connsiteX18" fmla="*/ 294850 w 362317"/>
                  <a:gd name="connsiteY18" fmla="*/ 1488 h 61651"/>
                  <a:gd name="connsiteX19" fmla="*/ 311221 w 362317"/>
                  <a:gd name="connsiteY19" fmla="*/ 496 h 61651"/>
                  <a:gd name="connsiteX20" fmla="*/ 327592 w 362317"/>
                  <a:gd name="connsiteY20" fmla="*/ 1984 h 61651"/>
                  <a:gd name="connsiteX21" fmla="*/ 343962 w 362317"/>
                  <a:gd name="connsiteY21" fmla="*/ 2480 h 61651"/>
                  <a:gd name="connsiteX22" fmla="*/ 359340 w 362317"/>
                  <a:gd name="connsiteY22" fmla="*/ 2480 h 61651"/>
                  <a:gd name="connsiteX23" fmla="*/ 360829 w 362317"/>
                  <a:gd name="connsiteY23" fmla="*/ 12402 h 61651"/>
                  <a:gd name="connsiteX24" fmla="*/ 352891 w 362317"/>
                  <a:gd name="connsiteY24" fmla="*/ 28773 h 61651"/>
                  <a:gd name="connsiteX25" fmla="*/ 343466 w 362317"/>
                  <a:gd name="connsiteY25" fmla="*/ 44151 h 61651"/>
                  <a:gd name="connsiteX26" fmla="*/ 335033 w 362317"/>
                  <a:gd name="connsiteY26" fmla="*/ 59529 h 61651"/>
                  <a:gd name="connsiteX27" fmla="*/ 319654 w 362317"/>
                  <a:gd name="connsiteY27" fmla="*/ 60026 h 61651"/>
                  <a:gd name="connsiteX28" fmla="*/ 303780 w 362317"/>
                  <a:gd name="connsiteY28" fmla="*/ 60522 h 61651"/>
                  <a:gd name="connsiteX29" fmla="*/ 287905 w 362317"/>
                  <a:gd name="connsiteY29" fmla="*/ 61018 h 61651"/>
                  <a:gd name="connsiteX30" fmla="*/ 272031 w 362317"/>
                  <a:gd name="connsiteY30" fmla="*/ 60522 h 61651"/>
                  <a:gd name="connsiteX31" fmla="*/ 256156 w 362317"/>
                  <a:gd name="connsiteY31" fmla="*/ 59529 h 61651"/>
                  <a:gd name="connsiteX32" fmla="*/ 240282 w 362317"/>
                  <a:gd name="connsiteY32" fmla="*/ 59033 h 61651"/>
                  <a:gd name="connsiteX33" fmla="*/ 224407 w 362317"/>
                  <a:gd name="connsiteY33" fmla="*/ 58537 h 61651"/>
                  <a:gd name="connsiteX34" fmla="*/ 208533 w 362317"/>
                  <a:gd name="connsiteY34" fmla="*/ 58537 h 61651"/>
                  <a:gd name="connsiteX35" fmla="*/ 192658 w 362317"/>
                  <a:gd name="connsiteY35" fmla="*/ 58537 h 61651"/>
                  <a:gd name="connsiteX36" fmla="*/ 176784 w 362317"/>
                  <a:gd name="connsiteY36" fmla="*/ 58041 h 61651"/>
                  <a:gd name="connsiteX37" fmla="*/ 160909 w 362317"/>
                  <a:gd name="connsiteY37" fmla="*/ 59033 h 61651"/>
                  <a:gd name="connsiteX38" fmla="*/ 145035 w 362317"/>
                  <a:gd name="connsiteY38" fmla="*/ 59529 h 61651"/>
                  <a:gd name="connsiteX39" fmla="*/ 129160 w 362317"/>
                  <a:gd name="connsiteY39" fmla="*/ 59033 h 61651"/>
                  <a:gd name="connsiteX40" fmla="*/ 113286 w 362317"/>
                  <a:gd name="connsiteY40" fmla="*/ 59529 h 61651"/>
                  <a:gd name="connsiteX41" fmla="*/ 97411 w 362317"/>
                  <a:gd name="connsiteY41" fmla="*/ 59033 h 61651"/>
                  <a:gd name="connsiteX42" fmla="*/ 81537 w 362317"/>
                  <a:gd name="connsiteY42" fmla="*/ 59529 h 61651"/>
                  <a:gd name="connsiteX43" fmla="*/ 65662 w 362317"/>
                  <a:gd name="connsiteY43" fmla="*/ 59529 h 61651"/>
                  <a:gd name="connsiteX44" fmla="*/ 49788 w 362317"/>
                  <a:gd name="connsiteY44" fmla="*/ 59529 h 61651"/>
                  <a:gd name="connsiteX45" fmla="*/ 33913 w 362317"/>
                  <a:gd name="connsiteY45" fmla="*/ 59529 h 61651"/>
                  <a:gd name="connsiteX46" fmla="*/ 24488 w 362317"/>
                  <a:gd name="connsiteY46" fmla="*/ 43159 h 61651"/>
                  <a:gd name="connsiteX47" fmla="*/ 13574 w 362317"/>
                  <a:gd name="connsiteY47" fmla="*/ 27781 h 61651"/>
                  <a:gd name="connsiteX48" fmla="*/ 4645 w 362317"/>
                  <a:gd name="connsiteY48" fmla="*/ 10914 h 61651"/>
                  <a:gd name="connsiteX49" fmla="*/ 2661 w 362317"/>
                  <a:gd name="connsiteY49" fmla="*/ 1984 h 6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317" h="61651">
                    <a:moveTo>
                      <a:pt x="2661" y="1984"/>
                    </a:moveTo>
                    <a:cubicBezTo>
                      <a:pt x="9110" y="-2480"/>
                      <a:pt x="10102" y="1984"/>
                      <a:pt x="18039" y="1984"/>
                    </a:cubicBezTo>
                    <a:cubicBezTo>
                      <a:pt x="25976" y="1984"/>
                      <a:pt x="25976" y="1984"/>
                      <a:pt x="34409" y="1984"/>
                    </a:cubicBezTo>
                    <a:cubicBezTo>
                      <a:pt x="42347" y="1984"/>
                      <a:pt x="42347" y="2480"/>
                      <a:pt x="50780" y="2480"/>
                    </a:cubicBezTo>
                    <a:cubicBezTo>
                      <a:pt x="58717" y="2480"/>
                      <a:pt x="58717" y="1984"/>
                      <a:pt x="67151" y="1984"/>
                    </a:cubicBezTo>
                    <a:cubicBezTo>
                      <a:pt x="75584" y="1984"/>
                      <a:pt x="75088" y="992"/>
                      <a:pt x="83521" y="992"/>
                    </a:cubicBezTo>
                    <a:cubicBezTo>
                      <a:pt x="91458" y="992"/>
                      <a:pt x="91458" y="496"/>
                      <a:pt x="99396" y="496"/>
                    </a:cubicBezTo>
                    <a:cubicBezTo>
                      <a:pt x="107333" y="496"/>
                      <a:pt x="107333" y="496"/>
                      <a:pt x="115270" y="496"/>
                    </a:cubicBezTo>
                    <a:cubicBezTo>
                      <a:pt x="123207" y="496"/>
                      <a:pt x="123207" y="992"/>
                      <a:pt x="131641" y="992"/>
                    </a:cubicBezTo>
                    <a:cubicBezTo>
                      <a:pt x="139578" y="992"/>
                      <a:pt x="139578" y="0"/>
                      <a:pt x="147515" y="0"/>
                    </a:cubicBezTo>
                    <a:cubicBezTo>
                      <a:pt x="155453" y="0"/>
                      <a:pt x="155453" y="496"/>
                      <a:pt x="163886" y="496"/>
                    </a:cubicBezTo>
                    <a:cubicBezTo>
                      <a:pt x="171823" y="496"/>
                      <a:pt x="171823" y="0"/>
                      <a:pt x="180256" y="0"/>
                    </a:cubicBezTo>
                    <a:cubicBezTo>
                      <a:pt x="188194" y="0"/>
                      <a:pt x="188194" y="1488"/>
                      <a:pt x="196627" y="1488"/>
                    </a:cubicBezTo>
                    <a:cubicBezTo>
                      <a:pt x="204564" y="1488"/>
                      <a:pt x="204564" y="2480"/>
                      <a:pt x="212997" y="2480"/>
                    </a:cubicBezTo>
                    <a:cubicBezTo>
                      <a:pt x="220935" y="2480"/>
                      <a:pt x="220935" y="1984"/>
                      <a:pt x="229368" y="1984"/>
                    </a:cubicBezTo>
                    <a:cubicBezTo>
                      <a:pt x="237305" y="1984"/>
                      <a:pt x="237305" y="2480"/>
                      <a:pt x="245739" y="2480"/>
                    </a:cubicBezTo>
                    <a:cubicBezTo>
                      <a:pt x="254172" y="2480"/>
                      <a:pt x="253676" y="496"/>
                      <a:pt x="262109" y="496"/>
                    </a:cubicBezTo>
                    <a:cubicBezTo>
                      <a:pt x="270046" y="496"/>
                      <a:pt x="270046" y="496"/>
                      <a:pt x="278480" y="496"/>
                    </a:cubicBezTo>
                    <a:cubicBezTo>
                      <a:pt x="286417" y="496"/>
                      <a:pt x="286417" y="1488"/>
                      <a:pt x="294850" y="1488"/>
                    </a:cubicBezTo>
                    <a:cubicBezTo>
                      <a:pt x="302788" y="1488"/>
                      <a:pt x="302788" y="496"/>
                      <a:pt x="311221" y="496"/>
                    </a:cubicBezTo>
                    <a:cubicBezTo>
                      <a:pt x="319158" y="496"/>
                      <a:pt x="319158" y="1984"/>
                      <a:pt x="327592" y="1984"/>
                    </a:cubicBezTo>
                    <a:cubicBezTo>
                      <a:pt x="335529" y="1984"/>
                      <a:pt x="335529" y="2480"/>
                      <a:pt x="343962" y="2480"/>
                    </a:cubicBezTo>
                    <a:cubicBezTo>
                      <a:pt x="351899" y="2480"/>
                      <a:pt x="352891" y="-1984"/>
                      <a:pt x="359340" y="2480"/>
                    </a:cubicBezTo>
                    <a:cubicBezTo>
                      <a:pt x="363805" y="5457"/>
                      <a:pt x="362317" y="7441"/>
                      <a:pt x="360829" y="12402"/>
                    </a:cubicBezTo>
                    <a:cubicBezTo>
                      <a:pt x="358348" y="20835"/>
                      <a:pt x="356860" y="20835"/>
                      <a:pt x="352891" y="28773"/>
                    </a:cubicBezTo>
                    <a:cubicBezTo>
                      <a:pt x="348923" y="36710"/>
                      <a:pt x="347931" y="36214"/>
                      <a:pt x="343466" y="44151"/>
                    </a:cubicBezTo>
                    <a:cubicBezTo>
                      <a:pt x="339497" y="52088"/>
                      <a:pt x="342474" y="54569"/>
                      <a:pt x="335033" y="59529"/>
                    </a:cubicBezTo>
                    <a:cubicBezTo>
                      <a:pt x="328584" y="63994"/>
                      <a:pt x="327592" y="60026"/>
                      <a:pt x="319654" y="60026"/>
                    </a:cubicBezTo>
                    <a:cubicBezTo>
                      <a:pt x="311717" y="60026"/>
                      <a:pt x="311717" y="60522"/>
                      <a:pt x="303780" y="60522"/>
                    </a:cubicBezTo>
                    <a:cubicBezTo>
                      <a:pt x="295843" y="60522"/>
                      <a:pt x="295843" y="61018"/>
                      <a:pt x="287905" y="61018"/>
                    </a:cubicBezTo>
                    <a:cubicBezTo>
                      <a:pt x="279968" y="61018"/>
                      <a:pt x="279968" y="60522"/>
                      <a:pt x="272031" y="60522"/>
                    </a:cubicBezTo>
                    <a:cubicBezTo>
                      <a:pt x="264093" y="60522"/>
                      <a:pt x="264093" y="59529"/>
                      <a:pt x="256156" y="59529"/>
                    </a:cubicBezTo>
                    <a:cubicBezTo>
                      <a:pt x="248219" y="59529"/>
                      <a:pt x="248219" y="59033"/>
                      <a:pt x="240282" y="59033"/>
                    </a:cubicBezTo>
                    <a:cubicBezTo>
                      <a:pt x="232345" y="59033"/>
                      <a:pt x="232345" y="58537"/>
                      <a:pt x="224407" y="58537"/>
                    </a:cubicBezTo>
                    <a:cubicBezTo>
                      <a:pt x="216470" y="58537"/>
                      <a:pt x="216470" y="58537"/>
                      <a:pt x="208533" y="58537"/>
                    </a:cubicBezTo>
                    <a:cubicBezTo>
                      <a:pt x="200596" y="58537"/>
                      <a:pt x="200596" y="58537"/>
                      <a:pt x="192658" y="58537"/>
                    </a:cubicBezTo>
                    <a:cubicBezTo>
                      <a:pt x="184721" y="58537"/>
                      <a:pt x="184721" y="58041"/>
                      <a:pt x="176784" y="58041"/>
                    </a:cubicBezTo>
                    <a:cubicBezTo>
                      <a:pt x="168847" y="58041"/>
                      <a:pt x="168847" y="59033"/>
                      <a:pt x="160909" y="59033"/>
                    </a:cubicBezTo>
                    <a:cubicBezTo>
                      <a:pt x="152972" y="59033"/>
                      <a:pt x="152972" y="59529"/>
                      <a:pt x="145035" y="59529"/>
                    </a:cubicBezTo>
                    <a:cubicBezTo>
                      <a:pt x="137098" y="59529"/>
                      <a:pt x="137098" y="59033"/>
                      <a:pt x="129160" y="59033"/>
                    </a:cubicBezTo>
                    <a:cubicBezTo>
                      <a:pt x="121223" y="59033"/>
                      <a:pt x="121223" y="59529"/>
                      <a:pt x="113286" y="59529"/>
                    </a:cubicBezTo>
                    <a:cubicBezTo>
                      <a:pt x="105348" y="59529"/>
                      <a:pt x="105348" y="59033"/>
                      <a:pt x="97411" y="59033"/>
                    </a:cubicBezTo>
                    <a:cubicBezTo>
                      <a:pt x="89474" y="59033"/>
                      <a:pt x="89474" y="59529"/>
                      <a:pt x="81537" y="59529"/>
                    </a:cubicBezTo>
                    <a:cubicBezTo>
                      <a:pt x="73600" y="59529"/>
                      <a:pt x="73600" y="59529"/>
                      <a:pt x="65662" y="59529"/>
                    </a:cubicBezTo>
                    <a:cubicBezTo>
                      <a:pt x="57725" y="59529"/>
                      <a:pt x="57725" y="59529"/>
                      <a:pt x="49788" y="59529"/>
                    </a:cubicBezTo>
                    <a:cubicBezTo>
                      <a:pt x="41851" y="59529"/>
                      <a:pt x="40858" y="63498"/>
                      <a:pt x="33913" y="59529"/>
                    </a:cubicBezTo>
                    <a:cubicBezTo>
                      <a:pt x="25976" y="54569"/>
                      <a:pt x="29449" y="51592"/>
                      <a:pt x="24488" y="43159"/>
                    </a:cubicBezTo>
                    <a:cubicBezTo>
                      <a:pt x="19527" y="35222"/>
                      <a:pt x="18535" y="35718"/>
                      <a:pt x="13574" y="27781"/>
                    </a:cubicBezTo>
                    <a:cubicBezTo>
                      <a:pt x="8613" y="19843"/>
                      <a:pt x="9605" y="19347"/>
                      <a:pt x="4645" y="10914"/>
                    </a:cubicBezTo>
                    <a:cubicBezTo>
                      <a:pt x="-316" y="6945"/>
                      <a:pt x="-1804" y="4961"/>
                      <a:pt x="2661" y="198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903AD02A-CF4D-AF2C-63D8-815BEE2614AD}"/>
                </a:ext>
              </a:extLst>
            </p:cNvPr>
            <p:cNvSpPr/>
            <p:nvPr/>
          </p:nvSpPr>
          <p:spPr>
            <a:xfrm>
              <a:off x="5564676" y="3340588"/>
              <a:ext cx="42831" cy="64622"/>
            </a:xfrm>
            <a:custGeom>
              <a:avLst/>
              <a:gdLst>
                <a:gd name="connsiteX0" fmla="*/ 32441 w 42831"/>
                <a:gd name="connsiteY0" fmla="*/ 20835 h 64622"/>
                <a:gd name="connsiteX1" fmla="*/ 42362 w 42831"/>
                <a:gd name="connsiteY1" fmla="*/ 41175 h 64622"/>
                <a:gd name="connsiteX2" fmla="*/ 39882 w 42831"/>
                <a:gd name="connsiteY2" fmla="*/ 54072 h 64622"/>
                <a:gd name="connsiteX3" fmla="*/ 30952 w 42831"/>
                <a:gd name="connsiteY3" fmla="*/ 63002 h 64622"/>
                <a:gd name="connsiteX4" fmla="*/ 12102 w 42831"/>
                <a:gd name="connsiteY4" fmla="*/ 64490 h 64622"/>
                <a:gd name="connsiteX5" fmla="*/ 4660 w 42831"/>
                <a:gd name="connsiteY5" fmla="*/ 53576 h 64622"/>
                <a:gd name="connsiteX6" fmla="*/ 1188 w 42831"/>
                <a:gd name="connsiteY6" fmla="*/ 41175 h 64622"/>
                <a:gd name="connsiteX7" fmla="*/ 9621 w 42831"/>
                <a:gd name="connsiteY7" fmla="*/ 20339 h 64622"/>
                <a:gd name="connsiteX8" fmla="*/ 10117 w 42831"/>
                <a:gd name="connsiteY8" fmla="*/ 12898 h 64622"/>
                <a:gd name="connsiteX9" fmla="*/ 2180 w 42831"/>
                <a:gd name="connsiteY9" fmla="*/ 1984 h 64622"/>
                <a:gd name="connsiteX10" fmla="*/ 21527 w 42831"/>
                <a:gd name="connsiteY10" fmla="*/ 1984 h 64622"/>
                <a:gd name="connsiteX11" fmla="*/ 40378 w 42831"/>
                <a:gd name="connsiteY11" fmla="*/ 2976 h 64622"/>
                <a:gd name="connsiteX12" fmla="*/ 33929 w 42831"/>
                <a:gd name="connsiteY12" fmla="*/ 13890 h 64622"/>
                <a:gd name="connsiteX13" fmla="*/ 32441 w 42831"/>
                <a:gd name="connsiteY13" fmla="*/ 20835 h 6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831" h="64622">
                  <a:moveTo>
                    <a:pt x="32441" y="20835"/>
                  </a:moveTo>
                  <a:cubicBezTo>
                    <a:pt x="37898" y="25300"/>
                    <a:pt x="42362" y="32741"/>
                    <a:pt x="42362" y="41175"/>
                  </a:cubicBezTo>
                  <a:cubicBezTo>
                    <a:pt x="42362" y="45639"/>
                    <a:pt x="41866" y="50104"/>
                    <a:pt x="39882" y="54072"/>
                  </a:cubicBezTo>
                  <a:cubicBezTo>
                    <a:pt x="37898" y="58041"/>
                    <a:pt x="34425" y="60521"/>
                    <a:pt x="30952" y="63002"/>
                  </a:cubicBezTo>
                  <a:cubicBezTo>
                    <a:pt x="21527" y="63994"/>
                    <a:pt x="21527" y="64986"/>
                    <a:pt x="12102" y="64490"/>
                  </a:cubicBezTo>
                  <a:cubicBezTo>
                    <a:pt x="8629" y="62506"/>
                    <a:pt x="6645" y="58041"/>
                    <a:pt x="4660" y="53576"/>
                  </a:cubicBezTo>
                  <a:cubicBezTo>
                    <a:pt x="2676" y="49608"/>
                    <a:pt x="1188" y="46135"/>
                    <a:pt x="1188" y="41175"/>
                  </a:cubicBezTo>
                  <a:cubicBezTo>
                    <a:pt x="1188" y="32245"/>
                    <a:pt x="4164" y="24804"/>
                    <a:pt x="9621" y="20339"/>
                  </a:cubicBezTo>
                  <a:cubicBezTo>
                    <a:pt x="11109" y="16867"/>
                    <a:pt x="12102" y="15874"/>
                    <a:pt x="10117" y="12898"/>
                  </a:cubicBezTo>
                  <a:cubicBezTo>
                    <a:pt x="3668" y="11906"/>
                    <a:pt x="-3773" y="4961"/>
                    <a:pt x="2180" y="1984"/>
                  </a:cubicBezTo>
                  <a:cubicBezTo>
                    <a:pt x="10613" y="-2480"/>
                    <a:pt x="12102" y="1984"/>
                    <a:pt x="21527" y="1984"/>
                  </a:cubicBezTo>
                  <a:cubicBezTo>
                    <a:pt x="30952" y="1984"/>
                    <a:pt x="31945" y="-1488"/>
                    <a:pt x="40378" y="2976"/>
                  </a:cubicBezTo>
                  <a:cubicBezTo>
                    <a:pt x="46331" y="5953"/>
                    <a:pt x="40378" y="13394"/>
                    <a:pt x="33929" y="13890"/>
                  </a:cubicBezTo>
                  <a:cubicBezTo>
                    <a:pt x="30456" y="16371"/>
                    <a:pt x="30952" y="17363"/>
                    <a:pt x="32441" y="20835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90439904-8A7A-E6FF-8C30-17C21C18A5BA}"/>
                </a:ext>
              </a:extLst>
            </p:cNvPr>
            <p:cNvSpPr/>
            <p:nvPr/>
          </p:nvSpPr>
          <p:spPr>
            <a:xfrm>
              <a:off x="5732546" y="3349382"/>
              <a:ext cx="45142" cy="64229"/>
            </a:xfrm>
            <a:custGeom>
              <a:avLst/>
              <a:gdLst>
                <a:gd name="connsiteX0" fmla="*/ 44647 w 45142"/>
                <a:gd name="connsiteY0" fmla="*/ 49247 h 64229"/>
                <a:gd name="connsiteX1" fmla="*/ 45143 w 45142"/>
                <a:gd name="connsiteY1" fmla="*/ 57184 h 64229"/>
                <a:gd name="connsiteX2" fmla="*/ 30757 w 45142"/>
                <a:gd name="connsiteY2" fmla="*/ 62641 h 64229"/>
                <a:gd name="connsiteX3" fmla="*/ 14882 w 45142"/>
                <a:gd name="connsiteY3" fmla="*/ 64129 h 64229"/>
                <a:gd name="connsiteX4" fmla="*/ 496 w 45142"/>
                <a:gd name="connsiteY4" fmla="*/ 57184 h 64229"/>
                <a:gd name="connsiteX5" fmla="*/ 1488 w 45142"/>
                <a:gd name="connsiteY5" fmla="*/ 39822 h 64229"/>
                <a:gd name="connsiteX6" fmla="*/ 0 w 45142"/>
                <a:gd name="connsiteY6" fmla="*/ 22459 h 64229"/>
                <a:gd name="connsiteX7" fmla="*/ 496 w 45142"/>
                <a:gd name="connsiteY7" fmla="*/ 5096 h 64229"/>
                <a:gd name="connsiteX8" fmla="*/ 14882 w 45142"/>
                <a:gd name="connsiteY8" fmla="*/ 1127 h 64229"/>
                <a:gd name="connsiteX9" fmla="*/ 30261 w 45142"/>
                <a:gd name="connsiteY9" fmla="*/ 135 h 64229"/>
                <a:gd name="connsiteX10" fmla="*/ 43159 w 45142"/>
                <a:gd name="connsiteY10" fmla="*/ 5096 h 64229"/>
                <a:gd name="connsiteX11" fmla="*/ 44647 w 45142"/>
                <a:gd name="connsiteY11" fmla="*/ 15514 h 6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142" h="64229">
                  <a:moveTo>
                    <a:pt x="44647" y="49247"/>
                  </a:moveTo>
                  <a:cubicBezTo>
                    <a:pt x="44647" y="53216"/>
                    <a:pt x="45143" y="53216"/>
                    <a:pt x="45143" y="57184"/>
                  </a:cubicBezTo>
                  <a:cubicBezTo>
                    <a:pt x="45143" y="60657"/>
                    <a:pt x="38694" y="61649"/>
                    <a:pt x="30757" y="62641"/>
                  </a:cubicBezTo>
                  <a:cubicBezTo>
                    <a:pt x="25796" y="63137"/>
                    <a:pt x="19843" y="64625"/>
                    <a:pt x="14882" y="64129"/>
                  </a:cubicBezTo>
                  <a:cubicBezTo>
                    <a:pt x="7441" y="63137"/>
                    <a:pt x="496" y="60657"/>
                    <a:pt x="496" y="57184"/>
                  </a:cubicBezTo>
                  <a:cubicBezTo>
                    <a:pt x="496" y="48751"/>
                    <a:pt x="1488" y="48751"/>
                    <a:pt x="1488" y="39822"/>
                  </a:cubicBezTo>
                  <a:cubicBezTo>
                    <a:pt x="1488" y="31388"/>
                    <a:pt x="0" y="31388"/>
                    <a:pt x="0" y="22459"/>
                  </a:cubicBezTo>
                  <a:cubicBezTo>
                    <a:pt x="0" y="14025"/>
                    <a:pt x="496" y="14025"/>
                    <a:pt x="496" y="5096"/>
                  </a:cubicBezTo>
                  <a:cubicBezTo>
                    <a:pt x="496" y="2616"/>
                    <a:pt x="7441" y="1623"/>
                    <a:pt x="14882" y="1127"/>
                  </a:cubicBezTo>
                  <a:cubicBezTo>
                    <a:pt x="19843" y="631"/>
                    <a:pt x="25300" y="-361"/>
                    <a:pt x="30261" y="135"/>
                  </a:cubicBezTo>
                  <a:cubicBezTo>
                    <a:pt x="38198" y="631"/>
                    <a:pt x="43159" y="2616"/>
                    <a:pt x="43159" y="5096"/>
                  </a:cubicBezTo>
                  <a:cubicBezTo>
                    <a:pt x="43159" y="10553"/>
                    <a:pt x="44647" y="10553"/>
                    <a:pt x="44647" y="155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40D98B3E-D9BC-AF43-0855-969DD0DCCCEA}"/>
                </a:ext>
              </a:extLst>
            </p:cNvPr>
            <p:cNvSpPr/>
            <p:nvPr/>
          </p:nvSpPr>
          <p:spPr>
            <a:xfrm>
              <a:off x="5767272" y="3367336"/>
              <a:ext cx="26788" cy="28316"/>
            </a:xfrm>
            <a:custGeom>
              <a:avLst/>
              <a:gdLst>
                <a:gd name="connsiteX0" fmla="*/ 0 w 26788"/>
                <a:gd name="connsiteY0" fmla="*/ 2025 h 28316"/>
                <a:gd name="connsiteX1" fmla="*/ 10913 w 26788"/>
                <a:gd name="connsiteY1" fmla="*/ 40 h 28316"/>
                <a:gd name="connsiteX2" fmla="*/ 26788 w 26788"/>
                <a:gd name="connsiteY2" fmla="*/ 13931 h 28316"/>
                <a:gd name="connsiteX3" fmla="*/ 10913 w 26788"/>
                <a:gd name="connsiteY3" fmla="*/ 28317 h 28316"/>
                <a:gd name="connsiteX4" fmla="*/ 0 w 26788"/>
                <a:gd name="connsiteY4" fmla="*/ 24348 h 2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8" h="28316">
                  <a:moveTo>
                    <a:pt x="0" y="2025"/>
                  </a:moveTo>
                  <a:cubicBezTo>
                    <a:pt x="2480" y="-455"/>
                    <a:pt x="6945" y="40"/>
                    <a:pt x="10913" y="40"/>
                  </a:cubicBezTo>
                  <a:cubicBezTo>
                    <a:pt x="19347" y="40"/>
                    <a:pt x="26788" y="5498"/>
                    <a:pt x="26788" y="13931"/>
                  </a:cubicBezTo>
                  <a:cubicBezTo>
                    <a:pt x="26788" y="22364"/>
                    <a:pt x="19347" y="28317"/>
                    <a:pt x="10913" y="28317"/>
                  </a:cubicBezTo>
                  <a:cubicBezTo>
                    <a:pt x="6449" y="28317"/>
                    <a:pt x="2480" y="27325"/>
                    <a:pt x="0" y="243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B3EC1748-1020-2F77-7925-41F4691E77B3}"/>
                </a:ext>
              </a:extLst>
            </p:cNvPr>
            <p:cNvSpPr/>
            <p:nvPr/>
          </p:nvSpPr>
          <p:spPr>
            <a:xfrm>
              <a:off x="5776201" y="3376802"/>
              <a:ext cx="2480" cy="9425"/>
            </a:xfrm>
            <a:custGeom>
              <a:avLst/>
              <a:gdLst>
                <a:gd name="connsiteX0" fmla="*/ 0 w 2480"/>
                <a:gd name="connsiteY0" fmla="*/ 0 h 9425"/>
                <a:gd name="connsiteX1" fmla="*/ 2480 w 2480"/>
                <a:gd name="connsiteY1" fmla="*/ 9425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80" h="9425">
                  <a:moveTo>
                    <a:pt x="0" y="0"/>
                  </a:moveTo>
                  <a:cubicBezTo>
                    <a:pt x="0" y="4961"/>
                    <a:pt x="2480" y="4961"/>
                    <a:pt x="2480" y="94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EAC13633-473B-F188-9BCD-6F608786F00B}"/>
                </a:ext>
              </a:extLst>
            </p:cNvPr>
            <p:cNvSpPr/>
            <p:nvPr/>
          </p:nvSpPr>
          <p:spPr>
            <a:xfrm>
              <a:off x="5589155" y="3316328"/>
              <a:ext cx="17883" cy="26244"/>
            </a:xfrm>
            <a:custGeom>
              <a:avLst/>
              <a:gdLst>
                <a:gd name="connsiteX0" fmla="*/ 521 w 17883"/>
                <a:gd name="connsiteY0" fmla="*/ 26244 h 26244"/>
                <a:gd name="connsiteX1" fmla="*/ 2505 w 17883"/>
                <a:gd name="connsiteY1" fmla="*/ 8385 h 26244"/>
                <a:gd name="connsiteX2" fmla="*/ 17883 w 17883"/>
                <a:gd name="connsiteY2" fmla="*/ 448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83" h="26244">
                  <a:moveTo>
                    <a:pt x="521" y="26244"/>
                  </a:moveTo>
                  <a:cubicBezTo>
                    <a:pt x="25" y="17315"/>
                    <a:pt x="-968" y="15827"/>
                    <a:pt x="2505" y="8385"/>
                  </a:cubicBezTo>
                  <a:cubicBezTo>
                    <a:pt x="4985" y="3425"/>
                    <a:pt x="9946" y="-1536"/>
                    <a:pt x="17883" y="4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33797F3B-A9F9-5EB5-F4F9-EA3C2A968A92}"/>
                </a:ext>
              </a:extLst>
            </p:cNvPr>
            <p:cNvSpPr/>
            <p:nvPr/>
          </p:nvSpPr>
          <p:spPr>
            <a:xfrm>
              <a:off x="5581037" y="3273618"/>
              <a:ext cx="18560" cy="68954"/>
            </a:xfrm>
            <a:custGeom>
              <a:avLst/>
              <a:gdLst>
                <a:gd name="connsiteX0" fmla="*/ 206 w 18560"/>
                <a:gd name="connsiteY0" fmla="*/ 68955 h 68954"/>
                <a:gd name="connsiteX1" fmla="*/ 702 w 18560"/>
                <a:gd name="connsiteY1" fmla="*/ 54072 h 68954"/>
                <a:gd name="connsiteX2" fmla="*/ 1694 w 18560"/>
                <a:gd name="connsiteY2" fmla="*/ 39686 h 68954"/>
                <a:gd name="connsiteX3" fmla="*/ 3678 w 18560"/>
                <a:gd name="connsiteY3" fmla="*/ 25300 h 68954"/>
                <a:gd name="connsiteX4" fmla="*/ 9135 w 18560"/>
                <a:gd name="connsiteY4" fmla="*/ 11410 h 68954"/>
                <a:gd name="connsiteX5" fmla="*/ 18560 w 18560"/>
                <a:gd name="connsiteY5" fmla="*/ 0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0" h="68954">
                  <a:moveTo>
                    <a:pt x="206" y="68955"/>
                  </a:moveTo>
                  <a:cubicBezTo>
                    <a:pt x="-291" y="61513"/>
                    <a:pt x="206" y="63002"/>
                    <a:pt x="702" y="54072"/>
                  </a:cubicBezTo>
                  <a:cubicBezTo>
                    <a:pt x="1197" y="49608"/>
                    <a:pt x="1197" y="44647"/>
                    <a:pt x="1694" y="39686"/>
                  </a:cubicBezTo>
                  <a:cubicBezTo>
                    <a:pt x="2190" y="34725"/>
                    <a:pt x="2686" y="29765"/>
                    <a:pt x="3678" y="25300"/>
                  </a:cubicBezTo>
                  <a:cubicBezTo>
                    <a:pt x="5166" y="20339"/>
                    <a:pt x="6655" y="15378"/>
                    <a:pt x="9135" y="11410"/>
                  </a:cubicBezTo>
                  <a:cubicBezTo>
                    <a:pt x="11615" y="6945"/>
                    <a:pt x="15088" y="2976"/>
                    <a:pt x="1856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E81E3FEB-CF62-17C2-6941-D006D93A3610}"/>
                </a:ext>
              </a:extLst>
            </p:cNvPr>
            <p:cNvSpPr/>
            <p:nvPr/>
          </p:nvSpPr>
          <p:spPr>
            <a:xfrm>
              <a:off x="5560407" y="3321241"/>
              <a:ext cx="19346" cy="21331"/>
            </a:xfrm>
            <a:custGeom>
              <a:avLst/>
              <a:gdLst>
                <a:gd name="connsiteX0" fmla="*/ 19347 w 19346"/>
                <a:gd name="connsiteY0" fmla="*/ 21331 h 21331"/>
                <a:gd name="connsiteX1" fmla="*/ 11906 w 19346"/>
                <a:gd name="connsiteY1" fmla="*/ 8433 h 21331"/>
                <a:gd name="connsiteX2" fmla="*/ 0 w 19346"/>
                <a:gd name="connsiteY2" fmla="*/ 0 h 2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6" h="21331">
                  <a:moveTo>
                    <a:pt x="19347" y="21331"/>
                  </a:moveTo>
                  <a:cubicBezTo>
                    <a:pt x="17859" y="13890"/>
                    <a:pt x="16371" y="14386"/>
                    <a:pt x="11906" y="8433"/>
                  </a:cubicBezTo>
                  <a:cubicBezTo>
                    <a:pt x="8929" y="4465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64CA3550-4D15-1AA8-74C8-FF9322DE1610}"/>
                </a:ext>
              </a:extLst>
            </p:cNvPr>
            <p:cNvSpPr/>
            <p:nvPr/>
          </p:nvSpPr>
          <p:spPr>
            <a:xfrm>
              <a:off x="5696829" y="3123802"/>
              <a:ext cx="65978" cy="66970"/>
            </a:xfrm>
            <a:custGeom>
              <a:avLst/>
              <a:gdLst>
                <a:gd name="connsiteX0" fmla="*/ 65978 w 65978"/>
                <a:gd name="connsiteY0" fmla="*/ 0 h 66970"/>
                <a:gd name="connsiteX1" fmla="*/ 55065 w 65978"/>
                <a:gd name="connsiteY1" fmla="*/ 10914 h 66970"/>
                <a:gd name="connsiteX2" fmla="*/ 43159 w 65978"/>
                <a:gd name="connsiteY2" fmla="*/ 20835 h 66970"/>
                <a:gd name="connsiteX3" fmla="*/ 32741 w 65978"/>
                <a:gd name="connsiteY3" fmla="*/ 32741 h 66970"/>
                <a:gd name="connsiteX4" fmla="*/ 21331 w 65978"/>
                <a:gd name="connsiteY4" fmla="*/ 43655 h 66970"/>
                <a:gd name="connsiteX5" fmla="*/ 9425 w 65978"/>
                <a:gd name="connsiteY5" fmla="*/ 54072 h 66970"/>
                <a:gd name="connsiteX6" fmla="*/ 0 w 65978"/>
                <a:gd name="connsiteY6" fmla="*/ 66971 h 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66970">
                  <a:moveTo>
                    <a:pt x="65978" y="0"/>
                  </a:moveTo>
                  <a:cubicBezTo>
                    <a:pt x="60522" y="5457"/>
                    <a:pt x="60522" y="5457"/>
                    <a:pt x="55065" y="10914"/>
                  </a:cubicBezTo>
                  <a:cubicBezTo>
                    <a:pt x="49608" y="16371"/>
                    <a:pt x="48616" y="15378"/>
                    <a:pt x="43159" y="20835"/>
                  </a:cubicBezTo>
                  <a:cubicBezTo>
                    <a:pt x="37702" y="26292"/>
                    <a:pt x="38198" y="26788"/>
                    <a:pt x="32741" y="32741"/>
                  </a:cubicBezTo>
                  <a:cubicBezTo>
                    <a:pt x="27284" y="38198"/>
                    <a:pt x="26788" y="38198"/>
                    <a:pt x="21331" y="43655"/>
                  </a:cubicBezTo>
                  <a:cubicBezTo>
                    <a:pt x="15875" y="49112"/>
                    <a:pt x="14882" y="48616"/>
                    <a:pt x="9425" y="54072"/>
                  </a:cubicBezTo>
                  <a:cubicBezTo>
                    <a:pt x="3969" y="59529"/>
                    <a:pt x="5457" y="61513"/>
                    <a:pt x="0" y="669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5537F074-5224-5C93-5CFB-0D9F26947DA5}"/>
                </a:ext>
              </a:extLst>
            </p:cNvPr>
            <p:cNvSpPr/>
            <p:nvPr/>
          </p:nvSpPr>
          <p:spPr>
            <a:xfrm>
              <a:off x="5729570" y="3124298"/>
              <a:ext cx="85821" cy="85325"/>
            </a:xfrm>
            <a:custGeom>
              <a:avLst/>
              <a:gdLst>
                <a:gd name="connsiteX0" fmla="*/ 0 w 85821"/>
                <a:gd name="connsiteY0" fmla="*/ 85325 h 85325"/>
                <a:gd name="connsiteX1" fmla="*/ 11906 w 85821"/>
                <a:gd name="connsiteY1" fmla="*/ 72428 h 85325"/>
                <a:gd name="connsiteX2" fmla="*/ 25300 w 85821"/>
                <a:gd name="connsiteY2" fmla="*/ 61514 h 85325"/>
                <a:gd name="connsiteX3" fmla="*/ 36214 w 85821"/>
                <a:gd name="connsiteY3" fmla="*/ 48120 h 85325"/>
                <a:gd name="connsiteX4" fmla="*/ 48120 w 85821"/>
                <a:gd name="connsiteY4" fmla="*/ 35718 h 85325"/>
                <a:gd name="connsiteX5" fmla="*/ 61018 w 85821"/>
                <a:gd name="connsiteY5" fmla="*/ 23812 h 85325"/>
                <a:gd name="connsiteX6" fmla="*/ 73915 w 85821"/>
                <a:gd name="connsiteY6" fmla="*/ 12402 h 85325"/>
                <a:gd name="connsiteX7" fmla="*/ 85821 w 85821"/>
                <a:gd name="connsiteY7" fmla="*/ 0 h 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821" h="85325">
                  <a:moveTo>
                    <a:pt x="0" y="85325"/>
                  </a:moveTo>
                  <a:cubicBezTo>
                    <a:pt x="5953" y="79372"/>
                    <a:pt x="5457" y="78877"/>
                    <a:pt x="11906" y="72428"/>
                  </a:cubicBezTo>
                  <a:cubicBezTo>
                    <a:pt x="17859" y="66475"/>
                    <a:pt x="19347" y="67467"/>
                    <a:pt x="25300" y="61514"/>
                  </a:cubicBezTo>
                  <a:cubicBezTo>
                    <a:pt x="31253" y="55561"/>
                    <a:pt x="30261" y="54073"/>
                    <a:pt x="36214" y="48120"/>
                  </a:cubicBezTo>
                  <a:cubicBezTo>
                    <a:pt x="42167" y="42167"/>
                    <a:pt x="42167" y="41671"/>
                    <a:pt x="48120" y="35718"/>
                  </a:cubicBezTo>
                  <a:cubicBezTo>
                    <a:pt x="54072" y="29765"/>
                    <a:pt x="54569" y="29765"/>
                    <a:pt x="61018" y="23812"/>
                  </a:cubicBezTo>
                  <a:cubicBezTo>
                    <a:pt x="66971" y="17859"/>
                    <a:pt x="67963" y="18355"/>
                    <a:pt x="73915" y="12402"/>
                  </a:cubicBezTo>
                  <a:cubicBezTo>
                    <a:pt x="79869" y="6449"/>
                    <a:pt x="79869" y="5953"/>
                    <a:pt x="85821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79" name="Graphic 10">
              <a:extLst>
                <a:ext uri="{FF2B5EF4-FFF2-40B4-BE49-F238E27FC236}">
                  <a16:creationId xmlns:a16="http://schemas.microsoft.com/office/drawing/2014/main" id="{40FA79C9-1BF9-F984-ACC5-3EE0FC4972B0}"/>
                </a:ext>
              </a:extLst>
            </p:cNvPr>
            <p:cNvGrpSpPr/>
            <p:nvPr/>
          </p:nvGrpSpPr>
          <p:grpSpPr>
            <a:xfrm>
              <a:off x="5527133" y="3095360"/>
              <a:ext cx="364036" cy="393109"/>
              <a:chOff x="5527133" y="3095360"/>
              <a:chExt cx="364036" cy="393109"/>
            </a:xfrm>
            <a:noFill/>
          </p:grpSpPr>
          <p:sp>
            <p:nvSpPr>
              <p:cNvPr id="1719" name="Freeform: Shape 1718">
                <a:extLst>
                  <a:ext uri="{FF2B5EF4-FFF2-40B4-BE49-F238E27FC236}">
                    <a16:creationId xmlns:a16="http://schemas.microsoft.com/office/drawing/2014/main" id="{E6BD630E-402B-5DD4-EFCD-3E5C8F8FC563}"/>
                  </a:ext>
                </a:extLst>
              </p:cNvPr>
              <p:cNvSpPr/>
              <p:nvPr/>
            </p:nvSpPr>
            <p:spPr>
              <a:xfrm>
                <a:off x="5542720" y="3095360"/>
                <a:ext cx="334769" cy="334191"/>
              </a:xfrm>
              <a:custGeom>
                <a:avLst/>
                <a:gdLst>
                  <a:gd name="connsiteX0" fmla="*/ 331208 w 334769"/>
                  <a:gd name="connsiteY0" fmla="*/ 331545 h 334191"/>
                  <a:gd name="connsiteX1" fmla="*/ 314837 w 334769"/>
                  <a:gd name="connsiteY1" fmla="*/ 330553 h 334191"/>
                  <a:gd name="connsiteX2" fmla="*/ 298467 w 334769"/>
                  <a:gd name="connsiteY2" fmla="*/ 332538 h 334191"/>
                  <a:gd name="connsiteX3" fmla="*/ 282096 w 334769"/>
                  <a:gd name="connsiteY3" fmla="*/ 331545 h 334191"/>
                  <a:gd name="connsiteX4" fmla="*/ 265725 w 334769"/>
                  <a:gd name="connsiteY4" fmla="*/ 331545 h 334191"/>
                  <a:gd name="connsiteX5" fmla="*/ 249355 w 334769"/>
                  <a:gd name="connsiteY5" fmla="*/ 332042 h 334191"/>
                  <a:gd name="connsiteX6" fmla="*/ 232984 w 334769"/>
                  <a:gd name="connsiteY6" fmla="*/ 331049 h 334191"/>
                  <a:gd name="connsiteX7" fmla="*/ 216614 w 334769"/>
                  <a:gd name="connsiteY7" fmla="*/ 330553 h 334191"/>
                  <a:gd name="connsiteX8" fmla="*/ 200243 w 334769"/>
                  <a:gd name="connsiteY8" fmla="*/ 330553 h 334191"/>
                  <a:gd name="connsiteX9" fmla="*/ 183873 w 334769"/>
                  <a:gd name="connsiteY9" fmla="*/ 332538 h 334191"/>
                  <a:gd name="connsiteX10" fmla="*/ 167502 w 334769"/>
                  <a:gd name="connsiteY10" fmla="*/ 331545 h 334191"/>
                  <a:gd name="connsiteX11" fmla="*/ 151132 w 334769"/>
                  <a:gd name="connsiteY11" fmla="*/ 332538 h 334191"/>
                  <a:gd name="connsiteX12" fmla="*/ 134761 w 334769"/>
                  <a:gd name="connsiteY12" fmla="*/ 331545 h 334191"/>
                  <a:gd name="connsiteX13" fmla="*/ 118390 w 334769"/>
                  <a:gd name="connsiteY13" fmla="*/ 330553 h 334191"/>
                  <a:gd name="connsiteX14" fmla="*/ 102020 w 334769"/>
                  <a:gd name="connsiteY14" fmla="*/ 332042 h 334191"/>
                  <a:gd name="connsiteX15" fmla="*/ 85649 w 334769"/>
                  <a:gd name="connsiteY15" fmla="*/ 332042 h 334191"/>
                  <a:gd name="connsiteX16" fmla="*/ 69279 w 334769"/>
                  <a:gd name="connsiteY16" fmla="*/ 332042 h 334191"/>
                  <a:gd name="connsiteX17" fmla="*/ 52908 w 334769"/>
                  <a:gd name="connsiteY17" fmla="*/ 332042 h 334191"/>
                  <a:gd name="connsiteX18" fmla="*/ 36538 w 334769"/>
                  <a:gd name="connsiteY18" fmla="*/ 331049 h 334191"/>
                  <a:gd name="connsiteX19" fmla="*/ 20167 w 334769"/>
                  <a:gd name="connsiteY19" fmla="*/ 331545 h 334191"/>
                  <a:gd name="connsiteX20" fmla="*/ 3797 w 334769"/>
                  <a:gd name="connsiteY20" fmla="*/ 331545 h 334191"/>
                  <a:gd name="connsiteX21" fmla="*/ 4789 w 334769"/>
                  <a:gd name="connsiteY21" fmla="*/ 315175 h 334191"/>
                  <a:gd name="connsiteX22" fmla="*/ 3300 w 334769"/>
                  <a:gd name="connsiteY22" fmla="*/ 298804 h 334191"/>
                  <a:gd name="connsiteX23" fmla="*/ 2804 w 334769"/>
                  <a:gd name="connsiteY23" fmla="*/ 282434 h 334191"/>
                  <a:gd name="connsiteX24" fmla="*/ 2804 w 334769"/>
                  <a:gd name="connsiteY24" fmla="*/ 266063 h 334191"/>
                  <a:gd name="connsiteX25" fmla="*/ 2804 w 334769"/>
                  <a:gd name="connsiteY25" fmla="*/ 249693 h 334191"/>
                  <a:gd name="connsiteX26" fmla="*/ 1812 w 334769"/>
                  <a:gd name="connsiteY26" fmla="*/ 233322 h 334191"/>
                  <a:gd name="connsiteX27" fmla="*/ 3300 w 334769"/>
                  <a:gd name="connsiteY27" fmla="*/ 216952 h 334191"/>
                  <a:gd name="connsiteX28" fmla="*/ 3797 w 334769"/>
                  <a:gd name="connsiteY28" fmla="*/ 200581 h 334191"/>
                  <a:gd name="connsiteX29" fmla="*/ 3300 w 334769"/>
                  <a:gd name="connsiteY29" fmla="*/ 184210 h 334191"/>
                  <a:gd name="connsiteX30" fmla="*/ 2308 w 334769"/>
                  <a:gd name="connsiteY30" fmla="*/ 167840 h 334191"/>
                  <a:gd name="connsiteX31" fmla="*/ 3300 w 334769"/>
                  <a:gd name="connsiteY31" fmla="*/ 151469 h 334191"/>
                  <a:gd name="connsiteX32" fmla="*/ 3300 w 334769"/>
                  <a:gd name="connsiteY32" fmla="*/ 135099 h 334191"/>
                  <a:gd name="connsiteX33" fmla="*/ 2308 w 334769"/>
                  <a:gd name="connsiteY33" fmla="*/ 118728 h 334191"/>
                  <a:gd name="connsiteX34" fmla="*/ 1812 w 334769"/>
                  <a:gd name="connsiteY34" fmla="*/ 102357 h 334191"/>
                  <a:gd name="connsiteX35" fmla="*/ 3797 w 334769"/>
                  <a:gd name="connsiteY35" fmla="*/ 85987 h 334191"/>
                  <a:gd name="connsiteX36" fmla="*/ 2308 w 334769"/>
                  <a:gd name="connsiteY36" fmla="*/ 69616 h 334191"/>
                  <a:gd name="connsiteX37" fmla="*/ 3300 w 334769"/>
                  <a:gd name="connsiteY37" fmla="*/ 53246 h 334191"/>
                  <a:gd name="connsiteX38" fmla="*/ 3797 w 334769"/>
                  <a:gd name="connsiteY38" fmla="*/ 36875 h 334191"/>
                  <a:gd name="connsiteX39" fmla="*/ 3797 w 334769"/>
                  <a:gd name="connsiteY39" fmla="*/ 20504 h 334191"/>
                  <a:gd name="connsiteX40" fmla="*/ 2308 w 334769"/>
                  <a:gd name="connsiteY40" fmla="*/ 3142 h 334191"/>
                  <a:gd name="connsiteX41" fmla="*/ 19671 w 334769"/>
                  <a:gd name="connsiteY41" fmla="*/ 3142 h 334191"/>
                  <a:gd name="connsiteX42" fmla="*/ 36042 w 334769"/>
                  <a:gd name="connsiteY42" fmla="*/ 4134 h 334191"/>
                  <a:gd name="connsiteX43" fmla="*/ 52412 w 334769"/>
                  <a:gd name="connsiteY43" fmla="*/ 3638 h 334191"/>
                  <a:gd name="connsiteX44" fmla="*/ 68783 w 334769"/>
                  <a:gd name="connsiteY44" fmla="*/ 3638 h 334191"/>
                  <a:gd name="connsiteX45" fmla="*/ 85153 w 334769"/>
                  <a:gd name="connsiteY45" fmla="*/ 3638 h 334191"/>
                  <a:gd name="connsiteX46" fmla="*/ 101524 w 334769"/>
                  <a:gd name="connsiteY46" fmla="*/ 3638 h 334191"/>
                  <a:gd name="connsiteX47" fmla="*/ 117895 w 334769"/>
                  <a:gd name="connsiteY47" fmla="*/ 2646 h 334191"/>
                  <a:gd name="connsiteX48" fmla="*/ 134265 w 334769"/>
                  <a:gd name="connsiteY48" fmla="*/ 2150 h 334191"/>
                  <a:gd name="connsiteX49" fmla="*/ 150636 w 334769"/>
                  <a:gd name="connsiteY49" fmla="*/ 3638 h 334191"/>
                  <a:gd name="connsiteX50" fmla="*/ 167006 w 334769"/>
                  <a:gd name="connsiteY50" fmla="*/ 3638 h 334191"/>
                  <a:gd name="connsiteX51" fmla="*/ 183377 w 334769"/>
                  <a:gd name="connsiteY51" fmla="*/ 2646 h 334191"/>
                  <a:gd name="connsiteX52" fmla="*/ 199747 w 334769"/>
                  <a:gd name="connsiteY52" fmla="*/ 2150 h 334191"/>
                  <a:gd name="connsiteX53" fmla="*/ 216118 w 334769"/>
                  <a:gd name="connsiteY53" fmla="*/ 3638 h 334191"/>
                  <a:gd name="connsiteX54" fmla="*/ 232488 w 334769"/>
                  <a:gd name="connsiteY54" fmla="*/ 4134 h 334191"/>
                  <a:gd name="connsiteX55" fmla="*/ 248859 w 334769"/>
                  <a:gd name="connsiteY55" fmla="*/ 2646 h 334191"/>
                  <a:gd name="connsiteX56" fmla="*/ 265229 w 334769"/>
                  <a:gd name="connsiteY56" fmla="*/ 2646 h 334191"/>
                  <a:gd name="connsiteX57" fmla="*/ 281600 w 334769"/>
                  <a:gd name="connsiteY57" fmla="*/ 3142 h 334191"/>
                  <a:gd name="connsiteX58" fmla="*/ 297970 w 334769"/>
                  <a:gd name="connsiteY58" fmla="*/ 2150 h 334191"/>
                  <a:gd name="connsiteX59" fmla="*/ 314341 w 334769"/>
                  <a:gd name="connsiteY59" fmla="*/ 2646 h 334191"/>
                  <a:gd name="connsiteX60" fmla="*/ 331208 w 334769"/>
                  <a:gd name="connsiteY60" fmla="*/ 2646 h 334191"/>
                  <a:gd name="connsiteX61" fmla="*/ 330712 w 334769"/>
                  <a:gd name="connsiteY61" fmla="*/ 19513 h 334191"/>
                  <a:gd name="connsiteX62" fmla="*/ 332200 w 334769"/>
                  <a:gd name="connsiteY62" fmla="*/ 35883 h 334191"/>
                  <a:gd name="connsiteX63" fmla="*/ 330216 w 334769"/>
                  <a:gd name="connsiteY63" fmla="*/ 52254 h 334191"/>
                  <a:gd name="connsiteX64" fmla="*/ 332200 w 334769"/>
                  <a:gd name="connsiteY64" fmla="*/ 68624 h 334191"/>
                  <a:gd name="connsiteX65" fmla="*/ 331704 w 334769"/>
                  <a:gd name="connsiteY65" fmla="*/ 84995 h 334191"/>
                  <a:gd name="connsiteX66" fmla="*/ 331704 w 334769"/>
                  <a:gd name="connsiteY66" fmla="*/ 101365 h 334191"/>
                  <a:gd name="connsiteX67" fmla="*/ 330712 w 334769"/>
                  <a:gd name="connsiteY67" fmla="*/ 117736 h 334191"/>
                  <a:gd name="connsiteX68" fmla="*/ 332200 w 334769"/>
                  <a:gd name="connsiteY68" fmla="*/ 134106 h 334191"/>
                  <a:gd name="connsiteX69" fmla="*/ 330712 w 334769"/>
                  <a:gd name="connsiteY69" fmla="*/ 150477 h 334191"/>
                  <a:gd name="connsiteX70" fmla="*/ 330712 w 334769"/>
                  <a:gd name="connsiteY70" fmla="*/ 166847 h 334191"/>
                  <a:gd name="connsiteX71" fmla="*/ 331208 w 334769"/>
                  <a:gd name="connsiteY71" fmla="*/ 183218 h 334191"/>
                  <a:gd name="connsiteX72" fmla="*/ 330712 w 334769"/>
                  <a:gd name="connsiteY72" fmla="*/ 199589 h 334191"/>
                  <a:gd name="connsiteX73" fmla="*/ 331704 w 334769"/>
                  <a:gd name="connsiteY73" fmla="*/ 215959 h 334191"/>
                  <a:gd name="connsiteX74" fmla="*/ 332200 w 334769"/>
                  <a:gd name="connsiteY74" fmla="*/ 232330 h 334191"/>
                  <a:gd name="connsiteX75" fmla="*/ 331208 w 334769"/>
                  <a:gd name="connsiteY75" fmla="*/ 248700 h 334191"/>
                  <a:gd name="connsiteX76" fmla="*/ 330712 w 334769"/>
                  <a:gd name="connsiteY76" fmla="*/ 265071 h 334191"/>
                  <a:gd name="connsiteX77" fmla="*/ 331704 w 334769"/>
                  <a:gd name="connsiteY77" fmla="*/ 281442 h 334191"/>
                  <a:gd name="connsiteX78" fmla="*/ 332696 w 334769"/>
                  <a:gd name="connsiteY78" fmla="*/ 297812 h 334191"/>
                  <a:gd name="connsiteX79" fmla="*/ 332696 w 334769"/>
                  <a:gd name="connsiteY79" fmla="*/ 314183 h 334191"/>
                  <a:gd name="connsiteX80" fmla="*/ 331208 w 334769"/>
                  <a:gd name="connsiteY80" fmla="*/ 331545 h 334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769" h="334191">
                    <a:moveTo>
                      <a:pt x="331208" y="331545"/>
                    </a:moveTo>
                    <a:cubicBezTo>
                      <a:pt x="325255" y="337498"/>
                      <a:pt x="322774" y="330553"/>
                      <a:pt x="314837" y="330553"/>
                    </a:cubicBezTo>
                    <a:cubicBezTo>
                      <a:pt x="306404" y="330553"/>
                      <a:pt x="306404" y="332538"/>
                      <a:pt x="298467" y="332538"/>
                    </a:cubicBezTo>
                    <a:cubicBezTo>
                      <a:pt x="290529" y="332538"/>
                      <a:pt x="290033" y="331545"/>
                      <a:pt x="282096" y="331545"/>
                    </a:cubicBezTo>
                    <a:cubicBezTo>
                      <a:pt x="273663" y="331545"/>
                      <a:pt x="273663" y="331545"/>
                      <a:pt x="265725" y="331545"/>
                    </a:cubicBezTo>
                    <a:cubicBezTo>
                      <a:pt x="257292" y="331545"/>
                      <a:pt x="257292" y="332042"/>
                      <a:pt x="249355" y="332042"/>
                    </a:cubicBezTo>
                    <a:cubicBezTo>
                      <a:pt x="240921" y="332042"/>
                      <a:pt x="240921" y="331049"/>
                      <a:pt x="232984" y="331049"/>
                    </a:cubicBezTo>
                    <a:cubicBezTo>
                      <a:pt x="224551" y="331049"/>
                      <a:pt x="224551" y="330553"/>
                      <a:pt x="216614" y="330553"/>
                    </a:cubicBezTo>
                    <a:cubicBezTo>
                      <a:pt x="208180" y="330553"/>
                      <a:pt x="208180" y="330553"/>
                      <a:pt x="200243" y="330553"/>
                    </a:cubicBezTo>
                    <a:cubicBezTo>
                      <a:pt x="191810" y="330553"/>
                      <a:pt x="191810" y="332538"/>
                      <a:pt x="183873" y="332538"/>
                    </a:cubicBezTo>
                    <a:cubicBezTo>
                      <a:pt x="175439" y="332538"/>
                      <a:pt x="175439" y="331545"/>
                      <a:pt x="167502" y="331545"/>
                    </a:cubicBezTo>
                    <a:cubicBezTo>
                      <a:pt x="159069" y="331545"/>
                      <a:pt x="159069" y="332538"/>
                      <a:pt x="151132" y="332538"/>
                    </a:cubicBezTo>
                    <a:cubicBezTo>
                      <a:pt x="142698" y="332538"/>
                      <a:pt x="142698" y="331545"/>
                      <a:pt x="134761" y="331545"/>
                    </a:cubicBezTo>
                    <a:cubicBezTo>
                      <a:pt x="126328" y="331545"/>
                      <a:pt x="126328" y="330553"/>
                      <a:pt x="118390" y="330553"/>
                    </a:cubicBezTo>
                    <a:cubicBezTo>
                      <a:pt x="109957" y="330553"/>
                      <a:pt x="109957" y="332042"/>
                      <a:pt x="102020" y="332042"/>
                    </a:cubicBezTo>
                    <a:cubicBezTo>
                      <a:pt x="93587" y="332042"/>
                      <a:pt x="93587" y="332042"/>
                      <a:pt x="85649" y="332042"/>
                    </a:cubicBezTo>
                    <a:cubicBezTo>
                      <a:pt x="77216" y="332042"/>
                      <a:pt x="77216" y="332042"/>
                      <a:pt x="69279" y="332042"/>
                    </a:cubicBezTo>
                    <a:cubicBezTo>
                      <a:pt x="60846" y="332042"/>
                      <a:pt x="60846" y="332042"/>
                      <a:pt x="52908" y="332042"/>
                    </a:cubicBezTo>
                    <a:cubicBezTo>
                      <a:pt x="44475" y="332042"/>
                      <a:pt x="44475" y="331049"/>
                      <a:pt x="36538" y="331049"/>
                    </a:cubicBezTo>
                    <a:cubicBezTo>
                      <a:pt x="28104" y="331049"/>
                      <a:pt x="28104" y="331545"/>
                      <a:pt x="20167" y="331545"/>
                    </a:cubicBezTo>
                    <a:cubicBezTo>
                      <a:pt x="12230" y="331545"/>
                      <a:pt x="9749" y="337498"/>
                      <a:pt x="3797" y="331545"/>
                    </a:cubicBezTo>
                    <a:cubicBezTo>
                      <a:pt x="-2156" y="325592"/>
                      <a:pt x="4789" y="323608"/>
                      <a:pt x="4789" y="315175"/>
                    </a:cubicBezTo>
                    <a:cubicBezTo>
                      <a:pt x="4789" y="306741"/>
                      <a:pt x="3300" y="306741"/>
                      <a:pt x="3300" y="298804"/>
                    </a:cubicBezTo>
                    <a:cubicBezTo>
                      <a:pt x="3300" y="290371"/>
                      <a:pt x="2804" y="290371"/>
                      <a:pt x="2804" y="282434"/>
                    </a:cubicBezTo>
                    <a:cubicBezTo>
                      <a:pt x="2804" y="274000"/>
                      <a:pt x="2804" y="274000"/>
                      <a:pt x="2804" y="266063"/>
                    </a:cubicBezTo>
                    <a:cubicBezTo>
                      <a:pt x="2804" y="257630"/>
                      <a:pt x="2804" y="257630"/>
                      <a:pt x="2804" y="249693"/>
                    </a:cubicBezTo>
                    <a:cubicBezTo>
                      <a:pt x="2804" y="241259"/>
                      <a:pt x="1812" y="241259"/>
                      <a:pt x="1812" y="233322"/>
                    </a:cubicBezTo>
                    <a:cubicBezTo>
                      <a:pt x="1812" y="224889"/>
                      <a:pt x="3300" y="224889"/>
                      <a:pt x="3300" y="216952"/>
                    </a:cubicBezTo>
                    <a:cubicBezTo>
                      <a:pt x="3300" y="208518"/>
                      <a:pt x="3797" y="208518"/>
                      <a:pt x="3797" y="200581"/>
                    </a:cubicBezTo>
                    <a:cubicBezTo>
                      <a:pt x="3797" y="192148"/>
                      <a:pt x="3300" y="192148"/>
                      <a:pt x="3300" y="184210"/>
                    </a:cubicBezTo>
                    <a:cubicBezTo>
                      <a:pt x="3300" y="175777"/>
                      <a:pt x="2308" y="175777"/>
                      <a:pt x="2308" y="167840"/>
                    </a:cubicBezTo>
                    <a:cubicBezTo>
                      <a:pt x="2308" y="159406"/>
                      <a:pt x="3300" y="159406"/>
                      <a:pt x="3300" y="151469"/>
                    </a:cubicBezTo>
                    <a:cubicBezTo>
                      <a:pt x="3300" y="143036"/>
                      <a:pt x="3300" y="143036"/>
                      <a:pt x="3300" y="135099"/>
                    </a:cubicBezTo>
                    <a:cubicBezTo>
                      <a:pt x="3300" y="126665"/>
                      <a:pt x="2308" y="126665"/>
                      <a:pt x="2308" y="118728"/>
                    </a:cubicBezTo>
                    <a:cubicBezTo>
                      <a:pt x="2308" y="110791"/>
                      <a:pt x="1812" y="110295"/>
                      <a:pt x="1812" y="102357"/>
                    </a:cubicBezTo>
                    <a:cubicBezTo>
                      <a:pt x="1812" y="93924"/>
                      <a:pt x="3797" y="93924"/>
                      <a:pt x="3797" y="85987"/>
                    </a:cubicBezTo>
                    <a:cubicBezTo>
                      <a:pt x="3797" y="77553"/>
                      <a:pt x="2308" y="77553"/>
                      <a:pt x="2308" y="69616"/>
                    </a:cubicBezTo>
                    <a:cubicBezTo>
                      <a:pt x="2308" y="61183"/>
                      <a:pt x="3300" y="61183"/>
                      <a:pt x="3300" y="53246"/>
                    </a:cubicBezTo>
                    <a:cubicBezTo>
                      <a:pt x="3300" y="44812"/>
                      <a:pt x="3797" y="44812"/>
                      <a:pt x="3797" y="36875"/>
                    </a:cubicBezTo>
                    <a:cubicBezTo>
                      <a:pt x="3797" y="28442"/>
                      <a:pt x="3797" y="28442"/>
                      <a:pt x="3797" y="20504"/>
                    </a:cubicBezTo>
                    <a:cubicBezTo>
                      <a:pt x="3797" y="12567"/>
                      <a:pt x="-3645" y="9095"/>
                      <a:pt x="2308" y="3142"/>
                    </a:cubicBezTo>
                    <a:cubicBezTo>
                      <a:pt x="8261" y="-2811"/>
                      <a:pt x="11238" y="3142"/>
                      <a:pt x="19671" y="3142"/>
                    </a:cubicBezTo>
                    <a:cubicBezTo>
                      <a:pt x="28104" y="3142"/>
                      <a:pt x="28104" y="4134"/>
                      <a:pt x="36042" y="4134"/>
                    </a:cubicBezTo>
                    <a:cubicBezTo>
                      <a:pt x="44475" y="4134"/>
                      <a:pt x="44475" y="3638"/>
                      <a:pt x="52412" y="3638"/>
                    </a:cubicBezTo>
                    <a:cubicBezTo>
                      <a:pt x="60846" y="3638"/>
                      <a:pt x="60846" y="3638"/>
                      <a:pt x="68783" y="3638"/>
                    </a:cubicBezTo>
                    <a:cubicBezTo>
                      <a:pt x="77216" y="3638"/>
                      <a:pt x="77216" y="3638"/>
                      <a:pt x="85153" y="3638"/>
                    </a:cubicBezTo>
                    <a:cubicBezTo>
                      <a:pt x="93587" y="3638"/>
                      <a:pt x="93587" y="3638"/>
                      <a:pt x="101524" y="3638"/>
                    </a:cubicBezTo>
                    <a:cubicBezTo>
                      <a:pt x="109957" y="3638"/>
                      <a:pt x="109957" y="2646"/>
                      <a:pt x="117895" y="2646"/>
                    </a:cubicBezTo>
                    <a:cubicBezTo>
                      <a:pt x="126328" y="2646"/>
                      <a:pt x="126328" y="2150"/>
                      <a:pt x="134265" y="2150"/>
                    </a:cubicBezTo>
                    <a:cubicBezTo>
                      <a:pt x="142698" y="2150"/>
                      <a:pt x="142698" y="3638"/>
                      <a:pt x="150636" y="3638"/>
                    </a:cubicBezTo>
                    <a:cubicBezTo>
                      <a:pt x="159069" y="3638"/>
                      <a:pt x="159069" y="3638"/>
                      <a:pt x="167006" y="3638"/>
                    </a:cubicBezTo>
                    <a:cubicBezTo>
                      <a:pt x="175439" y="3638"/>
                      <a:pt x="175439" y="2646"/>
                      <a:pt x="183377" y="2646"/>
                    </a:cubicBezTo>
                    <a:cubicBezTo>
                      <a:pt x="191810" y="2646"/>
                      <a:pt x="191810" y="2150"/>
                      <a:pt x="199747" y="2150"/>
                    </a:cubicBezTo>
                    <a:cubicBezTo>
                      <a:pt x="208180" y="2150"/>
                      <a:pt x="208180" y="3638"/>
                      <a:pt x="216118" y="3638"/>
                    </a:cubicBezTo>
                    <a:cubicBezTo>
                      <a:pt x="224055" y="3638"/>
                      <a:pt x="224551" y="4134"/>
                      <a:pt x="232488" y="4134"/>
                    </a:cubicBezTo>
                    <a:cubicBezTo>
                      <a:pt x="240921" y="4134"/>
                      <a:pt x="240921" y="2646"/>
                      <a:pt x="248859" y="2646"/>
                    </a:cubicBezTo>
                    <a:cubicBezTo>
                      <a:pt x="257292" y="2646"/>
                      <a:pt x="257292" y="2646"/>
                      <a:pt x="265229" y="2646"/>
                    </a:cubicBezTo>
                    <a:cubicBezTo>
                      <a:pt x="273663" y="2646"/>
                      <a:pt x="273663" y="3142"/>
                      <a:pt x="281600" y="3142"/>
                    </a:cubicBezTo>
                    <a:cubicBezTo>
                      <a:pt x="290033" y="3142"/>
                      <a:pt x="290033" y="2150"/>
                      <a:pt x="297970" y="2150"/>
                    </a:cubicBezTo>
                    <a:cubicBezTo>
                      <a:pt x="306404" y="2150"/>
                      <a:pt x="306404" y="2646"/>
                      <a:pt x="314341" y="2646"/>
                    </a:cubicBezTo>
                    <a:cubicBezTo>
                      <a:pt x="322774" y="2646"/>
                      <a:pt x="325255" y="-3307"/>
                      <a:pt x="331208" y="2646"/>
                    </a:cubicBezTo>
                    <a:cubicBezTo>
                      <a:pt x="337161" y="8599"/>
                      <a:pt x="330712" y="11079"/>
                      <a:pt x="330712" y="19513"/>
                    </a:cubicBezTo>
                    <a:cubicBezTo>
                      <a:pt x="330712" y="27946"/>
                      <a:pt x="332200" y="27946"/>
                      <a:pt x="332200" y="35883"/>
                    </a:cubicBezTo>
                    <a:cubicBezTo>
                      <a:pt x="332200" y="44316"/>
                      <a:pt x="330216" y="44316"/>
                      <a:pt x="330216" y="52254"/>
                    </a:cubicBezTo>
                    <a:cubicBezTo>
                      <a:pt x="330216" y="60687"/>
                      <a:pt x="332200" y="60687"/>
                      <a:pt x="332200" y="68624"/>
                    </a:cubicBezTo>
                    <a:cubicBezTo>
                      <a:pt x="332200" y="77057"/>
                      <a:pt x="331704" y="77057"/>
                      <a:pt x="331704" y="84995"/>
                    </a:cubicBezTo>
                    <a:cubicBezTo>
                      <a:pt x="331704" y="93428"/>
                      <a:pt x="331704" y="93428"/>
                      <a:pt x="331704" y="101365"/>
                    </a:cubicBezTo>
                    <a:cubicBezTo>
                      <a:pt x="331704" y="109798"/>
                      <a:pt x="330712" y="109798"/>
                      <a:pt x="330712" y="117736"/>
                    </a:cubicBezTo>
                    <a:cubicBezTo>
                      <a:pt x="330712" y="126169"/>
                      <a:pt x="332200" y="126169"/>
                      <a:pt x="332200" y="134106"/>
                    </a:cubicBezTo>
                    <a:cubicBezTo>
                      <a:pt x="332200" y="142540"/>
                      <a:pt x="330712" y="142540"/>
                      <a:pt x="330712" y="150477"/>
                    </a:cubicBezTo>
                    <a:cubicBezTo>
                      <a:pt x="330712" y="158910"/>
                      <a:pt x="330712" y="158910"/>
                      <a:pt x="330712" y="166847"/>
                    </a:cubicBezTo>
                    <a:cubicBezTo>
                      <a:pt x="330712" y="175281"/>
                      <a:pt x="331208" y="175281"/>
                      <a:pt x="331208" y="183218"/>
                    </a:cubicBezTo>
                    <a:cubicBezTo>
                      <a:pt x="331208" y="191651"/>
                      <a:pt x="330712" y="191651"/>
                      <a:pt x="330712" y="199589"/>
                    </a:cubicBezTo>
                    <a:cubicBezTo>
                      <a:pt x="330712" y="208022"/>
                      <a:pt x="331704" y="208022"/>
                      <a:pt x="331704" y="215959"/>
                    </a:cubicBezTo>
                    <a:cubicBezTo>
                      <a:pt x="331704" y="223896"/>
                      <a:pt x="332200" y="224393"/>
                      <a:pt x="332200" y="232330"/>
                    </a:cubicBezTo>
                    <a:cubicBezTo>
                      <a:pt x="332200" y="240763"/>
                      <a:pt x="331208" y="240763"/>
                      <a:pt x="331208" y="248700"/>
                    </a:cubicBezTo>
                    <a:cubicBezTo>
                      <a:pt x="331208" y="257134"/>
                      <a:pt x="330712" y="257134"/>
                      <a:pt x="330712" y="265071"/>
                    </a:cubicBezTo>
                    <a:cubicBezTo>
                      <a:pt x="330712" y="273504"/>
                      <a:pt x="331704" y="273504"/>
                      <a:pt x="331704" y="281442"/>
                    </a:cubicBezTo>
                    <a:cubicBezTo>
                      <a:pt x="331704" y="289875"/>
                      <a:pt x="332696" y="289875"/>
                      <a:pt x="332696" y="297812"/>
                    </a:cubicBezTo>
                    <a:cubicBezTo>
                      <a:pt x="332696" y="306246"/>
                      <a:pt x="330712" y="306246"/>
                      <a:pt x="332696" y="314183"/>
                    </a:cubicBezTo>
                    <a:cubicBezTo>
                      <a:pt x="334184" y="323608"/>
                      <a:pt x="337161" y="325592"/>
                      <a:pt x="33120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0" name="Freeform: Shape 1719">
                <a:extLst>
                  <a:ext uri="{FF2B5EF4-FFF2-40B4-BE49-F238E27FC236}">
                    <a16:creationId xmlns:a16="http://schemas.microsoft.com/office/drawing/2014/main" id="{05D94600-4FF4-77EB-9F2C-17F0AD7EC3BF}"/>
                  </a:ext>
                </a:extLst>
              </p:cNvPr>
              <p:cNvSpPr/>
              <p:nvPr/>
            </p:nvSpPr>
            <p:spPr>
              <a:xfrm>
                <a:off x="5557500" y="3229513"/>
                <a:ext cx="300101" cy="39570"/>
              </a:xfrm>
              <a:custGeom>
                <a:avLst/>
                <a:gdLst>
                  <a:gd name="connsiteX0" fmla="*/ 296585 w 300101"/>
                  <a:gd name="connsiteY0" fmla="*/ 36167 h 39570"/>
                  <a:gd name="connsiteX1" fmla="*/ 280710 w 300101"/>
                  <a:gd name="connsiteY1" fmla="*/ 37655 h 39570"/>
                  <a:gd name="connsiteX2" fmla="*/ 264340 w 300101"/>
                  <a:gd name="connsiteY2" fmla="*/ 36663 h 39570"/>
                  <a:gd name="connsiteX3" fmla="*/ 247969 w 300101"/>
                  <a:gd name="connsiteY3" fmla="*/ 36663 h 39570"/>
                  <a:gd name="connsiteX4" fmla="*/ 231599 w 300101"/>
                  <a:gd name="connsiteY4" fmla="*/ 37655 h 39570"/>
                  <a:gd name="connsiteX5" fmla="*/ 215228 w 300101"/>
                  <a:gd name="connsiteY5" fmla="*/ 36167 h 39570"/>
                  <a:gd name="connsiteX6" fmla="*/ 198858 w 300101"/>
                  <a:gd name="connsiteY6" fmla="*/ 36663 h 39570"/>
                  <a:gd name="connsiteX7" fmla="*/ 182487 w 300101"/>
                  <a:gd name="connsiteY7" fmla="*/ 36167 h 39570"/>
                  <a:gd name="connsiteX8" fmla="*/ 166117 w 300101"/>
                  <a:gd name="connsiteY8" fmla="*/ 37159 h 39570"/>
                  <a:gd name="connsiteX9" fmla="*/ 149746 w 300101"/>
                  <a:gd name="connsiteY9" fmla="*/ 37159 h 39570"/>
                  <a:gd name="connsiteX10" fmla="*/ 133376 w 300101"/>
                  <a:gd name="connsiteY10" fmla="*/ 35175 h 39570"/>
                  <a:gd name="connsiteX11" fmla="*/ 117005 w 300101"/>
                  <a:gd name="connsiteY11" fmla="*/ 35175 h 39570"/>
                  <a:gd name="connsiteX12" fmla="*/ 100634 w 300101"/>
                  <a:gd name="connsiteY12" fmla="*/ 36167 h 39570"/>
                  <a:gd name="connsiteX13" fmla="*/ 84264 w 300101"/>
                  <a:gd name="connsiteY13" fmla="*/ 36663 h 39570"/>
                  <a:gd name="connsiteX14" fmla="*/ 67893 w 300101"/>
                  <a:gd name="connsiteY14" fmla="*/ 35671 h 39570"/>
                  <a:gd name="connsiteX15" fmla="*/ 51523 w 300101"/>
                  <a:gd name="connsiteY15" fmla="*/ 37655 h 39570"/>
                  <a:gd name="connsiteX16" fmla="*/ 35152 w 300101"/>
                  <a:gd name="connsiteY16" fmla="*/ 37655 h 39570"/>
                  <a:gd name="connsiteX17" fmla="*/ 18782 w 300101"/>
                  <a:gd name="connsiteY17" fmla="*/ 36167 h 39570"/>
                  <a:gd name="connsiteX18" fmla="*/ 2411 w 300101"/>
                  <a:gd name="connsiteY18" fmla="*/ 37159 h 39570"/>
                  <a:gd name="connsiteX19" fmla="*/ 3403 w 300101"/>
                  <a:gd name="connsiteY19" fmla="*/ 19797 h 39570"/>
                  <a:gd name="connsiteX20" fmla="*/ 2907 w 300101"/>
                  <a:gd name="connsiteY20" fmla="*/ 2930 h 39570"/>
                  <a:gd name="connsiteX21" fmla="*/ 18782 w 300101"/>
                  <a:gd name="connsiteY21" fmla="*/ 1938 h 39570"/>
                  <a:gd name="connsiteX22" fmla="*/ 35152 w 300101"/>
                  <a:gd name="connsiteY22" fmla="*/ 1938 h 39570"/>
                  <a:gd name="connsiteX23" fmla="*/ 51523 w 300101"/>
                  <a:gd name="connsiteY23" fmla="*/ 2930 h 39570"/>
                  <a:gd name="connsiteX24" fmla="*/ 67893 w 300101"/>
                  <a:gd name="connsiteY24" fmla="*/ 3426 h 39570"/>
                  <a:gd name="connsiteX25" fmla="*/ 84264 w 300101"/>
                  <a:gd name="connsiteY25" fmla="*/ 3426 h 39570"/>
                  <a:gd name="connsiteX26" fmla="*/ 100634 w 300101"/>
                  <a:gd name="connsiteY26" fmla="*/ 1938 h 39570"/>
                  <a:gd name="connsiteX27" fmla="*/ 117005 w 300101"/>
                  <a:gd name="connsiteY27" fmla="*/ 1938 h 39570"/>
                  <a:gd name="connsiteX28" fmla="*/ 133376 w 300101"/>
                  <a:gd name="connsiteY28" fmla="*/ 3922 h 39570"/>
                  <a:gd name="connsiteX29" fmla="*/ 149746 w 300101"/>
                  <a:gd name="connsiteY29" fmla="*/ 3922 h 39570"/>
                  <a:gd name="connsiteX30" fmla="*/ 166117 w 300101"/>
                  <a:gd name="connsiteY30" fmla="*/ 2434 h 39570"/>
                  <a:gd name="connsiteX31" fmla="*/ 182487 w 300101"/>
                  <a:gd name="connsiteY31" fmla="*/ 2930 h 39570"/>
                  <a:gd name="connsiteX32" fmla="*/ 198858 w 300101"/>
                  <a:gd name="connsiteY32" fmla="*/ 1938 h 39570"/>
                  <a:gd name="connsiteX33" fmla="*/ 215228 w 300101"/>
                  <a:gd name="connsiteY33" fmla="*/ 3426 h 39570"/>
                  <a:gd name="connsiteX34" fmla="*/ 231599 w 300101"/>
                  <a:gd name="connsiteY34" fmla="*/ 2434 h 39570"/>
                  <a:gd name="connsiteX35" fmla="*/ 247969 w 300101"/>
                  <a:gd name="connsiteY35" fmla="*/ 2434 h 39570"/>
                  <a:gd name="connsiteX36" fmla="*/ 264340 w 300101"/>
                  <a:gd name="connsiteY36" fmla="*/ 2930 h 39570"/>
                  <a:gd name="connsiteX37" fmla="*/ 280710 w 300101"/>
                  <a:gd name="connsiteY37" fmla="*/ 3922 h 39570"/>
                  <a:gd name="connsiteX38" fmla="*/ 296585 w 300101"/>
                  <a:gd name="connsiteY38" fmla="*/ 3426 h 39570"/>
                  <a:gd name="connsiteX39" fmla="*/ 297577 w 300101"/>
                  <a:gd name="connsiteY39" fmla="*/ 19797 h 39570"/>
                  <a:gd name="connsiteX40" fmla="*/ 296585 w 300101"/>
                  <a:gd name="connsiteY40" fmla="*/ 36167 h 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101" h="39570">
                    <a:moveTo>
                      <a:pt x="296585" y="36167"/>
                    </a:moveTo>
                    <a:cubicBezTo>
                      <a:pt x="291129" y="42120"/>
                      <a:pt x="289144" y="37655"/>
                      <a:pt x="280710" y="37655"/>
                    </a:cubicBezTo>
                    <a:cubicBezTo>
                      <a:pt x="272773" y="37655"/>
                      <a:pt x="272773" y="36663"/>
                      <a:pt x="264340" y="36663"/>
                    </a:cubicBezTo>
                    <a:cubicBezTo>
                      <a:pt x="256403" y="36663"/>
                      <a:pt x="256403" y="36663"/>
                      <a:pt x="247969" y="36663"/>
                    </a:cubicBezTo>
                    <a:cubicBezTo>
                      <a:pt x="239536" y="36663"/>
                      <a:pt x="239536" y="37655"/>
                      <a:pt x="231599" y="37655"/>
                    </a:cubicBezTo>
                    <a:cubicBezTo>
                      <a:pt x="223661" y="37655"/>
                      <a:pt x="223661" y="36167"/>
                      <a:pt x="215228" y="36167"/>
                    </a:cubicBezTo>
                    <a:cubicBezTo>
                      <a:pt x="206795" y="36167"/>
                      <a:pt x="206795" y="36663"/>
                      <a:pt x="198858" y="36663"/>
                    </a:cubicBezTo>
                    <a:cubicBezTo>
                      <a:pt x="190920" y="36663"/>
                      <a:pt x="190920" y="36167"/>
                      <a:pt x="182487" y="36167"/>
                    </a:cubicBezTo>
                    <a:cubicBezTo>
                      <a:pt x="174054" y="36167"/>
                      <a:pt x="174054" y="37159"/>
                      <a:pt x="166117" y="37159"/>
                    </a:cubicBezTo>
                    <a:cubicBezTo>
                      <a:pt x="157683" y="37159"/>
                      <a:pt x="157683" y="37159"/>
                      <a:pt x="149746" y="37159"/>
                    </a:cubicBezTo>
                    <a:cubicBezTo>
                      <a:pt x="141313" y="37159"/>
                      <a:pt x="141313" y="35175"/>
                      <a:pt x="133376" y="35175"/>
                    </a:cubicBezTo>
                    <a:cubicBezTo>
                      <a:pt x="124942" y="35175"/>
                      <a:pt x="124942" y="35175"/>
                      <a:pt x="117005" y="35175"/>
                    </a:cubicBezTo>
                    <a:cubicBezTo>
                      <a:pt x="108572" y="35175"/>
                      <a:pt x="108572" y="36167"/>
                      <a:pt x="100634" y="36167"/>
                    </a:cubicBezTo>
                    <a:cubicBezTo>
                      <a:pt x="92201" y="36167"/>
                      <a:pt x="92201" y="36663"/>
                      <a:pt x="84264" y="36663"/>
                    </a:cubicBezTo>
                    <a:cubicBezTo>
                      <a:pt x="75831" y="36663"/>
                      <a:pt x="75831" y="35671"/>
                      <a:pt x="67893" y="35671"/>
                    </a:cubicBezTo>
                    <a:cubicBezTo>
                      <a:pt x="59460" y="35671"/>
                      <a:pt x="59460" y="37655"/>
                      <a:pt x="51523" y="37655"/>
                    </a:cubicBezTo>
                    <a:cubicBezTo>
                      <a:pt x="43089" y="37655"/>
                      <a:pt x="43089" y="37655"/>
                      <a:pt x="35152" y="37655"/>
                    </a:cubicBezTo>
                    <a:cubicBezTo>
                      <a:pt x="26719" y="37655"/>
                      <a:pt x="26719" y="36167"/>
                      <a:pt x="18782" y="36167"/>
                    </a:cubicBezTo>
                    <a:cubicBezTo>
                      <a:pt x="10844" y="36167"/>
                      <a:pt x="7868" y="43112"/>
                      <a:pt x="2411" y="37159"/>
                    </a:cubicBezTo>
                    <a:cubicBezTo>
                      <a:pt x="-3542" y="30710"/>
                      <a:pt x="3403" y="28726"/>
                      <a:pt x="3403" y="19797"/>
                    </a:cubicBezTo>
                    <a:cubicBezTo>
                      <a:pt x="3403" y="10867"/>
                      <a:pt x="-3046" y="9379"/>
                      <a:pt x="2907" y="2930"/>
                    </a:cubicBezTo>
                    <a:cubicBezTo>
                      <a:pt x="8364" y="-3023"/>
                      <a:pt x="10348" y="1938"/>
                      <a:pt x="18782" y="1938"/>
                    </a:cubicBezTo>
                    <a:cubicBezTo>
                      <a:pt x="26719" y="1938"/>
                      <a:pt x="26719" y="1938"/>
                      <a:pt x="35152" y="1938"/>
                    </a:cubicBezTo>
                    <a:cubicBezTo>
                      <a:pt x="43089" y="1938"/>
                      <a:pt x="43089" y="2930"/>
                      <a:pt x="51523" y="2930"/>
                    </a:cubicBezTo>
                    <a:cubicBezTo>
                      <a:pt x="59956" y="2930"/>
                      <a:pt x="59956" y="3426"/>
                      <a:pt x="67893" y="3426"/>
                    </a:cubicBezTo>
                    <a:cubicBezTo>
                      <a:pt x="75831" y="3426"/>
                      <a:pt x="75831" y="3426"/>
                      <a:pt x="84264" y="3426"/>
                    </a:cubicBezTo>
                    <a:cubicBezTo>
                      <a:pt x="92697" y="3426"/>
                      <a:pt x="92697" y="1938"/>
                      <a:pt x="100634" y="1938"/>
                    </a:cubicBezTo>
                    <a:cubicBezTo>
                      <a:pt x="108572" y="1938"/>
                      <a:pt x="108572" y="1938"/>
                      <a:pt x="117005" y="1938"/>
                    </a:cubicBezTo>
                    <a:cubicBezTo>
                      <a:pt x="125438" y="1938"/>
                      <a:pt x="125438" y="3922"/>
                      <a:pt x="133376" y="3922"/>
                    </a:cubicBezTo>
                    <a:cubicBezTo>
                      <a:pt x="141809" y="3922"/>
                      <a:pt x="141809" y="3922"/>
                      <a:pt x="149746" y="3922"/>
                    </a:cubicBezTo>
                    <a:cubicBezTo>
                      <a:pt x="158179" y="3922"/>
                      <a:pt x="158179" y="2434"/>
                      <a:pt x="166117" y="2434"/>
                    </a:cubicBezTo>
                    <a:cubicBezTo>
                      <a:pt x="174550" y="2434"/>
                      <a:pt x="174550" y="2930"/>
                      <a:pt x="182487" y="2930"/>
                    </a:cubicBezTo>
                    <a:cubicBezTo>
                      <a:pt x="190920" y="2930"/>
                      <a:pt x="190920" y="1938"/>
                      <a:pt x="198858" y="1938"/>
                    </a:cubicBezTo>
                    <a:cubicBezTo>
                      <a:pt x="207291" y="1938"/>
                      <a:pt x="207291" y="3426"/>
                      <a:pt x="215228" y="3426"/>
                    </a:cubicBezTo>
                    <a:cubicBezTo>
                      <a:pt x="223661" y="3426"/>
                      <a:pt x="223661" y="2434"/>
                      <a:pt x="231599" y="2434"/>
                    </a:cubicBezTo>
                    <a:cubicBezTo>
                      <a:pt x="240032" y="2434"/>
                      <a:pt x="240032" y="2434"/>
                      <a:pt x="247969" y="2434"/>
                    </a:cubicBezTo>
                    <a:cubicBezTo>
                      <a:pt x="256403" y="2434"/>
                      <a:pt x="256403" y="2930"/>
                      <a:pt x="264340" y="2930"/>
                    </a:cubicBezTo>
                    <a:cubicBezTo>
                      <a:pt x="272773" y="2930"/>
                      <a:pt x="272773" y="3922"/>
                      <a:pt x="280710" y="3922"/>
                    </a:cubicBezTo>
                    <a:cubicBezTo>
                      <a:pt x="288648" y="3922"/>
                      <a:pt x="290632" y="-2527"/>
                      <a:pt x="296585" y="3426"/>
                    </a:cubicBezTo>
                    <a:cubicBezTo>
                      <a:pt x="302538" y="9875"/>
                      <a:pt x="296089" y="11363"/>
                      <a:pt x="297577" y="19797"/>
                    </a:cubicBezTo>
                    <a:cubicBezTo>
                      <a:pt x="299562" y="27734"/>
                      <a:pt x="302538" y="29718"/>
                      <a:pt x="296585" y="36167"/>
                    </a:cubicBezTo>
                    <a:close/>
                  </a:path>
                </a:pathLst>
              </a:custGeom>
              <a:solidFill>
                <a:srgbClr val="9AA4BD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1" name="Freeform: Shape 1720">
                <a:extLst>
                  <a:ext uri="{FF2B5EF4-FFF2-40B4-BE49-F238E27FC236}">
                    <a16:creationId xmlns:a16="http://schemas.microsoft.com/office/drawing/2014/main" id="{66757E6A-2E77-0F79-297F-9822C3B6589D}"/>
                  </a:ext>
                </a:extLst>
              </p:cNvPr>
              <p:cNvSpPr/>
              <p:nvPr/>
            </p:nvSpPr>
            <p:spPr>
              <a:xfrm>
                <a:off x="5557608" y="3122014"/>
                <a:ext cx="300250" cy="304892"/>
              </a:xfrm>
              <a:custGeom>
                <a:avLst/>
                <a:gdLst>
                  <a:gd name="connsiteX0" fmla="*/ 2303 w 300250"/>
                  <a:gd name="connsiteY0" fmla="*/ 304892 h 304892"/>
                  <a:gd name="connsiteX1" fmla="*/ 3295 w 300250"/>
                  <a:gd name="connsiteY1" fmla="*/ 289018 h 304892"/>
                  <a:gd name="connsiteX2" fmla="*/ 2799 w 300250"/>
                  <a:gd name="connsiteY2" fmla="*/ 273143 h 304892"/>
                  <a:gd name="connsiteX3" fmla="*/ 1807 w 300250"/>
                  <a:gd name="connsiteY3" fmla="*/ 257269 h 304892"/>
                  <a:gd name="connsiteX4" fmla="*/ 2799 w 300250"/>
                  <a:gd name="connsiteY4" fmla="*/ 241394 h 304892"/>
                  <a:gd name="connsiteX5" fmla="*/ 1311 w 300250"/>
                  <a:gd name="connsiteY5" fmla="*/ 225520 h 304892"/>
                  <a:gd name="connsiteX6" fmla="*/ 815 w 300250"/>
                  <a:gd name="connsiteY6" fmla="*/ 209645 h 304892"/>
                  <a:gd name="connsiteX7" fmla="*/ 2303 w 300250"/>
                  <a:gd name="connsiteY7" fmla="*/ 193771 h 304892"/>
                  <a:gd name="connsiteX8" fmla="*/ 815 w 300250"/>
                  <a:gd name="connsiteY8" fmla="*/ 177896 h 304892"/>
                  <a:gd name="connsiteX9" fmla="*/ 1311 w 300250"/>
                  <a:gd name="connsiteY9" fmla="*/ 162022 h 304892"/>
                  <a:gd name="connsiteX10" fmla="*/ 815 w 300250"/>
                  <a:gd name="connsiteY10" fmla="*/ 146147 h 304892"/>
                  <a:gd name="connsiteX11" fmla="*/ 815 w 300250"/>
                  <a:gd name="connsiteY11" fmla="*/ 130273 h 304892"/>
                  <a:gd name="connsiteX12" fmla="*/ 2303 w 300250"/>
                  <a:gd name="connsiteY12" fmla="*/ 114398 h 304892"/>
                  <a:gd name="connsiteX13" fmla="*/ 2303 w 300250"/>
                  <a:gd name="connsiteY13" fmla="*/ 98524 h 304892"/>
                  <a:gd name="connsiteX14" fmla="*/ 2799 w 300250"/>
                  <a:gd name="connsiteY14" fmla="*/ 82649 h 304892"/>
                  <a:gd name="connsiteX15" fmla="*/ 1807 w 300250"/>
                  <a:gd name="connsiteY15" fmla="*/ 66775 h 304892"/>
                  <a:gd name="connsiteX16" fmla="*/ 3295 w 300250"/>
                  <a:gd name="connsiteY16" fmla="*/ 50900 h 304892"/>
                  <a:gd name="connsiteX17" fmla="*/ 1807 w 300250"/>
                  <a:gd name="connsiteY17" fmla="*/ 35026 h 304892"/>
                  <a:gd name="connsiteX18" fmla="*/ 2799 w 300250"/>
                  <a:gd name="connsiteY18" fmla="*/ 19151 h 304892"/>
                  <a:gd name="connsiteX19" fmla="*/ 2303 w 300250"/>
                  <a:gd name="connsiteY19" fmla="*/ 3277 h 304892"/>
                  <a:gd name="connsiteX20" fmla="*/ 18674 w 300250"/>
                  <a:gd name="connsiteY20" fmla="*/ 3277 h 304892"/>
                  <a:gd name="connsiteX21" fmla="*/ 35044 w 300250"/>
                  <a:gd name="connsiteY21" fmla="*/ 3773 h 304892"/>
                  <a:gd name="connsiteX22" fmla="*/ 51415 w 300250"/>
                  <a:gd name="connsiteY22" fmla="*/ 3277 h 304892"/>
                  <a:gd name="connsiteX23" fmla="*/ 67785 w 300250"/>
                  <a:gd name="connsiteY23" fmla="*/ 2781 h 304892"/>
                  <a:gd name="connsiteX24" fmla="*/ 84156 w 300250"/>
                  <a:gd name="connsiteY24" fmla="*/ 3277 h 304892"/>
                  <a:gd name="connsiteX25" fmla="*/ 100527 w 300250"/>
                  <a:gd name="connsiteY25" fmla="*/ 2285 h 304892"/>
                  <a:gd name="connsiteX26" fmla="*/ 116897 w 300250"/>
                  <a:gd name="connsiteY26" fmla="*/ 3773 h 304892"/>
                  <a:gd name="connsiteX27" fmla="*/ 133268 w 300250"/>
                  <a:gd name="connsiteY27" fmla="*/ 4269 h 304892"/>
                  <a:gd name="connsiteX28" fmla="*/ 149638 w 300250"/>
                  <a:gd name="connsiteY28" fmla="*/ 4269 h 304892"/>
                  <a:gd name="connsiteX29" fmla="*/ 166009 w 300250"/>
                  <a:gd name="connsiteY29" fmla="*/ 3773 h 304892"/>
                  <a:gd name="connsiteX30" fmla="*/ 182379 w 300250"/>
                  <a:gd name="connsiteY30" fmla="*/ 3773 h 304892"/>
                  <a:gd name="connsiteX31" fmla="*/ 198750 w 300250"/>
                  <a:gd name="connsiteY31" fmla="*/ 3277 h 304892"/>
                  <a:gd name="connsiteX32" fmla="*/ 215120 w 300250"/>
                  <a:gd name="connsiteY32" fmla="*/ 2285 h 304892"/>
                  <a:gd name="connsiteX33" fmla="*/ 231491 w 300250"/>
                  <a:gd name="connsiteY33" fmla="*/ 2285 h 304892"/>
                  <a:gd name="connsiteX34" fmla="*/ 247862 w 300250"/>
                  <a:gd name="connsiteY34" fmla="*/ 3773 h 304892"/>
                  <a:gd name="connsiteX35" fmla="*/ 264232 w 300250"/>
                  <a:gd name="connsiteY35" fmla="*/ 2285 h 304892"/>
                  <a:gd name="connsiteX36" fmla="*/ 280603 w 300250"/>
                  <a:gd name="connsiteY36" fmla="*/ 2285 h 304892"/>
                  <a:gd name="connsiteX37" fmla="*/ 297469 w 300250"/>
                  <a:gd name="connsiteY37" fmla="*/ 2781 h 304892"/>
                  <a:gd name="connsiteX38" fmla="*/ 297965 w 300250"/>
                  <a:gd name="connsiteY38" fmla="*/ 19151 h 304892"/>
                  <a:gd name="connsiteX39" fmla="*/ 297965 w 300250"/>
                  <a:gd name="connsiteY39" fmla="*/ 35026 h 304892"/>
                  <a:gd name="connsiteX40" fmla="*/ 296477 w 300250"/>
                  <a:gd name="connsiteY40" fmla="*/ 50900 h 304892"/>
                  <a:gd name="connsiteX41" fmla="*/ 296477 w 300250"/>
                  <a:gd name="connsiteY41" fmla="*/ 66775 h 304892"/>
                  <a:gd name="connsiteX42" fmla="*/ 296973 w 300250"/>
                  <a:gd name="connsiteY42" fmla="*/ 82649 h 304892"/>
                  <a:gd name="connsiteX43" fmla="*/ 295981 w 300250"/>
                  <a:gd name="connsiteY43" fmla="*/ 98524 h 304892"/>
                  <a:gd name="connsiteX44" fmla="*/ 296973 w 300250"/>
                  <a:gd name="connsiteY44" fmla="*/ 114398 h 304892"/>
                  <a:gd name="connsiteX45" fmla="*/ 296477 w 300250"/>
                  <a:gd name="connsiteY45" fmla="*/ 130273 h 304892"/>
                  <a:gd name="connsiteX46" fmla="*/ 296477 w 300250"/>
                  <a:gd name="connsiteY46" fmla="*/ 146147 h 304892"/>
                  <a:gd name="connsiteX47" fmla="*/ 296973 w 300250"/>
                  <a:gd name="connsiteY47" fmla="*/ 162022 h 304892"/>
                  <a:gd name="connsiteX48" fmla="*/ 296973 w 300250"/>
                  <a:gd name="connsiteY48" fmla="*/ 177896 h 304892"/>
                  <a:gd name="connsiteX49" fmla="*/ 295981 w 300250"/>
                  <a:gd name="connsiteY49" fmla="*/ 193771 h 304892"/>
                  <a:gd name="connsiteX50" fmla="*/ 297469 w 300250"/>
                  <a:gd name="connsiteY50" fmla="*/ 209645 h 304892"/>
                  <a:gd name="connsiteX51" fmla="*/ 296973 w 300250"/>
                  <a:gd name="connsiteY51" fmla="*/ 225520 h 304892"/>
                  <a:gd name="connsiteX52" fmla="*/ 297965 w 300250"/>
                  <a:gd name="connsiteY52" fmla="*/ 241394 h 304892"/>
                  <a:gd name="connsiteX53" fmla="*/ 296973 w 300250"/>
                  <a:gd name="connsiteY53" fmla="*/ 257269 h 304892"/>
                  <a:gd name="connsiteX54" fmla="*/ 297965 w 300250"/>
                  <a:gd name="connsiteY54" fmla="*/ 273143 h 304892"/>
                  <a:gd name="connsiteX55" fmla="*/ 295981 w 300250"/>
                  <a:gd name="connsiteY55" fmla="*/ 289018 h 304892"/>
                  <a:gd name="connsiteX56" fmla="*/ 297965 w 300250"/>
                  <a:gd name="connsiteY56" fmla="*/ 304892 h 30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250" h="304892">
                    <a:moveTo>
                      <a:pt x="2303" y="304892"/>
                    </a:moveTo>
                    <a:cubicBezTo>
                      <a:pt x="2303" y="296955"/>
                      <a:pt x="3295" y="296955"/>
                      <a:pt x="3295" y="289018"/>
                    </a:cubicBezTo>
                    <a:cubicBezTo>
                      <a:pt x="3295" y="281080"/>
                      <a:pt x="2799" y="281080"/>
                      <a:pt x="2799" y="273143"/>
                    </a:cubicBezTo>
                    <a:cubicBezTo>
                      <a:pt x="2799" y="265206"/>
                      <a:pt x="1807" y="265206"/>
                      <a:pt x="1807" y="257269"/>
                    </a:cubicBezTo>
                    <a:cubicBezTo>
                      <a:pt x="1807" y="249331"/>
                      <a:pt x="2799" y="249331"/>
                      <a:pt x="2799" y="241394"/>
                    </a:cubicBezTo>
                    <a:cubicBezTo>
                      <a:pt x="2799" y="233457"/>
                      <a:pt x="1311" y="233457"/>
                      <a:pt x="1311" y="225520"/>
                    </a:cubicBezTo>
                    <a:cubicBezTo>
                      <a:pt x="1311" y="217583"/>
                      <a:pt x="815" y="217583"/>
                      <a:pt x="815" y="209645"/>
                    </a:cubicBezTo>
                    <a:cubicBezTo>
                      <a:pt x="815" y="201708"/>
                      <a:pt x="2303" y="201708"/>
                      <a:pt x="2303" y="193771"/>
                    </a:cubicBezTo>
                    <a:cubicBezTo>
                      <a:pt x="2303" y="185833"/>
                      <a:pt x="815" y="185833"/>
                      <a:pt x="815" y="177896"/>
                    </a:cubicBezTo>
                    <a:cubicBezTo>
                      <a:pt x="815" y="169959"/>
                      <a:pt x="1311" y="169959"/>
                      <a:pt x="1311" y="162022"/>
                    </a:cubicBezTo>
                    <a:cubicBezTo>
                      <a:pt x="1311" y="154085"/>
                      <a:pt x="815" y="154085"/>
                      <a:pt x="815" y="146147"/>
                    </a:cubicBezTo>
                    <a:cubicBezTo>
                      <a:pt x="815" y="138210"/>
                      <a:pt x="815" y="138210"/>
                      <a:pt x="815" y="130273"/>
                    </a:cubicBezTo>
                    <a:cubicBezTo>
                      <a:pt x="815" y="122336"/>
                      <a:pt x="2303" y="122336"/>
                      <a:pt x="2303" y="114398"/>
                    </a:cubicBezTo>
                    <a:cubicBezTo>
                      <a:pt x="2303" y="106461"/>
                      <a:pt x="2303" y="106461"/>
                      <a:pt x="2303" y="98524"/>
                    </a:cubicBezTo>
                    <a:cubicBezTo>
                      <a:pt x="2303" y="90586"/>
                      <a:pt x="2799" y="90586"/>
                      <a:pt x="2799" y="82649"/>
                    </a:cubicBezTo>
                    <a:cubicBezTo>
                      <a:pt x="2799" y="74712"/>
                      <a:pt x="1807" y="74712"/>
                      <a:pt x="1807" y="66775"/>
                    </a:cubicBezTo>
                    <a:cubicBezTo>
                      <a:pt x="1807" y="58838"/>
                      <a:pt x="3295" y="58838"/>
                      <a:pt x="3295" y="50900"/>
                    </a:cubicBezTo>
                    <a:cubicBezTo>
                      <a:pt x="3295" y="42963"/>
                      <a:pt x="1807" y="42963"/>
                      <a:pt x="1807" y="35026"/>
                    </a:cubicBezTo>
                    <a:cubicBezTo>
                      <a:pt x="1807" y="27088"/>
                      <a:pt x="2799" y="27088"/>
                      <a:pt x="2799" y="19151"/>
                    </a:cubicBezTo>
                    <a:cubicBezTo>
                      <a:pt x="2799" y="11214"/>
                      <a:pt x="-3154" y="8734"/>
                      <a:pt x="2303" y="3277"/>
                    </a:cubicBezTo>
                    <a:cubicBezTo>
                      <a:pt x="8256" y="-2676"/>
                      <a:pt x="10240" y="3277"/>
                      <a:pt x="18674" y="3277"/>
                    </a:cubicBezTo>
                    <a:cubicBezTo>
                      <a:pt x="26611" y="3277"/>
                      <a:pt x="26611" y="3773"/>
                      <a:pt x="35044" y="3773"/>
                    </a:cubicBezTo>
                    <a:cubicBezTo>
                      <a:pt x="42981" y="3773"/>
                      <a:pt x="42981" y="3277"/>
                      <a:pt x="51415" y="3277"/>
                    </a:cubicBezTo>
                    <a:cubicBezTo>
                      <a:pt x="59848" y="3277"/>
                      <a:pt x="59848" y="2781"/>
                      <a:pt x="67785" y="2781"/>
                    </a:cubicBezTo>
                    <a:cubicBezTo>
                      <a:pt x="75723" y="2781"/>
                      <a:pt x="75723" y="3277"/>
                      <a:pt x="84156" y="3277"/>
                    </a:cubicBezTo>
                    <a:cubicBezTo>
                      <a:pt x="92589" y="3277"/>
                      <a:pt x="92589" y="2285"/>
                      <a:pt x="100527" y="2285"/>
                    </a:cubicBezTo>
                    <a:cubicBezTo>
                      <a:pt x="108464" y="2285"/>
                      <a:pt x="108464" y="3773"/>
                      <a:pt x="116897" y="3773"/>
                    </a:cubicBezTo>
                    <a:cubicBezTo>
                      <a:pt x="125330" y="3773"/>
                      <a:pt x="125330" y="4269"/>
                      <a:pt x="133268" y="4269"/>
                    </a:cubicBezTo>
                    <a:cubicBezTo>
                      <a:pt x="141701" y="4269"/>
                      <a:pt x="141701" y="4269"/>
                      <a:pt x="149638" y="4269"/>
                    </a:cubicBezTo>
                    <a:cubicBezTo>
                      <a:pt x="158072" y="4269"/>
                      <a:pt x="158072" y="3773"/>
                      <a:pt x="166009" y="3773"/>
                    </a:cubicBezTo>
                    <a:cubicBezTo>
                      <a:pt x="174442" y="3773"/>
                      <a:pt x="174442" y="3773"/>
                      <a:pt x="182379" y="3773"/>
                    </a:cubicBezTo>
                    <a:cubicBezTo>
                      <a:pt x="190813" y="3773"/>
                      <a:pt x="190813" y="3277"/>
                      <a:pt x="198750" y="3277"/>
                    </a:cubicBezTo>
                    <a:cubicBezTo>
                      <a:pt x="207183" y="3277"/>
                      <a:pt x="207183" y="2285"/>
                      <a:pt x="215120" y="2285"/>
                    </a:cubicBezTo>
                    <a:cubicBezTo>
                      <a:pt x="223554" y="2285"/>
                      <a:pt x="223554" y="2285"/>
                      <a:pt x="231491" y="2285"/>
                    </a:cubicBezTo>
                    <a:cubicBezTo>
                      <a:pt x="239924" y="2285"/>
                      <a:pt x="239924" y="3773"/>
                      <a:pt x="247862" y="3773"/>
                    </a:cubicBezTo>
                    <a:cubicBezTo>
                      <a:pt x="256295" y="3773"/>
                      <a:pt x="256295" y="2285"/>
                      <a:pt x="264232" y="2285"/>
                    </a:cubicBezTo>
                    <a:cubicBezTo>
                      <a:pt x="272665" y="2285"/>
                      <a:pt x="272665" y="2285"/>
                      <a:pt x="280603" y="2285"/>
                    </a:cubicBezTo>
                    <a:cubicBezTo>
                      <a:pt x="288540" y="2285"/>
                      <a:pt x="291517" y="-3172"/>
                      <a:pt x="297469" y="2781"/>
                    </a:cubicBezTo>
                    <a:cubicBezTo>
                      <a:pt x="303423" y="8238"/>
                      <a:pt x="297965" y="11214"/>
                      <a:pt x="297965" y="19151"/>
                    </a:cubicBezTo>
                    <a:cubicBezTo>
                      <a:pt x="297965" y="27088"/>
                      <a:pt x="297965" y="27088"/>
                      <a:pt x="297965" y="35026"/>
                    </a:cubicBezTo>
                    <a:cubicBezTo>
                      <a:pt x="297965" y="42963"/>
                      <a:pt x="296477" y="42963"/>
                      <a:pt x="296477" y="50900"/>
                    </a:cubicBezTo>
                    <a:cubicBezTo>
                      <a:pt x="296477" y="58838"/>
                      <a:pt x="296477" y="58838"/>
                      <a:pt x="296477" y="66775"/>
                    </a:cubicBezTo>
                    <a:cubicBezTo>
                      <a:pt x="296477" y="74712"/>
                      <a:pt x="296973" y="74712"/>
                      <a:pt x="296973" y="82649"/>
                    </a:cubicBezTo>
                    <a:cubicBezTo>
                      <a:pt x="296973" y="90586"/>
                      <a:pt x="295981" y="90586"/>
                      <a:pt x="295981" y="98524"/>
                    </a:cubicBezTo>
                    <a:cubicBezTo>
                      <a:pt x="295981" y="106461"/>
                      <a:pt x="296973" y="106461"/>
                      <a:pt x="296973" y="114398"/>
                    </a:cubicBezTo>
                    <a:cubicBezTo>
                      <a:pt x="296973" y="122336"/>
                      <a:pt x="296477" y="122336"/>
                      <a:pt x="296477" y="130273"/>
                    </a:cubicBezTo>
                    <a:cubicBezTo>
                      <a:pt x="296477" y="138210"/>
                      <a:pt x="296477" y="138210"/>
                      <a:pt x="296477" y="146147"/>
                    </a:cubicBezTo>
                    <a:cubicBezTo>
                      <a:pt x="296477" y="154085"/>
                      <a:pt x="296973" y="154085"/>
                      <a:pt x="296973" y="162022"/>
                    </a:cubicBezTo>
                    <a:cubicBezTo>
                      <a:pt x="296973" y="169959"/>
                      <a:pt x="296973" y="169959"/>
                      <a:pt x="296973" y="177896"/>
                    </a:cubicBezTo>
                    <a:cubicBezTo>
                      <a:pt x="296973" y="185833"/>
                      <a:pt x="295981" y="185833"/>
                      <a:pt x="295981" y="193771"/>
                    </a:cubicBezTo>
                    <a:cubicBezTo>
                      <a:pt x="295981" y="201708"/>
                      <a:pt x="297469" y="201708"/>
                      <a:pt x="297469" y="209645"/>
                    </a:cubicBezTo>
                    <a:cubicBezTo>
                      <a:pt x="297469" y="217583"/>
                      <a:pt x="296973" y="217583"/>
                      <a:pt x="296973" y="225520"/>
                    </a:cubicBezTo>
                    <a:cubicBezTo>
                      <a:pt x="296973" y="233457"/>
                      <a:pt x="297965" y="233457"/>
                      <a:pt x="297965" y="241394"/>
                    </a:cubicBezTo>
                    <a:cubicBezTo>
                      <a:pt x="297965" y="249331"/>
                      <a:pt x="296973" y="249331"/>
                      <a:pt x="296973" y="257269"/>
                    </a:cubicBezTo>
                    <a:cubicBezTo>
                      <a:pt x="296973" y="265206"/>
                      <a:pt x="297965" y="265206"/>
                      <a:pt x="297965" y="273143"/>
                    </a:cubicBezTo>
                    <a:cubicBezTo>
                      <a:pt x="297965" y="281080"/>
                      <a:pt x="295981" y="281080"/>
                      <a:pt x="295981" y="289018"/>
                    </a:cubicBezTo>
                    <a:cubicBezTo>
                      <a:pt x="295981" y="296955"/>
                      <a:pt x="297965" y="296955"/>
                      <a:pt x="297965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2" name="Freeform: Shape 1721">
                <a:extLst>
                  <a:ext uri="{FF2B5EF4-FFF2-40B4-BE49-F238E27FC236}">
                    <a16:creationId xmlns:a16="http://schemas.microsoft.com/office/drawing/2014/main" id="{20DE4223-7D18-23EF-8660-AED3910C8356}"/>
                  </a:ext>
                </a:extLst>
              </p:cNvPr>
              <p:cNvSpPr/>
              <p:nvPr/>
            </p:nvSpPr>
            <p:spPr>
              <a:xfrm>
                <a:off x="5527133" y="3424050"/>
                <a:ext cx="364036" cy="64419"/>
              </a:xfrm>
              <a:custGeom>
                <a:avLst/>
                <a:gdLst>
                  <a:gd name="connsiteX0" fmla="*/ 3014 w 364036"/>
                  <a:gd name="connsiteY0" fmla="*/ 3352 h 64419"/>
                  <a:gd name="connsiteX1" fmla="*/ 18888 w 364036"/>
                  <a:gd name="connsiteY1" fmla="*/ 3848 h 64419"/>
                  <a:gd name="connsiteX2" fmla="*/ 35259 w 364036"/>
                  <a:gd name="connsiteY2" fmla="*/ 3352 h 64419"/>
                  <a:gd name="connsiteX3" fmla="*/ 51629 w 364036"/>
                  <a:gd name="connsiteY3" fmla="*/ 4344 h 64419"/>
                  <a:gd name="connsiteX4" fmla="*/ 68000 w 364036"/>
                  <a:gd name="connsiteY4" fmla="*/ 3848 h 64419"/>
                  <a:gd name="connsiteX5" fmla="*/ 84370 w 364036"/>
                  <a:gd name="connsiteY5" fmla="*/ 2855 h 64419"/>
                  <a:gd name="connsiteX6" fmla="*/ 100245 w 364036"/>
                  <a:gd name="connsiteY6" fmla="*/ 2855 h 64419"/>
                  <a:gd name="connsiteX7" fmla="*/ 116120 w 364036"/>
                  <a:gd name="connsiteY7" fmla="*/ 4344 h 64419"/>
                  <a:gd name="connsiteX8" fmla="*/ 132490 w 364036"/>
                  <a:gd name="connsiteY8" fmla="*/ 2360 h 64419"/>
                  <a:gd name="connsiteX9" fmla="*/ 148365 w 364036"/>
                  <a:gd name="connsiteY9" fmla="*/ 3848 h 64419"/>
                  <a:gd name="connsiteX10" fmla="*/ 164735 w 364036"/>
                  <a:gd name="connsiteY10" fmla="*/ 3352 h 64419"/>
                  <a:gd name="connsiteX11" fmla="*/ 181106 w 364036"/>
                  <a:gd name="connsiteY11" fmla="*/ 3848 h 64419"/>
                  <a:gd name="connsiteX12" fmla="*/ 197476 w 364036"/>
                  <a:gd name="connsiteY12" fmla="*/ 2360 h 64419"/>
                  <a:gd name="connsiteX13" fmla="*/ 213847 w 364036"/>
                  <a:gd name="connsiteY13" fmla="*/ 3352 h 64419"/>
                  <a:gd name="connsiteX14" fmla="*/ 230217 w 364036"/>
                  <a:gd name="connsiteY14" fmla="*/ 3848 h 64419"/>
                  <a:gd name="connsiteX15" fmla="*/ 246588 w 364036"/>
                  <a:gd name="connsiteY15" fmla="*/ 3848 h 64419"/>
                  <a:gd name="connsiteX16" fmla="*/ 262959 w 364036"/>
                  <a:gd name="connsiteY16" fmla="*/ 2855 h 64419"/>
                  <a:gd name="connsiteX17" fmla="*/ 279329 w 364036"/>
                  <a:gd name="connsiteY17" fmla="*/ 3848 h 64419"/>
                  <a:gd name="connsiteX18" fmla="*/ 295700 w 364036"/>
                  <a:gd name="connsiteY18" fmla="*/ 3848 h 64419"/>
                  <a:gd name="connsiteX19" fmla="*/ 312070 w 364036"/>
                  <a:gd name="connsiteY19" fmla="*/ 1863 h 64419"/>
                  <a:gd name="connsiteX20" fmla="*/ 328441 w 364036"/>
                  <a:gd name="connsiteY20" fmla="*/ 2855 h 64419"/>
                  <a:gd name="connsiteX21" fmla="*/ 344811 w 364036"/>
                  <a:gd name="connsiteY21" fmla="*/ 2360 h 64419"/>
                  <a:gd name="connsiteX22" fmla="*/ 361678 w 364036"/>
                  <a:gd name="connsiteY22" fmla="*/ 1863 h 64419"/>
                  <a:gd name="connsiteX23" fmla="*/ 361678 w 364036"/>
                  <a:gd name="connsiteY23" fmla="*/ 13769 h 64419"/>
                  <a:gd name="connsiteX24" fmla="*/ 353244 w 364036"/>
                  <a:gd name="connsiteY24" fmla="*/ 29644 h 64419"/>
                  <a:gd name="connsiteX25" fmla="*/ 345803 w 364036"/>
                  <a:gd name="connsiteY25" fmla="*/ 46014 h 64419"/>
                  <a:gd name="connsiteX26" fmla="*/ 335882 w 364036"/>
                  <a:gd name="connsiteY26" fmla="*/ 60401 h 64419"/>
                  <a:gd name="connsiteX27" fmla="*/ 320503 w 364036"/>
                  <a:gd name="connsiteY27" fmla="*/ 61889 h 64419"/>
                  <a:gd name="connsiteX28" fmla="*/ 304629 w 364036"/>
                  <a:gd name="connsiteY28" fmla="*/ 60897 h 64419"/>
                  <a:gd name="connsiteX29" fmla="*/ 288754 w 364036"/>
                  <a:gd name="connsiteY29" fmla="*/ 61393 h 64419"/>
                  <a:gd name="connsiteX30" fmla="*/ 272880 w 364036"/>
                  <a:gd name="connsiteY30" fmla="*/ 62385 h 64419"/>
                  <a:gd name="connsiteX31" fmla="*/ 257006 w 364036"/>
                  <a:gd name="connsiteY31" fmla="*/ 61889 h 64419"/>
                  <a:gd name="connsiteX32" fmla="*/ 241131 w 364036"/>
                  <a:gd name="connsiteY32" fmla="*/ 60401 h 64419"/>
                  <a:gd name="connsiteX33" fmla="*/ 225257 w 364036"/>
                  <a:gd name="connsiteY33" fmla="*/ 61393 h 64419"/>
                  <a:gd name="connsiteX34" fmla="*/ 209382 w 364036"/>
                  <a:gd name="connsiteY34" fmla="*/ 62385 h 64419"/>
                  <a:gd name="connsiteX35" fmla="*/ 193508 w 364036"/>
                  <a:gd name="connsiteY35" fmla="*/ 61889 h 64419"/>
                  <a:gd name="connsiteX36" fmla="*/ 177633 w 364036"/>
                  <a:gd name="connsiteY36" fmla="*/ 61889 h 64419"/>
                  <a:gd name="connsiteX37" fmla="*/ 161759 w 364036"/>
                  <a:gd name="connsiteY37" fmla="*/ 61889 h 64419"/>
                  <a:gd name="connsiteX38" fmla="*/ 145884 w 364036"/>
                  <a:gd name="connsiteY38" fmla="*/ 62385 h 64419"/>
                  <a:gd name="connsiteX39" fmla="*/ 130010 w 364036"/>
                  <a:gd name="connsiteY39" fmla="*/ 62881 h 64419"/>
                  <a:gd name="connsiteX40" fmla="*/ 114135 w 364036"/>
                  <a:gd name="connsiteY40" fmla="*/ 61889 h 64419"/>
                  <a:gd name="connsiteX41" fmla="*/ 98261 w 364036"/>
                  <a:gd name="connsiteY41" fmla="*/ 61393 h 64419"/>
                  <a:gd name="connsiteX42" fmla="*/ 82386 w 364036"/>
                  <a:gd name="connsiteY42" fmla="*/ 62385 h 64419"/>
                  <a:gd name="connsiteX43" fmla="*/ 66512 w 364036"/>
                  <a:gd name="connsiteY43" fmla="*/ 62881 h 64419"/>
                  <a:gd name="connsiteX44" fmla="*/ 50637 w 364036"/>
                  <a:gd name="connsiteY44" fmla="*/ 61889 h 64419"/>
                  <a:gd name="connsiteX45" fmla="*/ 34267 w 364036"/>
                  <a:gd name="connsiteY45" fmla="*/ 62881 h 64419"/>
                  <a:gd name="connsiteX46" fmla="*/ 25833 w 364036"/>
                  <a:gd name="connsiteY46" fmla="*/ 45518 h 64419"/>
                  <a:gd name="connsiteX47" fmla="*/ 15912 w 364036"/>
                  <a:gd name="connsiteY47" fmla="*/ 29644 h 64419"/>
                  <a:gd name="connsiteX48" fmla="*/ 4502 w 364036"/>
                  <a:gd name="connsiteY48" fmla="*/ 14265 h 64419"/>
                  <a:gd name="connsiteX49" fmla="*/ 3014 w 364036"/>
                  <a:gd name="connsiteY49" fmla="*/ 3352 h 6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4036" h="64419">
                    <a:moveTo>
                      <a:pt x="3014" y="3352"/>
                    </a:moveTo>
                    <a:cubicBezTo>
                      <a:pt x="9463" y="-1113"/>
                      <a:pt x="10951" y="3848"/>
                      <a:pt x="18888" y="3848"/>
                    </a:cubicBezTo>
                    <a:cubicBezTo>
                      <a:pt x="26826" y="3848"/>
                      <a:pt x="26826" y="3352"/>
                      <a:pt x="35259" y="3352"/>
                    </a:cubicBezTo>
                    <a:cubicBezTo>
                      <a:pt x="43196" y="3352"/>
                      <a:pt x="43196" y="4344"/>
                      <a:pt x="51629" y="4344"/>
                    </a:cubicBezTo>
                    <a:cubicBezTo>
                      <a:pt x="59567" y="4344"/>
                      <a:pt x="59567" y="3848"/>
                      <a:pt x="68000" y="3848"/>
                    </a:cubicBezTo>
                    <a:cubicBezTo>
                      <a:pt x="76433" y="3848"/>
                      <a:pt x="75937" y="2855"/>
                      <a:pt x="84370" y="2855"/>
                    </a:cubicBezTo>
                    <a:cubicBezTo>
                      <a:pt x="92308" y="2855"/>
                      <a:pt x="92308" y="2855"/>
                      <a:pt x="100245" y="2855"/>
                    </a:cubicBezTo>
                    <a:cubicBezTo>
                      <a:pt x="108182" y="2855"/>
                      <a:pt x="108182" y="4344"/>
                      <a:pt x="116120" y="4344"/>
                    </a:cubicBezTo>
                    <a:cubicBezTo>
                      <a:pt x="124057" y="4344"/>
                      <a:pt x="124057" y="2360"/>
                      <a:pt x="132490" y="2360"/>
                    </a:cubicBezTo>
                    <a:cubicBezTo>
                      <a:pt x="140427" y="2360"/>
                      <a:pt x="140427" y="3848"/>
                      <a:pt x="148365" y="3848"/>
                    </a:cubicBezTo>
                    <a:cubicBezTo>
                      <a:pt x="156302" y="3848"/>
                      <a:pt x="156302" y="3352"/>
                      <a:pt x="164735" y="3352"/>
                    </a:cubicBezTo>
                    <a:cubicBezTo>
                      <a:pt x="172672" y="3352"/>
                      <a:pt x="172672" y="3848"/>
                      <a:pt x="181106" y="3848"/>
                    </a:cubicBezTo>
                    <a:cubicBezTo>
                      <a:pt x="189043" y="3848"/>
                      <a:pt x="189043" y="2360"/>
                      <a:pt x="197476" y="2360"/>
                    </a:cubicBezTo>
                    <a:cubicBezTo>
                      <a:pt x="205414" y="2360"/>
                      <a:pt x="205414" y="3352"/>
                      <a:pt x="213847" y="3352"/>
                    </a:cubicBezTo>
                    <a:cubicBezTo>
                      <a:pt x="221784" y="3352"/>
                      <a:pt x="221784" y="3848"/>
                      <a:pt x="230217" y="3848"/>
                    </a:cubicBezTo>
                    <a:cubicBezTo>
                      <a:pt x="238155" y="3848"/>
                      <a:pt x="238155" y="3848"/>
                      <a:pt x="246588" y="3848"/>
                    </a:cubicBezTo>
                    <a:cubicBezTo>
                      <a:pt x="255021" y="3848"/>
                      <a:pt x="254525" y="2855"/>
                      <a:pt x="262959" y="2855"/>
                    </a:cubicBezTo>
                    <a:cubicBezTo>
                      <a:pt x="270896" y="2855"/>
                      <a:pt x="270896" y="3848"/>
                      <a:pt x="279329" y="3848"/>
                    </a:cubicBezTo>
                    <a:cubicBezTo>
                      <a:pt x="287266" y="3848"/>
                      <a:pt x="287266" y="3848"/>
                      <a:pt x="295700" y="3848"/>
                    </a:cubicBezTo>
                    <a:cubicBezTo>
                      <a:pt x="303637" y="3848"/>
                      <a:pt x="303637" y="1863"/>
                      <a:pt x="312070" y="1863"/>
                    </a:cubicBezTo>
                    <a:cubicBezTo>
                      <a:pt x="320007" y="1863"/>
                      <a:pt x="320007" y="2855"/>
                      <a:pt x="328441" y="2855"/>
                    </a:cubicBezTo>
                    <a:cubicBezTo>
                      <a:pt x="336378" y="2855"/>
                      <a:pt x="336378" y="2360"/>
                      <a:pt x="344811" y="2360"/>
                    </a:cubicBezTo>
                    <a:cubicBezTo>
                      <a:pt x="352749" y="2360"/>
                      <a:pt x="354733" y="-2601"/>
                      <a:pt x="361678" y="1863"/>
                    </a:cubicBezTo>
                    <a:cubicBezTo>
                      <a:pt x="366143" y="4840"/>
                      <a:pt x="363166" y="8808"/>
                      <a:pt x="361678" y="13769"/>
                    </a:cubicBezTo>
                    <a:cubicBezTo>
                      <a:pt x="359198" y="22203"/>
                      <a:pt x="357213" y="21706"/>
                      <a:pt x="353244" y="29644"/>
                    </a:cubicBezTo>
                    <a:cubicBezTo>
                      <a:pt x="349276" y="37581"/>
                      <a:pt x="350268" y="38077"/>
                      <a:pt x="345803" y="46014"/>
                    </a:cubicBezTo>
                    <a:cubicBezTo>
                      <a:pt x="341835" y="53951"/>
                      <a:pt x="343819" y="55440"/>
                      <a:pt x="335882" y="60401"/>
                    </a:cubicBezTo>
                    <a:cubicBezTo>
                      <a:pt x="329433" y="64865"/>
                      <a:pt x="328441" y="61889"/>
                      <a:pt x="320503" y="61889"/>
                    </a:cubicBezTo>
                    <a:cubicBezTo>
                      <a:pt x="312566" y="61889"/>
                      <a:pt x="312566" y="60897"/>
                      <a:pt x="304629" y="60897"/>
                    </a:cubicBezTo>
                    <a:cubicBezTo>
                      <a:pt x="296692" y="60897"/>
                      <a:pt x="296692" y="61393"/>
                      <a:pt x="288754" y="61393"/>
                    </a:cubicBezTo>
                    <a:cubicBezTo>
                      <a:pt x="280817" y="61393"/>
                      <a:pt x="280817" y="62385"/>
                      <a:pt x="272880" y="62385"/>
                    </a:cubicBezTo>
                    <a:cubicBezTo>
                      <a:pt x="264943" y="62385"/>
                      <a:pt x="264943" y="61889"/>
                      <a:pt x="257006" y="61889"/>
                    </a:cubicBezTo>
                    <a:cubicBezTo>
                      <a:pt x="249068" y="61889"/>
                      <a:pt x="249068" y="60401"/>
                      <a:pt x="241131" y="60401"/>
                    </a:cubicBezTo>
                    <a:cubicBezTo>
                      <a:pt x="233194" y="60401"/>
                      <a:pt x="233194" y="61393"/>
                      <a:pt x="225257" y="61393"/>
                    </a:cubicBezTo>
                    <a:cubicBezTo>
                      <a:pt x="217319" y="61393"/>
                      <a:pt x="217319" y="62385"/>
                      <a:pt x="209382" y="62385"/>
                    </a:cubicBezTo>
                    <a:cubicBezTo>
                      <a:pt x="201445" y="62385"/>
                      <a:pt x="201445" y="61889"/>
                      <a:pt x="193508" y="61889"/>
                    </a:cubicBezTo>
                    <a:cubicBezTo>
                      <a:pt x="185570" y="61889"/>
                      <a:pt x="185570" y="61889"/>
                      <a:pt x="177633" y="61889"/>
                    </a:cubicBezTo>
                    <a:cubicBezTo>
                      <a:pt x="169696" y="61889"/>
                      <a:pt x="169696" y="61889"/>
                      <a:pt x="161759" y="61889"/>
                    </a:cubicBezTo>
                    <a:cubicBezTo>
                      <a:pt x="153821" y="61889"/>
                      <a:pt x="153821" y="62385"/>
                      <a:pt x="145884" y="62385"/>
                    </a:cubicBezTo>
                    <a:cubicBezTo>
                      <a:pt x="137947" y="62385"/>
                      <a:pt x="137947" y="62881"/>
                      <a:pt x="130010" y="62881"/>
                    </a:cubicBezTo>
                    <a:cubicBezTo>
                      <a:pt x="122072" y="62881"/>
                      <a:pt x="122072" y="61889"/>
                      <a:pt x="114135" y="61889"/>
                    </a:cubicBezTo>
                    <a:cubicBezTo>
                      <a:pt x="106198" y="61889"/>
                      <a:pt x="106198" y="61393"/>
                      <a:pt x="98261" y="61393"/>
                    </a:cubicBezTo>
                    <a:cubicBezTo>
                      <a:pt x="90323" y="61393"/>
                      <a:pt x="90323" y="62385"/>
                      <a:pt x="82386" y="62385"/>
                    </a:cubicBezTo>
                    <a:cubicBezTo>
                      <a:pt x="74449" y="62385"/>
                      <a:pt x="74449" y="62881"/>
                      <a:pt x="66512" y="62881"/>
                    </a:cubicBezTo>
                    <a:cubicBezTo>
                      <a:pt x="58574" y="62881"/>
                      <a:pt x="58574" y="61889"/>
                      <a:pt x="50637" y="61889"/>
                    </a:cubicBezTo>
                    <a:cubicBezTo>
                      <a:pt x="42700" y="61889"/>
                      <a:pt x="40716" y="66850"/>
                      <a:pt x="34267" y="62881"/>
                    </a:cubicBezTo>
                    <a:cubicBezTo>
                      <a:pt x="26329" y="57920"/>
                      <a:pt x="30794" y="53455"/>
                      <a:pt x="25833" y="45518"/>
                    </a:cubicBezTo>
                    <a:cubicBezTo>
                      <a:pt x="20873" y="37581"/>
                      <a:pt x="20873" y="37581"/>
                      <a:pt x="15912" y="29644"/>
                    </a:cubicBezTo>
                    <a:cubicBezTo>
                      <a:pt x="10951" y="21706"/>
                      <a:pt x="9463" y="22699"/>
                      <a:pt x="4502" y="14265"/>
                    </a:cubicBezTo>
                    <a:cubicBezTo>
                      <a:pt x="-955" y="9304"/>
                      <a:pt x="-1451" y="6328"/>
                      <a:pt x="3014" y="335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0" name="Graphic 10">
              <a:extLst>
                <a:ext uri="{FF2B5EF4-FFF2-40B4-BE49-F238E27FC236}">
                  <a16:creationId xmlns:a16="http://schemas.microsoft.com/office/drawing/2014/main" id="{E071FD15-909A-F21C-BE95-89FBD2D6CF7C}"/>
                </a:ext>
              </a:extLst>
            </p:cNvPr>
            <p:cNvGrpSpPr/>
            <p:nvPr/>
          </p:nvGrpSpPr>
          <p:grpSpPr>
            <a:xfrm>
              <a:off x="5007972" y="3796815"/>
              <a:ext cx="333707" cy="673839"/>
              <a:chOff x="5007972" y="3796815"/>
              <a:chExt cx="333707" cy="673839"/>
            </a:xfrm>
            <a:noFill/>
          </p:grpSpPr>
          <p:sp>
            <p:nvSpPr>
              <p:cNvPr id="1715" name="Freeform: Shape 1714">
                <a:extLst>
                  <a:ext uri="{FF2B5EF4-FFF2-40B4-BE49-F238E27FC236}">
                    <a16:creationId xmlns:a16="http://schemas.microsoft.com/office/drawing/2014/main" id="{93E848EB-D715-B223-9532-583542B7CE39}"/>
                  </a:ext>
                </a:extLst>
              </p:cNvPr>
              <p:cNvSpPr/>
              <p:nvPr/>
            </p:nvSpPr>
            <p:spPr>
              <a:xfrm>
                <a:off x="5007972" y="3796815"/>
                <a:ext cx="333707" cy="673839"/>
              </a:xfrm>
              <a:custGeom>
                <a:avLst/>
                <a:gdLst>
                  <a:gd name="connsiteX0" fmla="*/ 1789 w 333707"/>
                  <a:gd name="connsiteY0" fmla="*/ 673839 h 673839"/>
                  <a:gd name="connsiteX1" fmla="*/ 2285 w 333707"/>
                  <a:gd name="connsiteY1" fmla="*/ 657469 h 673839"/>
                  <a:gd name="connsiteX2" fmla="*/ 2285 w 333707"/>
                  <a:gd name="connsiteY2" fmla="*/ 641098 h 673839"/>
                  <a:gd name="connsiteX3" fmla="*/ 2285 w 333707"/>
                  <a:gd name="connsiteY3" fmla="*/ 624727 h 673839"/>
                  <a:gd name="connsiteX4" fmla="*/ 3277 w 333707"/>
                  <a:gd name="connsiteY4" fmla="*/ 608357 h 673839"/>
                  <a:gd name="connsiteX5" fmla="*/ 3773 w 333707"/>
                  <a:gd name="connsiteY5" fmla="*/ 591986 h 673839"/>
                  <a:gd name="connsiteX6" fmla="*/ 2781 w 333707"/>
                  <a:gd name="connsiteY6" fmla="*/ 575616 h 673839"/>
                  <a:gd name="connsiteX7" fmla="*/ 1789 w 333707"/>
                  <a:gd name="connsiteY7" fmla="*/ 559245 h 673839"/>
                  <a:gd name="connsiteX8" fmla="*/ 3277 w 333707"/>
                  <a:gd name="connsiteY8" fmla="*/ 542874 h 673839"/>
                  <a:gd name="connsiteX9" fmla="*/ 1292 w 333707"/>
                  <a:gd name="connsiteY9" fmla="*/ 526504 h 673839"/>
                  <a:gd name="connsiteX10" fmla="*/ 1789 w 333707"/>
                  <a:gd name="connsiteY10" fmla="*/ 510133 h 673839"/>
                  <a:gd name="connsiteX11" fmla="*/ 2285 w 333707"/>
                  <a:gd name="connsiteY11" fmla="*/ 493763 h 673839"/>
                  <a:gd name="connsiteX12" fmla="*/ 3277 w 333707"/>
                  <a:gd name="connsiteY12" fmla="*/ 477392 h 673839"/>
                  <a:gd name="connsiteX13" fmla="*/ 1292 w 333707"/>
                  <a:gd name="connsiteY13" fmla="*/ 461022 h 673839"/>
                  <a:gd name="connsiteX14" fmla="*/ 1789 w 333707"/>
                  <a:gd name="connsiteY14" fmla="*/ 444651 h 673839"/>
                  <a:gd name="connsiteX15" fmla="*/ 1789 w 333707"/>
                  <a:gd name="connsiteY15" fmla="*/ 428281 h 673839"/>
                  <a:gd name="connsiteX16" fmla="*/ 3277 w 333707"/>
                  <a:gd name="connsiteY16" fmla="*/ 411910 h 673839"/>
                  <a:gd name="connsiteX17" fmla="*/ 2285 w 333707"/>
                  <a:gd name="connsiteY17" fmla="*/ 395539 h 673839"/>
                  <a:gd name="connsiteX18" fmla="*/ 1292 w 333707"/>
                  <a:gd name="connsiteY18" fmla="*/ 379169 h 673839"/>
                  <a:gd name="connsiteX19" fmla="*/ 2285 w 333707"/>
                  <a:gd name="connsiteY19" fmla="*/ 362798 h 673839"/>
                  <a:gd name="connsiteX20" fmla="*/ 3277 w 333707"/>
                  <a:gd name="connsiteY20" fmla="*/ 346428 h 673839"/>
                  <a:gd name="connsiteX21" fmla="*/ 2285 w 333707"/>
                  <a:gd name="connsiteY21" fmla="*/ 330057 h 673839"/>
                  <a:gd name="connsiteX22" fmla="*/ 2781 w 333707"/>
                  <a:gd name="connsiteY22" fmla="*/ 313686 h 673839"/>
                  <a:gd name="connsiteX23" fmla="*/ 1789 w 333707"/>
                  <a:gd name="connsiteY23" fmla="*/ 297316 h 673839"/>
                  <a:gd name="connsiteX24" fmla="*/ 2285 w 333707"/>
                  <a:gd name="connsiteY24" fmla="*/ 280945 h 673839"/>
                  <a:gd name="connsiteX25" fmla="*/ 2781 w 333707"/>
                  <a:gd name="connsiteY25" fmla="*/ 264575 h 673839"/>
                  <a:gd name="connsiteX26" fmla="*/ 2285 w 333707"/>
                  <a:gd name="connsiteY26" fmla="*/ 248204 h 673839"/>
                  <a:gd name="connsiteX27" fmla="*/ 3277 w 333707"/>
                  <a:gd name="connsiteY27" fmla="*/ 231834 h 673839"/>
                  <a:gd name="connsiteX28" fmla="*/ 2781 w 333707"/>
                  <a:gd name="connsiteY28" fmla="*/ 215463 h 673839"/>
                  <a:gd name="connsiteX29" fmla="*/ 2781 w 333707"/>
                  <a:gd name="connsiteY29" fmla="*/ 199093 h 673839"/>
                  <a:gd name="connsiteX30" fmla="*/ 1292 w 333707"/>
                  <a:gd name="connsiteY30" fmla="*/ 182722 h 673839"/>
                  <a:gd name="connsiteX31" fmla="*/ 3277 w 333707"/>
                  <a:gd name="connsiteY31" fmla="*/ 166351 h 673839"/>
                  <a:gd name="connsiteX32" fmla="*/ 1789 w 333707"/>
                  <a:gd name="connsiteY32" fmla="*/ 149981 h 673839"/>
                  <a:gd name="connsiteX33" fmla="*/ 2781 w 333707"/>
                  <a:gd name="connsiteY33" fmla="*/ 133610 h 673839"/>
                  <a:gd name="connsiteX34" fmla="*/ 2285 w 333707"/>
                  <a:gd name="connsiteY34" fmla="*/ 117240 h 673839"/>
                  <a:gd name="connsiteX35" fmla="*/ 1292 w 333707"/>
                  <a:gd name="connsiteY35" fmla="*/ 100869 h 673839"/>
                  <a:gd name="connsiteX36" fmla="*/ 2285 w 333707"/>
                  <a:gd name="connsiteY36" fmla="*/ 84499 h 673839"/>
                  <a:gd name="connsiteX37" fmla="*/ 2781 w 333707"/>
                  <a:gd name="connsiteY37" fmla="*/ 68128 h 673839"/>
                  <a:gd name="connsiteX38" fmla="*/ 1789 w 333707"/>
                  <a:gd name="connsiteY38" fmla="*/ 51757 h 673839"/>
                  <a:gd name="connsiteX39" fmla="*/ 1292 w 333707"/>
                  <a:gd name="connsiteY39" fmla="*/ 35387 h 673839"/>
                  <a:gd name="connsiteX40" fmla="*/ 2285 w 333707"/>
                  <a:gd name="connsiteY40" fmla="*/ 19016 h 673839"/>
                  <a:gd name="connsiteX41" fmla="*/ 2781 w 333707"/>
                  <a:gd name="connsiteY41" fmla="*/ 2646 h 673839"/>
                  <a:gd name="connsiteX42" fmla="*/ 19151 w 333707"/>
                  <a:gd name="connsiteY42" fmla="*/ 2646 h 673839"/>
                  <a:gd name="connsiteX43" fmla="*/ 35522 w 333707"/>
                  <a:gd name="connsiteY43" fmla="*/ 1654 h 673839"/>
                  <a:gd name="connsiteX44" fmla="*/ 51892 w 333707"/>
                  <a:gd name="connsiteY44" fmla="*/ 2646 h 673839"/>
                  <a:gd name="connsiteX45" fmla="*/ 68263 w 333707"/>
                  <a:gd name="connsiteY45" fmla="*/ 3638 h 673839"/>
                  <a:gd name="connsiteX46" fmla="*/ 84634 w 333707"/>
                  <a:gd name="connsiteY46" fmla="*/ 3638 h 673839"/>
                  <a:gd name="connsiteX47" fmla="*/ 101004 w 333707"/>
                  <a:gd name="connsiteY47" fmla="*/ 3638 h 673839"/>
                  <a:gd name="connsiteX48" fmla="*/ 117375 w 333707"/>
                  <a:gd name="connsiteY48" fmla="*/ 3638 h 673839"/>
                  <a:gd name="connsiteX49" fmla="*/ 133745 w 333707"/>
                  <a:gd name="connsiteY49" fmla="*/ 3142 h 673839"/>
                  <a:gd name="connsiteX50" fmla="*/ 150116 w 333707"/>
                  <a:gd name="connsiteY50" fmla="*/ 4134 h 673839"/>
                  <a:gd name="connsiteX51" fmla="*/ 166487 w 333707"/>
                  <a:gd name="connsiteY51" fmla="*/ 3638 h 673839"/>
                  <a:gd name="connsiteX52" fmla="*/ 182857 w 333707"/>
                  <a:gd name="connsiteY52" fmla="*/ 3638 h 673839"/>
                  <a:gd name="connsiteX53" fmla="*/ 199228 w 333707"/>
                  <a:gd name="connsiteY53" fmla="*/ 4134 h 673839"/>
                  <a:gd name="connsiteX54" fmla="*/ 215598 w 333707"/>
                  <a:gd name="connsiteY54" fmla="*/ 2150 h 673839"/>
                  <a:gd name="connsiteX55" fmla="*/ 231969 w 333707"/>
                  <a:gd name="connsiteY55" fmla="*/ 4134 h 673839"/>
                  <a:gd name="connsiteX56" fmla="*/ 248339 w 333707"/>
                  <a:gd name="connsiteY56" fmla="*/ 3638 h 673839"/>
                  <a:gd name="connsiteX57" fmla="*/ 264710 w 333707"/>
                  <a:gd name="connsiteY57" fmla="*/ 2150 h 673839"/>
                  <a:gd name="connsiteX58" fmla="*/ 281080 w 333707"/>
                  <a:gd name="connsiteY58" fmla="*/ 3142 h 673839"/>
                  <a:gd name="connsiteX59" fmla="*/ 297451 w 333707"/>
                  <a:gd name="connsiteY59" fmla="*/ 4134 h 673839"/>
                  <a:gd name="connsiteX60" fmla="*/ 313821 w 333707"/>
                  <a:gd name="connsiteY60" fmla="*/ 4134 h 673839"/>
                  <a:gd name="connsiteX61" fmla="*/ 331184 w 333707"/>
                  <a:gd name="connsiteY61" fmla="*/ 2646 h 673839"/>
                  <a:gd name="connsiteX62" fmla="*/ 330688 w 333707"/>
                  <a:gd name="connsiteY62" fmla="*/ 19512 h 673839"/>
                  <a:gd name="connsiteX63" fmla="*/ 330688 w 333707"/>
                  <a:gd name="connsiteY63" fmla="*/ 35883 h 673839"/>
                  <a:gd name="connsiteX64" fmla="*/ 329696 w 333707"/>
                  <a:gd name="connsiteY64" fmla="*/ 52254 h 673839"/>
                  <a:gd name="connsiteX65" fmla="*/ 330688 w 333707"/>
                  <a:gd name="connsiteY65" fmla="*/ 68624 h 673839"/>
                  <a:gd name="connsiteX66" fmla="*/ 330192 w 333707"/>
                  <a:gd name="connsiteY66" fmla="*/ 84995 h 673839"/>
                  <a:gd name="connsiteX67" fmla="*/ 330192 w 333707"/>
                  <a:gd name="connsiteY67" fmla="*/ 101365 h 673839"/>
                  <a:gd name="connsiteX68" fmla="*/ 329200 w 333707"/>
                  <a:gd name="connsiteY68" fmla="*/ 117736 h 673839"/>
                  <a:gd name="connsiteX69" fmla="*/ 330688 w 333707"/>
                  <a:gd name="connsiteY69" fmla="*/ 134106 h 673839"/>
                  <a:gd name="connsiteX70" fmla="*/ 329200 w 333707"/>
                  <a:gd name="connsiteY70" fmla="*/ 150477 h 673839"/>
                  <a:gd name="connsiteX71" fmla="*/ 330688 w 333707"/>
                  <a:gd name="connsiteY71" fmla="*/ 166847 h 673839"/>
                  <a:gd name="connsiteX72" fmla="*/ 330192 w 333707"/>
                  <a:gd name="connsiteY72" fmla="*/ 183218 h 673839"/>
                  <a:gd name="connsiteX73" fmla="*/ 330192 w 333707"/>
                  <a:gd name="connsiteY73" fmla="*/ 199588 h 673839"/>
                  <a:gd name="connsiteX74" fmla="*/ 329200 w 333707"/>
                  <a:gd name="connsiteY74" fmla="*/ 215959 h 673839"/>
                  <a:gd name="connsiteX75" fmla="*/ 331184 w 333707"/>
                  <a:gd name="connsiteY75" fmla="*/ 232330 h 673839"/>
                  <a:gd name="connsiteX76" fmla="*/ 329200 w 333707"/>
                  <a:gd name="connsiteY76" fmla="*/ 248700 h 673839"/>
                  <a:gd name="connsiteX77" fmla="*/ 331184 w 333707"/>
                  <a:gd name="connsiteY77" fmla="*/ 265071 h 673839"/>
                  <a:gd name="connsiteX78" fmla="*/ 331184 w 333707"/>
                  <a:gd name="connsiteY78" fmla="*/ 281441 h 673839"/>
                  <a:gd name="connsiteX79" fmla="*/ 330688 w 333707"/>
                  <a:gd name="connsiteY79" fmla="*/ 297812 h 673839"/>
                  <a:gd name="connsiteX80" fmla="*/ 330192 w 333707"/>
                  <a:gd name="connsiteY80" fmla="*/ 314183 h 673839"/>
                  <a:gd name="connsiteX81" fmla="*/ 331184 w 333707"/>
                  <a:gd name="connsiteY81" fmla="*/ 330553 h 673839"/>
                  <a:gd name="connsiteX82" fmla="*/ 329200 w 333707"/>
                  <a:gd name="connsiteY82" fmla="*/ 346924 h 673839"/>
                  <a:gd name="connsiteX83" fmla="*/ 331184 w 333707"/>
                  <a:gd name="connsiteY83" fmla="*/ 363294 h 673839"/>
                  <a:gd name="connsiteX84" fmla="*/ 329696 w 333707"/>
                  <a:gd name="connsiteY84" fmla="*/ 379665 h 673839"/>
                  <a:gd name="connsiteX85" fmla="*/ 329696 w 333707"/>
                  <a:gd name="connsiteY85" fmla="*/ 396036 h 673839"/>
                  <a:gd name="connsiteX86" fmla="*/ 329696 w 333707"/>
                  <a:gd name="connsiteY86" fmla="*/ 412406 h 673839"/>
                  <a:gd name="connsiteX87" fmla="*/ 329696 w 333707"/>
                  <a:gd name="connsiteY87" fmla="*/ 428777 h 673839"/>
                  <a:gd name="connsiteX88" fmla="*/ 331680 w 333707"/>
                  <a:gd name="connsiteY88" fmla="*/ 445147 h 673839"/>
                  <a:gd name="connsiteX89" fmla="*/ 330192 w 333707"/>
                  <a:gd name="connsiteY89" fmla="*/ 461518 h 673839"/>
                  <a:gd name="connsiteX90" fmla="*/ 331184 w 333707"/>
                  <a:gd name="connsiteY90" fmla="*/ 477888 h 673839"/>
                  <a:gd name="connsiteX91" fmla="*/ 330192 w 333707"/>
                  <a:gd name="connsiteY91" fmla="*/ 494259 h 673839"/>
                  <a:gd name="connsiteX92" fmla="*/ 329696 w 333707"/>
                  <a:gd name="connsiteY92" fmla="*/ 510629 h 673839"/>
                  <a:gd name="connsiteX93" fmla="*/ 331184 w 333707"/>
                  <a:gd name="connsiteY93" fmla="*/ 527000 h 673839"/>
                  <a:gd name="connsiteX94" fmla="*/ 329696 w 333707"/>
                  <a:gd name="connsiteY94" fmla="*/ 543371 h 673839"/>
                  <a:gd name="connsiteX95" fmla="*/ 330192 w 333707"/>
                  <a:gd name="connsiteY95" fmla="*/ 559741 h 673839"/>
                  <a:gd name="connsiteX96" fmla="*/ 329200 w 333707"/>
                  <a:gd name="connsiteY96" fmla="*/ 576112 h 673839"/>
                  <a:gd name="connsiteX97" fmla="*/ 330688 w 333707"/>
                  <a:gd name="connsiteY97" fmla="*/ 592482 h 673839"/>
                  <a:gd name="connsiteX98" fmla="*/ 329200 w 333707"/>
                  <a:gd name="connsiteY98" fmla="*/ 608853 h 673839"/>
                  <a:gd name="connsiteX99" fmla="*/ 329696 w 333707"/>
                  <a:gd name="connsiteY99" fmla="*/ 625224 h 673839"/>
                  <a:gd name="connsiteX100" fmla="*/ 331184 w 333707"/>
                  <a:gd name="connsiteY100" fmla="*/ 641594 h 673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333707" h="673839">
                    <a:moveTo>
                      <a:pt x="1789" y="673839"/>
                    </a:moveTo>
                    <a:cubicBezTo>
                      <a:pt x="1789" y="665406"/>
                      <a:pt x="2285" y="665406"/>
                      <a:pt x="2285" y="657469"/>
                    </a:cubicBezTo>
                    <a:cubicBezTo>
                      <a:pt x="2285" y="649035"/>
                      <a:pt x="2285" y="649035"/>
                      <a:pt x="2285" y="641098"/>
                    </a:cubicBezTo>
                    <a:cubicBezTo>
                      <a:pt x="2285" y="632665"/>
                      <a:pt x="2285" y="632665"/>
                      <a:pt x="2285" y="624727"/>
                    </a:cubicBezTo>
                    <a:cubicBezTo>
                      <a:pt x="2285" y="616294"/>
                      <a:pt x="3277" y="616294"/>
                      <a:pt x="3277" y="608357"/>
                    </a:cubicBezTo>
                    <a:cubicBezTo>
                      <a:pt x="3277" y="599923"/>
                      <a:pt x="3773" y="599923"/>
                      <a:pt x="3773" y="591986"/>
                    </a:cubicBezTo>
                    <a:cubicBezTo>
                      <a:pt x="3773" y="583553"/>
                      <a:pt x="2781" y="583553"/>
                      <a:pt x="2781" y="575616"/>
                    </a:cubicBezTo>
                    <a:cubicBezTo>
                      <a:pt x="2781" y="567182"/>
                      <a:pt x="1789" y="567182"/>
                      <a:pt x="1789" y="559245"/>
                    </a:cubicBezTo>
                    <a:cubicBezTo>
                      <a:pt x="1789" y="550812"/>
                      <a:pt x="3277" y="550812"/>
                      <a:pt x="3277" y="542874"/>
                    </a:cubicBezTo>
                    <a:cubicBezTo>
                      <a:pt x="3277" y="534441"/>
                      <a:pt x="1292" y="534441"/>
                      <a:pt x="1292" y="526504"/>
                    </a:cubicBezTo>
                    <a:cubicBezTo>
                      <a:pt x="1292" y="518071"/>
                      <a:pt x="1789" y="518071"/>
                      <a:pt x="1789" y="510133"/>
                    </a:cubicBezTo>
                    <a:cubicBezTo>
                      <a:pt x="1789" y="501700"/>
                      <a:pt x="2285" y="501700"/>
                      <a:pt x="2285" y="493763"/>
                    </a:cubicBezTo>
                    <a:cubicBezTo>
                      <a:pt x="2285" y="485330"/>
                      <a:pt x="3277" y="485330"/>
                      <a:pt x="3277" y="477392"/>
                    </a:cubicBezTo>
                    <a:cubicBezTo>
                      <a:pt x="3277" y="468959"/>
                      <a:pt x="1292" y="468959"/>
                      <a:pt x="1292" y="461022"/>
                    </a:cubicBezTo>
                    <a:cubicBezTo>
                      <a:pt x="1292" y="452588"/>
                      <a:pt x="1789" y="452588"/>
                      <a:pt x="1789" y="444651"/>
                    </a:cubicBezTo>
                    <a:cubicBezTo>
                      <a:pt x="1789" y="436218"/>
                      <a:pt x="1789" y="436218"/>
                      <a:pt x="1789" y="428281"/>
                    </a:cubicBezTo>
                    <a:cubicBezTo>
                      <a:pt x="1789" y="419847"/>
                      <a:pt x="3277" y="419847"/>
                      <a:pt x="3277" y="411910"/>
                    </a:cubicBezTo>
                    <a:cubicBezTo>
                      <a:pt x="3277" y="403477"/>
                      <a:pt x="2285" y="403477"/>
                      <a:pt x="2285" y="395539"/>
                    </a:cubicBezTo>
                    <a:cubicBezTo>
                      <a:pt x="2285" y="387106"/>
                      <a:pt x="1292" y="387106"/>
                      <a:pt x="1292" y="379169"/>
                    </a:cubicBezTo>
                    <a:cubicBezTo>
                      <a:pt x="1292" y="370735"/>
                      <a:pt x="2285" y="370735"/>
                      <a:pt x="2285" y="362798"/>
                    </a:cubicBezTo>
                    <a:cubicBezTo>
                      <a:pt x="2285" y="354365"/>
                      <a:pt x="3277" y="354365"/>
                      <a:pt x="3277" y="346428"/>
                    </a:cubicBezTo>
                    <a:cubicBezTo>
                      <a:pt x="3277" y="337994"/>
                      <a:pt x="2285" y="337994"/>
                      <a:pt x="2285" y="330057"/>
                    </a:cubicBezTo>
                    <a:cubicBezTo>
                      <a:pt x="2285" y="321624"/>
                      <a:pt x="2781" y="321624"/>
                      <a:pt x="2781" y="313686"/>
                    </a:cubicBezTo>
                    <a:cubicBezTo>
                      <a:pt x="2781" y="305253"/>
                      <a:pt x="1789" y="305253"/>
                      <a:pt x="1789" y="297316"/>
                    </a:cubicBezTo>
                    <a:cubicBezTo>
                      <a:pt x="1789" y="288883"/>
                      <a:pt x="2285" y="288883"/>
                      <a:pt x="2285" y="280945"/>
                    </a:cubicBezTo>
                    <a:cubicBezTo>
                      <a:pt x="2285" y="272512"/>
                      <a:pt x="2781" y="272512"/>
                      <a:pt x="2781" y="264575"/>
                    </a:cubicBezTo>
                    <a:cubicBezTo>
                      <a:pt x="2781" y="256141"/>
                      <a:pt x="2285" y="256141"/>
                      <a:pt x="2285" y="248204"/>
                    </a:cubicBezTo>
                    <a:cubicBezTo>
                      <a:pt x="2285" y="239771"/>
                      <a:pt x="3277" y="239771"/>
                      <a:pt x="3277" y="231834"/>
                    </a:cubicBezTo>
                    <a:cubicBezTo>
                      <a:pt x="3277" y="223400"/>
                      <a:pt x="2781" y="223400"/>
                      <a:pt x="2781" y="215463"/>
                    </a:cubicBezTo>
                    <a:cubicBezTo>
                      <a:pt x="2781" y="207030"/>
                      <a:pt x="2781" y="207030"/>
                      <a:pt x="2781" y="199093"/>
                    </a:cubicBezTo>
                    <a:cubicBezTo>
                      <a:pt x="2781" y="190659"/>
                      <a:pt x="1292" y="190659"/>
                      <a:pt x="1292" y="182722"/>
                    </a:cubicBezTo>
                    <a:cubicBezTo>
                      <a:pt x="1292" y="174289"/>
                      <a:pt x="3277" y="174289"/>
                      <a:pt x="3277" y="166351"/>
                    </a:cubicBezTo>
                    <a:cubicBezTo>
                      <a:pt x="3277" y="157918"/>
                      <a:pt x="1789" y="157918"/>
                      <a:pt x="1789" y="149981"/>
                    </a:cubicBezTo>
                    <a:cubicBezTo>
                      <a:pt x="1789" y="141548"/>
                      <a:pt x="2781" y="141548"/>
                      <a:pt x="2781" y="133610"/>
                    </a:cubicBezTo>
                    <a:cubicBezTo>
                      <a:pt x="2781" y="125177"/>
                      <a:pt x="2285" y="125177"/>
                      <a:pt x="2285" y="117240"/>
                    </a:cubicBezTo>
                    <a:cubicBezTo>
                      <a:pt x="2285" y="109303"/>
                      <a:pt x="1292" y="108806"/>
                      <a:pt x="1292" y="100869"/>
                    </a:cubicBezTo>
                    <a:cubicBezTo>
                      <a:pt x="1292" y="92436"/>
                      <a:pt x="2285" y="92436"/>
                      <a:pt x="2285" y="84499"/>
                    </a:cubicBezTo>
                    <a:cubicBezTo>
                      <a:pt x="2285" y="76065"/>
                      <a:pt x="2781" y="76065"/>
                      <a:pt x="2781" y="68128"/>
                    </a:cubicBezTo>
                    <a:cubicBezTo>
                      <a:pt x="2781" y="59695"/>
                      <a:pt x="1789" y="59695"/>
                      <a:pt x="1789" y="51757"/>
                    </a:cubicBezTo>
                    <a:cubicBezTo>
                      <a:pt x="1789" y="43324"/>
                      <a:pt x="1292" y="43324"/>
                      <a:pt x="1292" y="35387"/>
                    </a:cubicBezTo>
                    <a:cubicBezTo>
                      <a:pt x="1292" y="26953"/>
                      <a:pt x="2285" y="26953"/>
                      <a:pt x="2285" y="19016"/>
                    </a:cubicBezTo>
                    <a:cubicBezTo>
                      <a:pt x="2285" y="10583"/>
                      <a:pt x="-3172" y="8598"/>
                      <a:pt x="2781" y="2646"/>
                    </a:cubicBezTo>
                    <a:cubicBezTo>
                      <a:pt x="8734" y="-3307"/>
                      <a:pt x="10718" y="2646"/>
                      <a:pt x="19151" y="2646"/>
                    </a:cubicBezTo>
                    <a:cubicBezTo>
                      <a:pt x="27585" y="2646"/>
                      <a:pt x="27585" y="1654"/>
                      <a:pt x="35522" y="1654"/>
                    </a:cubicBezTo>
                    <a:cubicBezTo>
                      <a:pt x="43955" y="1654"/>
                      <a:pt x="43955" y="2646"/>
                      <a:pt x="51892" y="2646"/>
                    </a:cubicBezTo>
                    <a:cubicBezTo>
                      <a:pt x="60326" y="2646"/>
                      <a:pt x="60326" y="3638"/>
                      <a:pt x="68263" y="3638"/>
                    </a:cubicBezTo>
                    <a:cubicBezTo>
                      <a:pt x="76696" y="3638"/>
                      <a:pt x="76696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9438" y="3638"/>
                      <a:pt x="109438" y="3638"/>
                      <a:pt x="117375" y="3638"/>
                    </a:cubicBezTo>
                    <a:cubicBezTo>
                      <a:pt x="125808" y="3638"/>
                      <a:pt x="125808" y="3142"/>
                      <a:pt x="133745" y="3142"/>
                    </a:cubicBezTo>
                    <a:cubicBezTo>
                      <a:pt x="142179" y="3142"/>
                      <a:pt x="142179" y="4134"/>
                      <a:pt x="150116" y="4134"/>
                    </a:cubicBezTo>
                    <a:cubicBezTo>
                      <a:pt x="158549" y="4134"/>
                      <a:pt x="158549" y="3638"/>
                      <a:pt x="166487" y="3638"/>
                    </a:cubicBezTo>
                    <a:cubicBezTo>
                      <a:pt x="174920" y="3638"/>
                      <a:pt x="174920" y="3638"/>
                      <a:pt x="182857" y="3638"/>
                    </a:cubicBezTo>
                    <a:cubicBezTo>
                      <a:pt x="191290" y="3638"/>
                      <a:pt x="191290" y="4134"/>
                      <a:pt x="199228" y="4134"/>
                    </a:cubicBezTo>
                    <a:cubicBezTo>
                      <a:pt x="207661" y="4134"/>
                      <a:pt x="207661" y="2150"/>
                      <a:pt x="215598" y="2150"/>
                    </a:cubicBezTo>
                    <a:cubicBezTo>
                      <a:pt x="223536" y="2150"/>
                      <a:pt x="224032" y="4134"/>
                      <a:pt x="231969" y="4134"/>
                    </a:cubicBezTo>
                    <a:cubicBezTo>
                      <a:pt x="240402" y="4134"/>
                      <a:pt x="240402" y="3638"/>
                      <a:pt x="248339" y="3638"/>
                    </a:cubicBezTo>
                    <a:cubicBezTo>
                      <a:pt x="256773" y="3638"/>
                      <a:pt x="256773" y="2150"/>
                      <a:pt x="264710" y="2150"/>
                    </a:cubicBezTo>
                    <a:cubicBezTo>
                      <a:pt x="273143" y="2150"/>
                      <a:pt x="273143" y="3142"/>
                      <a:pt x="281080" y="3142"/>
                    </a:cubicBezTo>
                    <a:cubicBezTo>
                      <a:pt x="289514" y="3142"/>
                      <a:pt x="289514" y="4134"/>
                      <a:pt x="297451" y="4134"/>
                    </a:cubicBezTo>
                    <a:cubicBezTo>
                      <a:pt x="305884" y="4134"/>
                      <a:pt x="305884" y="4134"/>
                      <a:pt x="313821" y="4134"/>
                    </a:cubicBezTo>
                    <a:cubicBezTo>
                      <a:pt x="322255" y="4134"/>
                      <a:pt x="325232" y="-2811"/>
                      <a:pt x="331184" y="2646"/>
                    </a:cubicBezTo>
                    <a:cubicBezTo>
                      <a:pt x="337137" y="8103"/>
                      <a:pt x="330688" y="11575"/>
                      <a:pt x="330688" y="19512"/>
                    </a:cubicBezTo>
                    <a:cubicBezTo>
                      <a:pt x="330688" y="27450"/>
                      <a:pt x="330688" y="27450"/>
                      <a:pt x="330688" y="35883"/>
                    </a:cubicBezTo>
                    <a:cubicBezTo>
                      <a:pt x="330688" y="44316"/>
                      <a:pt x="329696" y="43820"/>
                      <a:pt x="329696" y="52254"/>
                    </a:cubicBezTo>
                    <a:cubicBezTo>
                      <a:pt x="329696" y="60191"/>
                      <a:pt x="330688" y="60191"/>
                      <a:pt x="330688" y="68624"/>
                    </a:cubicBezTo>
                    <a:cubicBezTo>
                      <a:pt x="330688" y="76561"/>
                      <a:pt x="330192" y="76561"/>
                      <a:pt x="330192" y="84995"/>
                    </a:cubicBezTo>
                    <a:cubicBezTo>
                      <a:pt x="330192" y="92932"/>
                      <a:pt x="330192" y="92932"/>
                      <a:pt x="330192" y="101365"/>
                    </a:cubicBezTo>
                    <a:cubicBezTo>
                      <a:pt x="330192" y="109303"/>
                      <a:pt x="329200" y="109303"/>
                      <a:pt x="329200" y="117736"/>
                    </a:cubicBezTo>
                    <a:cubicBezTo>
                      <a:pt x="329200" y="125673"/>
                      <a:pt x="330688" y="125673"/>
                      <a:pt x="330688" y="134106"/>
                    </a:cubicBezTo>
                    <a:cubicBezTo>
                      <a:pt x="330688" y="142044"/>
                      <a:pt x="329200" y="142044"/>
                      <a:pt x="329200" y="150477"/>
                    </a:cubicBezTo>
                    <a:cubicBezTo>
                      <a:pt x="329200" y="158414"/>
                      <a:pt x="330688" y="158414"/>
                      <a:pt x="330688" y="166847"/>
                    </a:cubicBezTo>
                    <a:cubicBezTo>
                      <a:pt x="330688" y="174785"/>
                      <a:pt x="330192" y="174785"/>
                      <a:pt x="330192" y="183218"/>
                    </a:cubicBezTo>
                    <a:cubicBezTo>
                      <a:pt x="330192" y="191155"/>
                      <a:pt x="330192" y="191155"/>
                      <a:pt x="330192" y="199588"/>
                    </a:cubicBezTo>
                    <a:cubicBezTo>
                      <a:pt x="330192" y="207526"/>
                      <a:pt x="329200" y="207526"/>
                      <a:pt x="329200" y="215959"/>
                    </a:cubicBezTo>
                    <a:cubicBezTo>
                      <a:pt x="329200" y="223896"/>
                      <a:pt x="331184" y="223896"/>
                      <a:pt x="331184" y="232330"/>
                    </a:cubicBezTo>
                    <a:cubicBezTo>
                      <a:pt x="331184" y="240267"/>
                      <a:pt x="329200" y="240267"/>
                      <a:pt x="329200" y="248700"/>
                    </a:cubicBezTo>
                    <a:cubicBezTo>
                      <a:pt x="329200" y="256637"/>
                      <a:pt x="331184" y="256637"/>
                      <a:pt x="331184" y="265071"/>
                    </a:cubicBezTo>
                    <a:cubicBezTo>
                      <a:pt x="331184" y="273008"/>
                      <a:pt x="331184" y="273008"/>
                      <a:pt x="331184" y="281441"/>
                    </a:cubicBezTo>
                    <a:cubicBezTo>
                      <a:pt x="331184" y="289379"/>
                      <a:pt x="330688" y="289379"/>
                      <a:pt x="330688" y="297812"/>
                    </a:cubicBezTo>
                    <a:cubicBezTo>
                      <a:pt x="330688" y="305749"/>
                      <a:pt x="330192" y="305749"/>
                      <a:pt x="330192" y="314183"/>
                    </a:cubicBezTo>
                    <a:cubicBezTo>
                      <a:pt x="330192" y="322120"/>
                      <a:pt x="331184" y="322120"/>
                      <a:pt x="331184" y="330553"/>
                    </a:cubicBezTo>
                    <a:cubicBezTo>
                      <a:pt x="331184" y="338490"/>
                      <a:pt x="329200" y="338490"/>
                      <a:pt x="329200" y="346924"/>
                    </a:cubicBezTo>
                    <a:cubicBezTo>
                      <a:pt x="329200" y="354861"/>
                      <a:pt x="331184" y="354861"/>
                      <a:pt x="331184" y="363294"/>
                    </a:cubicBezTo>
                    <a:cubicBezTo>
                      <a:pt x="331184" y="371232"/>
                      <a:pt x="329696" y="371232"/>
                      <a:pt x="329696" y="379665"/>
                    </a:cubicBezTo>
                    <a:cubicBezTo>
                      <a:pt x="329696" y="387602"/>
                      <a:pt x="329696" y="387602"/>
                      <a:pt x="329696" y="396036"/>
                    </a:cubicBezTo>
                    <a:cubicBezTo>
                      <a:pt x="329696" y="403973"/>
                      <a:pt x="329696" y="403973"/>
                      <a:pt x="329696" y="412406"/>
                    </a:cubicBezTo>
                    <a:cubicBezTo>
                      <a:pt x="329696" y="420343"/>
                      <a:pt x="329696" y="420343"/>
                      <a:pt x="329696" y="428777"/>
                    </a:cubicBezTo>
                    <a:cubicBezTo>
                      <a:pt x="329696" y="436714"/>
                      <a:pt x="331680" y="436714"/>
                      <a:pt x="331680" y="445147"/>
                    </a:cubicBezTo>
                    <a:cubicBezTo>
                      <a:pt x="331680" y="453084"/>
                      <a:pt x="330192" y="453084"/>
                      <a:pt x="330192" y="461518"/>
                    </a:cubicBezTo>
                    <a:cubicBezTo>
                      <a:pt x="330192" y="469455"/>
                      <a:pt x="331184" y="469455"/>
                      <a:pt x="331184" y="477888"/>
                    </a:cubicBezTo>
                    <a:cubicBezTo>
                      <a:pt x="331184" y="485826"/>
                      <a:pt x="330192" y="485826"/>
                      <a:pt x="330192" y="494259"/>
                    </a:cubicBezTo>
                    <a:cubicBezTo>
                      <a:pt x="330192" y="502196"/>
                      <a:pt x="329696" y="502196"/>
                      <a:pt x="329696" y="510629"/>
                    </a:cubicBezTo>
                    <a:cubicBezTo>
                      <a:pt x="329696" y="518567"/>
                      <a:pt x="331184" y="518567"/>
                      <a:pt x="331184" y="527000"/>
                    </a:cubicBezTo>
                    <a:cubicBezTo>
                      <a:pt x="331184" y="534937"/>
                      <a:pt x="329696" y="534937"/>
                      <a:pt x="329696" y="543371"/>
                    </a:cubicBezTo>
                    <a:cubicBezTo>
                      <a:pt x="329696" y="551308"/>
                      <a:pt x="330192" y="551308"/>
                      <a:pt x="330192" y="559741"/>
                    </a:cubicBezTo>
                    <a:cubicBezTo>
                      <a:pt x="330192" y="567678"/>
                      <a:pt x="329200" y="567678"/>
                      <a:pt x="329200" y="576112"/>
                    </a:cubicBezTo>
                    <a:cubicBezTo>
                      <a:pt x="329200" y="584049"/>
                      <a:pt x="330688" y="584049"/>
                      <a:pt x="330688" y="592482"/>
                    </a:cubicBezTo>
                    <a:cubicBezTo>
                      <a:pt x="330688" y="600420"/>
                      <a:pt x="329200" y="600420"/>
                      <a:pt x="329200" y="608853"/>
                    </a:cubicBezTo>
                    <a:cubicBezTo>
                      <a:pt x="329200" y="616790"/>
                      <a:pt x="329696" y="616790"/>
                      <a:pt x="329696" y="625224"/>
                    </a:cubicBezTo>
                    <a:cubicBezTo>
                      <a:pt x="329696" y="633161"/>
                      <a:pt x="331184" y="633161"/>
                      <a:pt x="331184" y="6415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6" name="Freeform: Shape 1715">
                <a:extLst>
                  <a:ext uri="{FF2B5EF4-FFF2-40B4-BE49-F238E27FC236}">
                    <a16:creationId xmlns:a16="http://schemas.microsoft.com/office/drawing/2014/main" id="{CCBD30C1-A473-3734-404A-5AADBEDCAA00}"/>
                  </a:ext>
                </a:extLst>
              </p:cNvPr>
              <p:cNvSpPr/>
              <p:nvPr/>
            </p:nvSpPr>
            <p:spPr>
              <a:xfrm>
                <a:off x="5200254" y="4193114"/>
                <a:ext cx="125092" cy="54249"/>
              </a:xfrm>
              <a:custGeom>
                <a:avLst/>
                <a:gdLst>
                  <a:gd name="connsiteX0" fmla="*/ 0 w 125092"/>
                  <a:gd name="connsiteY0" fmla="*/ 2712 h 54249"/>
                  <a:gd name="connsiteX1" fmla="*/ 15379 w 125092"/>
                  <a:gd name="connsiteY1" fmla="*/ 1720 h 54249"/>
                  <a:gd name="connsiteX2" fmla="*/ 30757 w 125092"/>
                  <a:gd name="connsiteY2" fmla="*/ 3208 h 54249"/>
                  <a:gd name="connsiteX3" fmla="*/ 46135 w 125092"/>
                  <a:gd name="connsiteY3" fmla="*/ 1720 h 54249"/>
                  <a:gd name="connsiteX4" fmla="*/ 61514 w 125092"/>
                  <a:gd name="connsiteY4" fmla="*/ 2216 h 54249"/>
                  <a:gd name="connsiteX5" fmla="*/ 76892 w 125092"/>
                  <a:gd name="connsiteY5" fmla="*/ 2712 h 54249"/>
                  <a:gd name="connsiteX6" fmla="*/ 92271 w 125092"/>
                  <a:gd name="connsiteY6" fmla="*/ 3704 h 54249"/>
                  <a:gd name="connsiteX7" fmla="*/ 107649 w 125092"/>
                  <a:gd name="connsiteY7" fmla="*/ 1720 h 54249"/>
                  <a:gd name="connsiteX8" fmla="*/ 122531 w 125092"/>
                  <a:gd name="connsiteY8" fmla="*/ 2712 h 54249"/>
                  <a:gd name="connsiteX9" fmla="*/ 122035 w 125092"/>
                  <a:gd name="connsiteY9" fmla="*/ 19083 h 54249"/>
                  <a:gd name="connsiteX10" fmla="*/ 123028 w 125092"/>
                  <a:gd name="connsiteY10" fmla="*/ 35453 h 54249"/>
                  <a:gd name="connsiteX11" fmla="*/ 122531 w 125092"/>
                  <a:gd name="connsiteY11" fmla="*/ 51824 h 54249"/>
                  <a:gd name="connsiteX12" fmla="*/ 107649 w 125092"/>
                  <a:gd name="connsiteY12" fmla="*/ 51824 h 54249"/>
                  <a:gd name="connsiteX13" fmla="*/ 92271 w 125092"/>
                  <a:gd name="connsiteY13" fmla="*/ 53312 h 54249"/>
                  <a:gd name="connsiteX14" fmla="*/ 76892 w 125092"/>
                  <a:gd name="connsiteY14" fmla="*/ 51328 h 54249"/>
                  <a:gd name="connsiteX15" fmla="*/ 61514 w 125092"/>
                  <a:gd name="connsiteY15" fmla="*/ 51328 h 54249"/>
                  <a:gd name="connsiteX16" fmla="*/ 46135 w 125092"/>
                  <a:gd name="connsiteY16" fmla="*/ 51824 h 54249"/>
                  <a:gd name="connsiteX17" fmla="*/ 30757 w 125092"/>
                  <a:gd name="connsiteY17" fmla="*/ 51824 h 54249"/>
                  <a:gd name="connsiteX18" fmla="*/ 15379 w 125092"/>
                  <a:gd name="connsiteY18" fmla="*/ 50832 h 54249"/>
                  <a:gd name="connsiteX19" fmla="*/ 0 w 125092"/>
                  <a:gd name="connsiteY19" fmla="*/ 52320 h 54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092" h="54249">
                    <a:moveTo>
                      <a:pt x="0" y="2712"/>
                    </a:moveTo>
                    <a:cubicBezTo>
                      <a:pt x="7441" y="2712"/>
                      <a:pt x="7441" y="1720"/>
                      <a:pt x="15379" y="1720"/>
                    </a:cubicBezTo>
                    <a:cubicBezTo>
                      <a:pt x="23316" y="1720"/>
                      <a:pt x="22820" y="3208"/>
                      <a:pt x="30757" y="3208"/>
                    </a:cubicBezTo>
                    <a:cubicBezTo>
                      <a:pt x="38198" y="3208"/>
                      <a:pt x="38198" y="1720"/>
                      <a:pt x="46135" y="1720"/>
                    </a:cubicBezTo>
                    <a:cubicBezTo>
                      <a:pt x="53577" y="1720"/>
                      <a:pt x="53577" y="2216"/>
                      <a:pt x="61514" y="2216"/>
                    </a:cubicBezTo>
                    <a:cubicBezTo>
                      <a:pt x="68955" y="2216"/>
                      <a:pt x="68955" y="2712"/>
                      <a:pt x="76892" y="2712"/>
                    </a:cubicBezTo>
                    <a:cubicBezTo>
                      <a:pt x="84333" y="2712"/>
                      <a:pt x="84333" y="3704"/>
                      <a:pt x="92271" y="3704"/>
                    </a:cubicBezTo>
                    <a:cubicBezTo>
                      <a:pt x="99712" y="3704"/>
                      <a:pt x="99712" y="1720"/>
                      <a:pt x="107649" y="1720"/>
                    </a:cubicBezTo>
                    <a:cubicBezTo>
                      <a:pt x="115586" y="1720"/>
                      <a:pt x="117571" y="-2745"/>
                      <a:pt x="122531" y="2712"/>
                    </a:cubicBezTo>
                    <a:cubicBezTo>
                      <a:pt x="127988" y="8665"/>
                      <a:pt x="122035" y="10650"/>
                      <a:pt x="122035" y="19083"/>
                    </a:cubicBezTo>
                    <a:cubicBezTo>
                      <a:pt x="122035" y="27516"/>
                      <a:pt x="123028" y="27516"/>
                      <a:pt x="123028" y="35453"/>
                    </a:cubicBezTo>
                    <a:cubicBezTo>
                      <a:pt x="123028" y="43391"/>
                      <a:pt x="127988" y="45375"/>
                      <a:pt x="122531" y="51824"/>
                    </a:cubicBezTo>
                    <a:cubicBezTo>
                      <a:pt x="117571" y="57281"/>
                      <a:pt x="115090" y="51824"/>
                      <a:pt x="107649" y="51824"/>
                    </a:cubicBezTo>
                    <a:cubicBezTo>
                      <a:pt x="100208" y="51824"/>
                      <a:pt x="100208" y="53312"/>
                      <a:pt x="92271" y="53312"/>
                    </a:cubicBezTo>
                    <a:cubicBezTo>
                      <a:pt x="84830" y="53312"/>
                      <a:pt x="84830" y="51328"/>
                      <a:pt x="76892" y="51328"/>
                    </a:cubicBezTo>
                    <a:cubicBezTo>
                      <a:pt x="69451" y="51328"/>
                      <a:pt x="69451" y="51328"/>
                      <a:pt x="61514" y="51328"/>
                    </a:cubicBezTo>
                    <a:cubicBezTo>
                      <a:pt x="54073" y="51328"/>
                      <a:pt x="54073" y="51824"/>
                      <a:pt x="46135" y="51824"/>
                    </a:cubicBezTo>
                    <a:cubicBezTo>
                      <a:pt x="38694" y="51824"/>
                      <a:pt x="38694" y="51824"/>
                      <a:pt x="30757" y="51824"/>
                    </a:cubicBezTo>
                    <a:cubicBezTo>
                      <a:pt x="23316" y="51824"/>
                      <a:pt x="23316" y="50832"/>
                      <a:pt x="15379" y="50832"/>
                    </a:cubicBezTo>
                    <a:cubicBezTo>
                      <a:pt x="7937" y="50832"/>
                      <a:pt x="7937" y="52320"/>
                      <a:pt x="0" y="523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7" name="Freeform: Shape 1716">
                <a:extLst>
                  <a:ext uri="{FF2B5EF4-FFF2-40B4-BE49-F238E27FC236}">
                    <a16:creationId xmlns:a16="http://schemas.microsoft.com/office/drawing/2014/main" id="{3D3F9D1A-1DE9-9817-0D1C-92FD9326C25F}"/>
                  </a:ext>
                </a:extLst>
              </p:cNvPr>
              <p:cNvSpPr/>
              <p:nvPr/>
            </p:nvSpPr>
            <p:spPr>
              <a:xfrm>
                <a:off x="5025208" y="4193800"/>
                <a:ext cx="129903" cy="54059"/>
              </a:xfrm>
              <a:custGeom>
                <a:avLst/>
                <a:gdLst>
                  <a:gd name="connsiteX0" fmla="*/ 129407 w 129903"/>
                  <a:gd name="connsiteY0" fmla="*/ 50642 h 54059"/>
                  <a:gd name="connsiteX1" fmla="*/ 113533 w 129903"/>
                  <a:gd name="connsiteY1" fmla="*/ 52627 h 54059"/>
                  <a:gd name="connsiteX2" fmla="*/ 97658 w 129903"/>
                  <a:gd name="connsiteY2" fmla="*/ 51635 h 54059"/>
                  <a:gd name="connsiteX3" fmla="*/ 81783 w 129903"/>
                  <a:gd name="connsiteY3" fmla="*/ 51635 h 54059"/>
                  <a:gd name="connsiteX4" fmla="*/ 65909 w 129903"/>
                  <a:gd name="connsiteY4" fmla="*/ 52627 h 54059"/>
                  <a:gd name="connsiteX5" fmla="*/ 50035 w 129903"/>
                  <a:gd name="connsiteY5" fmla="*/ 52131 h 54059"/>
                  <a:gd name="connsiteX6" fmla="*/ 34160 w 129903"/>
                  <a:gd name="connsiteY6" fmla="*/ 52627 h 54059"/>
                  <a:gd name="connsiteX7" fmla="*/ 18286 w 129903"/>
                  <a:gd name="connsiteY7" fmla="*/ 51635 h 54059"/>
                  <a:gd name="connsiteX8" fmla="*/ 3403 w 129903"/>
                  <a:gd name="connsiteY8" fmla="*/ 51635 h 54059"/>
                  <a:gd name="connsiteX9" fmla="*/ 2411 w 129903"/>
                  <a:gd name="connsiteY9" fmla="*/ 35760 h 54059"/>
                  <a:gd name="connsiteX10" fmla="*/ 3403 w 129903"/>
                  <a:gd name="connsiteY10" fmla="*/ 19390 h 54059"/>
                  <a:gd name="connsiteX11" fmla="*/ 2411 w 129903"/>
                  <a:gd name="connsiteY11" fmla="*/ 2523 h 54059"/>
                  <a:gd name="connsiteX12" fmla="*/ 18781 w 129903"/>
                  <a:gd name="connsiteY12" fmla="*/ 3019 h 54059"/>
                  <a:gd name="connsiteX13" fmla="*/ 34656 w 129903"/>
                  <a:gd name="connsiteY13" fmla="*/ 2027 h 54059"/>
                  <a:gd name="connsiteX14" fmla="*/ 50531 w 129903"/>
                  <a:gd name="connsiteY14" fmla="*/ 3019 h 54059"/>
                  <a:gd name="connsiteX15" fmla="*/ 66405 w 129903"/>
                  <a:gd name="connsiteY15" fmla="*/ 4011 h 54059"/>
                  <a:gd name="connsiteX16" fmla="*/ 82280 w 129903"/>
                  <a:gd name="connsiteY16" fmla="*/ 4011 h 54059"/>
                  <a:gd name="connsiteX17" fmla="*/ 98154 w 129903"/>
                  <a:gd name="connsiteY17" fmla="*/ 4011 h 54059"/>
                  <a:gd name="connsiteX18" fmla="*/ 114028 w 129903"/>
                  <a:gd name="connsiteY18" fmla="*/ 3019 h 54059"/>
                  <a:gd name="connsiteX19" fmla="*/ 129903 w 129903"/>
                  <a:gd name="connsiteY19" fmla="*/ 3515 h 5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03" h="54059">
                    <a:moveTo>
                      <a:pt x="129407" y="50642"/>
                    </a:moveTo>
                    <a:cubicBezTo>
                      <a:pt x="121470" y="50642"/>
                      <a:pt x="121470" y="52627"/>
                      <a:pt x="113533" y="52627"/>
                    </a:cubicBezTo>
                    <a:cubicBezTo>
                      <a:pt x="105595" y="52627"/>
                      <a:pt x="105595" y="51635"/>
                      <a:pt x="97658" y="51635"/>
                    </a:cubicBezTo>
                    <a:cubicBezTo>
                      <a:pt x="89721" y="51635"/>
                      <a:pt x="89721" y="51635"/>
                      <a:pt x="81783" y="51635"/>
                    </a:cubicBezTo>
                    <a:cubicBezTo>
                      <a:pt x="73846" y="51635"/>
                      <a:pt x="73846" y="52627"/>
                      <a:pt x="65909" y="52627"/>
                    </a:cubicBezTo>
                    <a:cubicBezTo>
                      <a:pt x="57972" y="52627"/>
                      <a:pt x="57972" y="52131"/>
                      <a:pt x="50035" y="52131"/>
                    </a:cubicBezTo>
                    <a:cubicBezTo>
                      <a:pt x="42097" y="52131"/>
                      <a:pt x="42097" y="52627"/>
                      <a:pt x="34160" y="52627"/>
                    </a:cubicBezTo>
                    <a:cubicBezTo>
                      <a:pt x="26223" y="52627"/>
                      <a:pt x="26223" y="51635"/>
                      <a:pt x="18286" y="51635"/>
                    </a:cubicBezTo>
                    <a:cubicBezTo>
                      <a:pt x="10348" y="51635"/>
                      <a:pt x="8860" y="57092"/>
                      <a:pt x="3403" y="51635"/>
                    </a:cubicBezTo>
                    <a:cubicBezTo>
                      <a:pt x="-2550" y="45682"/>
                      <a:pt x="2411" y="44193"/>
                      <a:pt x="2411" y="35760"/>
                    </a:cubicBezTo>
                    <a:cubicBezTo>
                      <a:pt x="2411" y="27327"/>
                      <a:pt x="3403" y="27327"/>
                      <a:pt x="3403" y="19390"/>
                    </a:cubicBezTo>
                    <a:cubicBezTo>
                      <a:pt x="3403" y="10956"/>
                      <a:pt x="-3542" y="8476"/>
                      <a:pt x="2411" y="2523"/>
                    </a:cubicBezTo>
                    <a:cubicBezTo>
                      <a:pt x="7868" y="-3430"/>
                      <a:pt x="10844" y="3019"/>
                      <a:pt x="18781" y="3019"/>
                    </a:cubicBezTo>
                    <a:cubicBezTo>
                      <a:pt x="26719" y="3019"/>
                      <a:pt x="26719" y="2027"/>
                      <a:pt x="34656" y="2027"/>
                    </a:cubicBezTo>
                    <a:cubicBezTo>
                      <a:pt x="42593" y="2027"/>
                      <a:pt x="42593" y="3019"/>
                      <a:pt x="50531" y="3019"/>
                    </a:cubicBezTo>
                    <a:cubicBezTo>
                      <a:pt x="58468" y="3019"/>
                      <a:pt x="58468" y="4011"/>
                      <a:pt x="66405" y="4011"/>
                    </a:cubicBezTo>
                    <a:cubicBezTo>
                      <a:pt x="74342" y="4011"/>
                      <a:pt x="74342" y="4011"/>
                      <a:pt x="82280" y="4011"/>
                    </a:cubicBezTo>
                    <a:cubicBezTo>
                      <a:pt x="90217" y="4011"/>
                      <a:pt x="90217" y="4011"/>
                      <a:pt x="98154" y="4011"/>
                    </a:cubicBezTo>
                    <a:cubicBezTo>
                      <a:pt x="106091" y="4011"/>
                      <a:pt x="106091" y="3019"/>
                      <a:pt x="114028" y="3019"/>
                    </a:cubicBezTo>
                    <a:cubicBezTo>
                      <a:pt x="121966" y="3019"/>
                      <a:pt x="121966" y="3515"/>
                      <a:pt x="129903" y="351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8" name="Freeform: Shape 1717">
                <a:extLst>
                  <a:ext uri="{FF2B5EF4-FFF2-40B4-BE49-F238E27FC236}">
                    <a16:creationId xmlns:a16="http://schemas.microsoft.com/office/drawing/2014/main" id="{FE4DE884-C8D9-360D-AD0F-2E843C22781E}"/>
                  </a:ext>
                </a:extLst>
              </p:cNvPr>
              <p:cNvSpPr/>
              <p:nvPr/>
            </p:nvSpPr>
            <p:spPr>
              <a:xfrm>
                <a:off x="5023485" y="3816523"/>
                <a:ext cx="300457" cy="654131"/>
              </a:xfrm>
              <a:custGeom>
                <a:avLst/>
                <a:gdLst>
                  <a:gd name="connsiteX0" fmla="*/ 4134 w 300457"/>
                  <a:gd name="connsiteY0" fmla="*/ 654131 h 654131"/>
                  <a:gd name="connsiteX1" fmla="*/ 3142 w 300457"/>
                  <a:gd name="connsiteY1" fmla="*/ 637761 h 654131"/>
                  <a:gd name="connsiteX2" fmla="*/ 3142 w 300457"/>
                  <a:gd name="connsiteY2" fmla="*/ 621886 h 654131"/>
                  <a:gd name="connsiteX3" fmla="*/ 2646 w 300457"/>
                  <a:gd name="connsiteY3" fmla="*/ 606012 h 654131"/>
                  <a:gd name="connsiteX4" fmla="*/ 5126 w 300457"/>
                  <a:gd name="connsiteY4" fmla="*/ 590137 h 654131"/>
                  <a:gd name="connsiteX5" fmla="*/ 3142 w 300457"/>
                  <a:gd name="connsiteY5" fmla="*/ 574262 h 654131"/>
                  <a:gd name="connsiteX6" fmla="*/ 3142 w 300457"/>
                  <a:gd name="connsiteY6" fmla="*/ 557892 h 654131"/>
                  <a:gd name="connsiteX7" fmla="*/ 5126 w 300457"/>
                  <a:gd name="connsiteY7" fmla="*/ 541521 h 654131"/>
                  <a:gd name="connsiteX8" fmla="*/ 4134 w 300457"/>
                  <a:gd name="connsiteY8" fmla="*/ 525647 h 654131"/>
                  <a:gd name="connsiteX9" fmla="*/ 4134 w 300457"/>
                  <a:gd name="connsiteY9" fmla="*/ 509772 h 654131"/>
                  <a:gd name="connsiteX10" fmla="*/ 4134 w 300457"/>
                  <a:gd name="connsiteY10" fmla="*/ 493402 h 654131"/>
                  <a:gd name="connsiteX11" fmla="*/ 4134 w 300457"/>
                  <a:gd name="connsiteY11" fmla="*/ 477031 h 654131"/>
                  <a:gd name="connsiteX12" fmla="*/ 5126 w 300457"/>
                  <a:gd name="connsiteY12" fmla="*/ 460661 h 654131"/>
                  <a:gd name="connsiteX13" fmla="*/ 3638 w 300457"/>
                  <a:gd name="connsiteY13" fmla="*/ 444290 h 654131"/>
                  <a:gd name="connsiteX14" fmla="*/ 4630 w 300457"/>
                  <a:gd name="connsiteY14" fmla="*/ 427919 h 654131"/>
                  <a:gd name="connsiteX15" fmla="*/ 4134 w 300457"/>
                  <a:gd name="connsiteY15" fmla="*/ 411549 h 654131"/>
                  <a:gd name="connsiteX16" fmla="*/ 3142 w 300457"/>
                  <a:gd name="connsiteY16" fmla="*/ 395178 h 654131"/>
                  <a:gd name="connsiteX17" fmla="*/ 4134 w 300457"/>
                  <a:gd name="connsiteY17" fmla="*/ 378808 h 654131"/>
                  <a:gd name="connsiteX18" fmla="*/ 3142 w 300457"/>
                  <a:gd name="connsiteY18" fmla="*/ 362437 h 654131"/>
                  <a:gd name="connsiteX19" fmla="*/ 3142 w 300457"/>
                  <a:gd name="connsiteY19" fmla="*/ 346067 h 654131"/>
                  <a:gd name="connsiteX20" fmla="*/ 4134 w 300457"/>
                  <a:gd name="connsiteY20" fmla="*/ 329696 h 654131"/>
                  <a:gd name="connsiteX21" fmla="*/ 4630 w 300457"/>
                  <a:gd name="connsiteY21" fmla="*/ 313326 h 654131"/>
                  <a:gd name="connsiteX22" fmla="*/ 3638 w 300457"/>
                  <a:gd name="connsiteY22" fmla="*/ 296955 h 654131"/>
                  <a:gd name="connsiteX23" fmla="*/ 4630 w 300457"/>
                  <a:gd name="connsiteY23" fmla="*/ 280585 h 654131"/>
                  <a:gd name="connsiteX24" fmla="*/ 2646 w 300457"/>
                  <a:gd name="connsiteY24" fmla="*/ 264710 h 654131"/>
                  <a:gd name="connsiteX25" fmla="*/ 2646 w 300457"/>
                  <a:gd name="connsiteY25" fmla="*/ 248835 h 654131"/>
                  <a:gd name="connsiteX26" fmla="*/ 3142 w 300457"/>
                  <a:gd name="connsiteY26" fmla="*/ 232465 h 654131"/>
                  <a:gd name="connsiteX27" fmla="*/ 3638 w 300457"/>
                  <a:gd name="connsiteY27" fmla="*/ 216590 h 654131"/>
                  <a:gd name="connsiteX28" fmla="*/ 3142 w 300457"/>
                  <a:gd name="connsiteY28" fmla="*/ 200220 h 654131"/>
                  <a:gd name="connsiteX29" fmla="*/ 2150 w 300457"/>
                  <a:gd name="connsiteY29" fmla="*/ 183849 h 654131"/>
                  <a:gd name="connsiteX30" fmla="*/ 3638 w 300457"/>
                  <a:gd name="connsiteY30" fmla="*/ 167478 h 654131"/>
                  <a:gd name="connsiteX31" fmla="*/ 4630 w 300457"/>
                  <a:gd name="connsiteY31" fmla="*/ 151108 h 654131"/>
                  <a:gd name="connsiteX32" fmla="*/ 4134 w 300457"/>
                  <a:gd name="connsiteY32" fmla="*/ 134737 h 654131"/>
                  <a:gd name="connsiteX33" fmla="*/ 4134 w 300457"/>
                  <a:gd name="connsiteY33" fmla="*/ 118367 h 654131"/>
                  <a:gd name="connsiteX34" fmla="*/ 4630 w 300457"/>
                  <a:gd name="connsiteY34" fmla="*/ 101996 h 654131"/>
                  <a:gd name="connsiteX35" fmla="*/ 2646 w 300457"/>
                  <a:gd name="connsiteY35" fmla="*/ 85626 h 654131"/>
                  <a:gd name="connsiteX36" fmla="*/ 3638 w 300457"/>
                  <a:gd name="connsiteY36" fmla="*/ 69255 h 654131"/>
                  <a:gd name="connsiteX37" fmla="*/ 3638 w 300457"/>
                  <a:gd name="connsiteY37" fmla="*/ 52885 h 654131"/>
                  <a:gd name="connsiteX38" fmla="*/ 3142 w 300457"/>
                  <a:gd name="connsiteY38" fmla="*/ 36514 h 654131"/>
                  <a:gd name="connsiteX39" fmla="*/ 2646 w 300457"/>
                  <a:gd name="connsiteY39" fmla="*/ 20144 h 654131"/>
                  <a:gd name="connsiteX40" fmla="*/ 2646 w 300457"/>
                  <a:gd name="connsiteY40" fmla="*/ 3277 h 654131"/>
                  <a:gd name="connsiteX41" fmla="*/ 19513 w 300457"/>
                  <a:gd name="connsiteY41" fmla="*/ 4269 h 654131"/>
                  <a:gd name="connsiteX42" fmla="*/ 35883 w 300457"/>
                  <a:gd name="connsiteY42" fmla="*/ 2781 h 654131"/>
                  <a:gd name="connsiteX43" fmla="*/ 52254 w 300457"/>
                  <a:gd name="connsiteY43" fmla="*/ 3773 h 654131"/>
                  <a:gd name="connsiteX44" fmla="*/ 68624 w 300457"/>
                  <a:gd name="connsiteY44" fmla="*/ 3773 h 654131"/>
                  <a:gd name="connsiteX45" fmla="*/ 84995 w 300457"/>
                  <a:gd name="connsiteY45" fmla="*/ 3773 h 654131"/>
                  <a:gd name="connsiteX46" fmla="*/ 101365 w 300457"/>
                  <a:gd name="connsiteY46" fmla="*/ 4269 h 654131"/>
                  <a:gd name="connsiteX47" fmla="*/ 117736 w 300457"/>
                  <a:gd name="connsiteY47" fmla="*/ 2781 h 654131"/>
                  <a:gd name="connsiteX48" fmla="*/ 134106 w 300457"/>
                  <a:gd name="connsiteY48" fmla="*/ 2285 h 654131"/>
                  <a:gd name="connsiteX49" fmla="*/ 150477 w 300457"/>
                  <a:gd name="connsiteY49" fmla="*/ 2781 h 654131"/>
                  <a:gd name="connsiteX50" fmla="*/ 166847 w 300457"/>
                  <a:gd name="connsiteY50" fmla="*/ 2285 h 654131"/>
                  <a:gd name="connsiteX51" fmla="*/ 183218 w 300457"/>
                  <a:gd name="connsiteY51" fmla="*/ 2285 h 654131"/>
                  <a:gd name="connsiteX52" fmla="*/ 199589 w 300457"/>
                  <a:gd name="connsiteY52" fmla="*/ 3773 h 654131"/>
                  <a:gd name="connsiteX53" fmla="*/ 215959 w 300457"/>
                  <a:gd name="connsiteY53" fmla="*/ 2285 h 654131"/>
                  <a:gd name="connsiteX54" fmla="*/ 232330 w 300457"/>
                  <a:gd name="connsiteY54" fmla="*/ 3773 h 654131"/>
                  <a:gd name="connsiteX55" fmla="*/ 248700 w 300457"/>
                  <a:gd name="connsiteY55" fmla="*/ 3277 h 654131"/>
                  <a:gd name="connsiteX56" fmla="*/ 265071 w 300457"/>
                  <a:gd name="connsiteY56" fmla="*/ 3277 h 654131"/>
                  <a:gd name="connsiteX57" fmla="*/ 281442 w 300457"/>
                  <a:gd name="connsiteY57" fmla="*/ 2285 h 654131"/>
                  <a:gd name="connsiteX58" fmla="*/ 297812 w 300457"/>
                  <a:gd name="connsiteY58" fmla="*/ 2781 h 654131"/>
                  <a:gd name="connsiteX59" fmla="*/ 297812 w 300457"/>
                  <a:gd name="connsiteY59" fmla="*/ 19151 h 654131"/>
                  <a:gd name="connsiteX60" fmla="*/ 296820 w 300457"/>
                  <a:gd name="connsiteY60" fmla="*/ 35522 h 654131"/>
                  <a:gd name="connsiteX61" fmla="*/ 296820 w 300457"/>
                  <a:gd name="connsiteY61" fmla="*/ 51892 h 654131"/>
                  <a:gd name="connsiteX62" fmla="*/ 296820 w 300457"/>
                  <a:gd name="connsiteY62" fmla="*/ 68263 h 654131"/>
                  <a:gd name="connsiteX63" fmla="*/ 298308 w 300457"/>
                  <a:gd name="connsiteY63" fmla="*/ 84634 h 654131"/>
                  <a:gd name="connsiteX64" fmla="*/ 297316 w 300457"/>
                  <a:gd name="connsiteY64" fmla="*/ 101004 h 654131"/>
                  <a:gd name="connsiteX65" fmla="*/ 298308 w 300457"/>
                  <a:gd name="connsiteY65" fmla="*/ 117375 h 654131"/>
                  <a:gd name="connsiteX66" fmla="*/ 298308 w 300457"/>
                  <a:gd name="connsiteY66" fmla="*/ 133745 h 654131"/>
                  <a:gd name="connsiteX67" fmla="*/ 298308 w 300457"/>
                  <a:gd name="connsiteY67" fmla="*/ 150116 h 654131"/>
                  <a:gd name="connsiteX68" fmla="*/ 298308 w 300457"/>
                  <a:gd name="connsiteY68" fmla="*/ 166487 h 654131"/>
                  <a:gd name="connsiteX69" fmla="*/ 297316 w 300457"/>
                  <a:gd name="connsiteY69" fmla="*/ 182857 h 654131"/>
                  <a:gd name="connsiteX70" fmla="*/ 298308 w 300457"/>
                  <a:gd name="connsiteY70" fmla="*/ 199228 h 654131"/>
                  <a:gd name="connsiteX71" fmla="*/ 297316 w 300457"/>
                  <a:gd name="connsiteY71" fmla="*/ 215598 h 654131"/>
                  <a:gd name="connsiteX72" fmla="*/ 296820 w 300457"/>
                  <a:gd name="connsiteY72" fmla="*/ 231969 h 654131"/>
                  <a:gd name="connsiteX73" fmla="*/ 298308 w 300457"/>
                  <a:gd name="connsiteY73" fmla="*/ 248339 h 654131"/>
                  <a:gd name="connsiteX74" fmla="*/ 296820 w 300457"/>
                  <a:gd name="connsiteY74" fmla="*/ 264710 h 654131"/>
                  <a:gd name="connsiteX75" fmla="*/ 297812 w 300457"/>
                  <a:gd name="connsiteY75" fmla="*/ 281080 h 654131"/>
                  <a:gd name="connsiteX76" fmla="*/ 298308 w 300457"/>
                  <a:gd name="connsiteY76" fmla="*/ 297451 h 654131"/>
                  <a:gd name="connsiteX77" fmla="*/ 297812 w 300457"/>
                  <a:gd name="connsiteY77" fmla="*/ 313821 h 654131"/>
                  <a:gd name="connsiteX78" fmla="*/ 297812 w 300457"/>
                  <a:gd name="connsiteY78" fmla="*/ 330192 h 654131"/>
                  <a:gd name="connsiteX79" fmla="*/ 297316 w 300457"/>
                  <a:gd name="connsiteY79" fmla="*/ 346563 h 654131"/>
                  <a:gd name="connsiteX80" fmla="*/ 296324 w 300457"/>
                  <a:gd name="connsiteY80" fmla="*/ 362933 h 654131"/>
                  <a:gd name="connsiteX81" fmla="*/ 296820 w 300457"/>
                  <a:gd name="connsiteY81" fmla="*/ 379304 h 654131"/>
                  <a:gd name="connsiteX82" fmla="*/ 295828 w 300457"/>
                  <a:gd name="connsiteY82" fmla="*/ 395674 h 654131"/>
                  <a:gd name="connsiteX83" fmla="*/ 296820 w 300457"/>
                  <a:gd name="connsiteY83" fmla="*/ 412045 h 654131"/>
                  <a:gd name="connsiteX84" fmla="*/ 297812 w 300457"/>
                  <a:gd name="connsiteY84" fmla="*/ 428416 h 654131"/>
                  <a:gd name="connsiteX85" fmla="*/ 297316 w 300457"/>
                  <a:gd name="connsiteY85" fmla="*/ 444786 h 654131"/>
                  <a:gd name="connsiteX86" fmla="*/ 297316 w 300457"/>
                  <a:gd name="connsiteY86" fmla="*/ 461157 h 654131"/>
                  <a:gd name="connsiteX87" fmla="*/ 297316 w 300457"/>
                  <a:gd name="connsiteY87" fmla="*/ 477527 h 654131"/>
                  <a:gd name="connsiteX88" fmla="*/ 296820 w 300457"/>
                  <a:gd name="connsiteY88" fmla="*/ 493898 h 654131"/>
                  <a:gd name="connsiteX89" fmla="*/ 295332 w 300457"/>
                  <a:gd name="connsiteY89" fmla="*/ 510269 h 654131"/>
                  <a:gd name="connsiteX90" fmla="*/ 296820 w 300457"/>
                  <a:gd name="connsiteY90" fmla="*/ 526639 h 654131"/>
                  <a:gd name="connsiteX91" fmla="*/ 296820 w 300457"/>
                  <a:gd name="connsiteY91" fmla="*/ 543010 h 654131"/>
                  <a:gd name="connsiteX92" fmla="*/ 296820 w 300457"/>
                  <a:gd name="connsiteY92" fmla="*/ 559380 h 654131"/>
                  <a:gd name="connsiteX93" fmla="*/ 295332 w 300457"/>
                  <a:gd name="connsiteY93" fmla="*/ 575751 h 654131"/>
                  <a:gd name="connsiteX94" fmla="*/ 295332 w 300457"/>
                  <a:gd name="connsiteY94" fmla="*/ 592121 h 654131"/>
                  <a:gd name="connsiteX95" fmla="*/ 296324 w 300457"/>
                  <a:gd name="connsiteY95" fmla="*/ 608492 h 654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300457" h="654131">
                    <a:moveTo>
                      <a:pt x="4134" y="654131"/>
                    </a:moveTo>
                    <a:cubicBezTo>
                      <a:pt x="4134" y="646194"/>
                      <a:pt x="3142" y="646194"/>
                      <a:pt x="3142" y="637761"/>
                    </a:cubicBezTo>
                    <a:cubicBezTo>
                      <a:pt x="3142" y="629823"/>
                      <a:pt x="3142" y="629823"/>
                      <a:pt x="3142" y="621886"/>
                    </a:cubicBezTo>
                    <a:cubicBezTo>
                      <a:pt x="3142" y="613949"/>
                      <a:pt x="2646" y="613949"/>
                      <a:pt x="2646" y="606012"/>
                    </a:cubicBezTo>
                    <a:cubicBezTo>
                      <a:pt x="2646" y="598074"/>
                      <a:pt x="5126" y="598074"/>
                      <a:pt x="5126" y="590137"/>
                    </a:cubicBezTo>
                    <a:cubicBezTo>
                      <a:pt x="5126" y="582200"/>
                      <a:pt x="3142" y="582200"/>
                      <a:pt x="3142" y="574262"/>
                    </a:cubicBezTo>
                    <a:cubicBezTo>
                      <a:pt x="3142" y="566325"/>
                      <a:pt x="3142" y="566325"/>
                      <a:pt x="3142" y="557892"/>
                    </a:cubicBezTo>
                    <a:cubicBezTo>
                      <a:pt x="3142" y="549955"/>
                      <a:pt x="5126" y="549955"/>
                      <a:pt x="5126" y="541521"/>
                    </a:cubicBezTo>
                    <a:cubicBezTo>
                      <a:pt x="5126" y="533584"/>
                      <a:pt x="4134" y="533584"/>
                      <a:pt x="4134" y="525647"/>
                    </a:cubicBezTo>
                    <a:cubicBezTo>
                      <a:pt x="4134" y="517710"/>
                      <a:pt x="4134" y="517710"/>
                      <a:pt x="4134" y="509772"/>
                    </a:cubicBezTo>
                    <a:cubicBezTo>
                      <a:pt x="4134" y="501835"/>
                      <a:pt x="4134" y="501835"/>
                      <a:pt x="4134" y="493402"/>
                    </a:cubicBezTo>
                    <a:cubicBezTo>
                      <a:pt x="4134" y="485465"/>
                      <a:pt x="4134" y="485465"/>
                      <a:pt x="4134" y="477031"/>
                    </a:cubicBezTo>
                    <a:cubicBezTo>
                      <a:pt x="4134" y="469094"/>
                      <a:pt x="5126" y="469094"/>
                      <a:pt x="5126" y="460661"/>
                    </a:cubicBezTo>
                    <a:cubicBezTo>
                      <a:pt x="5126" y="452723"/>
                      <a:pt x="3638" y="452723"/>
                      <a:pt x="3638" y="444290"/>
                    </a:cubicBezTo>
                    <a:cubicBezTo>
                      <a:pt x="3638" y="436353"/>
                      <a:pt x="4630" y="436353"/>
                      <a:pt x="4630" y="427919"/>
                    </a:cubicBezTo>
                    <a:cubicBezTo>
                      <a:pt x="4630" y="419982"/>
                      <a:pt x="4134" y="419982"/>
                      <a:pt x="4134" y="411549"/>
                    </a:cubicBezTo>
                    <a:cubicBezTo>
                      <a:pt x="4134" y="403612"/>
                      <a:pt x="3142" y="403612"/>
                      <a:pt x="3142" y="395178"/>
                    </a:cubicBezTo>
                    <a:cubicBezTo>
                      <a:pt x="3142" y="387241"/>
                      <a:pt x="4134" y="387241"/>
                      <a:pt x="4134" y="378808"/>
                    </a:cubicBezTo>
                    <a:cubicBezTo>
                      <a:pt x="4134" y="370870"/>
                      <a:pt x="3142" y="370870"/>
                      <a:pt x="3142" y="362437"/>
                    </a:cubicBezTo>
                    <a:cubicBezTo>
                      <a:pt x="3142" y="354500"/>
                      <a:pt x="3142" y="354500"/>
                      <a:pt x="3142" y="346067"/>
                    </a:cubicBezTo>
                    <a:cubicBezTo>
                      <a:pt x="3142" y="338129"/>
                      <a:pt x="4134" y="338129"/>
                      <a:pt x="4134" y="329696"/>
                    </a:cubicBezTo>
                    <a:cubicBezTo>
                      <a:pt x="4134" y="321759"/>
                      <a:pt x="4630" y="321759"/>
                      <a:pt x="4630" y="313326"/>
                    </a:cubicBezTo>
                    <a:cubicBezTo>
                      <a:pt x="4630" y="305388"/>
                      <a:pt x="3638" y="305388"/>
                      <a:pt x="3638" y="296955"/>
                    </a:cubicBezTo>
                    <a:cubicBezTo>
                      <a:pt x="3638" y="289018"/>
                      <a:pt x="4630" y="289018"/>
                      <a:pt x="4630" y="280585"/>
                    </a:cubicBezTo>
                    <a:cubicBezTo>
                      <a:pt x="4630" y="272647"/>
                      <a:pt x="2646" y="272647"/>
                      <a:pt x="2646" y="264710"/>
                    </a:cubicBezTo>
                    <a:cubicBezTo>
                      <a:pt x="2646" y="256773"/>
                      <a:pt x="2646" y="256773"/>
                      <a:pt x="2646" y="248835"/>
                    </a:cubicBezTo>
                    <a:cubicBezTo>
                      <a:pt x="2646" y="240898"/>
                      <a:pt x="3142" y="240898"/>
                      <a:pt x="3142" y="232465"/>
                    </a:cubicBezTo>
                    <a:cubicBezTo>
                      <a:pt x="3142" y="224527"/>
                      <a:pt x="3638" y="224527"/>
                      <a:pt x="3638" y="216590"/>
                    </a:cubicBezTo>
                    <a:cubicBezTo>
                      <a:pt x="3638" y="208653"/>
                      <a:pt x="3142" y="208653"/>
                      <a:pt x="3142" y="200220"/>
                    </a:cubicBezTo>
                    <a:cubicBezTo>
                      <a:pt x="3142" y="192282"/>
                      <a:pt x="2150" y="192282"/>
                      <a:pt x="2150" y="183849"/>
                    </a:cubicBezTo>
                    <a:cubicBezTo>
                      <a:pt x="2150" y="175912"/>
                      <a:pt x="3638" y="175912"/>
                      <a:pt x="3638" y="167478"/>
                    </a:cubicBezTo>
                    <a:cubicBezTo>
                      <a:pt x="3638" y="159541"/>
                      <a:pt x="4630" y="159541"/>
                      <a:pt x="4630" y="151108"/>
                    </a:cubicBezTo>
                    <a:cubicBezTo>
                      <a:pt x="4630" y="143171"/>
                      <a:pt x="4134" y="143171"/>
                      <a:pt x="4134" y="134737"/>
                    </a:cubicBezTo>
                    <a:cubicBezTo>
                      <a:pt x="4134" y="126800"/>
                      <a:pt x="4134" y="126800"/>
                      <a:pt x="4134" y="118367"/>
                    </a:cubicBezTo>
                    <a:cubicBezTo>
                      <a:pt x="4134" y="110430"/>
                      <a:pt x="4630" y="110430"/>
                      <a:pt x="4630" y="101996"/>
                    </a:cubicBezTo>
                    <a:cubicBezTo>
                      <a:pt x="4630" y="94059"/>
                      <a:pt x="2646" y="94059"/>
                      <a:pt x="2646" y="85626"/>
                    </a:cubicBezTo>
                    <a:cubicBezTo>
                      <a:pt x="2646" y="77689"/>
                      <a:pt x="3638" y="77689"/>
                      <a:pt x="3638" y="69255"/>
                    </a:cubicBezTo>
                    <a:cubicBezTo>
                      <a:pt x="3638" y="61318"/>
                      <a:pt x="3638" y="61318"/>
                      <a:pt x="3638" y="52885"/>
                    </a:cubicBezTo>
                    <a:cubicBezTo>
                      <a:pt x="3638" y="44947"/>
                      <a:pt x="3142" y="44947"/>
                      <a:pt x="3142" y="36514"/>
                    </a:cubicBezTo>
                    <a:cubicBezTo>
                      <a:pt x="3142" y="28577"/>
                      <a:pt x="2646" y="28577"/>
                      <a:pt x="2646" y="20144"/>
                    </a:cubicBezTo>
                    <a:cubicBezTo>
                      <a:pt x="2646" y="11710"/>
                      <a:pt x="-3307" y="9230"/>
                      <a:pt x="2646" y="3277"/>
                    </a:cubicBezTo>
                    <a:cubicBezTo>
                      <a:pt x="8599" y="-2676"/>
                      <a:pt x="11079" y="4269"/>
                      <a:pt x="19513" y="4269"/>
                    </a:cubicBezTo>
                    <a:cubicBezTo>
                      <a:pt x="27450" y="4269"/>
                      <a:pt x="27450" y="2781"/>
                      <a:pt x="35883" y="2781"/>
                    </a:cubicBezTo>
                    <a:cubicBezTo>
                      <a:pt x="43820" y="2781"/>
                      <a:pt x="43820" y="3773"/>
                      <a:pt x="52254" y="3773"/>
                    </a:cubicBezTo>
                    <a:cubicBezTo>
                      <a:pt x="60687" y="3773"/>
                      <a:pt x="60687" y="3773"/>
                      <a:pt x="68624" y="3773"/>
                    </a:cubicBezTo>
                    <a:cubicBezTo>
                      <a:pt x="76562" y="3773"/>
                      <a:pt x="76562" y="3773"/>
                      <a:pt x="84995" y="3773"/>
                    </a:cubicBezTo>
                    <a:cubicBezTo>
                      <a:pt x="93428" y="3773"/>
                      <a:pt x="93428" y="4269"/>
                      <a:pt x="101365" y="4269"/>
                    </a:cubicBezTo>
                    <a:cubicBezTo>
                      <a:pt x="109303" y="4269"/>
                      <a:pt x="109303" y="2781"/>
                      <a:pt x="117736" y="2781"/>
                    </a:cubicBezTo>
                    <a:cubicBezTo>
                      <a:pt x="126169" y="2781"/>
                      <a:pt x="126169" y="2285"/>
                      <a:pt x="134106" y="2285"/>
                    </a:cubicBezTo>
                    <a:cubicBezTo>
                      <a:pt x="142540" y="2285"/>
                      <a:pt x="142540" y="2781"/>
                      <a:pt x="150477" y="2781"/>
                    </a:cubicBezTo>
                    <a:cubicBezTo>
                      <a:pt x="158910" y="2781"/>
                      <a:pt x="158910" y="2285"/>
                      <a:pt x="166847" y="2285"/>
                    </a:cubicBezTo>
                    <a:cubicBezTo>
                      <a:pt x="175281" y="2285"/>
                      <a:pt x="175281" y="2285"/>
                      <a:pt x="183218" y="2285"/>
                    </a:cubicBezTo>
                    <a:cubicBezTo>
                      <a:pt x="191651" y="2285"/>
                      <a:pt x="191651" y="3773"/>
                      <a:pt x="199589" y="3773"/>
                    </a:cubicBezTo>
                    <a:cubicBezTo>
                      <a:pt x="208022" y="3773"/>
                      <a:pt x="208022" y="2285"/>
                      <a:pt x="215959" y="2285"/>
                    </a:cubicBezTo>
                    <a:cubicBezTo>
                      <a:pt x="224393" y="2285"/>
                      <a:pt x="224393" y="3773"/>
                      <a:pt x="232330" y="3773"/>
                    </a:cubicBezTo>
                    <a:cubicBezTo>
                      <a:pt x="240763" y="3773"/>
                      <a:pt x="240763" y="3277"/>
                      <a:pt x="248700" y="3277"/>
                    </a:cubicBezTo>
                    <a:cubicBezTo>
                      <a:pt x="257134" y="3277"/>
                      <a:pt x="257134" y="3277"/>
                      <a:pt x="265071" y="3277"/>
                    </a:cubicBezTo>
                    <a:cubicBezTo>
                      <a:pt x="273504" y="3277"/>
                      <a:pt x="273504" y="2285"/>
                      <a:pt x="281442" y="2285"/>
                    </a:cubicBezTo>
                    <a:cubicBezTo>
                      <a:pt x="289379" y="2285"/>
                      <a:pt x="291859" y="-3172"/>
                      <a:pt x="297812" y="2781"/>
                    </a:cubicBezTo>
                    <a:cubicBezTo>
                      <a:pt x="303765" y="8734"/>
                      <a:pt x="297812" y="10718"/>
                      <a:pt x="297812" y="19151"/>
                    </a:cubicBezTo>
                    <a:cubicBezTo>
                      <a:pt x="297812" y="27585"/>
                      <a:pt x="296820" y="27585"/>
                      <a:pt x="296820" y="35522"/>
                    </a:cubicBezTo>
                    <a:cubicBezTo>
                      <a:pt x="296820" y="43955"/>
                      <a:pt x="296820" y="43955"/>
                      <a:pt x="296820" y="51892"/>
                    </a:cubicBezTo>
                    <a:cubicBezTo>
                      <a:pt x="296820" y="60326"/>
                      <a:pt x="296820" y="60326"/>
                      <a:pt x="296820" y="68263"/>
                    </a:cubicBezTo>
                    <a:cubicBezTo>
                      <a:pt x="296820" y="76696"/>
                      <a:pt x="298308" y="76696"/>
                      <a:pt x="298308" y="84634"/>
                    </a:cubicBezTo>
                    <a:cubicBezTo>
                      <a:pt x="298308" y="93067"/>
                      <a:pt x="297316" y="93067"/>
                      <a:pt x="297316" y="101004"/>
                    </a:cubicBezTo>
                    <a:cubicBezTo>
                      <a:pt x="297316" y="109438"/>
                      <a:pt x="298308" y="109438"/>
                      <a:pt x="298308" y="117375"/>
                    </a:cubicBezTo>
                    <a:cubicBezTo>
                      <a:pt x="298308" y="125808"/>
                      <a:pt x="298308" y="125808"/>
                      <a:pt x="298308" y="133745"/>
                    </a:cubicBezTo>
                    <a:cubicBezTo>
                      <a:pt x="298308" y="142179"/>
                      <a:pt x="298308" y="142179"/>
                      <a:pt x="298308" y="150116"/>
                    </a:cubicBezTo>
                    <a:cubicBezTo>
                      <a:pt x="298308" y="158549"/>
                      <a:pt x="298308" y="158549"/>
                      <a:pt x="298308" y="166487"/>
                    </a:cubicBezTo>
                    <a:cubicBezTo>
                      <a:pt x="298308" y="174920"/>
                      <a:pt x="297316" y="174920"/>
                      <a:pt x="297316" y="182857"/>
                    </a:cubicBezTo>
                    <a:cubicBezTo>
                      <a:pt x="297316" y="191290"/>
                      <a:pt x="298308" y="191290"/>
                      <a:pt x="298308" y="199228"/>
                    </a:cubicBezTo>
                    <a:cubicBezTo>
                      <a:pt x="298308" y="207661"/>
                      <a:pt x="297316" y="207661"/>
                      <a:pt x="297316" y="215598"/>
                    </a:cubicBezTo>
                    <a:cubicBezTo>
                      <a:pt x="297316" y="224031"/>
                      <a:pt x="296820" y="224031"/>
                      <a:pt x="296820" y="231969"/>
                    </a:cubicBezTo>
                    <a:cubicBezTo>
                      <a:pt x="296820" y="240402"/>
                      <a:pt x="298308" y="240402"/>
                      <a:pt x="298308" y="248339"/>
                    </a:cubicBezTo>
                    <a:cubicBezTo>
                      <a:pt x="298308" y="256773"/>
                      <a:pt x="296820" y="256773"/>
                      <a:pt x="296820" y="264710"/>
                    </a:cubicBezTo>
                    <a:cubicBezTo>
                      <a:pt x="296820" y="273143"/>
                      <a:pt x="297812" y="273143"/>
                      <a:pt x="297812" y="281080"/>
                    </a:cubicBezTo>
                    <a:cubicBezTo>
                      <a:pt x="297812" y="289514"/>
                      <a:pt x="298308" y="289514"/>
                      <a:pt x="298308" y="297451"/>
                    </a:cubicBezTo>
                    <a:cubicBezTo>
                      <a:pt x="298308" y="305884"/>
                      <a:pt x="297812" y="305884"/>
                      <a:pt x="297812" y="313821"/>
                    </a:cubicBezTo>
                    <a:cubicBezTo>
                      <a:pt x="297812" y="322255"/>
                      <a:pt x="297812" y="322255"/>
                      <a:pt x="297812" y="330192"/>
                    </a:cubicBezTo>
                    <a:cubicBezTo>
                      <a:pt x="297812" y="338625"/>
                      <a:pt x="297316" y="338625"/>
                      <a:pt x="297316" y="346563"/>
                    </a:cubicBezTo>
                    <a:cubicBezTo>
                      <a:pt x="297316" y="354996"/>
                      <a:pt x="296324" y="354996"/>
                      <a:pt x="296324" y="362933"/>
                    </a:cubicBezTo>
                    <a:cubicBezTo>
                      <a:pt x="296324" y="371367"/>
                      <a:pt x="296820" y="371367"/>
                      <a:pt x="296820" y="379304"/>
                    </a:cubicBezTo>
                    <a:cubicBezTo>
                      <a:pt x="296820" y="387737"/>
                      <a:pt x="295828" y="387737"/>
                      <a:pt x="295828" y="395674"/>
                    </a:cubicBezTo>
                    <a:cubicBezTo>
                      <a:pt x="295828" y="404108"/>
                      <a:pt x="296820" y="404108"/>
                      <a:pt x="296820" y="412045"/>
                    </a:cubicBezTo>
                    <a:cubicBezTo>
                      <a:pt x="296820" y="420478"/>
                      <a:pt x="297812" y="420478"/>
                      <a:pt x="297812" y="428416"/>
                    </a:cubicBezTo>
                    <a:cubicBezTo>
                      <a:pt x="297812" y="436849"/>
                      <a:pt x="297316" y="436849"/>
                      <a:pt x="297316" y="444786"/>
                    </a:cubicBezTo>
                    <a:cubicBezTo>
                      <a:pt x="297316" y="453220"/>
                      <a:pt x="297316" y="453220"/>
                      <a:pt x="297316" y="461157"/>
                    </a:cubicBezTo>
                    <a:cubicBezTo>
                      <a:pt x="297316" y="469590"/>
                      <a:pt x="297316" y="469590"/>
                      <a:pt x="297316" y="477527"/>
                    </a:cubicBezTo>
                    <a:cubicBezTo>
                      <a:pt x="297316" y="485961"/>
                      <a:pt x="296820" y="485961"/>
                      <a:pt x="296820" y="493898"/>
                    </a:cubicBezTo>
                    <a:cubicBezTo>
                      <a:pt x="296820" y="502331"/>
                      <a:pt x="295332" y="502331"/>
                      <a:pt x="295332" y="510269"/>
                    </a:cubicBezTo>
                    <a:cubicBezTo>
                      <a:pt x="295332" y="518702"/>
                      <a:pt x="296820" y="518702"/>
                      <a:pt x="296820" y="526639"/>
                    </a:cubicBezTo>
                    <a:cubicBezTo>
                      <a:pt x="296820" y="535072"/>
                      <a:pt x="296820" y="535072"/>
                      <a:pt x="296820" y="543010"/>
                    </a:cubicBezTo>
                    <a:cubicBezTo>
                      <a:pt x="296820" y="551443"/>
                      <a:pt x="296820" y="551443"/>
                      <a:pt x="296820" y="559380"/>
                    </a:cubicBezTo>
                    <a:cubicBezTo>
                      <a:pt x="296820" y="567813"/>
                      <a:pt x="295332" y="567813"/>
                      <a:pt x="295332" y="575751"/>
                    </a:cubicBezTo>
                    <a:cubicBezTo>
                      <a:pt x="295332" y="584184"/>
                      <a:pt x="295332" y="584184"/>
                      <a:pt x="295332" y="592121"/>
                    </a:cubicBezTo>
                    <a:cubicBezTo>
                      <a:pt x="295332" y="600059"/>
                      <a:pt x="296324" y="600555"/>
                      <a:pt x="296324" y="6084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7E69CDDC-749B-63AB-62B4-C3F109283C30}"/>
                </a:ext>
              </a:extLst>
            </p:cNvPr>
            <p:cNvSpPr/>
            <p:nvPr/>
          </p:nvSpPr>
          <p:spPr>
            <a:xfrm>
              <a:off x="5153127" y="3820295"/>
              <a:ext cx="3472" cy="650358"/>
            </a:xfrm>
            <a:custGeom>
              <a:avLst/>
              <a:gdLst>
                <a:gd name="connsiteX0" fmla="*/ 1984 w 3472"/>
                <a:gd name="connsiteY0" fmla="*/ 650358 h 650358"/>
                <a:gd name="connsiteX1" fmla="*/ 2480 w 3472"/>
                <a:gd name="connsiteY1" fmla="*/ 633988 h 650358"/>
                <a:gd name="connsiteX2" fmla="*/ 1984 w 3472"/>
                <a:gd name="connsiteY2" fmla="*/ 618113 h 650358"/>
                <a:gd name="connsiteX3" fmla="*/ 1488 w 3472"/>
                <a:gd name="connsiteY3" fmla="*/ 602239 h 650358"/>
                <a:gd name="connsiteX4" fmla="*/ 2977 w 3472"/>
                <a:gd name="connsiteY4" fmla="*/ 586364 h 650358"/>
                <a:gd name="connsiteX5" fmla="*/ 1984 w 3472"/>
                <a:gd name="connsiteY5" fmla="*/ 570490 h 650358"/>
                <a:gd name="connsiteX6" fmla="*/ 992 w 3472"/>
                <a:gd name="connsiteY6" fmla="*/ 554119 h 650358"/>
                <a:gd name="connsiteX7" fmla="*/ 496 w 3472"/>
                <a:gd name="connsiteY7" fmla="*/ 537749 h 650358"/>
                <a:gd name="connsiteX8" fmla="*/ 992 w 3472"/>
                <a:gd name="connsiteY8" fmla="*/ 521874 h 650358"/>
                <a:gd name="connsiteX9" fmla="*/ 1984 w 3472"/>
                <a:gd name="connsiteY9" fmla="*/ 505999 h 650358"/>
                <a:gd name="connsiteX10" fmla="*/ 2480 w 3472"/>
                <a:gd name="connsiteY10" fmla="*/ 489629 h 650358"/>
                <a:gd name="connsiteX11" fmla="*/ 992 w 3472"/>
                <a:gd name="connsiteY11" fmla="*/ 473258 h 650358"/>
                <a:gd name="connsiteX12" fmla="*/ 0 w 3472"/>
                <a:gd name="connsiteY12" fmla="*/ 456888 h 650358"/>
                <a:gd name="connsiteX13" fmla="*/ 1488 w 3472"/>
                <a:gd name="connsiteY13" fmla="*/ 440517 h 650358"/>
                <a:gd name="connsiteX14" fmla="*/ 1984 w 3472"/>
                <a:gd name="connsiteY14" fmla="*/ 424147 h 650358"/>
                <a:gd name="connsiteX15" fmla="*/ 1488 w 3472"/>
                <a:gd name="connsiteY15" fmla="*/ 407776 h 650358"/>
                <a:gd name="connsiteX16" fmla="*/ 1984 w 3472"/>
                <a:gd name="connsiteY16" fmla="*/ 391406 h 650358"/>
                <a:gd name="connsiteX17" fmla="*/ 1984 w 3472"/>
                <a:gd name="connsiteY17" fmla="*/ 375035 h 650358"/>
                <a:gd name="connsiteX18" fmla="*/ 2480 w 3472"/>
                <a:gd name="connsiteY18" fmla="*/ 358665 h 650358"/>
                <a:gd name="connsiteX19" fmla="*/ 992 w 3472"/>
                <a:gd name="connsiteY19" fmla="*/ 342294 h 650358"/>
                <a:gd name="connsiteX20" fmla="*/ 992 w 3472"/>
                <a:gd name="connsiteY20" fmla="*/ 325923 h 650358"/>
                <a:gd name="connsiteX21" fmla="*/ 992 w 3472"/>
                <a:gd name="connsiteY21" fmla="*/ 309553 h 650358"/>
                <a:gd name="connsiteX22" fmla="*/ 2977 w 3472"/>
                <a:gd name="connsiteY22" fmla="*/ 293182 h 650358"/>
                <a:gd name="connsiteX23" fmla="*/ 1984 w 3472"/>
                <a:gd name="connsiteY23" fmla="*/ 276812 h 650358"/>
                <a:gd name="connsiteX24" fmla="*/ 1984 w 3472"/>
                <a:gd name="connsiteY24" fmla="*/ 260937 h 650358"/>
                <a:gd name="connsiteX25" fmla="*/ 2977 w 3472"/>
                <a:gd name="connsiteY25" fmla="*/ 245063 h 650358"/>
                <a:gd name="connsiteX26" fmla="*/ 992 w 3472"/>
                <a:gd name="connsiteY26" fmla="*/ 228692 h 650358"/>
                <a:gd name="connsiteX27" fmla="*/ 1984 w 3472"/>
                <a:gd name="connsiteY27" fmla="*/ 212818 h 650358"/>
                <a:gd name="connsiteX28" fmla="*/ 2480 w 3472"/>
                <a:gd name="connsiteY28" fmla="*/ 196447 h 650358"/>
                <a:gd name="connsiteX29" fmla="*/ 1984 w 3472"/>
                <a:gd name="connsiteY29" fmla="*/ 180077 h 650358"/>
                <a:gd name="connsiteX30" fmla="*/ 1984 w 3472"/>
                <a:gd name="connsiteY30" fmla="*/ 163706 h 650358"/>
                <a:gd name="connsiteX31" fmla="*/ 3473 w 3472"/>
                <a:gd name="connsiteY31" fmla="*/ 147335 h 650358"/>
                <a:gd name="connsiteX32" fmla="*/ 3473 w 3472"/>
                <a:gd name="connsiteY32" fmla="*/ 130965 h 650358"/>
                <a:gd name="connsiteX33" fmla="*/ 2977 w 3472"/>
                <a:gd name="connsiteY33" fmla="*/ 114594 h 650358"/>
                <a:gd name="connsiteX34" fmla="*/ 2480 w 3472"/>
                <a:gd name="connsiteY34" fmla="*/ 98224 h 650358"/>
                <a:gd name="connsiteX35" fmla="*/ 3473 w 3472"/>
                <a:gd name="connsiteY35" fmla="*/ 81853 h 650358"/>
                <a:gd name="connsiteX36" fmla="*/ 1984 w 3472"/>
                <a:gd name="connsiteY36" fmla="*/ 65482 h 650358"/>
                <a:gd name="connsiteX37" fmla="*/ 2480 w 3472"/>
                <a:gd name="connsiteY37" fmla="*/ 49112 h 650358"/>
                <a:gd name="connsiteX38" fmla="*/ 1984 w 3472"/>
                <a:gd name="connsiteY38" fmla="*/ 32741 h 650358"/>
                <a:gd name="connsiteX39" fmla="*/ 3473 w 3472"/>
                <a:gd name="connsiteY39" fmla="*/ 16371 h 650358"/>
                <a:gd name="connsiteX40" fmla="*/ 3473 w 3472"/>
                <a:gd name="connsiteY40" fmla="*/ 0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472" h="650358">
                  <a:moveTo>
                    <a:pt x="1984" y="650358"/>
                  </a:moveTo>
                  <a:cubicBezTo>
                    <a:pt x="1984" y="642421"/>
                    <a:pt x="2480" y="642421"/>
                    <a:pt x="2480" y="633988"/>
                  </a:cubicBezTo>
                  <a:cubicBezTo>
                    <a:pt x="2480" y="626050"/>
                    <a:pt x="1984" y="626050"/>
                    <a:pt x="1984" y="618113"/>
                  </a:cubicBezTo>
                  <a:cubicBezTo>
                    <a:pt x="1984" y="610176"/>
                    <a:pt x="1488" y="610176"/>
                    <a:pt x="1488" y="602239"/>
                  </a:cubicBezTo>
                  <a:cubicBezTo>
                    <a:pt x="1488" y="594302"/>
                    <a:pt x="2977" y="594302"/>
                    <a:pt x="2977" y="586364"/>
                  </a:cubicBezTo>
                  <a:cubicBezTo>
                    <a:pt x="2977" y="578427"/>
                    <a:pt x="1984" y="578427"/>
                    <a:pt x="1984" y="570490"/>
                  </a:cubicBezTo>
                  <a:cubicBezTo>
                    <a:pt x="1984" y="562553"/>
                    <a:pt x="992" y="562553"/>
                    <a:pt x="992" y="554119"/>
                  </a:cubicBezTo>
                  <a:cubicBezTo>
                    <a:pt x="992" y="546182"/>
                    <a:pt x="496" y="546182"/>
                    <a:pt x="496" y="537749"/>
                  </a:cubicBezTo>
                  <a:cubicBezTo>
                    <a:pt x="496" y="529811"/>
                    <a:pt x="992" y="529811"/>
                    <a:pt x="992" y="521874"/>
                  </a:cubicBezTo>
                  <a:cubicBezTo>
                    <a:pt x="992" y="513937"/>
                    <a:pt x="1984" y="513937"/>
                    <a:pt x="1984" y="505999"/>
                  </a:cubicBezTo>
                  <a:cubicBezTo>
                    <a:pt x="1984" y="498062"/>
                    <a:pt x="2480" y="498062"/>
                    <a:pt x="2480" y="489629"/>
                  </a:cubicBezTo>
                  <a:cubicBezTo>
                    <a:pt x="2480" y="481692"/>
                    <a:pt x="992" y="481692"/>
                    <a:pt x="992" y="473258"/>
                  </a:cubicBezTo>
                  <a:cubicBezTo>
                    <a:pt x="992" y="465321"/>
                    <a:pt x="0" y="465321"/>
                    <a:pt x="0" y="456888"/>
                  </a:cubicBezTo>
                  <a:cubicBezTo>
                    <a:pt x="0" y="448951"/>
                    <a:pt x="1488" y="448951"/>
                    <a:pt x="1488" y="440517"/>
                  </a:cubicBezTo>
                  <a:cubicBezTo>
                    <a:pt x="1488" y="432580"/>
                    <a:pt x="1984" y="432580"/>
                    <a:pt x="1984" y="424147"/>
                  </a:cubicBezTo>
                  <a:cubicBezTo>
                    <a:pt x="1984" y="416210"/>
                    <a:pt x="1488" y="416210"/>
                    <a:pt x="1488" y="407776"/>
                  </a:cubicBezTo>
                  <a:cubicBezTo>
                    <a:pt x="1488" y="399839"/>
                    <a:pt x="1984" y="399839"/>
                    <a:pt x="1984" y="391406"/>
                  </a:cubicBezTo>
                  <a:cubicBezTo>
                    <a:pt x="1984" y="383468"/>
                    <a:pt x="1984" y="383468"/>
                    <a:pt x="1984" y="375035"/>
                  </a:cubicBezTo>
                  <a:cubicBezTo>
                    <a:pt x="1984" y="367098"/>
                    <a:pt x="2480" y="367098"/>
                    <a:pt x="2480" y="358665"/>
                  </a:cubicBezTo>
                  <a:cubicBezTo>
                    <a:pt x="2480" y="350727"/>
                    <a:pt x="992" y="350727"/>
                    <a:pt x="992" y="342294"/>
                  </a:cubicBezTo>
                  <a:cubicBezTo>
                    <a:pt x="992" y="334357"/>
                    <a:pt x="992" y="334357"/>
                    <a:pt x="992" y="325923"/>
                  </a:cubicBezTo>
                  <a:cubicBezTo>
                    <a:pt x="992" y="317986"/>
                    <a:pt x="992" y="317986"/>
                    <a:pt x="992" y="309553"/>
                  </a:cubicBezTo>
                  <a:cubicBezTo>
                    <a:pt x="992" y="301616"/>
                    <a:pt x="2977" y="301616"/>
                    <a:pt x="2977" y="293182"/>
                  </a:cubicBezTo>
                  <a:cubicBezTo>
                    <a:pt x="2977" y="285245"/>
                    <a:pt x="1984" y="285245"/>
                    <a:pt x="1984" y="276812"/>
                  </a:cubicBezTo>
                  <a:cubicBezTo>
                    <a:pt x="1984" y="268874"/>
                    <a:pt x="1984" y="268874"/>
                    <a:pt x="1984" y="260937"/>
                  </a:cubicBezTo>
                  <a:cubicBezTo>
                    <a:pt x="1984" y="253000"/>
                    <a:pt x="2977" y="253000"/>
                    <a:pt x="2977" y="245063"/>
                  </a:cubicBezTo>
                  <a:cubicBezTo>
                    <a:pt x="2977" y="237125"/>
                    <a:pt x="992" y="237125"/>
                    <a:pt x="992" y="228692"/>
                  </a:cubicBezTo>
                  <a:cubicBezTo>
                    <a:pt x="992" y="220755"/>
                    <a:pt x="1984" y="220755"/>
                    <a:pt x="1984" y="212818"/>
                  </a:cubicBezTo>
                  <a:cubicBezTo>
                    <a:pt x="1984" y="204880"/>
                    <a:pt x="2480" y="204880"/>
                    <a:pt x="2480" y="196447"/>
                  </a:cubicBezTo>
                  <a:cubicBezTo>
                    <a:pt x="2480" y="188510"/>
                    <a:pt x="1984" y="188510"/>
                    <a:pt x="1984" y="180077"/>
                  </a:cubicBezTo>
                  <a:cubicBezTo>
                    <a:pt x="1984" y="172139"/>
                    <a:pt x="1984" y="172139"/>
                    <a:pt x="1984" y="163706"/>
                  </a:cubicBezTo>
                  <a:cubicBezTo>
                    <a:pt x="1984" y="155769"/>
                    <a:pt x="3473" y="155769"/>
                    <a:pt x="3473" y="147335"/>
                  </a:cubicBezTo>
                  <a:cubicBezTo>
                    <a:pt x="3473" y="139398"/>
                    <a:pt x="3473" y="139398"/>
                    <a:pt x="3473" y="130965"/>
                  </a:cubicBezTo>
                  <a:cubicBezTo>
                    <a:pt x="3473" y="123028"/>
                    <a:pt x="2977" y="123028"/>
                    <a:pt x="2977" y="114594"/>
                  </a:cubicBezTo>
                  <a:cubicBezTo>
                    <a:pt x="2977" y="106657"/>
                    <a:pt x="2480" y="106657"/>
                    <a:pt x="2480" y="98224"/>
                  </a:cubicBezTo>
                  <a:cubicBezTo>
                    <a:pt x="2480" y="90286"/>
                    <a:pt x="3473" y="90286"/>
                    <a:pt x="3473" y="81853"/>
                  </a:cubicBezTo>
                  <a:cubicBezTo>
                    <a:pt x="3473" y="73916"/>
                    <a:pt x="1984" y="73916"/>
                    <a:pt x="1984" y="65482"/>
                  </a:cubicBezTo>
                  <a:cubicBezTo>
                    <a:pt x="1984" y="57545"/>
                    <a:pt x="2480" y="57545"/>
                    <a:pt x="2480" y="49112"/>
                  </a:cubicBezTo>
                  <a:cubicBezTo>
                    <a:pt x="2480" y="41175"/>
                    <a:pt x="1984" y="41175"/>
                    <a:pt x="1984" y="32741"/>
                  </a:cubicBezTo>
                  <a:cubicBezTo>
                    <a:pt x="1984" y="24804"/>
                    <a:pt x="3473" y="24804"/>
                    <a:pt x="3473" y="16371"/>
                  </a:cubicBezTo>
                  <a:cubicBezTo>
                    <a:pt x="3473" y="7937"/>
                    <a:pt x="3473" y="8433"/>
                    <a:pt x="347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B2CAE32A-40C0-4C2F-94CF-54A64002D3E2}"/>
                </a:ext>
              </a:extLst>
            </p:cNvPr>
            <p:cNvSpPr/>
            <p:nvPr/>
          </p:nvSpPr>
          <p:spPr>
            <a:xfrm>
              <a:off x="5197774" y="3825256"/>
              <a:ext cx="3968" cy="650358"/>
            </a:xfrm>
            <a:custGeom>
              <a:avLst/>
              <a:gdLst>
                <a:gd name="connsiteX0" fmla="*/ 2977 w 3968"/>
                <a:gd name="connsiteY0" fmla="*/ 0 h 650358"/>
                <a:gd name="connsiteX1" fmla="*/ 3969 w 3968"/>
                <a:gd name="connsiteY1" fmla="*/ 16371 h 650358"/>
                <a:gd name="connsiteX2" fmla="*/ 1488 w 3968"/>
                <a:gd name="connsiteY2" fmla="*/ 32245 h 650358"/>
                <a:gd name="connsiteX3" fmla="*/ 1984 w 3968"/>
                <a:gd name="connsiteY3" fmla="*/ 48120 h 650358"/>
                <a:gd name="connsiteX4" fmla="*/ 3473 w 3968"/>
                <a:gd name="connsiteY4" fmla="*/ 63994 h 650358"/>
                <a:gd name="connsiteX5" fmla="*/ 2977 w 3968"/>
                <a:gd name="connsiteY5" fmla="*/ 79869 h 650358"/>
                <a:gd name="connsiteX6" fmla="*/ 1488 w 3968"/>
                <a:gd name="connsiteY6" fmla="*/ 96239 h 650358"/>
                <a:gd name="connsiteX7" fmla="*/ 3473 w 3968"/>
                <a:gd name="connsiteY7" fmla="*/ 112610 h 650358"/>
                <a:gd name="connsiteX8" fmla="*/ 1984 w 3968"/>
                <a:gd name="connsiteY8" fmla="*/ 128484 h 650358"/>
                <a:gd name="connsiteX9" fmla="*/ 3473 w 3968"/>
                <a:gd name="connsiteY9" fmla="*/ 144359 h 650358"/>
                <a:gd name="connsiteX10" fmla="*/ 1984 w 3968"/>
                <a:gd name="connsiteY10" fmla="*/ 160729 h 650358"/>
                <a:gd name="connsiteX11" fmla="*/ 3473 w 3968"/>
                <a:gd name="connsiteY11" fmla="*/ 177100 h 650358"/>
                <a:gd name="connsiteX12" fmla="*/ 3473 w 3968"/>
                <a:gd name="connsiteY12" fmla="*/ 193470 h 650358"/>
                <a:gd name="connsiteX13" fmla="*/ 2977 w 3968"/>
                <a:gd name="connsiteY13" fmla="*/ 209841 h 650358"/>
                <a:gd name="connsiteX14" fmla="*/ 1984 w 3968"/>
                <a:gd name="connsiteY14" fmla="*/ 226212 h 650358"/>
                <a:gd name="connsiteX15" fmla="*/ 2480 w 3968"/>
                <a:gd name="connsiteY15" fmla="*/ 242582 h 650358"/>
                <a:gd name="connsiteX16" fmla="*/ 2480 w 3968"/>
                <a:gd name="connsiteY16" fmla="*/ 258953 h 650358"/>
                <a:gd name="connsiteX17" fmla="*/ 3473 w 3968"/>
                <a:gd name="connsiteY17" fmla="*/ 275323 h 650358"/>
                <a:gd name="connsiteX18" fmla="*/ 2977 w 3968"/>
                <a:gd name="connsiteY18" fmla="*/ 291694 h 650358"/>
                <a:gd name="connsiteX19" fmla="*/ 2480 w 3968"/>
                <a:gd name="connsiteY19" fmla="*/ 308065 h 650358"/>
                <a:gd name="connsiteX20" fmla="*/ 3473 w 3968"/>
                <a:gd name="connsiteY20" fmla="*/ 324435 h 650358"/>
                <a:gd name="connsiteX21" fmla="*/ 2977 w 3968"/>
                <a:gd name="connsiteY21" fmla="*/ 340806 h 650358"/>
                <a:gd name="connsiteX22" fmla="*/ 2480 w 3968"/>
                <a:gd name="connsiteY22" fmla="*/ 357176 h 650358"/>
                <a:gd name="connsiteX23" fmla="*/ 3473 w 3968"/>
                <a:gd name="connsiteY23" fmla="*/ 373547 h 650358"/>
                <a:gd name="connsiteX24" fmla="*/ 2480 w 3968"/>
                <a:gd name="connsiteY24" fmla="*/ 389421 h 650358"/>
                <a:gd name="connsiteX25" fmla="*/ 2480 w 3968"/>
                <a:gd name="connsiteY25" fmla="*/ 405296 h 650358"/>
                <a:gd name="connsiteX26" fmla="*/ 2977 w 3968"/>
                <a:gd name="connsiteY26" fmla="*/ 421666 h 650358"/>
                <a:gd name="connsiteX27" fmla="*/ 992 w 3968"/>
                <a:gd name="connsiteY27" fmla="*/ 437541 h 650358"/>
                <a:gd name="connsiteX28" fmla="*/ 1984 w 3968"/>
                <a:gd name="connsiteY28" fmla="*/ 453911 h 650358"/>
                <a:gd name="connsiteX29" fmla="*/ 1984 w 3968"/>
                <a:gd name="connsiteY29" fmla="*/ 470282 h 650358"/>
                <a:gd name="connsiteX30" fmla="*/ 992 w 3968"/>
                <a:gd name="connsiteY30" fmla="*/ 486653 h 650358"/>
                <a:gd name="connsiteX31" fmla="*/ 2480 w 3968"/>
                <a:gd name="connsiteY31" fmla="*/ 503023 h 650358"/>
                <a:gd name="connsiteX32" fmla="*/ 992 w 3968"/>
                <a:gd name="connsiteY32" fmla="*/ 519394 h 650358"/>
                <a:gd name="connsiteX33" fmla="*/ 1984 w 3968"/>
                <a:gd name="connsiteY33" fmla="*/ 535764 h 650358"/>
                <a:gd name="connsiteX34" fmla="*/ 1488 w 3968"/>
                <a:gd name="connsiteY34" fmla="*/ 552135 h 650358"/>
                <a:gd name="connsiteX35" fmla="*/ 0 w 3968"/>
                <a:gd name="connsiteY35" fmla="*/ 568506 h 650358"/>
                <a:gd name="connsiteX36" fmla="*/ 2480 w 3968"/>
                <a:gd name="connsiteY36" fmla="*/ 584876 h 650358"/>
                <a:gd name="connsiteX37" fmla="*/ 1984 w 3968"/>
                <a:gd name="connsiteY37" fmla="*/ 601247 h 650358"/>
                <a:gd name="connsiteX38" fmla="*/ 992 w 3968"/>
                <a:gd name="connsiteY38" fmla="*/ 617617 h 650358"/>
                <a:gd name="connsiteX39" fmla="*/ 496 w 3968"/>
                <a:gd name="connsiteY39" fmla="*/ 633988 h 650358"/>
                <a:gd name="connsiteX40" fmla="*/ 1488 w 3968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968" h="650358">
                  <a:moveTo>
                    <a:pt x="2977" y="0"/>
                  </a:moveTo>
                  <a:cubicBezTo>
                    <a:pt x="2977" y="7937"/>
                    <a:pt x="3969" y="7937"/>
                    <a:pt x="3969" y="16371"/>
                  </a:cubicBezTo>
                  <a:cubicBezTo>
                    <a:pt x="3969" y="24308"/>
                    <a:pt x="1488" y="24308"/>
                    <a:pt x="1488" y="32245"/>
                  </a:cubicBezTo>
                  <a:cubicBezTo>
                    <a:pt x="1488" y="40182"/>
                    <a:pt x="1984" y="40182"/>
                    <a:pt x="1984" y="48120"/>
                  </a:cubicBezTo>
                  <a:cubicBezTo>
                    <a:pt x="1984" y="56057"/>
                    <a:pt x="3473" y="56057"/>
                    <a:pt x="3473" y="63994"/>
                  </a:cubicBezTo>
                  <a:cubicBezTo>
                    <a:pt x="3473" y="71931"/>
                    <a:pt x="2977" y="71931"/>
                    <a:pt x="2977" y="79869"/>
                  </a:cubicBezTo>
                  <a:cubicBezTo>
                    <a:pt x="2977" y="87806"/>
                    <a:pt x="1488" y="87806"/>
                    <a:pt x="1488" y="96239"/>
                  </a:cubicBezTo>
                  <a:cubicBezTo>
                    <a:pt x="1488" y="104176"/>
                    <a:pt x="3473" y="104176"/>
                    <a:pt x="3473" y="112610"/>
                  </a:cubicBezTo>
                  <a:cubicBezTo>
                    <a:pt x="3473" y="120547"/>
                    <a:pt x="1984" y="120547"/>
                    <a:pt x="1984" y="128484"/>
                  </a:cubicBezTo>
                  <a:cubicBezTo>
                    <a:pt x="1984" y="136421"/>
                    <a:pt x="3473" y="136421"/>
                    <a:pt x="3473" y="144359"/>
                  </a:cubicBezTo>
                  <a:cubicBezTo>
                    <a:pt x="3473" y="152296"/>
                    <a:pt x="1984" y="152296"/>
                    <a:pt x="1984" y="160729"/>
                  </a:cubicBezTo>
                  <a:cubicBezTo>
                    <a:pt x="1984" y="168666"/>
                    <a:pt x="3473" y="168666"/>
                    <a:pt x="3473" y="177100"/>
                  </a:cubicBezTo>
                  <a:cubicBezTo>
                    <a:pt x="3473" y="185037"/>
                    <a:pt x="3473" y="185037"/>
                    <a:pt x="3473" y="193470"/>
                  </a:cubicBezTo>
                  <a:cubicBezTo>
                    <a:pt x="3473" y="201408"/>
                    <a:pt x="2977" y="201408"/>
                    <a:pt x="2977" y="209841"/>
                  </a:cubicBezTo>
                  <a:cubicBezTo>
                    <a:pt x="2977" y="217778"/>
                    <a:pt x="1984" y="217778"/>
                    <a:pt x="1984" y="226212"/>
                  </a:cubicBezTo>
                  <a:cubicBezTo>
                    <a:pt x="1984" y="234149"/>
                    <a:pt x="2480" y="234149"/>
                    <a:pt x="2480" y="242582"/>
                  </a:cubicBezTo>
                  <a:cubicBezTo>
                    <a:pt x="2480" y="250519"/>
                    <a:pt x="2480" y="250519"/>
                    <a:pt x="2480" y="258953"/>
                  </a:cubicBezTo>
                  <a:cubicBezTo>
                    <a:pt x="2480" y="266890"/>
                    <a:pt x="3473" y="266890"/>
                    <a:pt x="3473" y="275323"/>
                  </a:cubicBezTo>
                  <a:cubicBezTo>
                    <a:pt x="3473" y="283261"/>
                    <a:pt x="2977" y="283261"/>
                    <a:pt x="2977" y="291694"/>
                  </a:cubicBezTo>
                  <a:cubicBezTo>
                    <a:pt x="2977" y="299631"/>
                    <a:pt x="2480" y="299631"/>
                    <a:pt x="2480" y="308065"/>
                  </a:cubicBezTo>
                  <a:cubicBezTo>
                    <a:pt x="2480" y="316002"/>
                    <a:pt x="3473" y="316002"/>
                    <a:pt x="3473" y="324435"/>
                  </a:cubicBezTo>
                  <a:cubicBezTo>
                    <a:pt x="3473" y="332372"/>
                    <a:pt x="2977" y="332372"/>
                    <a:pt x="2977" y="340806"/>
                  </a:cubicBezTo>
                  <a:cubicBezTo>
                    <a:pt x="2977" y="348743"/>
                    <a:pt x="2480" y="348743"/>
                    <a:pt x="2480" y="357176"/>
                  </a:cubicBezTo>
                  <a:cubicBezTo>
                    <a:pt x="2480" y="365114"/>
                    <a:pt x="3473" y="365114"/>
                    <a:pt x="3473" y="373547"/>
                  </a:cubicBezTo>
                  <a:cubicBezTo>
                    <a:pt x="3473" y="381484"/>
                    <a:pt x="2480" y="381484"/>
                    <a:pt x="2480" y="389421"/>
                  </a:cubicBezTo>
                  <a:cubicBezTo>
                    <a:pt x="2480" y="397359"/>
                    <a:pt x="2480" y="397359"/>
                    <a:pt x="2480" y="405296"/>
                  </a:cubicBezTo>
                  <a:cubicBezTo>
                    <a:pt x="2480" y="413233"/>
                    <a:pt x="2977" y="413233"/>
                    <a:pt x="2977" y="421666"/>
                  </a:cubicBezTo>
                  <a:cubicBezTo>
                    <a:pt x="2977" y="429604"/>
                    <a:pt x="992" y="429604"/>
                    <a:pt x="992" y="437541"/>
                  </a:cubicBezTo>
                  <a:cubicBezTo>
                    <a:pt x="992" y="445478"/>
                    <a:pt x="1984" y="445478"/>
                    <a:pt x="1984" y="453911"/>
                  </a:cubicBezTo>
                  <a:cubicBezTo>
                    <a:pt x="1984" y="461849"/>
                    <a:pt x="1984" y="461849"/>
                    <a:pt x="1984" y="470282"/>
                  </a:cubicBezTo>
                  <a:cubicBezTo>
                    <a:pt x="1984" y="478219"/>
                    <a:pt x="992" y="478219"/>
                    <a:pt x="992" y="486653"/>
                  </a:cubicBezTo>
                  <a:cubicBezTo>
                    <a:pt x="992" y="494590"/>
                    <a:pt x="2480" y="494590"/>
                    <a:pt x="2480" y="503023"/>
                  </a:cubicBezTo>
                  <a:cubicBezTo>
                    <a:pt x="2480" y="510960"/>
                    <a:pt x="992" y="510960"/>
                    <a:pt x="992" y="519394"/>
                  </a:cubicBezTo>
                  <a:cubicBezTo>
                    <a:pt x="992" y="527331"/>
                    <a:pt x="1984" y="527331"/>
                    <a:pt x="1984" y="535764"/>
                  </a:cubicBezTo>
                  <a:cubicBezTo>
                    <a:pt x="1984" y="544198"/>
                    <a:pt x="1488" y="543702"/>
                    <a:pt x="1488" y="552135"/>
                  </a:cubicBezTo>
                  <a:cubicBezTo>
                    <a:pt x="1488" y="560072"/>
                    <a:pt x="0" y="560072"/>
                    <a:pt x="0" y="568506"/>
                  </a:cubicBezTo>
                  <a:cubicBezTo>
                    <a:pt x="0" y="576443"/>
                    <a:pt x="2480" y="576443"/>
                    <a:pt x="2480" y="584876"/>
                  </a:cubicBezTo>
                  <a:cubicBezTo>
                    <a:pt x="2480" y="592813"/>
                    <a:pt x="1984" y="592813"/>
                    <a:pt x="1984" y="601247"/>
                  </a:cubicBezTo>
                  <a:cubicBezTo>
                    <a:pt x="1984" y="609184"/>
                    <a:pt x="992" y="609184"/>
                    <a:pt x="992" y="617617"/>
                  </a:cubicBezTo>
                  <a:cubicBezTo>
                    <a:pt x="992" y="625554"/>
                    <a:pt x="496" y="625554"/>
                    <a:pt x="496" y="633988"/>
                  </a:cubicBezTo>
                  <a:cubicBezTo>
                    <a:pt x="496" y="641925"/>
                    <a:pt x="1488" y="641925"/>
                    <a:pt x="1488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3" name="Graphic 10">
              <a:extLst>
                <a:ext uri="{FF2B5EF4-FFF2-40B4-BE49-F238E27FC236}">
                  <a16:creationId xmlns:a16="http://schemas.microsoft.com/office/drawing/2014/main" id="{4554DE78-574E-EC7B-AEB4-507E99BE40E0}"/>
                </a:ext>
              </a:extLst>
            </p:cNvPr>
            <p:cNvGrpSpPr/>
            <p:nvPr/>
          </p:nvGrpSpPr>
          <p:grpSpPr>
            <a:xfrm>
              <a:off x="4050799" y="3794830"/>
              <a:ext cx="332083" cy="640105"/>
              <a:chOff x="4050799" y="3794830"/>
              <a:chExt cx="332083" cy="640105"/>
            </a:xfrm>
            <a:noFill/>
          </p:grpSpPr>
          <p:sp>
            <p:nvSpPr>
              <p:cNvPr id="1712" name="Freeform: Shape 1711">
                <a:extLst>
                  <a:ext uri="{FF2B5EF4-FFF2-40B4-BE49-F238E27FC236}">
                    <a16:creationId xmlns:a16="http://schemas.microsoft.com/office/drawing/2014/main" id="{D4FED5E1-45C5-0F1C-CC0B-1BA2F2E0DD4C}"/>
                  </a:ext>
                </a:extLst>
              </p:cNvPr>
              <p:cNvSpPr/>
              <p:nvPr/>
            </p:nvSpPr>
            <p:spPr>
              <a:xfrm>
                <a:off x="4050799" y="3794830"/>
                <a:ext cx="332083" cy="640105"/>
              </a:xfrm>
              <a:custGeom>
                <a:avLst/>
                <a:gdLst>
                  <a:gd name="connsiteX0" fmla="*/ 1531 w 332083"/>
                  <a:gd name="connsiteY0" fmla="*/ 302277 h 640105"/>
                  <a:gd name="connsiteX1" fmla="*/ 2027 w 332083"/>
                  <a:gd name="connsiteY1" fmla="*/ 285906 h 640105"/>
                  <a:gd name="connsiteX2" fmla="*/ 2523 w 332083"/>
                  <a:gd name="connsiteY2" fmla="*/ 269536 h 640105"/>
                  <a:gd name="connsiteX3" fmla="*/ 2027 w 332083"/>
                  <a:gd name="connsiteY3" fmla="*/ 253165 h 640105"/>
                  <a:gd name="connsiteX4" fmla="*/ 2027 w 332083"/>
                  <a:gd name="connsiteY4" fmla="*/ 236298 h 640105"/>
                  <a:gd name="connsiteX5" fmla="*/ 2027 w 332083"/>
                  <a:gd name="connsiteY5" fmla="*/ 219928 h 640105"/>
                  <a:gd name="connsiteX6" fmla="*/ 2523 w 332083"/>
                  <a:gd name="connsiteY6" fmla="*/ 203061 h 640105"/>
                  <a:gd name="connsiteX7" fmla="*/ 1531 w 332083"/>
                  <a:gd name="connsiteY7" fmla="*/ 186691 h 640105"/>
                  <a:gd name="connsiteX8" fmla="*/ 2027 w 332083"/>
                  <a:gd name="connsiteY8" fmla="*/ 169824 h 640105"/>
                  <a:gd name="connsiteX9" fmla="*/ 2027 w 332083"/>
                  <a:gd name="connsiteY9" fmla="*/ 153454 h 640105"/>
                  <a:gd name="connsiteX10" fmla="*/ 2523 w 332083"/>
                  <a:gd name="connsiteY10" fmla="*/ 136587 h 640105"/>
                  <a:gd name="connsiteX11" fmla="*/ 539 w 332083"/>
                  <a:gd name="connsiteY11" fmla="*/ 119720 h 640105"/>
                  <a:gd name="connsiteX12" fmla="*/ 3019 w 332083"/>
                  <a:gd name="connsiteY12" fmla="*/ 102854 h 640105"/>
                  <a:gd name="connsiteX13" fmla="*/ 2027 w 332083"/>
                  <a:gd name="connsiteY13" fmla="*/ 86483 h 640105"/>
                  <a:gd name="connsiteX14" fmla="*/ 1531 w 332083"/>
                  <a:gd name="connsiteY14" fmla="*/ 69616 h 640105"/>
                  <a:gd name="connsiteX15" fmla="*/ 2523 w 332083"/>
                  <a:gd name="connsiteY15" fmla="*/ 52750 h 640105"/>
                  <a:gd name="connsiteX16" fmla="*/ 3019 w 332083"/>
                  <a:gd name="connsiteY16" fmla="*/ 35883 h 640105"/>
                  <a:gd name="connsiteX17" fmla="*/ 3019 w 332083"/>
                  <a:gd name="connsiteY17" fmla="*/ 19016 h 640105"/>
                  <a:gd name="connsiteX18" fmla="*/ 2523 w 332083"/>
                  <a:gd name="connsiteY18" fmla="*/ 2646 h 640105"/>
                  <a:gd name="connsiteX19" fmla="*/ 18894 w 332083"/>
                  <a:gd name="connsiteY19" fmla="*/ 2646 h 640105"/>
                  <a:gd name="connsiteX20" fmla="*/ 35264 w 332083"/>
                  <a:gd name="connsiteY20" fmla="*/ 2646 h 640105"/>
                  <a:gd name="connsiteX21" fmla="*/ 51635 w 332083"/>
                  <a:gd name="connsiteY21" fmla="*/ 2646 h 640105"/>
                  <a:gd name="connsiteX22" fmla="*/ 68005 w 332083"/>
                  <a:gd name="connsiteY22" fmla="*/ 3142 h 640105"/>
                  <a:gd name="connsiteX23" fmla="*/ 84376 w 332083"/>
                  <a:gd name="connsiteY23" fmla="*/ 2150 h 640105"/>
                  <a:gd name="connsiteX24" fmla="*/ 100746 w 332083"/>
                  <a:gd name="connsiteY24" fmla="*/ 2150 h 640105"/>
                  <a:gd name="connsiteX25" fmla="*/ 117117 w 332083"/>
                  <a:gd name="connsiteY25" fmla="*/ 3142 h 640105"/>
                  <a:gd name="connsiteX26" fmla="*/ 133487 w 332083"/>
                  <a:gd name="connsiteY26" fmla="*/ 1654 h 640105"/>
                  <a:gd name="connsiteX27" fmla="*/ 149858 w 332083"/>
                  <a:gd name="connsiteY27" fmla="*/ 3142 h 640105"/>
                  <a:gd name="connsiteX28" fmla="*/ 166229 w 332083"/>
                  <a:gd name="connsiteY28" fmla="*/ 3142 h 640105"/>
                  <a:gd name="connsiteX29" fmla="*/ 182599 w 332083"/>
                  <a:gd name="connsiteY29" fmla="*/ 3142 h 640105"/>
                  <a:gd name="connsiteX30" fmla="*/ 198970 w 332083"/>
                  <a:gd name="connsiteY30" fmla="*/ 2646 h 640105"/>
                  <a:gd name="connsiteX31" fmla="*/ 215340 w 332083"/>
                  <a:gd name="connsiteY31" fmla="*/ 2150 h 640105"/>
                  <a:gd name="connsiteX32" fmla="*/ 231711 w 332083"/>
                  <a:gd name="connsiteY32" fmla="*/ 1158 h 640105"/>
                  <a:gd name="connsiteX33" fmla="*/ 248082 w 332083"/>
                  <a:gd name="connsiteY33" fmla="*/ 2646 h 640105"/>
                  <a:gd name="connsiteX34" fmla="*/ 264452 w 332083"/>
                  <a:gd name="connsiteY34" fmla="*/ 2646 h 640105"/>
                  <a:gd name="connsiteX35" fmla="*/ 280823 w 332083"/>
                  <a:gd name="connsiteY35" fmla="*/ 1654 h 640105"/>
                  <a:gd name="connsiteX36" fmla="*/ 297193 w 332083"/>
                  <a:gd name="connsiteY36" fmla="*/ 1654 h 640105"/>
                  <a:gd name="connsiteX37" fmla="*/ 313564 w 332083"/>
                  <a:gd name="connsiteY37" fmla="*/ 2150 h 640105"/>
                  <a:gd name="connsiteX38" fmla="*/ 329438 w 332083"/>
                  <a:gd name="connsiteY38" fmla="*/ 2646 h 640105"/>
                  <a:gd name="connsiteX39" fmla="*/ 329438 w 332083"/>
                  <a:gd name="connsiteY39" fmla="*/ 18024 h 640105"/>
                  <a:gd name="connsiteX40" fmla="*/ 330926 w 332083"/>
                  <a:gd name="connsiteY40" fmla="*/ 34395 h 640105"/>
                  <a:gd name="connsiteX41" fmla="*/ 330430 w 332083"/>
                  <a:gd name="connsiteY41" fmla="*/ 50765 h 640105"/>
                  <a:gd name="connsiteX42" fmla="*/ 329438 w 332083"/>
                  <a:gd name="connsiteY42" fmla="*/ 67136 h 640105"/>
                  <a:gd name="connsiteX43" fmla="*/ 329934 w 332083"/>
                  <a:gd name="connsiteY43" fmla="*/ 83506 h 640105"/>
                  <a:gd name="connsiteX44" fmla="*/ 329438 w 332083"/>
                  <a:gd name="connsiteY44" fmla="*/ 99877 h 640105"/>
                  <a:gd name="connsiteX45" fmla="*/ 329438 w 332083"/>
                  <a:gd name="connsiteY45" fmla="*/ 116248 h 640105"/>
                  <a:gd name="connsiteX46" fmla="*/ 329934 w 332083"/>
                  <a:gd name="connsiteY46" fmla="*/ 132618 h 640105"/>
                  <a:gd name="connsiteX47" fmla="*/ 329438 w 332083"/>
                  <a:gd name="connsiteY47" fmla="*/ 148989 h 640105"/>
                  <a:gd name="connsiteX48" fmla="*/ 331423 w 332083"/>
                  <a:gd name="connsiteY48" fmla="*/ 165359 h 640105"/>
                  <a:gd name="connsiteX49" fmla="*/ 331423 w 332083"/>
                  <a:gd name="connsiteY49" fmla="*/ 181730 h 640105"/>
                  <a:gd name="connsiteX50" fmla="*/ 329934 w 332083"/>
                  <a:gd name="connsiteY50" fmla="*/ 198101 h 640105"/>
                  <a:gd name="connsiteX51" fmla="*/ 329934 w 332083"/>
                  <a:gd name="connsiteY51" fmla="*/ 214471 h 640105"/>
                  <a:gd name="connsiteX52" fmla="*/ 329934 w 332083"/>
                  <a:gd name="connsiteY52" fmla="*/ 230842 h 640105"/>
                  <a:gd name="connsiteX53" fmla="*/ 329934 w 332083"/>
                  <a:gd name="connsiteY53" fmla="*/ 247212 h 640105"/>
                  <a:gd name="connsiteX54" fmla="*/ 329438 w 332083"/>
                  <a:gd name="connsiteY54" fmla="*/ 263583 h 640105"/>
                  <a:gd name="connsiteX55" fmla="*/ 330430 w 332083"/>
                  <a:gd name="connsiteY55" fmla="*/ 279953 h 640105"/>
                  <a:gd name="connsiteX56" fmla="*/ 329934 w 332083"/>
                  <a:gd name="connsiteY56" fmla="*/ 296324 h 640105"/>
                  <a:gd name="connsiteX57" fmla="*/ 330430 w 332083"/>
                  <a:gd name="connsiteY57" fmla="*/ 312694 h 640105"/>
                  <a:gd name="connsiteX58" fmla="*/ 328942 w 332083"/>
                  <a:gd name="connsiteY58" fmla="*/ 329065 h 640105"/>
                  <a:gd name="connsiteX59" fmla="*/ 328942 w 332083"/>
                  <a:gd name="connsiteY59" fmla="*/ 345436 h 640105"/>
                  <a:gd name="connsiteX60" fmla="*/ 328446 w 332083"/>
                  <a:gd name="connsiteY60" fmla="*/ 361806 h 640105"/>
                  <a:gd name="connsiteX61" fmla="*/ 328446 w 332083"/>
                  <a:gd name="connsiteY61" fmla="*/ 378177 h 640105"/>
                  <a:gd name="connsiteX62" fmla="*/ 330430 w 332083"/>
                  <a:gd name="connsiteY62" fmla="*/ 394547 h 640105"/>
                  <a:gd name="connsiteX63" fmla="*/ 328942 w 332083"/>
                  <a:gd name="connsiteY63" fmla="*/ 410918 h 640105"/>
                  <a:gd name="connsiteX64" fmla="*/ 329934 w 332083"/>
                  <a:gd name="connsiteY64" fmla="*/ 427288 h 640105"/>
                  <a:gd name="connsiteX65" fmla="*/ 328942 w 332083"/>
                  <a:gd name="connsiteY65" fmla="*/ 443659 h 640105"/>
                  <a:gd name="connsiteX66" fmla="*/ 329934 w 332083"/>
                  <a:gd name="connsiteY66" fmla="*/ 460030 h 640105"/>
                  <a:gd name="connsiteX67" fmla="*/ 329934 w 332083"/>
                  <a:gd name="connsiteY67" fmla="*/ 476400 h 640105"/>
                  <a:gd name="connsiteX68" fmla="*/ 329438 w 332083"/>
                  <a:gd name="connsiteY68" fmla="*/ 492771 h 640105"/>
                  <a:gd name="connsiteX69" fmla="*/ 329438 w 332083"/>
                  <a:gd name="connsiteY69" fmla="*/ 509141 h 640105"/>
                  <a:gd name="connsiteX70" fmla="*/ 329438 w 332083"/>
                  <a:gd name="connsiteY70" fmla="*/ 525512 h 640105"/>
                  <a:gd name="connsiteX71" fmla="*/ 330926 w 332083"/>
                  <a:gd name="connsiteY71" fmla="*/ 541883 h 640105"/>
                  <a:gd name="connsiteX72" fmla="*/ 329438 w 332083"/>
                  <a:gd name="connsiteY72" fmla="*/ 558253 h 640105"/>
                  <a:gd name="connsiteX73" fmla="*/ 330926 w 332083"/>
                  <a:gd name="connsiteY73" fmla="*/ 574624 h 640105"/>
                  <a:gd name="connsiteX74" fmla="*/ 330430 w 332083"/>
                  <a:gd name="connsiteY74" fmla="*/ 590994 h 640105"/>
                  <a:gd name="connsiteX75" fmla="*/ 328446 w 332083"/>
                  <a:gd name="connsiteY75" fmla="*/ 607365 h 640105"/>
                  <a:gd name="connsiteX76" fmla="*/ 330430 w 332083"/>
                  <a:gd name="connsiteY76" fmla="*/ 623735 h 640105"/>
                  <a:gd name="connsiteX77" fmla="*/ 330926 w 332083"/>
                  <a:gd name="connsiteY77" fmla="*/ 640106 h 640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32083" h="640105">
                    <a:moveTo>
                      <a:pt x="1531" y="302277"/>
                    </a:moveTo>
                    <a:cubicBezTo>
                      <a:pt x="1531" y="293844"/>
                      <a:pt x="2027" y="293844"/>
                      <a:pt x="2027" y="285906"/>
                    </a:cubicBezTo>
                    <a:cubicBezTo>
                      <a:pt x="2027" y="277473"/>
                      <a:pt x="2523" y="277473"/>
                      <a:pt x="2523" y="269536"/>
                    </a:cubicBezTo>
                    <a:cubicBezTo>
                      <a:pt x="2523" y="261102"/>
                      <a:pt x="2027" y="261102"/>
                      <a:pt x="2027" y="253165"/>
                    </a:cubicBezTo>
                    <a:cubicBezTo>
                      <a:pt x="2027" y="244732"/>
                      <a:pt x="2027" y="244732"/>
                      <a:pt x="2027" y="236298"/>
                    </a:cubicBezTo>
                    <a:cubicBezTo>
                      <a:pt x="2027" y="227865"/>
                      <a:pt x="2027" y="227865"/>
                      <a:pt x="2027" y="219928"/>
                    </a:cubicBezTo>
                    <a:cubicBezTo>
                      <a:pt x="2027" y="211494"/>
                      <a:pt x="2523" y="211494"/>
                      <a:pt x="2523" y="203061"/>
                    </a:cubicBezTo>
                    <a:cubicBezTo>
                      <a:pt x="2523" y="194628"/>
                      <a:pt x="1531" y="194628"/>
                      <a:pt x="1531" y="186691"/>
                    </a:cubicBezTo>
                    <a:cubicBezTo>
                      <a:pt x="1531" y="178257"/>
                      <a:pt x="2027" y="178257"/>
                      <a:pt x="2027" y="169824"/>
                    </a:cubicBezTo>
                    <a:cubicBezTo>
                      <a:pt x="2027" y="161391"/>
                      <a:pt x="2027" y="161391"/>
                      <a:pt x="2027" y="153454"/>
                    </a:cubicBezTo>
                    <a:cubicBezTo>
                      <a:pt x="2027" y="145020"/>
                      <a:pt x="2523" y="145020"/>
                      <a:pt x="2523" y="136587"/>
                    </a:cubicBezTo>
                    <a:cubicBezTo>
                      <a:pt x="2523" y="128153"/>
                      <a:pt x="539" y="128153"/>
                      <a:pt x="539" y="119720"/>
                    </a:cubicBezTo>
                    <a:cubicBezTo>
                      <a:pt x="539" y="111287"/>
                      <a:pt x="3019" y="111287"/>
                      <a:pt x="3019" y="102854"/>
                    </a:cubicBezTo>
                    <a:cubicBezTo>
                      <a:pt x="3019" y="94420"/>
                      <a:pt x="2027" y="94420"/>
                      <a:pt x="2027" y="86483"/>
                    </a:cubicBezTo>
                    <a:cubicBezTo>
                      <a:pt x="2027" y="78050"/>
                      <a:pt x="1531" y="78050"/>
                      <a:pt x="1531" y="69616"/>
                    </a:cubicBezTo>
                    <a:cubicBezTo>
                      <a:pt x="1531" y="61183"/>
                      <a:pt x="2523" y="61183"/>
                      <a:pt x="2523" y="52750"/>
                    </a:cubicBezTo>
                    <a:cubicBezTo>
                      <a:pt x="2523" y="44316"/>
                      <a:pt x="3019" y="44316"/>
                      <a:pt x="3019" y="35883"/>
                    </a:cubicBezTo>
                    <a:cubicBezTo>
                      <a:pt x="3019" y="27450"/>
                      <a:pt x="3019" y="27450"/>
                      <a:pt x="3019" y="19016"/>
                    </a:cubicBezTo>
                    <a:cubicBezTo>
                      <a:pt x="3019" y="10583"/>
                      <a:pt x="-3430" y="8599"/>
                      <a:pt x="2523" y="2646"/>
                    </a:cubicBezTo>
                    <a:cubicBezTo>
                      <a:pt x="8476" y="-3307"/>
                      <a:pt x="10460" y="2646"/>
                      <a:pt x="18894" y="2646"/>
                    </a:cubicBezTo>
                    <a:cubicBezTo>
                      <a:pt x="27327" y="2646"/>
                      <a:pt x="27327" y="2646"/>
                      <a:pt x="35264" y="2646"/>
                    </a:cubicBezTo>
                    <a:cubicBezTo>
                      <a:pt x="43697" y="2646"/>
                      <a:pt x="43697" y="2646"/>
                      <a:pt x="51635" y="2646"/>
                    </a:cubicBezTo>
                    <a:cubicBezTo>
                      <a:pt x="60068" y="2646"/>
                      <a:pt x="60068" y="3142"/>
                      <a:pt x="68005" y="3142"/>
                    </a:cubicBezTo>
                    <a:cubicBezTo>
                      <a:pt x="76438" y="3142"/>
                      <a:pt x="76438" y="2150"/>
                      <a:pt x="84376" y="2150"/>
                    </a:cubicBezTo>
                    <a:cubicBezTo>
                      <a:pt x="92809" y="2150"/>
                      <a:pt x="92809" y="2150"/>
                      <a:pt x="100746" y="2150"/>
                    </a:cubicBezTo>
                    <a:cubicBezTo>
                      <a:pt x="109180" y="2150"/>
                      <a:pt x="109180" y="3142"/>
                      <a:pt x="117117" y="3142"/>
                    </a:cubicBezTo>
                    <a:cubicBezTo>
                      <a:pt x="125550" y="3142"/>
                      <a:pt x="125550" y="1654"/>
                      <a:pt x="133487" y="1654"/>
                    </a:cubicBezTo>
                    <a:cubicBezTo>
                      <a:pt x="141921" y="1654"/>
                      <a:pt x="141921" y="3142"/>
                      <a:pt x="149858" y="3142"/>
                    </a:cubicBezTo>
                    <a:cubicBezTo>
                      <a:pt x="158291" y="3142"/>
                      <a:pt x="158291" y="3142"/>
                      <a:pt x="166229" y="3142"/>
                    </a:cubicBezTo>
                    <a:cubicBezTo>
                      <a:pt x="174662" y="3142"/>
                      <a:pt x="174662" y="3142"/>
                      <a:pt x="182599" y="3142"/>
                    </a:cubicBezTo>
                    <a:cubicBezTo>
                      <a:pt x="191033" y="3142"/>
                      <a:pt x="191033" y="2646"/>
                      <a:pt x="198970" y="2646"/>
                    </a:cubicBezTo>
                    <a:cubicBezTo>
                      <a:pt x="207403" y="2646"/>
                      <a:pt x="207403" y="2150"/>
                      <a:pt x="215340" y="2150"/>
                    </a:cubicBezTo>
                    <a:cubicBezTo>
                      <a:pt x="223278" y="2150"/>
                      <a:pt x="223774" y="1158"/>
                      <a:pt x="231711" y="1158"/>
                    </a:cubicBezTo>
                    <a:cubicBezTo>
                      <a:pt x="240144" y="1158"/>
                      <a:pt x="240144" y="2646"/>
                      <a:pt x="248082" y="2646"/>
                    </a:cubicBezTo>
                    <a:cubicBezTo>
                      <a:pt x="256515" y="2646"/>
                      <a:pt x="256515" y="2646"/>
                      <a:pt x="264452" y="2646"/>
                    </a:cubicBezTo>
                    <a:cubicBezTo>
                      <a:pt x="272886" y="2646"/>
                      <a:pt x="272886" y="1654"/>
                      <a:pt x="280823" y="1654"/>
                    </a:cubicBezTo>
                    <a:cubicBezTo>
                      <a:pt x="289256" y="1654"/>
                      <a:pt x="289256" y="1654"/>
                      <a:pt x="297193" y="1654"/>
                    </a:cubicBezTo>
                    <a:cubicBezTo>
                      <a:pt x="305627" y="1654"/>
                      <a:pt x="305627" y="2150"/>
                      <a:pt x="313564" y="2150"/>
                    </a:cubicBezTo>
                    <a:cubicBezTo>
                      <a:pt x="321997" y="2150"/>
                      <a:pt x="323485" y="-2811"/>
                      <a:pt x="329438" y="2646"/>
                    </a:cubicBezTo>
                    <a:cubicBezTo>
                      <a:pt x="335391" y="8103"/>
                      <a:pt x="329438" y="10087"/>
                      <a:pt x="329438" y="18024"/>
                    </a:cubicBezTo>
                    <a:cubicBezTo>
                      <a:pt x="329438" y="25961"/>
                      <a:pt x="330926" y="25961"/>
                      <a:pt x="330926" y="34395"/>
                    </a:cubicBezTo>
                    <a:cubicBezTo>
                      <a:pt x="330926" y="42828"/>
                      <a:pt x="330430" y="42332"/>
                      <a:pt x="330430" y="50765"/>
                    </a:cubicBezTo>
                    <a:cubicBezTo>
                      <a:pt x="330430" y="58703"/>
                      <a:pt x="329438" y="58703"/>
                      <a:pt x="329438" y="67136"/>
                    </a:cubicBezTo>
                    <a:cubicBezTo>
                      <a:pt x="329438" y="75073"/>
                      <a:pt x="329934" y="75073"/>
                      <a:pt x="329934" y="83506"/>
                    </a:cubicBezTo>
                    <a:cubicBezTo>
                      <a:pt x="329934" y="91444"/>
                      <a:pt x="329438" y="91444"/>
                      <a:pt x="329438" y="99877"/>
                    </a:cubicBezTo>
                    <a:cubicBezTo>
                      <a:pt x="329438" y="107814"/>
                      <a:pt x="329438" y="107814"/>
                      <a:pt x="329438" y="116248"/>
                    </a:cubicBezTo>
                    <a:cubicBezTo>
                      <a:pt x="329438" y="124185"/>
                      <a:pt x="329934" y="124185"/>
                      <a:pt x="329934" y="132618"/>
                    </a:cubicBezTo>
                    <a:cubicBezTo>
                      <a:pt x="329934" y="140555"/>
                      <a:pt x="329438" y="140555"/>
                      <a:pt x="329438" y="148989"/>
                    </a:cubicBezTo>
                    <a:cubicBezTo>
                      <a:pt x="329438" y="156926"/>
                      <a:pt x="331423" y="156926"/>
                      <a:pt x="331423" y="165359"/>
                    </a:cubicBezTo>
                    <a:cubicBezTo>
                      <a:pt x="331423" y="173297"/>
                      <a:pt x="331423" y="173297"/>
                      <a:pt x="331423" y="181730"/>
                    </a:cubicBezTo>
                    <a:cubicBezTo>
                      <a:pt x="331423" y="189667"/>
                      <a:pt x="329934" y="189667"/>
                      <a:pt x="329934" y="198101"/>
                    </a:cubicBezTo>
                    <a:cubicBezTo>
                      <a:pt x="329934" y="206038"/>
                      <a:pt x="329934" y="206038"/>
                      <a:pt x="329934" y="214471"/>
                    </a:cubicBezTo>
                    <a:cubicBezTo>
                      <a:pt x="329934" y="222408"/>
                      <a:pt x="329934" y="222408"/>
                      <a:pt x="329934" y="230842"/>
                    </a:cubicBezTo>
                    <a:cubicBezTo>
                      <a:pt x="329934" y="238779"/>
                      <a:pt x="329934" y="238779"/>
                      <a:pt x="329934" y="247212"/>
                    </a:cubicBezTo>
                    <a:cubicBezTo>
                      <a:pt x="329934" y="255150"/>
                      <a:pt x="329438" y="255150"/>
                      <a:pt x="329438" y="263583"/>
                    </a:cubicBezTo>
                    <a:cubicBezTo>
                      <a:pt x="329438" y="271520"/>
                      <a:pt x="330430" y="271520"/>
                      <a:pt x="330430" y="279953"/>
                    </a:cubicBezTo>
                    <a:cubicBezTo>
                      <a:pt x="330430" y="287891"/>
                      <a:pt x="329934" y="287891"/>
                      <a:pt x="329934" y="296324"/>
                    </a:cubicBezTo>
                    <a:cubicBezTo>
                      <a:pt x="329934" y="304261"/>
                      <a:pt x="330430" y="304261"/>
                      <a:pt x="330430" y="312694"/>
                    </a:cubicBezTo>
                    <a:cubicBezTo>
                      <a:pt x="330430" y="320632"/>
                      <a:pt x="328942" y="320632"/>
                      <a:pt x="328942" y="329065"/>
                    </a:cubicBezTo>
                    <a:cubicBezTo>
                      <a:pt x="328942" y="337002"/>
                      <a:pt x="328942" y="337002"/>
                      <a:pt x="328942" y="345436"/>
                    </a:cubicBezTo>
                    <a:cubicBezTo>
                      <a:pt x="328942" y="353373"/>
                      <a:pt x="328446" y="353373"/>
                      <a:pt x="328446" y="361806"/>
                    </a:cubicBezTo>
                    <a:cubicBezTo>
                      <a:pt x="328446" y="369743"/>
                      <a:pt x="328446" y="369743"/>
                      <a:pt x="328446" y="378177"/>
                    </a:cubicBezTo>
                    <a:cubicBezTo>
                      <a:pt x="328446" y="386114"/>
                      <a:pt x="330430" y="386114"/>
                      <a:pt x="330430" y="394547"/>
                    </a:cubicBezTo>
                    <a:cubicBezTo>
                      <a:pt x="330430" y="402484"/>
                      <a:pt x="328942" y="402484"/>
                      <a:pt x="328942" y="410918"/>
                    </a:cubicBezTo>
                    <a:cubicBezTo>
                      <a:pt x="328942" y="418855"/>
                      <a:pt x="329934" y="418855"/>
                      <a:pt x="329934" y="427288"/>
                    </a:cubicBezTo>
                    <a:cubicBezTo>
                      <a:pt x="329934" y="435226"/>
                      <a:pt x="328942" y="435226"/>
                      <a:pt x="328942" y="443659"/>
                    </a:cubicBezTo>
                    <a:cubicBezTo>
                      <a:pt x="328942" y="451596"/>
                      <a:pt x="329934" y="451596"/>
                      <a:pt x="329934" y="460030"/>
                    </a:cubicBezTo>
                    <a:cubicBezTo>
                      <a:pt x="329934" y="467967"/>
                      <a:pt x="329934" y="467967"/>
                      <a:pt x="329934" y="476400"/>
                    </a:cubicBezTo>
                    <a:cubicBezTo>
                      <a:pt x="329934" y="484337"/>
                      <a:pt x="329438" y="484337"/>
                      <a:pt x="329438" y="492771"/>
                    </a:cubicBezTo>
                    <a:cubicBezTo>
                      <a:pt x="329438" y="500708"/>
                      <a:pt x="329438" y="500708"/>
                      <a:pt x="329438" y="509141"/>
                    </a:cubicBezTo>
                    <a:cubicBezTo>
                      <a:pt x="329438" y="517079"/>
                      <a:pt x="329438" y="517079"/>
                      <a:pt x="329438" y="525512"/>
                    </a:cubicBezTo>
                    <a:cubicBezTo>
                      <a:pt x="329438" y="533449"/>
                      <a:pt x="330926" y="533449"/>
                      <a:pt x="330926" y="541883"/>
                    </a:cubicBezTo>
                    <a:cubicBezTo>
                      <a:pt x="330926" y="549820"/>
                      <a:pt x="329438" y="549820"/>
                      <a:pt x="329438" y="558253"/>
                    </a:cubicBezTo>
                    <a:cubicBezTo>
                      <a:pt x="329438" y="566190"/>
                      <a:pt x="330926" y="566190"/>
                      <a:pt x="330926" y="574624"/>
                    </a:cubicBezTo>
                    <a:cubicBezTo>
                      <a:pt x="330926" y="582561"/>
                      <a:pt x="330430" y="582561"/>
                      <a:pt x="330430" y="590994"/>
                    </a:cubicBezTo>
                    <a:cubicBezTo>
                      <a:pt x="330430" y="598932"/>
                      <a:pt x="328446" y="598932"/>
                      <a:pt x="328446" y="607365"/>
                    </a:cubicBezTo>
                    <a:cubicBezTo>
                      <a:pt x="328446" y="615302"/>
                      <a:pt x="330430" y="615302"/>
                      <a:pt x="330430" y="623735"/>
                    </a:cubicBezTo>
                    <a:cubicBezTo>
                      <a:pt x="330430" y="631673"/>
                      <a:pt x="330926" y="631673"/>
                      <a:pt x="330926" y="64010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3" name="Freeform: Shape 1712">
                <a:extLst>
                  <a:ext uri="{FF2B5EF4-FFF2-40B4-BE49-F238E27FC236}">
                    <a16:creationId xmlns:a16="http://schemas.microsoft.com/office/drawing/2014/main" id="{021649E3-F12C-086D-DD6B-E29A03CBDADE}"/>
                  </a:ext>
                </a:extLst>
              </p:cNvPr>
              <p:cNvSpPr/>
              <p:nvPr/>
            </p:nvSpPr>
            <p:spPr>
              <a:xfrm>
                <a:off x="4242328" y="4193138"/>
                <a:ext cx="126430" cy="54488"/>
              </a:xfrm>
              <a:custGeom>
                <a:avLst/>
                <a:gdLst>
                  <a:gd name="connsiteX0" fmla="*/ 0 w 126430"/>
                  <a:gd name="connsiteY0" fmla="*/ 2688 h 54488"/>
                  <a:gd name="connsiteX1" fmla="*/ 15378 w 126430"/>
                  <a:gd name="connsiteY1" fmla="*/ 1696 h 54488"/>
                  <a:gd name="connsiteX2" fmla="*/ 30757 w 126430"/>
                  <a:gd name="connsiteY2" fmla="*/ 1696 h 54488"/>
                  <a:gd name="connsiteX3" fmla="*/ 46135 w 126430"/>
                  <a:gd name="connsiteY3" fmla="*/ 3185 h 54488"/>
                  <a:gd name="connsiteX4" fmla="*/ 61514 w 126430"/>
                  <a:gd name="connsiteY4" fmla="*/ 2192 h 54488"/>
                  <a:gd name="connsiteX5" fmla="*/ 76892 w 126430"/>
                  <a:gd name="connsiteY5" fmla="*/ 2192 h 54488"/>
                  <a:gd name="connsiteX6" fmla="*/ 92270 w 126430"/>
                  <a:gd name="connsiteY6" fmla="*/ 2688 h 54488"/>
                  <a:gd name="connsiteX7" fmla="*/ 107649 w 126430"/>
                  <a:gd name="connsiteY7" fmla="*/ 3185 h 54488"/>
                  <a:gd name="connsiteX8" fmla="*/ 123027 w 126430"/>
                  <a:gd name="connsiteY8" fmla="*/ 2192 h 54488"/>
                  <a:gd name="connsiteX9" fmla="*/ 122035 w 126430"/>
                  <a:gd name="connsiteY9" fmla="*/ 18563 h 54488"/>
                  <a:gd name="connsiteX10" fmla="*/ 123027 w 126430"/>
                  <a:gd name="connsiteY10" fmla="*/ 34933 h 54488"/>
                  <a:gd name="connsiteX11" fmla="*/ 124019 w 126430"/>
                  <a:gd name="connsiteY11" fmla="*/ 52296 h 54488"/>
                  <a:gd name="connsiteX12" fmla="*/ 108145 w 126430"/>
                  <a:gd name="connsiteY12" fmla="*/ 51304 h 54488"/>
                  <a:gd name="connsiteX13" fmla="*/ 92767 w 126430"/>
                  <a:gd name="connsiteY13" fmla="*/ 52296 h 54488"/>
                  <a:gd name="connsiteX14" fmla="*/ 77388 w 126430"/>
                  <a:gd name="connsiteY14" fmla="*/ 51304 h 54488"/>
                  <a:gd name="connsiteX15" fmla="*/ 62010 w 126430"/>
                  <a:gd name="connsiteY15" fmla="*/ 50312 h 54488"/>
                  <a:gd name="connsiteX16" fmla="*/ 46631 w 126430"/>
                  <a:gd name="connsiteY16" fmla="*/ 50312 h 54488"/>
                  <a:gd name="connsiteX17" fmla="*/ 31253 w 126430"/>
                  <a:gd name="connsiteY17" fmla="*/ 51304 h 54488"/>
                  <a:gd name="connsiteX18" fmla="*/ 15875 w 126430"/>
                  <a:gd name="connsiteY18" fmla="*/ 52792 h 54488"/>
                  <a:gd name="connsiteX19" fmla="*/ 496 w 126430"/>
                  <a:gd name="connsiteY19" fmla="*/ 50312 h 5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430" h="54488">
                    <a:moveTo>
                      <a:pt x="0" y="2688"/>
                    </a:moveTo>
                    <a:cubicBezTo>
                      <a:pt x="7441" y="2688"/>
                      <a:pt x="7441" y="1696"/>
                      <a:pt x="15378" y="1696"/>
                    </a:cubicBezTo>
                    <a:cubicBezTo>
                      <a:pt x="23316" y="1696"/>
                      <a:pt x="22819" y="1696"/>
                      <a:pt x="30757" y="1696"/>
                    </a:cubicBezTo>
                    <a:cubicBezTo>
                      <a:pt x="38198" y="1696"/>
                      <a:pt x="38198" y="3185"/>
                      <a:pt x="46135" y="3185"/>
                    </a:cubicBezTo>
                    <a:cubicBezTo>
                      <a:pt x="53576" y="3185"/>
                      <a:pt x="53576" y="2192"/>
                      <a:pt x="61514" y="2192"/>
                    </a:cubicBezTo>
                    <a:cubicBezTo>
                      <a:pt x="68955" y="2192"/>
                      <a:pt x="68955" y="2192"/>
                      <a:pt x="76892" y="2192"/>
                    </a:cubicBezTo>
                    <a:cubicBezTo>
                      <a:pt x="84333" y="2192"/>
                      <a:pt x="84333" y="2688"/>
                      <a:pt x="92270" y="2688"/>
                    </a:cubicBezTo>
                    <a:cubicBezTo>
                      <a:pt x="99712" y="2688"/>
                      <a:pt x="99712" y="3185"/>
                      <a:pt x="107649" y="3185"/>
                    </a:cubicBezTo>
                    <a:cubicBezTo>
                      <a:pt x="115090" y="3185"/>
                      <a:pt x="118066" y="-3265"/>
                      <a:pt x="123027" y="2192"/>
                    </a:cubicBezTo>
                    <a:cubicBezTo>
                      <a:pt x="128484" y="8145"/>
                      <a:pt x="122035" y="10626"/>
                      <a:pt x="122035" y="18563"/>
                    </a:cubicBezTo>
                    <a:cubicBezTo>
                      <a:pt x="122035" y="26996"/>
                      <a:pt x="123027" y="26996"/>
                      <a:pt x="123027" y="34933"/>
                    </a:cubicBezTo>
                    <a:cubicBezTo>
                      <a:pt x="123027" y="42871"/>
                      <a:pt x="129972" y="46343"/>
                      <a:pt x="124019" y="52296"/>
                    </a:cubicBezTo>
                    <a:cubicBezTo>
                      <a:pt x="119059" y="57753"/>
                      <a:pt x="115586" y="51304"/>
                      <a:pt x="108145" y="51304"/>
                    </a:cubicBezTo>
                    <a:cubicBezTo>
                      <a:pt x="100704" y="51304"/>
                      <a:pt x="100704" y="52296"/>
                      <a:pt x="92767" y="52296"/>
                    </a:cubicBezTo>
                    <a:cubicBezTo>
                      <a:pt x="85325" y="52296"/>
                      <a:pt x="85325" y="51304"/>
                      <a:pt x="77388" y="51304"/>
                    </a:cubicBezTo>
                    <a:cubicBezTo>
                      <a:pt x="69947" y="51304"/>
                      <a:pt x="69947" y="50312"/>
                      <a:pt x="62010" y="50312"/>
                    </a:cubicBezTo>
                    <a:cubicBezTo>
                      <a:pt x="54569" y="50312"/>
                      <a:pt x="54569" y="50312"/>
                      <a:pt x="46631" y="50312"/>
                    </a:cubicBezTo>
                    <a:cubicBezTo>
                      <a:pt x="39190" y="50312"/>
                      <a:pt x="39190" y="51304"/>
                      <a:pt x="31253" y="51304"/>
                    </a:cubicBezTo>
                    <a:cubicBezTo>
                      <a:pt x="23812" y="51304"/>
                      <a:pt x="23812" y="52792"/>
                      <a:pt x="15875" y="52792"/>
                    </a:cubicBezTo>
                    <a:cubicBezTo>
                      <a:pt x="8433" y="52792"/>
                      <a:pt x="8433" y="50312"/>
                      <a:pt x="496" y="5031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4" name="Freeform: Shape 1713">
                <a:extLst>
                  <a:ext uri="{FF2B5EF4-FFF2-40B4-BE49-F238E27FC236}">
                    <a16:creationId xmlns:a16="http://schemas.microsoft.com/office/drawing/2014/main" id="{7A21B3C6-D1BC-CA3D-F05F-CB871FF3F972}"/>
                  </a:ext>
                </a:extLst>
              </p:cNvPr>
              <p:cNvSpPr/>
              <p:nvPr/>
            </p:nvSpPr>
            <p:spPr>
              <a:xfrm>
                <a:off x="4066267" y="3823964"/>
                <a:ext cx="300619" cy="609980"/>
              </a:xfrm>
              <a:custGeom>
                <a:avLst/>
                <a:gdLst>
                  <a:gd name="connsiteX0" fmla="*/ 2930 w 300619"/>
                  <a:gd name="connsiteY0" fmla="*/ 273143 h 609980"/>
                  <a:gd name="connsiteX1" fmla="*/ 2434 w 300619"/>
                  <a:gd name="connsiteY1" fmla="*/ 257269 h 609980"/>
                  <a:gd name="connsiteX2" fmla="*/ 3426 w 300619"/>
                  <a:gd name="connsiteY2" fmla="*/ 241394 h 609980"/>
                  <a:gd name="connsiteX3" fmla="*/ 3922 w 300619"/>
                  <a:gd name="connsiteY3" fmla="*/ 225520 h 609980"/>
                  <a:gd name="connsiteX4" fmla="*/ 2434 w 300619"/>
                  <a:gd name="connsiteY4" fmla="*/ 209645 h 609980"/>
                  <a:gd name="connsiteX5" fmla="*/ 2434 w 300619"/>
                  <a:gd name="connsiteY5" fmla="*/ 193771 h 609980"/>
                  <a:gd name="connsiteX6" fmla="*/ 3426 w 300619"/>
                  <a:gd name="connsiteY6" fmla="*/ 177896 h 609980"/>
                  <a:gd name="connsiteX7" fmla="*/ 3426 w 300619"/>
                  <a:gd name="connsiteY7" fmla="*/ 162022 h 609980"/>
                  <a:gd name="connsiteX8" fmla="*/ 1938 w 300619"/>
                  <a:gd name="connsiteY8" fmla="*/ 146147 h 609980"/>
                  <a:gd name="connsiteX9" fmla="*/ 1938 w 300619"/>
                  <a:gd name="connsiteY9" fmla="*/ 130273 h 609980"/>
                  <a:gd name="connsiteX10" fmla="*/ 2434 w 300619"/>
                  <a:gd name="connsiteY10" fmla="*/ 114398 h 609980"/>
                  <a:gd name="connsiteX11" fmla="*/ 3922 w 300619"/>
                  <a:gd name="connsiteY11" fmla="*/ 98524 h 609980"/>
                  <a:gd name="connsiteX12" fmla="*/ 2930 w 300619"/>
                  <a:gd name="connsiteY12" fmla="*/ 82649 h 609980"/>
                  <a:gd name="connsiteX13" fmla="*/ 2434 w 300619"/>
                  <a:gd name="connsiteY13" fmla="*/ 66775 h 609980"/>
                  <a:gd name="connsiteX14" fmla="*/ 3426 w 300619"/>
                  <a:gd name="connsiteY14" fmla="*/ 50900 h 609980"/>
                  <a:gd name="connsiteX15" fmla="*/ 3426 w 300619"/>
                  <a:gd name="connsiteY15" fmla="*/ 35026 h 609980"/>
                  <a:gd name="connsiteX16" fmla="*/ 1938 w 300619"/>
                  <a:gd name="connsiteY16" fmla="*/ 19151 h 609980"/>
                  <a:gd name="connsiteX17" fmla="*/ 2930 w 300619"/>
                  <a:gd name="connsiteY17" fmla="*/ 2781 h 609980"/>
                  <a:gd name="connsiteX18" fmla="*/ 19301 w 300619"/>
                  <a:gd name="connsiteY18" fmla="*/ 2285 h 609980"/>
                  <a:gd name="connsiteX19" fmla="*/ 35671 w 300619"/>
                  <a:gd name="connsiteY19" fmla="*/ 3277 h 609980"/>
                  <a:gd name="connsiteX20" fmla="*/ 52042 w 300619"/>
                  <a:gd name="connsiteY20" fmla="*/ 4269 h 609980"/>
                  <a:gd name="connsiteX21" fmla="*/ 68412 w 300619"/>
                  <a:gd name="connsiteY21" fmla="*/ 3277 h 609980"/>
                  <a:gd name="connsiteX22" fmla="*/ 84783 w 300619"/>
                  <a:gd name="connsiteY22" fmla="*/ 4269 h 609980"/>
                  <a:gd name="connsiteX23" fmla="*/ 101153 w 300619"/>
                  <a:gd name="connsiteY23" fmla="*/ 4269 h 609980"/>
                  <a:gd name="connsiteX24" fmla="*/ 117524 w 300619"/>
                  <a:gd name="connsiteY24" fmla="*/ 3277 h 609980"/>
                  <a:gd name="connsiteX25" fmla="*/ 133894 w 300619"/>
                  <a:gd name="connsiteY25" fmla="*/ 2285 h 609980"/>
                  <a:gd name="connsiteX26" fmla="*/ 150265 w 300619"/>
                  <a:gd name="connsiteY26" fmla="*/ 2781 h 609980"/>
                  <a:gd name="connsiteX27" fmla="*/ 166636 w 300619"/>
                  <a:gd name="connsiteY27" fmla="*/ 4765 h 609980"/>
                  <a:gd name="connsiteX28" fmla="*/ 183006 w 300619"/>
                  <a:gd name="connsiteY28" fmla="*/ 3277 h 609980"/>
                  <a:gd name="connsiteX29" fmla="*/ 199377 w 300619"/>
                  <a:gd name="connsiteY29" fmla="*/ 3773 h 609980"/>
                  <a:gd name="connsiteX30" fmla="*/ 215747 w 300619"/>
                  <a:gd name="connsiteY30" fmla="*/ 3773 h 609980"/>
                  <a:gd name="connsiteX31" fmla="*/ 232118 w 300619"/>
                  <a:gd name="connsiteY31" fmla="*/ 3277 h 609980"/>
                  <a:gd name="connsiteX32" fmla="*/ 248488 w 300619"/>
                  <a:gd name="connsiteY32" fmla="*/ 4269 h 609980"/>
                  <a:gd name="connsiteX33" fmla="*/ 264859 w 300619"/>
                  <a:gd name="connsiteY33" fmla="*/ 4765 h 609980"/>
                  <a:gd name="connsiteX34" fmla="*/ 281230 w 300619"/>
                  <a:gd name="connsiteY34" fmla="*/ 3277 h 609980"/>
                  <a:gd name="connsiteX35" fmla="*/ 298096 w 300619"/>
                  <a:gd name="connsiteY35" fmla="*/ 3773 h 609980"/>
                  <a:gd name="connsiteX36" fmla="*/ 297600 w 300619"/>
                  <a:gd name="connsiteY36" fmla="*/ 20640 h 609980"/>
                  <a:gd name="connsiteX37" fmla="*/ 298592 w 300619"/>
                  <a:gd name="connsiteY37" fmla="*/ 37010 h 609980"/>
                  <a:gd name="connsiteX38" fmla="*/ 296608 w 300619"/>
                  <a:gd name="connsiteY38" fmla="*/ 53381 h 609980"/>
                  <a:gd name="connsiteX39" fmla="*/ 298096 w 300619"/>
                  <a:gd name="connsiteY39" fmla="*/ 69751 h 609980"/>
                  <a:gd name="connsiteX40" fmla="*/ 298592 w 300619"/>
                  <a:gd name="connsiteY40" fmla="*/ 86122 h 609980"/>
                  <a:gd name="connsiteX41" fmla="*/ 298096 w 300619"/>
                  <a:gd name="connsiteY41" fmla="*/ 102492 h 609980"/>
                  <a:gd name="connsiteX42" fmla="*/ 298096 w 300619"/>
                  <a:gd name="connsiteY42" fmla="*/ 118863 h 609980"/>
                  <a:gd name="connsiteX43" fmla="*/ 296608 w 300619"/>
                  <a:gd name="connsiteY43" fmla="*/ 135233 h 609980"/>
                  <a:gd name="connsiteX44" fmla="*/ 296112 w 300619"/>
                  <a:gd name="connsiteY44" fmla="*/ 151604 h 609980"/>
                  <a:gd name="connsiteX45" fmla="*/ 296608 w 300619"/>
                  <a:gd name="connsiteY45" fmla="*/ 167975 h 609980"/>
                  <a:gd name="connsiteX46" fmla="*/ 297104 w 300619"/>
                  <a:gd name="connsiteY46" fmla="*/ 184345 h 609980"/>
                  <a:gd name="connsiteX47" fmla="*/ 298592 w 300619"/>
                  <a:gd name="connsiteY47" fmla="*/ 200716 h 609980"/>
                  <a:gd name="connsiteX48" fmla="*/ 298096 w 300619"/>
                  <a:gd name="connsiteY48" fmla="*/ 217086 h 609980"/>
                  <a:gd name="connsiteX49" fmla="*/ 296608 w 300619"/>
                  <a:gd name="connsiteY49" fmla="*/ 233457 h 609980"/>
                  <a:gd name="connsiteX50" fmla="*/ 298096 w 300619"/>
                  <a:gd name="connsiteY50" fmla="*/ 249828 h 609980"/>
                  <a:gd name="connsiteX51" fmla="*/ 298592 w 300619"/>
                  <a:gd name="connsiteY51" fmla="*/ 266198 h 609980"/>
                  <a:gd name="connsiteX52" fmla="*/ 298096 w 300619"/>
                  <a:gd name="connsiteY52" fmla="*/ 282569 h 609980"/>
                  <a:gd name="connsiteX53" fmla="*/ 297600 w 300619"/>
                  <a:gd name="connsiteY53" fmla="*/ 298939 h 609980"/>
                  <a:gd name="connsiteX54" fmla="*/ 298592 w 300619"/>
                  <a:gd name="connsiteY54" fmla="*/ 315310 h 609980"/>
                  <a:gd name="connsiteX55" fmla="*/ 297104 w 300619"/>
                  <a:gd name="connsiteY55" fmla="*/ 331680 h 609980"/>
                  <a:gd name="connsiteX56" fmla="*/ 296608 w 300619"/>
                  <a:gd name="connsiteY56" fmla="*/ 348051 h 609980"/>
                  <a:gd name="connsiteX57" fmla="*/ 298096 w 300619"/>
                  <a:gd name="connsiteY57" fmla="*/ 364421 h 609980"/>
                  <a:gd name="connsiteX58" fmla="*/ 298096 w 300619"/>
                  <a:gd name="connsiteY58" fmla="*/ 380792 h 609980"/>
                  <a:gd name="connsiteX59" fmla="*/ 298592 w 300619"/>
                  <a:gd name="connsiteY59" fmla="*/ 397163 h 609980"/>
                  <a:gd name="connsiteX60" fmla="*/ 296608 w 300619"/>
                  <a:gd name="connsiteY60" fmla="*/ 413533 h 609980"/>
                  <a:gd name="connsiteX61" fmla="*/ 298096 w 300619"/>
                  <a:gd name="connsiteY61" fmla="*/ 429904 h 609980"/>
                  <a:gd name="connsiteX62" fmla="*/ 299088 w 300619"/>
                  <a:gd name="connsiteY62" fmla="*/ 446274 h 609980"/>
                  <a:gd name="connsiteX63" fmla="*/ 297104 w 300619"/>
                  <a:gd name="connsiteY63" fmla="*/ 462645 h 609980"/>
                  <a:gd name="connsiteX64" fmla="*/ 298592 w 300619"/>
                  <a:gd name="connsiteY64" fmla="*/ 479016 h 609980"/>
                  <a:gd name="connsiteX65" fmla="*/ 299585 w 300619"/>
                  <a:gd name="connsiteY65" fmla="*/ 495386 h 609980"/>
                  <a:gd name="connsiteX66" fmla="*/ 298592 w 300619"/>
                  <a:gd name="connsiteY66" fmla="*/ 511757 h 609980"/>
                  <a:gd name="connsiteX67" fmla="*/ 298592 w 300619"/>
                  <a:gd name="connsiteY67" fmla="*/ 528127 h 609980"/>
                  <a:gd name="connsiteX68" fmla="*/ 299585 w 300619"/>
                  <a:gd name="connsiteY68" fmla="*/ 544498 h 609980"/>
                  <a:gd name="connsiteX69" fmla="*/ 299088 w 300619"/>
                  <a:gd name="connsiteY69" fmla="*/ 560869 h 609980"/>
                  <a:gd name="connsiteX70" fmla="*/ 297600 w 300619"/>
                  <a:gd name="connsiteY70" fmla="*/ 577239 h 609980"/>
                  <a:gd name="connsiteX71" fmla="*/ 298096 w 300619"/>
                  <a:gd name="connsiteY71" fmla="*/ 593610 h 609980"/>
                  <a:gd name="connsiteX72" fmla="*/ 297600 w 300619"/>
                  <a:gd name="connsiteY72" fmla="*/ 609980 h 609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0619" h="609980">
                    <a:moveTo>
                      <a:pt x="2930" y="273143"/>
                    </a:moveTo>
                    <a:cubicBezTo>
                      <a:pt x="2930" y="265206"/>
                      <a:pt x="2434" y="265206"/>
                      <a:pt x="2434" y="257269"/>
                    </a:cubicBezTo>
                    <a:cubicBezTo>
                      <a:pt x="2434" y="249331"/>
                      <a:pt x="3426" y="249331"/>
                      <a:pt x="3426" y="241394"/>
                    </a:cubicBezTo>
                    <a:cubicBezTo>
                      <a:pt x="3426" y="233457"/>
                      <a:pt x="3922" y="233457"/>
                      <a:pt x="3922" y="225520"/>
                    </a:cubicBezTo>
                    <a:cubicBezTo>
                      <a:pt x="3922" y="217583"/>
                      <a:pt x="2434" y="217583"/>
                      <a:pt x="2434" y="209645"/>
                    </a:cubicBezTo>
                    <a:cubicBezTo>
                      <a:pt x="2434" y="201708"/>
                      <a:pt x="2434" y="201708"/>
                      <a:pt x="2434" y="193771"/>
                    </a:cubicBezTo>
                    <a:cubicBezTo>
                      <a:pt x="2434" y="185833"/>
                      <a:pt x="3426" y="185833"/>
                      <a:pt x="3426" y="177896"/>
                    </a:cubicBezTo>
                    <a:cubicBezTo>
                      <a:pt x="3426" y="169959"/>
                      <a:pt x="3426" y="169959"/>
                      <a:pt x="3426" y="162022"/>
                    </a:cubicBezTo>
                    <a:cubicBezTo>
                      <a:pt x="3426" y="154085"/>
                      <a:pt x="1938" y="154085"/>
                      <a:pt x="1938" y="146147"/>
                    </a:cubicBezTo>
                    <a:cubicBezTo>
                      <a:pt x="1938" y="138210"/>
                      <a:pt x="1938" y="138210"/>
                      <a:pt x="1938" y="130273"/>
                    </a:cubicBezTo>
                    <a:cubicBezTo>
                      <a:pt x="1938" y="122336"/>
                      <a:pt x="2434" y="122336"/>
                      <a:pt x="2434" y="114398"/>
                    </a:cubicBezTo>
                    <a:cubicBezTo>
                      <a:pt x="2434" y="106461"/>
                      <a:pt x="3922" y="106461"/>
                      <a:pt x="3922" y="98524"/>
                    </a:cubicBezTo>
                    <a:cubicBezTo>
                      <a:pt x="3922" y="90586"/>
                      <a:pt x="2930" y="90586"/>
                      <a:pt x="2930" y="82649"/>
                    </a:cubicBezTo>
                    <a:cubicBezTo>
                      <a:pt x="2930" y="74712"/>
                      <a:pt x="2434" y="74712"/>
                      <a:pt x="2434" y="66775"/>
                    </a:cubicBezTo>
                    <a:cubicBezTo>
                      <a:pt x="2434" y="58838"/>
                      <a:pt x="3426" y="58838"/>
                      <a:pt x="3426" y="50900"/>
                    </a:cubicBezTo>
                    <a:cubicBezTo>
                      <a:pt x="3426" y="42963"/>
                      <a:pt x="3426" y="42963"/>
                      <a:pt x="3426" y="35026"/>
                    </a:cubicBezTo>
                    <a:cubicBezTo>
                      <a:pt x="3426" y="27088"/>
                      <a:pt x="1938" y="27088"/>
                      <a:pt x="1938" y="19151"/>
                    </a:cubicBezTo>
                    <a:cubicBezTo>
                      <a:pt x="1938" y="11214"/>
                      <a:pt x="-3023" y="8734"/>
                      <a:pt x="2930" y="2781"/>
                    </a:cubicBezTo>
                    <a:cubicBezTo>
                      <a:pt x="8883" y="-3172"/>
                      <a:pt x="11363" y="2285"/>
                      <a:pt x="19301" y="2285"/>
                    </a:cubicBezTo>
                    <a:cubicBezTo>
                      <a:pt x="27238" y="2285"/>
                      <a:pt x="27238" y="3277"/>
                      <a:pt x="35671" y="3277"/>
                    </a:cubicBezTo>
                    <a:cubicBezTo>
                      <a:pt x="43608" y="3277"/>
                      <a:pt x="43608" y="4269"/>
                      <a:pt x="52042" y="4269"/>
                    </a:cubicBezTo>
                    <a:cubicBezTo>
                      <a:pt x="60475" y="4269"/>
                      <a:pt x="60475" y="3277"/>
                      <a:pt x="68412" y="3277"/>
                    </a:cubicBezTo>
                    <a:cubicBezTo>
                      <a:pt x="76350" y="3277"/>
                      <a:pt x="76350" y="4269"/>
                      <a:pt x="84783" y="4269"/>
                    </a:cubicBezTo>
                    <a:cubicBezTo>
                      <a:pt x="93216" y="4269"/>
                      <a:pt x="93216" y="4269"/>
                      <a:pt x="101153" y="4269"/>
                    </a:cubicBezTo>
                    <a:cubicBezTo>
                      <a:pt x="109091" y="4269"/>
                      <a:pt x="109091" y="3277"/>
                      <a:pt x="117524" y="3277"/>
                    </a:cubicBezTo>
                    <a:cubicBezTo>
                      <a:pt x="125957" y="3277"/>
                      <a:pt x="125957" y="2285"/>
                      <a:pt x="133894" y="2285"/>
                    </a:cubicBezTo>
                    <a:cubicBezTo>
                      <a:pt x="142328" y="2285"/>
                      <a:pt x="142328" y="2781"/>
                      <a:pt x="150265" y="2781"/>
                    </a:cubicBezTo>
                    <a:cubicBezTo>
                      <a:pt x="158698" y="2781"/>
                      <a:pt x="158698" y="4765"/>
                      <a:pt x="166636" y="4765"/>
                    </a:cubicBezTo>
                    <a:cubicBezTo>
                      <a:pt x="175069" y="4765"/>
                      <a:pt x="175069" y="3277"/>
                      <a:pt x="183006" y="3277"/>
                    </a:cubicBezTo>
                    <a:cubicBezTo>
                      <a:pt x="191439" y="3277"/>
                      <a:pt x="191439" y="3773"/>
                      <a:pt x="199377" y="3773"/>
                    </a:cubicBezTo>
                    <a:cubicBezTo>
                      <a:pt x="207810" y="3773"/>
                      <a:pt x="207810" y="3773"/>
                      <a:pt x="215747" y="3773"/>
                    </a:cubicBezTo>
                    <a:cubicBezTo>
                      <a:pt x="224181" y="3773"/>
                      <a:pt x="224181" y="3277"/>
                      <a:pt x="232118" y="3277"/>
                    </a:cubicBezTo>
                    <a:cubicBezTo>
                      <a:pt x="240551" y="3277"/>
                      <a:pt x="240551" y="4269"/>
                      <a:pt x="248488" y="4269"/>
                    </a:cubicBezTo>
                    <a:cubicBezTo>
                      <a:pt x="256922" y="4269"/>
                      <a:pt x="256922" y="4765"/>
                      <a:pt x="264859" y="4765"/>
                    </a:cubicBezTo>
                    <a:cubicBezTo>
                      <a:pt x="273292" y="4765"/>
                      <a:pt x="273292" y="3277"/>
                      <a:pt x="281230" y="3277"/>
                    </a:cubicBezTo>
                    <a:cubicBezTo>
                      <a:pt x="289167" y="3277"/>
                      <a:pt x="292143" y="-2180"/>
                      <a:pt x="298096" y="3773"/>
                    </a:cubicBezTo>
                    <a:cubicBezTo>
                      <a:pt x="304049" y="9726"/>
                      <a:pt x="297600" y="12206"/>
                      <a:pt x="297600" y="20640"/>
                    </a:cubicBezTo>
                    <a:cubicBezTo>
                      <a:pt x="297600" y="29073"/>
                      <a:pt x="298592" y="29073"/>
                      <a:pt x="298592" y="37010"/>
                    </a:cubicBezTo>
                    <a:cubicBezTo>
                      <a:pt x="298592" y="45443"/>
                      <a:pt x="296608" y="45443"/>
                      <a:pt x="296608" y="53381"/>
                    </a:cubicBezTo>
                    <a:cubicBezTo>
                      <a:pt x="296608" y="61814"/>
                      <a:pt x="298096" y="61814"/>
                      <a:pt x="298096" y="69751"/>
                    </a:cubicBezTo>
                    <a:cubicBezTo>
                      <a:pt x="298096" y="78184"/>
                      <a:pt x="298592" y="78184"/>
                      <a:pt x="298592" y="86122"/>
                    </a:cubicBezTo>
                    <a:cubicBezTo>
                      <a:pt x="298592" y="94555"/>
                      <a:pt x="298096" y="94555"/>
                      <a:pt x="298096" y="102492"/>
                    </a:cubicBezTo>
                    <a:cubicBezTo>
                      <a:pt x="298096" y="110926"/>
                      <a:pt x="298096" y="110926"/>
                      <a:pt x="298096" y="118863"/>
                    </a:cubicBezTo>
                    <a:cubicBezTo>
                      <a:pt x="298096" y="127296"/>
                      <a:pt x="296608" y="127296"/>
                      <a:pt x="296608" y="135233"/>
                    </a:cubicBezTo>
                    <a:cubicBezTo>
                      <a:pt x="296608" y="143667"/>
                      <a:pt x="296112" y="143667"/>
                      <a:pt x="296112" y="151604"/>
                    </a:cubicBezTo>
                    <a:cubicBezTo>
                      <a:pt x="296112" y="160037"/>
                      <a:pt x="296608" y="160037"/>
                      <a:pt x="296608" y="167975"/>
                    </a:cubicBezTo>
                    <a:cubicBezTo>
                      <a:pt x="296608" y="176408"/>
                      <a:pt x="297104" y="176408"/>
                      <a:pt x="297104" y="184345"/>
                    </a:cubicBezTo>
                    <a:cubicBezTo>
                      <a:pt x="297104" y="192779"/>
                      <a:pt x="298592" y="192779"/>
                      <a:pt x="298592" y="200716"/>
                    </a:cubicBezTo>
                    <a:cubicBezTo>
                      <a:pt x="298592" y="209149"/>
                      <a:pt x="298096" y="209149"/>
                      <a:pt x="298096" y="217086"/>
                    </a:cubicBezTo>
                    <a:cubicBezTo>
                      <a:pt x="298096" y="225520"/>
                      <a:pt x="296608" y="225520"/>
                      <a:pt x="296608" y="233457"/>
                    </a:cubicBezTo>
                    <a:cubicBezTo>
                      <a:pt x="296608" y="241890"/>
                      <a:pt x="298096" y="241890"/>
                      <a:pt x="298096" y="249828"/>
                    </a:cubicBezTo>
                    <a:cubicBezTo>
                      <a:pt x="298096" y="258261"/>
                      <a:pt x="298592" y="258261"/>
                      <a:pt x="298592" y="266198"/>
                    </a:cubicBezTo>
                    <a:cubicBezTo>
                      <a:pt x="298592" y="274632"/>
                      <a:pt x="298096" y="274632"/>
                      <a:pt x="298096" y="282569"/>
                    </a:cubicBezTo>
                    <a:cubicBezTo>
                      <a:pt x="298096" y="291002"/>
                      <a:pt x="297600" y="291002"/>
                      <a:pt x="297600" y="298939"/>
                    </a:cubicBezTo>
                    <a:cubicBezTo>
                      <a:pt x="297600" y="307373"/>
                      <a:pt x="298592" y="307373"/>
                      <a:pt x="298592" y="315310"/>
                    </a:cubicBezTo>
                    <a:cubicBezTo>
                      <a:pt x="298592" y="323743"/>
                      <a:pt x="297104" y="323743"/>
                      <a:pt x="297104" y="331680"/>
                    </a:cubicBezTo>
                    <a:cubicBezTo>
                      <a:pt x="297104" y="340114"/>
                      <a:pt x="296608" y="340114"/>
                      <a:pt x="296608" y="348051"/>
                    </a:cubicBezTo>
                    <a:cubicBezTo>
                      <a:pt x="296608" y="356484"/>
                      <a:pt x="298096" y="356484"/>
                      <a:pt x="298096" y="364421"/>
                    </a:cubicBezTo>
                    <a:cubicBezTo>
                      <a:pt x="298096" y="372855"/>
                      <a:pt x="298096" y="372855"/>
                      <a:pt x="298096" y="380792"/>
                    </a:cubicBezTo>
                    <a:cubicBezTo>
                      <a:pt x="298096" y="389225"/>
                      <a:pt x="298592" y="389225"/>
                      <a:pt x="298592" y="397163"/>
                    </a:cubicBezTo>
                    <a:cubicBezTo>
                      <a:pt x="298592" y="405596"/>
                      <a:pt x="296608" y="405596"/>
                      <a:pt x="296608" y="413533"/>
                    </a:cubicBezTo>
                    <a:cubicBezTo>
                      <a:pt x="296608" y="421967"/>
                      <a:pt x="298096" y="421967"/>
                      <a:pt x="298096" y="429904"/>
                    </a:cubicBezTo>
                    <a:cubicBezTo>
                      <a:pt x="298096" y="438337"/>
                      <a:pt x="299088" y="438337"/>
                      <a:pt x="299088" y="446274"/>
                    </a:cubicBezTo>
                    <a:cubicBezTo>
                      <a:pt x="299088" y="454708"/>
                      <a:pt x="297104" y="454708"/>
                      <a:pt x="297104" y="462645"/>
                    </a:cubicBezTo>
                    <a:cubicBezTo>
                      <a:pt x="297104" y="471078"/>
                      <a:pt x="298592" y="471078"/>
                      <a:pt x="298592" y="479016"/>
                    </a:cubicBezTo>
                    <a:cubicBezTo>
                      <a:pt x="298592" y="487449"/>
                      <a:pt x="299585" y="487449"/>
                      <a:pt x="299585" y="495386"/>
                    </a:cubicBezTo>
                    <a:cubicBezTo>
                      <a:pt x="299585" y="503820"/>
                      <a:pt x="298592" y="503820"/>
                      <a:pt x="298592" y="511757"/>
                    </a:cubicBezTo>
                    <a:cubicBezTo>
                      <a:pt x="298592" y="520190"/>
                      <a:pt x="298592" y="520190"/>
                      <a:pt x="298592" y="528127"/>
                    </a:cubicBezTo>
                    <a:cubicBezTo>
                      <a:pt x="298592" y="536561"/>
                      <a:pt x="299585" y="536561"/>
                      <a:pt x="299585" y="544498"/>
                    </a:cubicBezTo>
                    <a:cubicBezTo>
                      <a:pt x="299585" y="552931"/>
                      <a:pt x="299088" y="552931"/>
                      <a:pt x="299088" y="560869"/>
                    </a:cubicBezTo>
                    <a:cubicBezTo>
                      <a:pt x="299088" y="569302"/>
                      <a:pt x="297600" y="569302"/>
                      <a:pt x="297600" y="577239"/>
                    </a:cubicBezTo>
                    <a:cubicBezTo>
                      <a:pt x="297600" y="585672"/>
                      <a:pt x="298096" y="585672"/>
                      <a:pt x="298096" y="593610"/>
                    </a:cubicBezTo>
                    <a:cubicBezTo>
                      <a:pt x="298096" y="601547"/>
                      <a:pt x="297600" y="602043"/>
                      <a:pt x="297600" y="6099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3F673D9D-1E24-13A5-D14A-D31A13DF655F}"/>
                </a:ext>
              </a:extLst>
            </p:cNvPr>
            <p:cNvSpPr/>
            <p:nvPr/>
          </p:nvSpPr>
          <p:spPr>
            <a:xfrm>
              <a:off x="4195201" y="3826248"/>
              <a:ext cx="2480" cy="349238"/>
            </a:xfrm>
            <a:custGeom>
              <a:avLst/>
              <a:gdLst>
                <a:gd name="connsiteX0" fmla="*/ 1984 w 2480"/>
                <a:gd name="connsiteY0" fmla="*/ 349239 h 349238"/>
                <a:gd name="connsiteX1" fmla="*/ 496 w 2480"/>
                <a:gd name="connsiteY1" fmla="*/ 333364 h 349238"/>
                <a:gd name="connsiteX2" fmla="*/ 992 w 2480"/>
                <a:gd name="connsiteY2" fmla="*/ 317490 h 349238"/>
                <a:gd name="connsiteX3" fmla="*/ 2480 w 2480"/>
                <a:gd name="connsiteY3" fmla="*/ 301615 h 349238"/>
                <a:gd name="connsiteX4" fmla="*/ 496 w 2480"/>
                <a:gd name="connsiteY4" fmla="*/ 285741 h 349238"/>
                <a:gd name="connsiteX5" fmla="*/ 1984 w 2480"/>
                <a:gd name="connsiteY5" fmla="*/ 269867 h 349238"/>
                <a:gd name="connsiteX6" fmla="*/ 496 w 2480"/>
                <a:gd name="connsiteY6" fmla="*/ 253992 h 349238"/>
                <a:gd name="connsiteX7" fmla="*/ 1984 w 2480"/>
                <a:gd name="connsiteY7" fmla="*/ 238117 h 349238"/>
                <a:gd name="connsiteX8" fmla="*/ 992 w 2480"/>
                <a:gd name="connsiteY8" fmla="*/ 222243 h 349238"/>
                <a:gd name="connsiteX9" fmla="*/ 992 w 2480"/>
                <a:gd name="connsiteY9" fmla="*/ 206369 h 349238"/>
                <a:gd name="connsiteX10" fmla="*/ 1984 w 2480"/>
                <a:gd name="connsiteY10" fmla="*/ 190494 h 349238"/>
                <a:gd name="connsiteX11" fmla="*/ 1984 w 2480"/>
                <a:gd name="connsiteY11" fmla="*/ 174619 h 349238"/>
                <a:gd name="connsiteX12" fmla="*/ 496 w 2480"/>
                <a:gd name="connsiteY12" fmla="*/ 158745 h 349238"/>
                <a:gd name="connsiteX13" fmla="*/ 1984 w 2480"/>
                <a:gd name="connsiteY13" fmla="*/ 142870 h 349238"/>
                <a:gd name="connsiteX14" fmla="*/ 1984 w 2480"/>
                <a:gd name="connsiteY14" fmla="*/ 126996 h 349238"/>
                <a:gd name="connsiteX15" fmla="*/ 992 w 2480"/>
                <a:gd name="connsiteY15" fmla="*/ 111122 h 349238"/>
                <a:gd name="connsiteX16" fmla="*/ 1984 w 2480"/>
                <a:gd name="connsiteY16" fmla="*/ 95247 h 349238"/>
                <a:gd name="connsiteX17" fmla="*/ 496 w 2480"/>
                <a:gd name="connsiteY17" fmla="*/ 79372 h 349238"/>
                <a:gd name="connsiteX18" fmla="*/ 992 w 2480"/>
                <a:gd name="connsiteY18" fmla="*/ 63498 h 349238"/>
                <a:gd name="connsiteX19" fmla="*/ 992 w 2480"/>
                <a:gd name="connsiteY19" fmla="*/ 47624 h 349238"/>
                <a:gd name="connsiteX20" fmla="*/ 496 w 2480"/>
                <a:gd name="connsiteY20" fmla="*/ 31749 h 349238"/>
                <a:gd name="connsiteX21" fmla="*/ 0 w 2480"/>
                <a:gd name="connsiteY21" fmla="*/ 15875 h 349238"/>
                <a:gd name="connsiteX22" fmla="*/ 1488 w 2480"/>
                <a:gd name="connsiteY22" fmla="*/ 0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0" h="349238">
                  <a:moveTo>
                    <a:pt x="1984" y="349239"/>
                  </a:moveTo>
                  <a:cubicBezTo>
                    <a:pt x="1984" y="341302"/>
                    <a:pt x="496" y="341302"/>
                    <a:pt x="496" y="333364"/>
                  </a:cubicBezTo>
                  <a:cubicBezTo>
                    <a:pt x="496" y="325427"/>
                    <a:pt x="992" y="325427"/>
                    <a:pt x="992" y="317490"/>
                  </a:cubicBezTo>
                  <a:cubicBezTo>
                    <a:pt x="992" y="309553"/>
                    <a:pt x="2480" y="309553"/>
                    <a:pt x="2480" y="301615"/>
                  </a:cubicBezTo>
                  <a:cubicBezTo>
                    <a:pt x="2480" y="293678"/>
                    <a:pt x="496" y="293678"/>
                    <a:pt x="496" y="285741"/>
                  </a:cubicBezTo>
                  <a:cubicBezTo>
                    <a:pt x="496" y="277804"/>
                    <a:pt x="1984" y="277804"/>
                    <a:pt x="1984" y="269867"/>
                  </a:cubicBezTo>
                  <a:cubicBezTo>
                    <a:pt x="1984" y="261929"/>
                    <a:pt x="496" y="261929"/>
                    <a:pt x="496" y="253992"/>
                  </a:cubicBezTo>
                  <a:cubicBezTo>
                    <a:pt x="496" y="246055"/>
                    <a:pt x="1984" y="246055"/>
                    <a:pt x="1984" y="238117"/>
                  </a:cubicBezTo>
                  <a:cubicBezTo>
                    <a:pt x="1984" y="230180"/>
                    <a:pt x="992" y="230180"/>
                    <a:pt x="992" y="222243"/>
                  </a:cubicBezTo>
                  <a:cubicBezTo>
                    <a:pt x="992" y="214306"/>
                    <a:pt x="992" y="214306"/>
                    <a:pt x="992" y="206369"/>
                  </a:cubicBezTo>
                  <a:cubicBezTo>
                    <a:pt x="992" y="198431"/>
                    <a:pt x="1984" y="198431"/>
                    <a:pt x="1984" y="190494"/>
                  </a:cubicBezTo>
                  <a:cubicBezTo>
                    <a:pt x="1984" y="182557"/>
                    <a:pt x="1984" y="182557"/>
                    <a:pt x="1984" y="174619"/>
                  </a:cubicBezTo>
                  <a:cubicBezTo>
                    <a:pt x="1984" y="166682"/>
                    <a:pt x="496" y="166682"/>
                    <a:pt x="496" y="158745"/>
                  </a:cubicBezTo>
                  <a:cubicBezTo>
                    <a:pt x="496" y="150808"/>
                    <a:pt x="1984" y="150808"/>
                    <a:pt x="1984" y="142870"/>
                  </a:cubicBezTo>
                  <a:cubicBezTo>
                    <a:pt x="1984" y="134933"/>
                    <a:pt x="1984" y="134933"/>
                    <a:pt x="1984" y="126996"/>
                  </a:cubicBezTo>
                  <a:cubicBezTo>
                    <a:pt x="1984" y="119059"/>
                    <a:pt x="992" y="119059"/>
                    <a:pt x="992" y="111122"/>
                  </a:cubicBezTo>
                  <a:cubicBezTo>
                    <a:pt x="992" y="103184"/>
                    <a:pt x="1984" y="103184"/>
                    <a:pt x="1984" y="95247"/>
                  </a:cubicBezTo>
                  <a:cubicBezTo>
                    <a:pt x="1984" y="87310"/>
                    <a:pt x="496" y="87310"/>
                    <a:pt x="496" y="79372"/>
                  </a:cubicBezTo>
                  <a:cubicBezTo>
                    <a:pt x="496" y="71435"/>
                    <a:pt x="992" y="71435"/>
                    <a:pt x="992" y="63498"/>
                  </a:cubicBezTo>
                  <a:cubicBezTo>
                    <a:pt x="992" y="55561"/>
                    <a:pt x="992" y="55561"/>
                    <a:pt x="992" y="47624"/>
                  </a:cubicBezTo>
                  <a:cubicBezTo>
                    <a:pt x="992" y="39686"/>
                    <a:pt x="496" y="39686"/>
                    <a:pt x="496" y="31749"/>
                  </a:cubicBezTo>
                  <a:cubicBezTo>
                    <a:pt x="496" y="23812"/>
                    <a:pt x="0" y="23812"/>
                    <a:pt x="0" y="15875"/>
                  </a:cubicBezTo>
                  <a:cubicBezTo>
                    <a:pt x="0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3F477E87-91C5-D5DF-E961-02125D5F1D68}"/>
                </a:ext>
              </a:extLst>
            </p:cNvPr>
            <p:cNvSpPr/>
            <p:nvPr/>
          </p:nvSpPr>
          <p:spPr>
            <a:xfrm>
              <a:off x="4240840" y="3825256"/>
              <a:ext cx="2480" cy="650358"/>
            </a:xfrm>
            <a:custGeom>
              <a:avLst/>
              <a:gdLst>
                <a:gd name="connsiteX0" fmla="*/ 992 w 2480"/>
                <a:gd name="connsiteY0" fmla="*/ 0 h 650358"/>
                <a:gd name="connsiteX1" fmla="*/ 1488 w 2480"/>
                <a:gd name="connsiteY1" fmla="*/ 16371 h 650358"/>
                <a:gd name="connsiteX2" fmla="*/ 1488 w 2480"/>
                <a:gd name="connsiteY2" fmla="*/ 32245 h 650358"/>
                <a:gd name="connsiteX3" fmla="*/ 0 w 2480"/>
                <a:gd name="connsiteY3" fmla="*/ 48120 h 650358"/>
                <a:gd name="connsiteX4" fmla="*/ 1984 w 2480"/>
                <a:gd name="connsiteY4" fmla="*/ 63994 h 650358"/>
                <a:gd name="connsiteX5" fmla="*/ 496 w 2480"/>
                <a:gd name="connsiteY5" fmla="*/ 79869 h 650358"/>
                <a:gd name="connsiteX6" fmla="*/ 992 w 2480"/>
                <a:gd name="connsiteY6" fmla="*/ 96239 h 650358"/>
                <a:gd name="connsiteX7" fmla="*/ 992 w 2480"/>
                <a:gd name="connsiteY7" fmla="*/ 112610 h 650358"/>
                <a:gd name="connsiteX8" fmla="*/ 992 w 2480"/>
                <a:gd name="connsiteY8" fmla="*/ 128484 h 650358"/>
                <a:gd name="connsiteX9" fmla="*/ 1984 w 2480"/>
                <a:gd name="connsiteY9" fmla="*/ 144359 h 650358"/>
                <a:gd name="connsiteX10" fmla="*/ 1984 w 2480"/>
                <a:gd name="connsiteY10" fmla="*/ 160729 h 650358"/>
                <a:gd name="connsiteX11" fmla="*/ 1488 w 2480"/>
                <a:gd name="connsiteY11" fmla="*/ 177100 h 650358"/>
                <a:gd name="connsiteX12" fmla="*/ 992 w 2480"/>
                <a:gd name="connsiteY12" fmla="*/ 193470 h 650358"/>
                <a:gd name="connsiteX13" fmla="*/ 496 w 2480"/>
                <a:gd name="connsiteY13" fmla="*/ 209841 h 650358"/>
                <a:gd name="connsiteX14" fmla="*/ 1488 w 2480"/>
                <a:gd name="connsiteY14" fmla="*/ 226212 h 650358"/>
                <a:gd name="connsiteX15" fmla="*/ 0 w 2480"/>
                <a:gd name="connsiteY15" fmla="*/ 242582 h 650358"/>
                <a:gd name="connsiteX16" fmla="*/ 1488 w 2480"/>
                <a:gd name="connsiteY16" fmla="*/ 258953 h 650358"/>
                <a:gd name="connsiteX17" fmla="*/ 1488 w 2480"/>
                <a:gd name="connsiteY17" fmla="*/ 275323 h 650358"/>
                <a:gd name="connsiteX18" fmla="*/ 2480 w 2480"/>
                <a:gd name="connsiteY18" fmla="*/ 291694 h 650358"/>
                <a:gd name="connsiteX19" fmla="*/ 0 w 2480"/>
                <a:gd name="connsiteY19" fmla="*/ 308065 h 650358"/>
                <a:gd name="connsiteX20" fmla="*/ 0 w 2480"/>
                <a:gd name="connsiteY20" fmla="*/ 324435 h 650358"/>
                <a:gd name="connsiteX21" fmla="*/ 1488 w 2480"/>
                <a:gd name="connsiteY21" fmla="*/ 340806 h 650358"/>
                <a:gd name="connsiteX22" fmla="*/ 2480 w 2480"/>
                <a:gd name="connsiteY22" fmla="*/ 357176 h 650358"/>
                <a:gd name="connsiteX23" fmla="*/ 0 w 2480"/>
                <a:gd name="connsiteY23" fmla="*/ 373547 h 650358"/>
                <a:gd name="connsiteX24" fmla="*/ 1984 w 2480"/>
                <a:gd name="connsiteY24" fmla="*/ 389421 h 650358"/>
                <a:gd name="connsiteX25" fmla="*/ 1984 w 2480"/>
                <a:gd name="connsiteY25" fmla="*/ 405296 h 650358"/>
                <a:gd name="connsiteX26" fmla="*/ 1984 w 2480"/>
                <a:gd name="connsiteY26" fmla="*/ 421666 h 650358"/>
                <a:gd name="connsiteX27" fmla="*/ 1488 w 2480"/>
                <a:gd name="connsiteY27" fmla="*/ 437541 h 650358"/>
                <a:gd name="connsiteX28" fmla="*/ 0 w 2480"/>
                <a:gd name="connsiteY28" fmla="*/ 453911 h 650358"/>
                <a:gd name="connsiteX29" fmla="*/ 1488 w 2480"/>
                <a:gd name="connsiteY29" fmla="*/ 470282 h 650358"/>
                <a:gd name="connsiteX30" fmla="*/ 496 w 2480"/>
                <a:gd name="connsiteY30" fmla="*/ 486653 h 650358"/>
                <a:gd name="connsiteX31" fmla="*/ 1488 w 2480"/>
                <a:gd name="connsiteY31" fmla="*/ 503023 h 650358"/>
                <a:gd name="connsiteX32" fmla="*/ 1488 w 2480"/>
                <a:gd name="connsiteY32" fmla="*/ 519394 h 650358"/>
                <a:gd name="connsiteX33" fmla="*/ 1488 w 2480"/>
                <a:gd name="connsiteY33" fmla="*/ 535764 h 650358"/>
                <a:gd name="connsiteX34" fmla="*/ 1984 w 2480"/>
                <a:gd name="connsiteY34" fmla="*/ 552135 h 650358"/>
                <a:gd name="connsiteX35" fmla="*/ 496 w 2480"/>
                <a:gd name="connsiteY35" fmla="*/ 568506 h 650358"/>
                <a:gd name="connsiteX36" fmla="*/ 496 w 2480"/>
                <a:gd name="connsiteY36" fmla="*/ 584876 h 650358"/>
                <a:gd name="connsiteX37" fmla="*/ 1488 w 2480"/>
                <a:gd name="connsiteY37" fmla="*/ 601247 h 650358"/>
                <a:gd name="connsiteX38" fmla="*/ 992 w 2480"/>
                <a:gd name="connsiteY38" fmla="*/ 617617 h 650358"/>
                <a:gd name="connsiteX39" fmla="*/ 2480 w 2480"/>
                <a:gd name="connsiteY39" fmla="*/ 633988 h 650358"/>
                <a:gd name="connsiteX40" fmla="*/ 1984 w 2480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0" h="650358">
                  <a:moveTo>
                    <a:pt x="992" y="0"/>
                  </a:moveTo>
                  <a:cubicBezTo>
                    <a:pt x="992" y="7937"/>
                    <a:pt x="1488" y="7937"/>
                    <a:pt x="1488" y="16371"/>
                  </a:cubicBezTo>
                  <a:cubicBezTo>
                    <a:pt x="1488" y="24308"/>
                    <a:pt x="1488" y="24308"/>
                    <a:pt x="1488" y="32245"/>
                  </a:cubicBezTo>
                  <a:cubicBezTo>
                    <a:pt x="1488" y="40182"/>
                    <a:pt x="0" y="40182"/>
                    <a:pt x="0" y="48120"/>
                  </a:cubicBezTo>
                  <a:cubicBezTo>
                    <a:pt x="0" y="56057"/>
                    <a:pt x="1984" y="56057"/>
                    <a:pt x="1984" y="63994"/>
                  </a:cubicBezTo>
                  <a:cubicBezTo>
                    <a:pt x="1984" y="71931"/>
                    <a:pt x="496" y="71931"/>
                    <a:pt x="496" y="79869"/>
                  </a:cubicBezTo>
                  <a:cubicBezTo>
                    <a:pt x="496" y="87806"/>
                    <a:pt x="992" y="87806"/>
                    <a:pt x="992" y="96239"/>
                  </a:cubicBezTo>
                  <a:cubicBezTo>
                    <a:pt x="992" y="104176"/>
                    <a:pt x="992" y="104176"/>
                    <a:pt x="992" y="112610"/>
                  </a:cubicBezTo>
                  <a:cubicBezTo>
                    <a:pt x="992" y="120547"/>
                    <a:pt x="992" y="120547"/>
                    <a:pt x="992" y="128484"/>
                  </a:cubicBezTo>
                  <a:cubicBezTo>
                    <a:pt x="992" y="136421"/>
                    <a:pt x="1984" y="136421"/>
                    <a:pt x="1984" y="144359"/>
                  </a:cubicBezTo>
                  <a:cubicBezTo>
                    <a:pt x="1984" y="152296"/>
                    <a:pt x="1984" y="152296"/>
                    <a:pt x="1984" y="160729"/>
                  </a:cubicBezTo>
                  <a:cubicBezTo>
                    <a:pt x="1984" y="168666"/>
                    <a:pt x="1488" y="168666"/>
                    <a:pt x="1488" y="177100"/>
                  </a:cubicBezTo>
                  <a:cubicBezTo>
                    <a:pt x="1488" y="185037"/>
                    <a:pt x="992" y="185037"/>
                    <a:pt x="992" y="193470"/>
                  </a:cubicBezTo>
                  <a:cubicBezTo>
                    <a:pt x="992" y="201408"/>
                    <a:pt x="496" y="201408"/>
                    <a:pt x="496" y="209841"/>
                  </a:cubicBezTo>
                  <a:cubicBezTo>
                    <a:pt x="496" y="217778"/>
                    <a:pt x="1488" y="217778"/>
                    <a:pt x="1488" y="226212"/>
                  </a:cubicBezTo>
                  <a:cubicBezTo>
                    <a:pt x="1488" y="234149"/>
                    <a:pt x="0" y="234149"/>
                    <a:pt x="0" y="242582"/>
                  </a:cubicBezTo>
                  <a:cubicBezTo>
                    <a:pt x="0" y="250519"/>
                    <a:pt x="1488" y="250519"/>
                    <a:pt x="1488" y="258953"/>
                  </a:cubicBezTo>
                  <a:cubicBezTo>
                    <a:pt x="1488" y="266890"/>
                    <a:pt x="1488" y="266890"/>
                    <a:pt x="1488" y="275323"/>
                  </a:cubicBezTo>
                  <a:cubicBezTo>
                    <a:pt x="1488" y="283261"/>
                    <a:pt x="2480" y="283261"/>
                    <a:pt x="2480" y="291694"/>
                  </a:cubicBezTo>
                  <a:cubicBezTo>
                    <a:pt x="2480" y="299631"/>
                    <a:pt x="0" y="299631"/>
                    <a:pt x="0" y="308065"/>
                  </a:cubicBezTo>
                  <a:cubicBezTo>
                    <a:pt x="0" y="316002"/>
                    <a:pt x="0" y="316002"/>
                    <a:pt x="0" y="324435"/>
                  </a:cubicBezTo>
                  <a:cubicBezTo>
                    <a:pt x="0" y="332372"/>
                    <a:pt x="1488" y="332372"/>
                    <a:pt x="1488" y="340806"/>
                  </a:cubicBezTo>
                  <a:cubicBezTo>
                    <a:pt x="1488" y="348743"/>
                    <a:pt x="2480" y="348743"/>
                    <a:pt x="2480" y="357176"/>
                  </a:cubicBezTo>
                  <a:cubicBezTo>
                    <a:pt x="2480" y="365114"/>
                    <a:pt x="0" y="365114"/>
                    <a:pt x="0" y="373547"/>
                  </a:cubicBezTo>
                  <a:cubicBezTo>
                    <a:pt x="0" y="381484"/>
                    <a:pt x="1984" y="381484"/>
                    <a:pt x="1984" y="389421"/>
                  </a:cubicBezTo>
                  <a:cubicBezTo>
                    <a:pt x="1984" y="397359"/>
                    <a:pt x="1984" y="397359"/>
                    <a:pt x="1984" y="405296"/>
                  </a:cubicBezTo>
                  <a:cubicBezTo>
                    <a:pt x="1984" y="413233"/>
                    <a:pt x="1984" y="413233"/>
                    <a:pt x="1984" y="421666"/>
                  </a:cubicBezTo>
                  <a:cubicBezTo>
                    <a:pt x="1984" y="429604"/>
                    <a:pt x="1488" y="429604"/>
                    <a:pt x="1488" y="437541"/>
                  </a:cubicBezTo>
                  <a:cubicBezTo>
                    <a:pt x="1488" y="445478"/>
                    <a:pt x="0" y="445478"/>
                    <a:pt x="0" y="453911"/>
                  </a:cubicBezTo>
                  <a:cubicBezTo>
                    <a:pt x="0" y="461849"/>
                    <a:pt x="1488" y="461849"/>
                    <a:pt x="1488" y="470282"/>
                  </a:cubicBezTo>
                  <a:cubicBezTo>
                    <a:pt x="1488" y="478219"/>
                    <a:pt x="496" y="478219"/>
                    <a:pt x="496" y="486653"/>
                  </a:cubicBezTo>
                  <a:cubicBezTo>
                    <a:pt x="496" y="494590"/>
                    <a:pt x="1488" y="494590"/>
                    <a:pt x="1488" y="503023"/>
                  </a:cubicBezTo>
                  <a:cubicBezTo>
                    <a:pt x="1488" y="510960"/>
                    <a:pt x="1488" y="510960"/>
                    <a:pt x="1488" y="519394"/>
                  </a:cubicBezTo>
                  <a:cubicBezTo>
                    <a:pt x="1488" y="527331"/>
                    <a:pt x="1488" y="527331"/>
                    <a:pt x="1488" y="535764"/>
                  </a:cubicBezTo>
                  <a:cubicBezTo>
                    <a:pt x="1488" y="544198"/>
                    <a:pt x="1984" y="543702"/>
                    <a:pt x="1984" y="552135"/>
                  </a:cubicBezTo>
                  <a:cubicBezTo>
                    <a:pt x="1984" y="560072"/>
                    <a:pt x="496" y="560072"/>
                    <a:pt x="496" y="568506"/>
                  </a:cubicBezTo>
                  <a:cubicBezTo>
                    <a:pt x="496" y="576443"/>
                    <a:pt x="496" y="576443"/>
                    <a:pt x="496" y="584876"/>
                  </a:cubicBezTo>
                  <a:cubicBezTo>
                    <a:pt x="496" y="592813"/>
                    <a:pt x="1488" y="592813"/>
                    <a:pt x="1488" y="601247"/>
                  </a:cubicBezTo>
                  <a:cubicBezTo>
                    <a:pt x="1488" y="609184"/>
                    <a:pt x="992" y="609184"/>
                    <a:pt x="992" y="617617"/>
                  </a:cubicBezTo>
                  <a:cubicBezTo>
                    <a:pt x="992" y="625554"/>
                    <a:pt x="2480" y="625554"/>
                    <a:pt x="2480" y="633988"/>
                  </a:cubicBezTo>
                  <a:cubicBezTo>
                    <a:pt x="2480" y="641925"/>
                    <a:pt x="1984" y="641925"/>
                    <a:pt x="1984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6" name="Graphic 10">
              <a:extLst>
                <a:ext uri="{FF2B5EF4-FFF2-40B4-BE49-F238E27FC236}">
                  <a16:creationId xmlns:a16="http://schemas.microsoft.com/office/drawing/2014/main" id="{F9E41357-DCFB-E7FF-F8F7-D3613DD33921}"/>
                </a:ext>
              </a:extLst>
            </p:cNvPr>
            <p:cNvGrpSpPr/>
            <p:nvPr/>
          </p:nvGrpSpPr>
          <p:grpSpPr>
            <a:xfrm>
              <a:off x="4049273" y="3087546"/>
              <a:ext cx="333745" cy="331422"/>
              <a:chOff x="4049273" y="3087546"/>
              <a:chExt cx="333745" cy="331422"/>
            </a:xfrm>
            <a:noFill/>
          </p:grpSpPr>
          <p:grpSp>
            <p:nvGrpSpPr>
              <p:cNvPr id="1705" name="Graphic 10">
                <a:extLst>
                  <a:ext uri="{FF2B5EF4-FFF2-40B4-BE49-F238E27FC236}">
                    <a16:creationId xmlns:a16="http://schemas.microsoft.com/office/drawing/2014/main" id="{752B3889-699C-4869-A012-E04B4028F54C}"/>
                  </a:ext>
                </a:extLst>
              </p:cNvPr>
              <p:cNvGrpSpPr/>
              <p:nvPr/>
            </p:nvGrpSpPr>
            <p:grpSpPr>
              <a:xfrm>
                <a:off x="4049273" y="3087546"/>
                <a:ext cx="333745" cy="331422"/>
                <a:chOff x="4049273" y="3087546"/>
                <a:chExt cx="333745" cy="331422"/>
              </a:xfrm>
              <a:noFill/>
            </p:grpSpPr>
            <p:sp>
              <p:nvSpPr>
                <p:cNvPr id="1708" name="Freeform: Shape 1707">
                  <a:extLst>
                    <a:ext uri="{FF2B5EF4-FFF2-40B4-BE49-F238E27FC236}">
                      <a16:creationId xmlns:a16="http://schemas.microsoft.com/office/drawing/2014/main" id="{7D4679DF-4770-53F1-1C09-CAEAD6D77A71}"/>
                    </a:ext>
                  </a:extLst>
                </p:cNvPr>
                <p:cNvSpPr/>
                <p:nvPr/>
              </p:nvSpPr>
              <p:spPr>
                <a:xfrm>
                  <a:off x="4049273" y="3087546"/>
                  <a:ext cx="333745" cy="331422"/>
                </a:xfrm>
                <a:custGeom>
                  <a:avLst/>
                  <a:gdLst>
                    <a:gd name="connsiteX0" fmla="*/ 4049 w 333745"/>
                    <a:gd name="connsiteY0" fmla="*/ 330430 h 331422"/>
                    <a:gd name="connsiteX1" fmla="*/ 2561 w 333745"/>
                    <a:gd name="connsiteY1" fmla="*/ 314060 h 331422"/>
                    <a:gd name="connsiteX2" fmla="*/ 4545 w 333745"/>
                    <a:gd name="connsiteY2" fmla="*/ 297689 h 331422"/>
                    <a:gd name="connsiteX3" fmla="*/ 4545 w 333745"/>
                    <a:gd name="connsiteY3" fmla="*/ 281319 h 331422"/>
                    <a:gd name="connsiteX4" fmla="*/ 3057 w 333745"/>
                    <a:gd name="connsiteY4" fmla="*/ 264948 h 331422"/>
                    <a:gd name="connsiteX5" fmla="*/ 4049 w 333745"/>
                    <a:gd name="connsiteY5" fmla="*/ 248578 h 331422"/>
                    <a:gd name="connsiteX6" fmla="*/ 4545 w 333745"/>
                    <a:gd name="connsiteY6" fmla="*/ 232207 h 331422"/>
                    <a:gd name="connsiteX7" fmla="*/ 3057 w 333745"/>
                    <a:gd name="connsiteY7" fmla="*/ 215837 h 331422"/>
                    <a:gd name="connsiteX8" fmla="*/ 3553 w 333745"/>
                    <a:gd name="connsiteY8" fmla="*/ 199466 h 331422"/>
                    <a:gd name="connsiteX9" fmla="*/ 3553 w 333745"/>
                    <a:gd name="connsiteY9" fmla="*/ 183095 h 331422"/>
                    <a:gd name="connsiteX10" fmla="*/ 4049 w 333745"/>
                    <a:gd name="connsiteY10" fmla="*/ 166725 h 331422"/>
                    <a:gd name="connsiteX11" fmla="*/ 4545 w 333745"/>
                    <a:gd name="connsiteY11" fmla="*/ 150354 h 331422"/>
                    <a:gd name="connsiteX12" fmla="*/ 2561 w 333745"/>
                    <a:gd name="connsiteY12" fmla="*/ 133984 h 331422"/>
                    <a:gd name="connsiteX13" fmla="*/ 2561 w 333745"/>
                    <a:gd name="connsiteY13" fmla="*/ 117613 h 331422"/>
                    <a:gd name="connsiteX14" fmla="*/ 4545 w 333745"/>
                    <a:gd name="connsiteY14" fmla="*/ 101242 h 331422"/>
                    <a:gd name="connsiteX15" fmla="*/ 2065 w 333745"/>
                    <a:gd name="connsiteY15" fmla="*/ 84872 h 331422"/>
                    <a:gd name="connsiteX16" fmla="*/ 3057 w 333745"/>
                    <a:gd name="connsiteY16" fmla="*/ 68501 h 331422"/>
                    <a:gd name="connsiteX17" fmla="*/ 2561 w 333745"/>
                    <a:gd name="connsiteY17" fmla="*/ 52131 h 331422"/>
                    <a:gd name="connsiteX18" fmla="*/ 3553 w 333745"/>
                    <a:gd name="connsiteY18" fmla="*/ 35760 h 331422"/>
                    <a:gd name="connsiteX19" fmla="*/ 2065 w 333745"/>
                    <a:gd name="connsiteY19" fmla="*/ 19390 h 331422"/>
                    <a:gd name="connsiteX20" fmla="*/ 2561 w 333745"/>
                    <a:gd name="connsiteY20" fmla="*/ 2523 h 331422"/>
                    <a:gd name="connsiteX21" fmla="*/ 19428 w 333745"/>
                    <a:gd name="connsiteY21" fmla="*/ 3019 h 331422"/>
                    <a:gd name="connsiteX22" fmla="*/ 35798 w 333745"/>
                    <a:gd name="connsiteY22" fmla="*/ 2027 h 331422"/>
                    <a:gd name="connsiteX23" fmla="*/ 52169 w 333745"/>
                    <a:gd name="connsiteY23" fmla="*/ 3019 h 331422"/>
                    <a:gd name="connsiteX24" fmla="*/ 68539 w 333745"/>
                    <a:gd name="connsiteY24" fmla="*/ 3019 h 331422"/>
                    <a:gd name="connsiteX25" fmla="*/ 84910 w 333745"/>
                    <a:gd name="connsiteY25" fmla="*/ 4507 h 331422"/>
                    <a:gd name="connsiteX26" fmla="*/ 101280 w 333745"/>
                    <a:gd name="connsiteY26" fmla="*/ 3019 h 331422"/>
                    <a:gd name="connsiteX27" fmla="*/ 117651 w 333745"/>
                    <a:gd name="connsiteY27" fmla="*/ 3019 h 331422"/>
                    <a:gd name="connsiteX28" fmla="*/ 134021 w 333745"/>
                    <a:gd name="connsiteY28" fmla="*/ 3515 h 331422"/>
                    <a:gd name="connsiteX29" fmla="*/ 150392 w 333745"/>
                    <a:gd name="connsiteY29" fmla="*/ 5003 h 331422"/>
                    <a:gd name="connsiteX30" fmla="*/ 166763 w 333745"/>
                    <a:gd name="connsiteY30" fmla="*/ 3515 h 331422"/>
                    <a:gd name="connsiteX31" fmla="*/ 183133 w 333745"/>
                    <a:gd name="connsiteY31" fmla="*/ 5003 h 331422"/>
                    <a:gd name="connsiteX32" fmla="*/ 199504 w 333745"/>
                    <a:gd name="connsiteY32" fmla="*/ 4011 h 331422"/>
                    <a:gd name="connsiteX33" fmla="*/ 215874 w 333745"/>
                    <a:gd name="connsiteY33" fmla="*/ 5003 h 331422"/>
                    <a:gd name="connsiteX34" fmla="*/ 232245 w 333745"/>
                    <a:gd name="connsiteY34" fmla="*/ 3019 h 331422"/>
                    <a:gd name="connsiteX35" fmla="*/ 248616 w 333745"/>
                    <a:gd name="connsiteY35" fmla="*/ 5003 h 331422"/>
                    <a:gd name="connsiteX36" fmla="*/ 264986 w 333745"/>
                    <a:gd name="connsiteY36" fmla="*/ 3019 h 331422"/>
                    <a:gd name="connsiteX37" fmla="*/ 281357 w 333745"/>
                    <a:gd name="connsiteY37" fmla="*/ 4507 h 331422"/>
                    <a:gd name="connsiteX38" fmla="*/ 297727 w 333745"/>
                    <a:gd name="connsiteY38" fmla="*/ 5003 h 331422"/>
                    <a:gd name="connsiteX39" fmla="*/ 314098 w 333745"/>
                    <a:gd name="connsiteY39" fmla="*/ 4507 h 331422"/>
                    <a:gd name="connsiteX40" fmla="*/ 330964 w 333745"/>
                    <a:gd name="connsiteY40" fmla="*/ 3515 h 331422"/>
                    <a:gd name="connsiteX41" fmla="*/ 331461 w 333745"/>
                    <a:gd name="connsiteY41" fmla="*/ 20382 h 331422"/>
                    <a:gd name="connsiteX42" fmla="*/ 329972 w 333745"/>
                    <a:gd name="connsiteY42" fmla="*/ 36752 h 331422"/>
                    <a:gd name="connsiteX43" fmla="*/ 331957 w 333745"/>
                    <a:gd name="connsiteY43" fmla="*/ 53123 h 331422"/>
                    <a:gd name="connsiteX44" fmla="*/ 330469 w 333745"/>
                    <a:gd name="connsiteY44" fmla="*/ 69494 h 331422"/>
                    <a:gd name="connsiteX45" fmla="*/ 330964 w 333745"/>
                    <a:gd name="connsiteY45" fmla="*/ 85864 h 331422"/>
                    <a:gd name="connsiteX46" fmla="*/ 331461 w 333745"/>
                    <a:gd name="connsiteY46" fmla="*/ 102235 h 331422"/>
                    <a:gd name="connsiteX47" fmla="*/ 331461 w 333745"/>
                    <a:gd name="connsiteY47" fmla="*/ 118605 h 331422"/>
                    <a:gd name="connsiteX48" fmla="*/ 331957 w 333745"/>
                    <a:gd name="connsiteY48" fmla="*/ 134976 h 331422"/>
                    <a:gd name="connsiteX49" fmla="*/ 330469 w 333745"/>
                    <a:gd name="connsiteY49" fmla="*/ 151346 h 331422"/>
                    <a:gd name="connsiteX50" fmla="*/ 330964 w 333745"/>
                    <a:gd name="connsiteY50" fmla="*/ 167717 h 331422"/>
                    <a:gd name="connsiteX51" fmla="*/ 329972 w 333745"/>
                    <a:gd name="connsiteY51" fmla="*/ 184087 h 331422"/>
                    <a:gd name="connsiteX52" fmla="*/ 330964 w 333745"/>
                    <a:gd name="connsiteY52" fmla="*/ 200458 h 331422"/>
                    <a:gd name="connsiteX53" fmla="*/ 330469 w 333745"/>
                    <a:gd name="connsiteY53" fmla="*/ 216828 h 331422"/>
                    <a:gd name="connsiteX54" fmla="*/ 331461 w 333745"/>
                    <a:gd name="connsiteY54" fmla="*/ 233199 h 331422"/>
                    <a:gd name="connsiteX55" fmla="*/ 331957 w 333745"/>
                    <a:gd name="connsiteY55" fmla="*/ 249570 h 331422"/>
                    <a:gd name="connsiteX56" fmla="*/ 331957 w 333745"/>
                    <a:gd name="connsiteY56" fmla="*/ 265940 h 331422"/>
                    <a:gd name="connsiteX57" fmla="*/ 330469 w 333745"/>
                    <a:gd name="connsiteY57" fmla="*/ 282311 h 331422"/>
                    <a:gd name="connsiteX58" fmla="*/ 331461 w 333745"/>
                    <a:gd name="connsiteY58" fmla="*/ 298681 h 331422"/>
                    <a:gd name="connsiteX59" fmla="*/ 329972 w 333745"/>
                    <a:gd name="connsiteY59" fmla="*/ 315052 h 331422"/>
                    <a:gd name="connsiteX60" fmla="*/ 330964 w 333745"/>
                    <a:gd name="connsiteY60" fmla="*/ 331423 h 331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3745" h="331422">
                      <a:moveTo>
                        <a:pt x="4049" y="330430"/>
                      </a:moveTo>
                      <a:cubicBezTo>
                        <a:pt x="4049" y="322493"/>
                        <a:pt x="2561" y="322493"/>
                        <a:pt x="2561" y="314060"/>
                      </a:cubicBezTo>
                      <a:cubicBezTo>
                        <a:pt x="2561" y="306123"/>
                        <a:pt x="4545" y="306123"/>
                        <a:pt x="4545" y="297689"/>
                      </a:cubicBezTo>
                      <a:cubicBezTo>
                        <a:pt x="4545" y="289752"/>
                        <a:pt x="4545" y="289752"/>
                        <a:pt x="4545" y="281319"/>
                      </a:cubicBezTo>
                      <a:cubicBezTo>
                        <a:pt x="4545" y="273381"/>
                        <a:pt x="3057" y="273381"/>
                        <a:pt x="3057" y="264948"/>
                      </a:cubicBezTo>
                      <a:cubicBezTo>
                        <a:pt x="3057" y="257011"/>
                        <a:pt x="4049" y="257011"/>
                        <a:pt x="4049" y="248578"/>
                      </a:cubicBezTo>
                      <a:cubicBezTo>
                        <a:pt x="4049" y="240640"/>
                        <a:pt x="4545" y="240640"/>
                        <a:pt x="4545" y="232207"/>
                      </a:cubicBezTo>
                      <a:cubicBezTo>
                        <a:pt x="4545" y="224270"/>
                        <a:pt x="3057" y="224270"/>
                        <a:pt x="3057" y="215837"/>
                      </a:cubicBezTo>
                      <a:cubicBezTo>
                        <a:pt x="3057" y="207899"/>
                        <a:pt x="3553" y="207899"/>
                        <a:pt x="3553" y="199466"/>
                      </a:cubicBezTo>
                      <a:cubicBezTo>
                        <a:pt x="3553" y="191529"/>
                        <a:pt x="3553" y="191529"/>
                        <a:pt x="3553" y="183095"/>
                      </a:cubicBezTo>
                      <a:cubicBezTo>
                        <a:pt x="3553" y="175158"/>
                        <a:pt x="4049" y="175158"/>
                        <a:pt x="4049" y="166725"/>
                      </a:cubicBezTo>
                      <a:cubicBezTo>
                        <a:pt x="4049" y="158788"/>
                        <a:pt x="4545" y="158788"/>
                        <a:pt x="4545" y="150354"/>
                      </a:cubicBezTo>
                      <a:cubicBezTo>
                        <a:pt x="4545" y="142417"/>
                        <a:pt x="2561" y="142417"/>
                        <a:pt x="2561" y="133984"/>
                      </a:cubicBezTo>
                      <a:cubicBezTo>
                        <a:pt x="2561" y="126046"/>
                        <a:pt x="2561" y="126046"/>
                        <a:pt x="2561" y="117613"/>
                      </a:cubicBezTo>
                      <a:cubicBezTo>
                        <a:pt x="2561" y="109676"/>
                        <a:pt x="4545" y="109676"/>
                        <a:pt x="4545" y="101242"/>
                      </a:cubicBezTo>
                      <a:cubicBezTo>
                        <a:pt x="4545" y="93305"/>
                        <a:pt x="2065" y="93305"/>
                        <a:pt x="2065" y="84872"/>
                      </a:cubicBezTo>
                      <a:cubicBezTo>
                        <a:pt x="2065" y="76935"/>
                        <a:pt x="3057" y="76935"/>
                        <a:pt x="3057" y="68501"/>
                      </a:cubicBezTo>
                      <a:cubicBezTo>
                        <a:pt x="3057" y="60564"/>
                        <a:pt x="2561" y="60564"/>
                        <a:pt x="2561" y="52131"/>
                      </a:cubicBezTo>
                      <a:cubicBezTo>
                        <a:pt x="2561" y="44193"/>
                        <a:pt x="3553" y="44193"/>
                        <a:pt x="3553" y="35760"/>
                      </a:cubicBezTo>
                      <a:cubicBezTo>
                        <a:pt x="3553" y="27823"/>
                        <a:pt x="2065" y="27823"/>
                        <a:pt x="2065" y="19390"/>
                      </a:cubicBezTo>
                      <a:cubicBezTo>
                        <a:pt x="2065" y="10956"/>
                        <a:pt x="-2896" y="8476"/>
                        <a:pt x="2561" y="2523"/>
                      </a:cubicBezTo>
                      <a:cubicBezTo>
                        <a:pt x="8514" y="-3430"/>
                        <a:pt x="11490" y="3019"/>
                        <a:pt x="19428" y="3019"/>
                      </a:cubicBezTo>
                      <a:cubicBezTo>
                        <a:pt x="27861" y="3019"/>
                        <a:pt x="27861" y="2027"/>
                        <a:pt x="35798" y="2027"/>
                      </a:cubicBezTo>
                      <a:cubicBezTo>
                        <a:pt x="44231" y="2027"/>
                        <a:pt x="44231" y="3019"/>
                        <a:pt x="52169" y="3019"/>
                      </a:cubicBezTo>
                      <a:cubicBezTo>
                        <a:pt x="60602" y="3019"/>
                        <a:pt x="60602" y="3019"/>
                        <a:pt x="68539" y="3019"/>
                      </a:cubicBezTo>
                      <a:cubicBezTo>
                        <a:pt x="76973" y="3019"/>
                        <a:pt x="76973" y="4507"/>
                        <a:pt x="84910" y="4507"/>
                      </a:cubicBezTo>
                      <a:cubicBezTo>
                        <a:pt x="93343" y="4507"/>
                        <a:pt x="93343" y="3019"/>
                        <a:pt x="101280" y="3019"/>
                      </a:cubicBezTo>
                      <a:cubicBezTo>
                        <a:pt x="109714" y="3019"/>
                        <a:pt x="109714" y="3019"/>
                        <a:pt x="117651" y="3019"/>
                      </a:cubicBezTo>
                      <a:cubicBezTo>
                        <a:pt x="126084" y="3019"/>
                        <a:pt x="126084" y="3515"/>
                        <a:pt x="134021" y="3515"/>
                      </a:cubicBezTo>
                      <a:cubicBezTo>
                        <a:pt x="142455" y="3515"/>
                        <a:pt x="142455" y="5003"/>
                        <a:pt x="150392" y="5003"/>
                      </a:cubicBezTo>
                      <a:cubicBezTo>
                        <a:pt x="158825" y="5003"/>
                        <a:pt x="158825" y="3515"/>
                        <a:pt x="166763" y="3515"/>
                      </a:cubicBezTo>
                      <a:cubicBezTo>
                        <a:pt x="175196" y="3515"/>
                        <a:pt x="175196" y="5003"/>
                        <a:pt x="183133" y="5003"/>
                      </a:cubicBezTo>
                      <a:cubicBezTo>
                        <a:pt x="191567" y="5003"/>
                        <a:pt x="191567" y="4011"/>
                        <a:pt x="199504" y="4011"/>
                      </a:cubicBezTo>
                      <a:cubicBezTo>
                        <a:pt x="207937" y="4011"/>
                        <a:pt x="207937" y="5003"/>
                        <a:pt x="215874" y="5003"/>
                      </a:cubicBezTo>
                      <a:cubicBezTo>
                        <a:pt x="224308" y="5003"/>
                        <a:pt x="224308" y="3019"/>
                        <a:pt x="232245" y="3019"/>
                      </a:cubicBezTo>
                      <a:cubicBezTo>
                        <a:pt x="240678" y="3019"/>
                        <a:pt x="240678" y="5003"/>
                        <a:pt x="248616" y="5003"/>
                      </a:cubicBezTo>
                      <a:cubicBezTo>
                        <a:pt x="257049" y="5003"/>
                        <a:pt x="257049" y="3019"/>
                        <a:pt x="264986" y="3019"/>
                      </a:cubicBezTo>
                      <a:cubicBezTo>
                        <a:pt x="273420" y="3019"/>
                        <a:pt x="273420" y="4507"/>
                        <a:pt x="281357" y="4507"/>
                      </a:cubicBezTo>
                      <a:cubicBezTo>
                        <a:pt x="289790" y="4507"/>
                        <a:pt x="289790" y="5003"/>
                        <a:pt x="297727" y="5003"/>
                      </a:cubicBezTo>
                      <a:cubicBezTo>
                        <a:pt x="306161" y="5003"/>
                        <a:pt x="306161" y="4507"/>
                        <a:pt x="314098" y="4507"/>
                      </a:cubicBezTo>
                      <a:cubicBezTo>
                        <a:pt x="322035" y="4507"/>
                        <a:pt x="325011" y="-2438"/>
                        <a:pt x="330964" y="3515"/>
                      </a:cubicBezTo>
                      <a:cubicBezTo>
                        <a:pt x="336917" y="8972"/>
                        <a:pt x="331461" y="11948"/>
                        <a:pt x="331461" y="20382"/>
                      </a:cubicBezTo>
                      <a:cubicBezTo>
                        <a:pt x="331461" y="28319"/>
                        <a:pt x="329972" y="28319"/>
                        <a:pt x="329972" y="36752"/>
                      </a:cubicBezTo>
                      <a:cubicBezTo>
                        <a:pt x="329972" y="44690"/>
                        <a:pt x="331957" y="44690"/>
                        <a:pt x="331957" y="53123"/>
                      </a:cubicBezTo>
                      <a:cubicBezTo>
                        <a:pt x="331957" y="61060"/>
                        <a:pt x="330469" y="61060"/>
                        <a:pt x="330469" y="69494"/>
                      </a:cubicBezTo>
                      <a:cubicBezTo>
                        <a:pt x="330469" y="77431"/>
                        <a:pt x="330964" y="77431"/>
                        <a:pt x="330964" y="85864"/>
                      </a:cubicBezTo>
                      <a:cubicBezTo>
                        <a:pt x="330964" y="93801"/>
                        <a:pt x="331461" y="93801"/>
                        <a:pt x="331461" y="102235"/>
                      </a:cubicBezTo>
                      <a:cubicBezTo>
                        <a:pt x="331461" y="110172"/>
                        <a:pt x="331461" y="110172"/>
                        <a:pt x="331461" y="118605"/>
                      </a:cubicBezTo>
                      <a:cubicBezTo>
                        <a:pt x="331461" y="126543"/>
                        <a:pt x="331957" y="126543"/>
                        <a:pt x="331957" y="134976"/>
                      </a:cubicBezTo>
                      <a:cubicBezTo>
                        <a:pt x="331957" y="142913"/>
                        <a:pt x="330469" y="142913"/>
                        <a:pt x="330469" y="151346"/>
                      </a:cubicBezTo>
                      <a:cubicBezTo>
                        <a:pt x="330469" y="159284"/>
                        <a:pt x="330964" y="159284"/>
                        <a:pt x="330964" y="167717"/>
                      </a:cubicBezTo>
                      <a:cubicBezTo>
                        <a:pt x="330964" y="175654"/>
                        <a:pt x="329972" y="175654"/>
                        <a:pt x="329972" y="184087"/>
                      </a:cubicBezTo>
                      <a:cubicBezTo>
                        <a:pt x="329972" y="192025"/>
                        <a:pt x="330964" y="192025"/>
                        <a:pt x="330964" y="200458"/>
                      </a:cubicBezTo>
                      <a:cubicBezTo>
                        <a:pt x="330964" y="208395"/>
                        <a:pt x="330469" y="208395"/>
                        <a:pt x="330469" y="216828"/>
                      </a:cubicBezTo>
                      <a:cubicBezTo>
                        <a:pt x="330469" y="224766"/>
                        <a:pt x="331461" y="224766"/>
                        <a:pt x="331461" y="233199"/>
                      </a:cubicBezTo>
                      <a:cubicBezTo>
                        <a:pt x="331461" y="241136"/>
                        <a:pt x="331957" y="241136"/>
                        <a:pt x="331957" y="249570"/>
                      </a:cubicBezTo>
                      <a:cubicBezTo>
                        <a:pt x="331957" y="257507"/>
                        <a:pt x="331957" y="257507"/>
                        <a:pt x="331957" y="265940"/>
                      </a:cubicBezTo>
                      <a:cubicBezTo>
                        <a:pt x="331957" y="273877"/>
                        <a:pt x="330469" y="273877"/>
                        <a:pt x="330469" y="282311"/>
                      </a:cubicBezTo>
                      <a:cubicBezTo>
                        <a:pt x="330469" y="290248"/>
                        <a:pt x="331461" y="290248"/>
                        <a:pt x="331461" y="298681"/>
                      </a:cubicBezTo>
                      <a:cubicBezTo>
                        <a:pt x="331461" y="306619"/>
                        <a:pt x="329972" y="306619"/>
                        <a:pt x="329972" y="315052"/>
                      </a:cubicBezTo>
                      <a:cubicBezTo>
                        <a:pt x="329972" y="322989"/>
                        <a:pt x="330964" y="322989"/>
                        <a:pt x="330964" y="33142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9" name="Freeform: Shape 1708">
                  <a:extLst>
                    <a:ext uri="{FF2B5EF4-FFF2-40B4-BE49-F238E27FC236}">
                      <a16:creationId xmlns:a16="http://schemas.microsoft.com/office/drawing/2014/main" id="{447BD561-E864-695D-6537-7F50C882EF3B}"/>
                    </a:ext>
                  </a:extLst>
                </p:cNvPr>
                <p:cNvSpPr/>
                <p:nvPr/>
              </p:nvSpPr>
              <p:spPr>
                <a:xfrm>
                  <a:off x="4242328" y="3226258"/>
                  <a:ext cx="125808" cy="39352"/>
                </a:xfrm>
                <a:custGeom>
                  <a:avLst/>
                  <a:gdLst>
                    <a:gd name="connsiteX0" fmla="*/ 496 w 125808"/>
                    <a:gd name="connsiteY0" fmla="*/ 1224 h 39352"/>
                    <a:gd name="connsiteX1" fmla="*/ 15875 w 125808"/>
                    <a:gd name="connsiteY1" fmla="*/ 1720 h 39352"/>
                    <a:gd name="connsiteX2" fmla="*/ 31253 w 125808"/>
                    <a:gd name="connsiteY2" fmla="*/ 2712 h 39352"/>
                    <a:gd name="connsiteX3" fmla="*/ 46631 w 125808"/>
                    <a:gd name="connsiteY3" fmla="*/ 2216 h 39352"/>
                    <a:gd name="connsiteX4" fmla="*/ 62010 w 125808"/>
                    <a:gd name="connsiteY4" fmla="*/ 1224 h 39352"/>
                    <a:gd name="connsiteX5" fmla="*/ 77388 w 125808"/>
                    <a:gd name="connsiteY5" fmla="*/ 3208 h 39352"/>
                    <a:gd name="connsiteX6" fmla="*/ 92767 w 125808"/>
                    <a:gd name="connsiteY6" fmla="*/ 2216 h 39352"/>
                    <a:gd name="connsiteX7" fmla="*/ 108145 w 125808"/>
                    <a:gd name="connsiteY7" fmla="*/ 1720 h 39352"/>
                    <a:gd name="connsiteX8" fmla="*/ 122531 w 125808"/>
                    <a:gd name="connsiteY8" fmla="*/ 2712 h 39352"/>
                    <a:gd name="connsiteX9" fmla="*/ 123524 w 125808"/>
                    <a:gd name="connsiteY9" fmla="*/ 19579 h 39352"/>
                    <a:gd name="connsiteX10" fmla="*/ 123027 w 125808"/>
                    <a:gd name="connsiteY10" fmla="*/ 36942 h 39352"/>
                    <a:gd name="connsiteX11" fmla="*/ 107649 w 125808"/>
                    <a:gd name="connsiteY11" fmla="*/ 35949 h 39352"/>
                    <a:gd name="connsiteX12" fmla="*/ 92270 w 125808"/>
                    <a:gd name="connsiteY12" fmla="*/ 37934 h 39352"/>
                    <a:gd name="connsiteX13" fmla="*/ 76892 w 125808"/>
                    <a:gd name="connsiteY13" fmla="*/ 35949 h 39352"/>
                    <a:gd name="connsiteX14" fmla="*/ 61514 w 125808"/>
                    <a:gd name="connsiteY14" fmla="*/ 36942 h 39352"/>
                    <a:gd name="connsiteX15" fmla="*/ 46135 w 125808"/>
                    <a:gd name="connsiteY15" fmla="*/ 35949 h 39352"/>
                    <a:gd name="connsiteX16" fmla="*/ 30757 w 125808"/>
                    <a:gd name="connsiteY16" fmla="*/ 37934 h 39352"/>
                    <a:gd name="connsiteX17" fmla="*/ 15378 w 125808"/>
                    <a:gd name="connsiteY17" fmla="*/ 35949 h 39352"/>
                    <a:gd name="connsiteX18" fmla="*/ 0 w 125808"/>
                    <a:gd name="connsiteY18" fmla="*/ 37438 h 3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808" h="39352">
                      <a:moveTo>
                        <a:pt x="496" y="1224"/>
                      </a:moveTo>
                      <a:cubicBezTo>
                        <a:pt x="7937" y="1224"/>
                        <a:pt x="7937" y="1720"/>
                        <a:pt x="15875" y="1720"/>
                      </a:cubicBezTo>
                      <a:cubicBezTo>
                        <a:pt x="23812" y="1720"/>
                        <a:pt x="23316" y="2712"/>
                        <a:pt x="31253" y="2712"/>
                      </a:cubicBezTo>
                      <a:cubicBezTo>
                        <a:pt x="38694" y="2712"/>
                        <a:pt x="38694" y="2216"/>
                        <a:pt x="46631" y="2216"/>
                      </a:cubicBezTo>
                      <a:cubicBezTo>
                        <a:pt x="54073" y="2216"/>
                        <a:pt x="54073" y="1224"/>
                        <a:pt x="62010" y="1224"/>
                      </a:cubicBezTo>
                      <a:cubicBezTo>
                        <a:pt x="69451" y="1224"/>
                        <a:pt x="69451" y="3208"/>
                        <a:pt x="77388" y="3208"/>
                      </a:cubicBezTo>
                      <a:cubicBezTo>
                        <a:pt x="84829" y="3208"/>
                        <a:pt x="84829" y="2216"/>
                        <a:pt x="92767" y="2216"/>
                      </a:cubicBezTo>
                      <a:cubicBezTo>
                        <a:pt x="100208" y="2216"/>
                        <a:pt x="100208" y="1720"/>
                        <a:pt x="108145" y="1720"/>
                      </a:cubicBezTo>
                      <a:cubicBezTo>
                        <a:pt x="116082" y="1720"/>
                        <a:pt x="117571" y="-2745"/>
                        <a:pt x="122531" y="2712"/>
                      </a:cubicBezTo>
                      <a:cubicBezTo>
                        <a:pt x="128484" y="9161"/>
                        <a:pt x="123524" y="10649"/>
                        <a:pt x="123524" y="19579"/>
                      </a:cubicBezTo>
                      <a:cubicBezTo>
                        <a:pt x="123524" y="28508"/>
                        <a:pt x="128980" y="30493"/>
                        <a:pt x="123027" y="36942"/>
                      </a:cubicBezTo>
                      <a:cubicBezTo>
                        <a:pt x="118066" y="42894"/>
                        <a:pt x="115586" y="35949"/>
                        <a:pt x="107649" y="35949"/>
                      </a:cubicBezTo>
                      <a:cubicBezTo>
                        <a:pt x="99712" y="35949"/>
                        <a:pt x="100208" y="37934"/>
                        <a:pt x="92270" y="37934"/>
                      </a:cubicBezTo>
                      <a:cubicBezTo>
                        <a:pt x="84829" y="37934"/>
                        <a:pt x="84829" y="35949"/>
                        <a:pt x="76892" y="35949"/>
                      </a:cubicBezTo>
                      <a:cubicBezTo>
                        <a:pt x="69451" y="35949"/>
                        <a:pt x="69451" y="36942"/>
                        <a:pt x="61514" y="36942"/>
                      </a:cubicBezTo>
                      <a:cubicBezTo>
                        <a:pt x="54073" y="36942"/>
                        <a:pt x="54073" y="35949"/>
                        <a:pt x="46135" y="35949"/>
                      </a:cubicBezTo>
                      <a:cubicBezTo>
                        <a:pt x="38694" y="35949"/>
                        <a:pt x="38694" y="37934"/>
                        <a:pt x="30757" y="37934"/>
                      </a:cubicBezTo>
                      <a:cubicBezTo>
                        <a:pt x="23316" y="37934"/>
                        <a:pt x="23316" y="35949"/>
                        <a:pt x="15378" y="35949"/>
                      </a:cubicBezTo>
                      <a:cubicBezTo>
                        <a:pt x="7441" y="35949"/>
                        <a:pt x="7937" y="37438"/>
                        <a:pt x="0" y="37438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0" name="Freeform: Shape 1709">
                  <a:extLst>
                    <a:ext uri="{FF2B5EF4-FFF2-40B4-BE49-F238E27FC236}">
                      <a16:creationId xmlns:a16="http://schemas.microsoft.com/office/drawing/2014/main" id="{21B1D293-27F3-A88A-0572-E0B1CC8D0C44}"/>
                    </a:ext>
                  </a:extLst>
                </p:cNvPr>
                <p:cNvSpPr/>
                <p:nvPr/>
              </p:nvSpPr>
              <p:spPr>
                <a:xfrm>
                  <a:off x="4067268" y="3226190"/>
                  <a:ext cx="130413" cy="39533"/>
                </a:xfrm>
                <a:custGeom>
                  <a:avLst/>
                  <a:gdLst>
                    <a:gd name="connsiteX0" fmla="*/ 130413 w 130413"/>
                    <a:gd name="connsiteY0" fmla="*/ 37506 h 39533"/>
                    <a:gd name="connsiteX1" fmla="*/ 114539 w 130413"/>
                    <a:gd name="connsiteY1" fmla="*/ 37010 h 39533"/>
                    <a:gd name="connsiteX2" fmla="*/ 98664 w 130413"/>
                    <a:gd name="connsiteY2" fmla="*/ 37010 h 39533"/>
                    <a:gd name="connsiteX3" fmla="*/ 82790 w 130413"/>
                    <a:gd name="connsiteY3" fmla="*/ 38002 h 39533"/>
                    <a:gd name="connsiteX4" fmla="*/ 66915 w 130413"/>
                    <a:gd name="connsiteY4" fmla="*/ 37506 h 39533"/>
                    <a:gd name="connsiteX5" fmla="*/ 51041 w 130413"/>
                    <a:gd name="connsiteY5" fmla="*/ 36514 h 39533"/>
                    <a:gd name="connsiteX6" fmla="*/ 35166 w 130413"/>
                    <a:gd name="connsiteY6" fmla="*/ 37010 h 39533"/>
                    <a:gd name="connsiteX7" fmla="*/ 19292 w 130413"/>
                    <a:gd name="connsiteY7" fmla="*/ 36514 h 39533"/>
                    <a:gd name="connsiteX8" fmla="*/ 3418 w 130413"/>
                    <a:gd name="connsiteY8" fmla="*/ 37010 h 39533"/>
                    <a:gd name="connsiteX9" fmla="*/ 2425 w 130413"/>
                    <a:gd name="connsiteY9" fmla="*/ 20144 h 39533"/>
                    <a:gd name="connsiteX10" fmla="*/ 2425 w 130413"/>
                    <a:gd name="connsiteY10" fmla="*/ 2781 h 39533"/>
                    <a:gd name="connsiteX11" fmla="*/ 18796 w 130413"/>
                    <a:gd name="connsiteY11" fmla="*/ 2285 h 39533"/>
                    <a:gd name="connsiteX12" fmla="*/ 34670 w 130413"/>
                    <a:gd name="connsiteY12" fmla="*/ 2781 h 39533"/>
                    <a:gd name="connsiteX13" fmla="*/ 50545 w 130413"/>
                    <a:gd name="connsiteY13" fmla="*/ 4269 h 39533"/>
                    <a:gd name="connsiteX14" fmla="*/ 66419 w 130413"/>
                    <a:gd name="connsiteY14" fmla="*/ 4269 h 39533"/>
                    <a:gd name="connsiteX15" fmla="*/ 82294 w 130413"/>
                    <a:gd name="connsiteY15" fmla="*/ 3773 h 39533"/>
                    <a:gd name="connsiteX16" fmla="*/ 98168 w 130413"/>
                    <a:gd name="connsiteY16" fmla="*/ 3773 h 39533"/>
                    <a:gd name="connsiteX17" fmla="*/ 114043 w 130413"/>
                    <a:gd name="connsiteY17" fmla="*/ 3277 h 39533"/>
                    <a:gd name="connsiteX18" fmla="*/ 129917 w 130413"/>
                    <a:gd name="connsiteY18" fmla="*/ 2781 h 3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413" h="39533">
                      <a:moveTo>
                        <a:pt x="130413" y="37506"/>
                      </a:moveTo>
                      <a:cubicBezTo>
                        <a:pt x="122476" y="37506"/>
                        <a:pt x="122476" y="37010"/>
                        <a:pt x="114539" y="37010"/>
                      </a:cubicBezTo>
                      <a:cubicBezTo>
                        <a:pt x="106602" y="37010"/>
                        <a:pt x="106602" y="37010"/>
                        <a:pt x="98664" y="37010"/>
                      </a:cubicBezTo>
                      <a:cubicBezTo>
                        <a:pt x="90727" y="37010"/>
                        <a:pt x="90727" y="38002"/>
                        <a:pt x="82790" y="38002"/>
                      </a:cubicBezTo>
                      <a:cubicBezTo>
                        <a:pt x="74853" y="38002"/>
                        <a:pt x="74853" y="37506"/>
                        <a:pt x="66915" y="37506"/>
                      </a:cubicBezTo>
                      <a:cubicBezTo>
                        <a:pt x="58978" y="37506"/>
                        <a:pt x="58978" y="36514"/>
                        <a:pt x="51041" y="36514"/>
                      </a:cubicBezTo>
                      <a:cubicBezTo>
                        <a:pt x="43104" y="36514"/>
                        <a:pt x="43104" y="37010"/>
                        <a:pt x="35166" y="37010"/>
                      </a:cubicBezTo>
                      <a:cubicBezTo>
                        <a:pt x="27229" y="37010"/>
                        <a:pt x="27229" y="36514"/>
                        <a:pt x="19292" y="36514"/>
                      </a:cubicBezTo>
                      <a:cubicBezTo>
                        <a:pt x="11355" y="36514"/>
                        <a:pt x="8874" y="42963"/>
                        <a:pt x="3418" y="37010"/>
                      </a:cubicBezTo>
                      <a:cubicBezTo>
                        <a:pt x="-2535" y="30561"/>
                        <a:pt x="2425" y="28577"/>
                        <a:pt x="2425" y="20144"/>
                      </a:cubicBezTo>
                      <a:cubicBezTo>
                        <a:pt x="2425" y="11710"/>
                        <a:pt x="-3032" y="8734"/>
                        <a:pt x="2425" y="2781"/>
                      </a:cubicBezTo>
                      <a:cubicBezTo>
                        <a:pt x="7882" y="-3172"/>
                        <a:pt x="10362" y="2285"/>
                        <a:pt x="18796" y="2285"/>
                      </a:cubicBezTo>
                      <a:cubicBezTo>
                        <a:pt x="27229" y="2285"/>
                        <a:pt x="26733" y="2781"/>
                        <a:pt x="34670" y="2781"/>
                      </a:cubicBezTo>
                      <a:cubicBezTo>
                        <a:pt x="42608" y="2781"/>
                        <a:pt x="42608" y="4269"/>
                        <a:pt x="50545" y="4269"/>
                      </a:cubicBezTo>
                      <a:cubicBezTo>
                        <a:pt x="58482" y="4269"/>
                        <a:pt x="58482" y="4269"/>
                        <a:pt x="66419" y="4269"/>
                      </a:cubicBezTo>
                      <a:cubicBezTo>
                        <a:pt x="74357" y="4269"/>
                        <a:pt x="74357" y="3773"/>
                        <a:pt x="82294" y="3773"/>
                      </a:cubicBezTo>
                      <a:cubicBezTo>
                        <a:pt x="90231" y="3773"/>
                        <a:pt x="90231" y="3773"/>
                        <a:pt x="98168" y="3773"/>
                      </a:cubicBezTo>
                      <a:cubicBezTo>
                        <a:pt x="106105" y="3773"/>
                        <a:pt x="106105" y="3277"/>
                        <a:pt x="114043" y="3277"/>
                      </a:cubicBezTo>
                      <a:cubicBezTo>
                        <a:pt x="121980" y="3277"/>
                        <a:pt x="121980" y="2781"/>
                        <a:pt x="129917" y="278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1" name="Freeform: Shape 1710">
                  <a:extLst>
                    <a:ext uri="{FF2B5EF4-FFF2-40B4-BE49-F238E27FC236}">
                      <a16:creationId xmlns:a16="http://schemas.microsoft.com/office/drawing/2014/main" id="{1C7C34F1-41B4-24A2-2C87-1BB39054A184}"/>
                    </a:ext>
                  </a:extLst>
                </p:cNvPr>
                <p:cNvSpPr/>
                <p:nvPr/>
              </p:nvSpPr>
              <p:spPr>
                <a:xfrm>
                  <a:off x="4067764" y="3120006"/>
                  <a:ext cx="300002" cy="297970"/>
                </a:xfrm>
                <a:custGeom>
                  <a:avLst/>
                  <a:gdLst>
                    <a:gd name="connsiteX0" fmla="*/ 1929 w 300002"/>
                    <a:gd name="connsiteY0" fmla="*/ 297971 h 297970"/>
                    <a:gd name="connsiteX1" fmla="*/ 1929 w 300002"/>
                    <a:gd name="connsiteY1" fmla="*/ 281600 h 297970"/>
                    <a:gd name="connsiteX2" fmla="*/ 1929 w 300002"/>
                    <a:gd name="connsiteY2" fmla="*/ 265230 h 297970"/>
                    <a:gd name="connsiteX3" fmla="*/ 2425 w 300002"/>
                    <a:gd name="connsiteY3" fmla="*/ 248859 h 297970"/>
                    <a:gd name="connsiteX4" fmla="*/ 1929 w 300002"/>
                    <a:gd name="connsiteY4" fmla="*/ 232488 h 297970"/>
                    <a:gd name="connsiteX5" fmla="*/ 1929 w 300002"/>
                    <a:gd name="connsiteY5" fmla="*/ 216118 h 297970"/>
                    <a:gd name="connsiteX6" fmla="*/ 1929 w 300002"/>
                    <a:gd name="connsiteY6" fmla="*/ 199747 h 297970"/>
                    <a:gd name="connsiteX7" fmla="*/ 1433 w 300002"/>
                    <a:gd name="connsiteY7" fmla="*/ 183377 h 297970"/>
                    <a:gd name="connsiteX8" fmla="*/ 1929 w 300002"/>
                    <a:gd name="connsiteY8" fmla="*/ 167006 h 297970"/>
                    <a:gd name="connsiteX9" fmla="*/ 2921 w 300002"/>
                    <a:gd name="connsiteY9" fmla="*/ 150635 h 297970"/>
                    <a:gd name="connsiteX10" fmla="*/ 937 w 300002"/>
                    <a:gd name="connsiteY10" fmla="*/ 134265 h 297970"/>
                    <a:gd name="connsiteX11" fmla="*/ 1929 w 300002"/>
                    <a:gd name="connsiteY11" fmla="*/ 117894 h 297970"/>
                    <a:gd name="connsiteX12" fmla="*/ 1929 w 300002"/>
                    <a:gd name="connsiteY12" fmla="*/ 101524 h 297970"/>
                    <a:gd name="connsiteX13" fmla="*/ 2425 w 300002"/>
                    <a:gd name="connsiteY13" fmla="*/ 85153 h 297970"/>
                    <a:gd name="connsiteX14" fmla="*/ 937 w 300002"/>
                    <a:gd name="connsiteY14" fmla="*/ 68783 h 297970"/>
                    <a:gd name="connsiteX15" fmla="*/ 2425 w 300002"/>
                    <a:gd name="connsiteY15" fmla="*/ 52412 h 297970"/>
                    <a:gd name="connsiteX16" fmla="*/ 3417 w 300002"/>
                    <a:gd name="connsiteY16" fmla="*/ 36042 h 297970"/>
                    <a:gd name="connsiteX17" fmla="*/ 2425 w 300002"/>
                    <a:gd name="connsiteY17" fmla="*/ 19671 h 297970"/>
                    <a:gd name="connsiteX18" fmla="*/ 2425 w 300002"/>
                    <a:gd name="connsiteY18" fmla="*/ 3796 h 297970"/>
                    <a:gd name="connsiteX19" fmla="*/ 18300 w 300002"/>
                    <a:gd name="connsiteY19" fmla="*/ 3300 h 297970"/>
                    <a:gd name="connsiteX20" fmla="*/ 34670 w 300002"/>
                    <a:gd name="connsiteY20" fmla="*/ 3300 h 297970"/>
                    <a:gd name="connsiteX21" fmla="*/ 51041 w 300002"/>
                    <a:gd name="connsiteY21" fmla="*/ 1812 h 297970"/>
                    <a:gd name="connsiteX22" fmla="*/ 67412 w 300002"/>
                    <a:gd name="connsiteY22" fmla="*/ 4292 h 297970"/>
                    <a:gd name="connsiteX23" fmla="*/ 83782 w 300002"/>
                    <a:gd name="connsiteY23" fmla="*/ 2804 h 297970"/>
                    <a:gd name="connsiteX24" fmla="*/ 100153 w 300002"/>
                    <a:gd name="connsiteY24" fmla="*/ 3796 h 297970"/>
                    <a:gd name="connsiteX25" fmla="*/ 116523 w 300002"/>
                    <a:gd name="connsiteY25" fmla="*/ 2308 h 297970"/>
                    <a:gd name="connsiteX26" fmla="*/ 132894 w 300002"/>
                    <a:gd name="connsiteY26" fmla="*/ 4292 h 297970"/>
                    <a:gd name="connsiteX27" fmla="*/ 149264 w 300002"/>
                    <a:gd name="connsiteY27" fmla="*/ 3300 h 297970"/>
                    <a:gd name="connsiteX28" fmla="*/ 165635 w 300002"/>
                    <a:gd name="connsiteY28" fmla="*/ 3796 h 297970"/>
                    <a:gd name="connsiteX29" fmla="*/ 182005 w 300002"/>
                    <a:gd name="connsiteY29" fmla="*/ 2308 h 297970"/>
                    <a:gd name="connsiteX30" fmla="*/ 198376 w 300002"/>
                    <a:gd name="connsiteY30" fmla="*/ 2308 h 297970"/>
                    <a:gd name="connsiteX31" fmla="*/ 214747 w 300002"/>
                    <a:gd name="connsiteY31" fmla="*/ 2804 h 297970"/>
                    <a:gd name="connsiteX32" fmla="*/ 231117 w 300002"/>
                    <a:gd name="connsiteY32" fmla="*/ 1812 h 297970"/>
                    <a:gd name="connsiteX33" fmla="*/ 247488 w 300002"/>
                    <a:gd name="connsiteY33" fmla="*/ 1812 h 297970"/>
                    <a:gd name="connsiteX34" fmla="*/ 263858 w 300002"/>
                    <a:gd name="connsiteY34" fmla="*/ 3300 h 297970"/>
                    <a:gd name="connsiteX35" fmla="*/ 280229 w 300002"/>
                    <a:gd name="connsiteY35" fmla="*/ 3796 h 297970"/>
                    <a:gd name="connsiteX36" fmla="*/ 297592 w 300002"/>
                    <a:gd name="connsiteY36" fmla="*/ 2308 h 297970"/>
                    <a:gd name="connsiteX37" fmla="*/ 296599 w 300002"/>
                    <a:gd name="connsiteY37" fmla="*/ 19671 h 297970"/>
                    <a:gd name="connsiteX38" fmla="*/ 296103 w 300002"/>
                    <a:gd name="connsiteY38" fmla="*/ 36042 h 297970"/>
                    <a:gd name="connsiteX39" fmla="*/ 296599 w 300002"/>
                    <a:gd name="connsiteY39" fmla="*/ 52412 h 297970"/>
                    <a:gd name="connsiteX40" fmla="*/ 297592 w 300002"/>
                    <a:gd name="connsiteY40" fmla="*/ 68783 h 297970"/>
                    <a:gd name="connsiteX41" fmla="*/ 298088 w 300002"/>
                    <a:gd name="connsiteY41" fmla="*/ 85153 h 297970"/>
                    <a:gd name="connsiteX42" fmla="*/ 296103 w 300002"/>
                    <a:gd name="connsiteY42" fmla="*/ 101524 h 297970"/>
                    <a:gd name="connsiteX43" fmla="*/ 295607 w 300002"/>
                    <a:gd name="connsiteY43" fmla="*/ 117894 h 297970"/>
                    <a:gd name="connsiteX44" fmla="*/ 298088 w 300002"/>
                    <a:gd name="connsiteY44" fmla="*/ 134265 h 297970"/>
                    <a:gd name="connsiteX45" fmla="*/ 298088 w 300002"/>
                    <a:gd name="connsiteY45" fmla="*/ 150635 h 297970"/>
                    <a:gd name="connsiteX46" fmla="*/ 296599 w 300002"/>
                    <a:gd name="connsiteY46" fmla="*/ 167006 h 297970"/>
                    <a:gd name="connsiteX47" fmla="*/ 296599 w 300002"/>
                    <a:gd name="connsiteY47" fmla="*/ 183377 h 297970"/>
                    <a:gd name="connsiteX48" fmla="*/ 296103 w 300002"/>
                    <a:gd name="connsiteY48" fmla="*/ 199747 h 297970"/>
                    <a:gd name="connsiteX49" fmla="*/ 298088 w 300002"/>
                    <a:gd name="connsiteY49" fmla="*/ 216118 h 297970"/>
                    <a:gd name="connsiteX50" fmla="*/ 296599 w 300002"/>
                    <a:gd name="connsiteY50" fmla="*/ 232488 h 297970"/>
                    <a:gd name="connsiteX51" fmla="*/ 296599 w 300002"/>
                    <a:gd name="connsiteY51" fmla="*/ 248859 h 297970"/>
                    <a:gd name="connsiteX52" fmla="*/ 298088 w 300002"/>
                    <a:gd name="connsiteY52" fmla="*/ 265230 h 297970"/>
                    <a:gd name="connsiteX53" fmla="*/ 298088 w 300002"/>
                    <a:gd name="connsiteY53" fmla="*/ 281600 h 297970"/>
                    <a:gd name="connsiteX54" fmla="*/ 298088 w 300002"/>
                    <a:gd name="connsiteY54" fmla="*/ 297971 h 297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00002" h="297970">
                      <a:moveTo>
                        <a:pt x="1929" y="297971"/>
                      </a:moveTo>
                      <a:cubicBezTo>
                        <a:pt x="1929" y="289537"/>
                        <a:pt x="1929" y="289537"/>
                        <a:pt x="1929" y="281600"/>
                      </a:cubicBezTo>
                      <a:cubicBezTo>
                        <a:pt x="1929" y="273167"/>
                        <a:pt x="1929" y="273167"/>
                        <a:pt x="1929" y="265230"/>
                      </a:cubicBezTo>
                      <a:cubicBezTo>
                        <a:pt x="1929" y="256796"/>
                        <a:pt x="2425" y="256796"/>
                        <a:pt x="2425" y="248859"/>
                      </a:cubicBezTo>
                      <a:cubicBezTo>
                        <a:pt x="2425" y="240426"/>
                        <a:pt x="1929" y="240426"/>
                        <a:pt x="1929" y="232488"/>
                      </a:cubicBezTo>
                      <a:cubicBezTo>
                        <a:pt x="1929" y="224055"/>
                        <a:pt x="1929" y="224055"/>
                        <a:pt x="1929" y="216118"/>
                      </a:cubicBezTo>
                      <a:cubicBezTo>
                        <a:pt x="1929" y="207684"/>
                        <a:pt x="1929" y="207684"/>
                        <a:pt x="1929" y="199747"/>
                      </a:cubicBezTo>
                      <a:cubicBezTo>
                        <a:pt x="1929" y="191314"/>
                        <a:pt x="1433" y="191314"/>
                        <a:pt x="1433" y="183377"/>
                      </a:cubicBezTo>
                      <a:cubicBezTo>
                        <a:pt x="1433" y="174943"/>
                        <a:pt x="1929" y="174943"/>
                        <a:pt x="1929" y="167006"/>
                      </a:cubicBezTo>
                      <a:cubicBezTo>
                        <a:pt x="1929" y="158573"/>
                        <a:pt x="2921" y="158573"/>
                        <a:pt x="2921" y="150635"/>
                      </a:cubicBezTo>
                      <a:cubicBezTo>
                        <a:pt x="2921" y="142202"/>
                        <a:pt x="937" y="142202"/>
                        <a:pt x="937" y="134265"/>
                      </a:cubicBezTo>
                      <a:cubicBezTo>
                        <a:pt x="937" y="125832"/>
                        <a:pt x="1929" y="125832"/>
                        <a:pt x="1929" y="117894"/>
                      </a:cubicBezTo>
                      <a:cubicBezTo>
                        <a:pt x="1929" y="109461"/>
                        <a:pt x="1929" y="109461"/>
                        <a:pt x="1929" y="101524"/>
                      </a:cubicBezTo>
                      <a:cubicBezTo>
                        <a:pt x="1929" y="93091"/>
                        <a:pt x="2425" y="93091"/>
                        <a:pt x="2425" y="85153"/>
                      </a:cubicBezTo>
                      <a:cubicBezTo>
                        <a:pt x="2425" y="76720"/>
                        <a:pt x="937" y="76720"/>
                        <a:pt x="937" y="68783"/>
                      </a:cubicBezTo>
                      <a:cubicBezTo>
                        <a:pt x="937" y="60349"/>
                        <a:pt x="2425" y="60349"/>
                        <a:pt x="2425" y="52412"/>
                      </a:cubicBezTo>
                      <a:cubicBezTo>
                        <a:pt x="2425" y="43979"/>
                        <a:pt x="3417" y="43979"/>
                        <a:pt x="3417" y="36042"/>
                      </a:cubicBezTo>
                      <a:cubicBezTo>
                        <a:pt x="3417" y="27608"/>
                        <a:pt x="2425" y="27608"/>
                        <a:pt x="2425" y="19671"/>
                      </a:cubicBezTo>
                      <a:cubicBezTo>
                        <a:pt x="2425" y="11238"/>
                        <a:pt x="-3032" y="9253"/>
                        <a:pt x="2425" y="3796"/>
                      </a:cubicBezTo>
                      <a:cubicBezTo>
                        <a:pt x="8378" y="-2157"/>
                        <a:pt x="10363" y="3300"/>
                        <a:pt x="18300" y="3300"/>
                      </a:cubicBezTo>
                      <a:cubicBezTo>
                        <a:pt x="26237" y="3300"/>
                        <a:pt x="26237" y="3300"/>
                        <a:pt x="34670" y="3300"/>
                      </a:cubicBezTo>
                      <a:cubicBezTo>
                        <a:pt x="42608" y="3300"/>
                        <a:pt x="42608" y="1812"/>
                        <a:pt x="51041" y="1812"/>
                      </a:cubicBezTo>
                      <a:cubicBezTo>
                        <a:pt x="59474" y="1812"/>
                        <a:pt x="59474" y="4292"/>
                        <a:pt x="67412" y="4292"/>
                      </a:cubicBezTo>
                      <a:cubicBezTo>
                        <a:pt x="75349" y="4292"/>
                        <a:pt x="75349" y="2804"/>
                        <a:pt x="83782" y="2804"/>
                      </a:cubicBezTo>
                      <a:cubicBezTo>
                        <a:pt x="92216" y="2804"/>
                        <a:pt x="92216" y="3796"/>
                        <a:pt x="100153" y="3796"/>
                      </a:cubicBezTo>
                      <a:cubicBezTo>
                        <a:pt x="108090" y="3796"/>
                        <a:pt x="108090" y="2308"/>
                        <a:pt x="116523" y="2308"/>
                      </a:cubicBezTo>
                      <a:cubicBezTo>
                        <a:pt x="124957" y="2308"/>
                        <a:pt x="124957" y="4292"/>
                        <a:pt x="132894" y="4292"/>
                      </a:cubicBezTo>
                      <a:cubicBezTo>
                        <a:pt x="141327" y="4292"/>
                        <a:pt x="141327" y="3300"/>
                        <a:pt x="149264" y="3300"/>
                      </a:cubicBezTo>
                      <a:cubicBezTo>
                        <a:pt x="157698" y="3300"/>
                        <a:pt x="157698" y="3796"/>
                        <a:pt x="165635" y="3796"/>
                      </a:cubicBezTo>
                      <a:cubicBezTo>
                        <a:pt x="174068" y="3796"/>
                        <a:pt x="174068" y="2308"/>
                        <a:pt x="182005" y="2308"/>
                      </a:cubicBezTo>
                      <a:cubicBezTo>
                        <a:pt x="190439" y="2308"/>
                        <a:pt x="190439" y="2308"/>
                        <a:pt x="198376" y="2308"/>
                      </a:cubicBezTo>
                      <a:cubicBezTo>
                        <a:pt x="206809" y="2308"/>
                        <a:pt x="206809" y="2804"/>
                        <a:pt x="214747" y="2804"/>
                      </a:cubicBezTo>
                      <a:cubicBezTo>
                        <a:pt x="223180" y="2804"/>
                        <a:pt x="223180" y="1812"/>
                        <a:pt x="231117" y="1812"/>
                      </a:cubicBezTo>
                      <a:cubicBezTo>
                        <a:pt x="239550" y="1812"/>
                        <a:pt x="239550" y="1812"/>
                        <a:pt x="247488" y="1812"/>
                      </a:cubicBezTo>
                      <a:cubicBezTo>
                        <a:pt x="255921" y="1812"/>
                        <a:pt x="255921" y="3300"/>
                        <a:pt x="263858" y="3300"/>
                      </a:cubicBezTo>
                      <a:cubicBezTo>
                        <a:pt x="272292" y="3300"/>
                        <a:pt x="272292" y="3796"/>
                        <a:pt x="280229" y="3796"/>
                      </a:cubicBezTo>
                      <a:cubicBezTo>
                        <a:pt x="288166" y="3796"/>
                        <a:pt x="291639" y="-3645"/>
                        <a:pt x="297592" y="2308"/>
                      </a:cubicBezTo>
                      <a:cubicBezTo>
                        <a:pt x="303545" y="8261"/>
                        <a:pt x="296599" y="11238"/>
                        <a:pt x="296599" y="19671"/>
                      </a:cubicBezTo>
                      <a:cubicBezTo>
                        <a:pt x="296599" y="28104"/>
                        <a:pt x="296103" y="28104"/>
                        <a:pt x="296103" y="36042"/>
                      </a:cubicBezTo>
                      <a:cubicBezTo>
                        <a:pt x="296103" y="44475"/>
                        <a:pt x="296599" y="44475"/>
                        <a:pt x="296599" y="52412"/>
                      </a:cubicBezTo>
                      <a:cubicBezTo>
                        <a:pt x="296599" y="60845"/>
                        <a:pt x="297592" y="60845"/>
                        <a:pt x="297592" y="68783"/>
                      </a:cubicBezTo>
                      <a:cubicBezTo>
                        <a:pt x="297592" y="77216"/>
                        <a:pt x="298088" y="77216"/>
                        <a:pt x="298088" y="85153"/>
                      </a:cubicBezTo>
                      <a:cubicBezTo>
                        <a:pt x="298088" y="93586"/>
                        <a:pt x="296103" y="93586"/>
                        <a:pt x="296103" y="101524"/>
                      </a:cubicBezTo>
                      <a:cubicBezTo>
                        <a:pt x="296103" y="109957"/>
                        <a:pt x="295607" y="109957"/>
                        <a:pt x="295607" y="117894"/>
                      </a:cubicBezTo>
                      <a:cubicBezTo>
                        <a:pt x="295607" y="126328"/>
                        <a:pt x="298088" y="126328"/>
                        <a:pt x="298088" y="134265"/>
                      </a:cubicBezTo>
                      <a:cubicBezTo>
                        <a:pt x="298088" y="142698"/>
                        <a:pt x="298088" y="142698"/>
                        <a:pt x="298088" y="150635"/>
                      </a:cubicBezTo>
                      <a:cubicBezTo>
                        <a:pt x="298088" y="159069"/>
                        <a:pt x="296599" y="159069"/>
                        <a:pt x="296599" y="167006"/>
                      </a:cubicBezTo>
                      <a:cubicBezTo>
                        <a:pt x="296599" y="175439"/>
                        <a:pt x="296599" y="175439"/>
                        <a:pt x="296599" y="183377"/>
                      </a:cubicBezTo>
                      <a:cubicBezTo>
                        <a:pt x="296599" y="191810"/>
                        <a:pt x="296103" y="191810"/>
                        <a:pt x="296103" y="199747"/>
                      </a:cubicBezTo>
                      <a:cubicBezTo>
                        <a:pt x="296103" y="208181"/>
                        <a:pt x="298088" y="208181"/>
                        <a:pt x="298088" y="216118"/>
                      </a:cubicBezTo>
                      <a:cubicBezTo>
                        <a:pt x="298088" y="224551"/>
                        <a:pt x="296599" y="224551"/>
                        <a:pt x="296599" y="232488"/>
                      </a:cubicBezTo>
                      <a:cubicBezTo>
                        <a:pt x="296599" y="240922"/>
                        <a:pt x="296599" y="240922"/>
                        <a:pt x="296599" y="248859"/>
                      </a:cubicBezTo>
                      <a:cubicBezTo>
                        <a:pt x="296599" y="257292"/>
                        <a:pt x="298088" y="257292"/>
                        <a:pt x="298088" y="265230"/>
                      </a:cubicBezTo>
                      <a:cubicBezTo>
                        <a:pt x="298088" y="273663"/>
                        <a:pt x="298088" y="273663"/>
                        <a:pt x="298088" y="281600"/>
                      </a:cubicBezTo>
                      <a:cubicBezTo>
                        <a:pt x="298088" y="289537"/>
                        <a:pt x="298088" y="290034"/>
                        <a:pt x="298088" y="29797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706" name="Freeform: Shape 1705">
                <a:extLst>
                  <a:ext uri="{FF2B5EF4-FFF2-40B4-BE49-F238E27FC236}">
                    <a16:creationId xmlns:a16="http://schemas.microsoft.com/office/drawing/2014/main" id="{D84CFD06-1C6E-F0E7-2EEE-142BAA430932}"/>
                  </a:ext>
                </a:extLst>
              </p:cNvPr>
              <p:cNvSpPr/>
              <p:nvPr/>
            </p:nvSpPr>
            <p:spPr>
              <a:xfrm>
                <a:off x="4197185" y="3123306"/>
                <a:ext cx="1984" cy="294670"/>
              </a:xfrm>
              <a:custGeom>
                <a:avLst/>
                <a:gdLst>
                  <a:gd name="connsiteX0" fmla="*/ 496 w 1984"/>
                  <a:gd name="connsiteY0" fmla="*/ 294670 h 294670"/>
                  <a:gd name="connsiteX1" fmla="*/ 496 w 1984"/>
                  <a:gd name="connsiteY1" fmla="*/ 278300 h 294670"/>
                  <a:gd name="connsiteX2" fmla="*/ 992 w 1984"/>
                  <a:gd name="connsiteY2" fmla="*/ 261929 h 294670"/>
                  <a:gd name="connsiteX3" fmla="*/ 1488 w 1984"/>
                  <a:gd name="connsiteY3" fmla="*/ 245559 h 294670"/>
                  <a:gd name="connsiteX4" fmla="*/ 1488 w 1984"/>
                  <a:gd name="connsiteY4" fmla="*/ 229188 h 294670"/>
                  <a:gd name="connsiteX5" fmla="*/ 992 w 1984"/>
                  <a:gd name="connsiteY5" fmla="*/ 212818 h 294670"/>
                  <a:gd name="connsiteX6" fmla="*/ 992 w 1984"/>
                  <a:gd name="connsiteY6" fmla="*/ 196447 h 294670"/>
                  <a:gd name="connsiteX7" fmla="*/ 1488 w 1984"/>
                  <a:gd name="connsiteY7" fmla="*/ 180077 h 294670"/>
                  <a:gd name="connsiteX8" fmla="*/ 0 w 1984"/>
                  <a:gd name="connsiteY8" fmla="*/ 163706 h 294670"/>
                  <a:gd name="connsiteX9" fmla="*/ 496 w 1984"/>
                  <a:gd name="connsiteY9" fmla="*/ 147335 h 294670"/>
                  <a:gd name="connsiteX10" fmla="*/ 1984 w 1984"/>
                  <a:gd name="connsiteY10" fmla="*/ 130965 h 294670"/>
                  <a:gd name="connsiteX11" fmla="*/ 1488 w 1984"/>
                  <a:gd name="connsiteY11" fmla="*/ 114594 h 294670"/>
                  <a:gd name="connsiteX12" fmla="*/ 496 w 1984"/>
                  <a:gd name="connsiteY12" fmla="*/ 98224 h 294670"/>
                  <a:gd name="connsiteX13" fmla="*/ 1488 w 1984"/>
                  <a:gd name="connsiteY13" fmla="*/ 81853 h 294670"/>
                  <a:gd name="connsiteX14" fmla="*/ 1488 w 1984"/>
                  <a:gd name="connsiteY14" fmla="*/ 65482 h 294670"/>
                  <a:gd name="connsiteX15" fmla="*/ 1984 w 1984"/>
                  <a:gd name="connsiteY15" fmla="*/ 49112 h 294670"/>
                  <a:gd name="connsiteX16" fmla="*/ 0 w 1984"/>
                  <a:gd name="connsiteY16" fmla="*/ 32741 h 294670"/>
                  <a:gd name="connsiteX17" fmla="*/ 1488 w 1984"/>
                  <a:gd name="connsiteY17" fmla="*/ 16371 h 294670"/>
                  <a:gd name="connsiteX18" fmla="*/ 496 w 1984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84" h="294670">
                    <a:moveTo>
                      <a:pt x="496" y="294670"/>
                    </a:moveTo>
                    <a:cubicBezTo>
                      <a:pt x="496" y="286237"/>
                      <a:pt x="496" y="286237"/>
                      <a:pt x="496" y="278300"/>
                    </a:cubicBezTo>
                    <a:cubicBezTo>
                      <a:pt x="496" y="269867"/>
                      <a:pt x="992" y="269867"/>
                      <a:pt x="992" y="261929"/>
                    </a:cubicBezTo>
                    <a:cubicBezTo>
                      <a:pt x="992" y="253496"/>
                      <a:pt x="1488" y="253496"/>
                      <a:pt x="1488" y="245559"/>
                    </a:cubicBezTo>
                    <a:cubicBezTo>
                      <a:pt x="1488" y="237125"/>
                      <a:pt x="1488" y="237125"/>
                      <a:pt x="1488" y="229188"/>
                    </a:cubicBezTo>
                    <a:cubicBezTo>
                      <a:pt x="1488" y="220755"/>
                      <a:pt x="992" y="220755"/>
                      <a:pt x="992" y="212818"/>
                    </a:cubicBezTo>
                    <a:cubicBezTo>
                      <a:pt x="992" y="204384"/>
                      <a:pt x="992" y="204384"/>
                      <a:pt x="992" y="196447"/>
                    </a:cubicBezTo>
                    <a:cubicBezTo>
                      <a:pt x="992" y="188014"/>
                      <a:pt x="1488" y="188014"/>
                      <a:pt x="1488" y="180077"/>
                    </a:cubicBezTo>
                    <a:cubicBezTo>
                      <a:pt x="1488" y="171643"/>
                      <a:pt x="0" y="171643"/>
                      <a:pt x="0" y="163706"/>
                    </a:cubicBezTo>
                    <a:cubicBezTo>
                      <a:pt x="0" y="155273"/>
                      <a:pt x="496" y="155273"/>
                      <a:pt x="496" y="147335"/>
                    </a:cubicBezTo>
                    <a:cubicBezTo>
                      <a:pt x="496" y="138902"/>
                      <a:pt x="1984" y="138902"/>
                      <a:pt x="1984" y="130965"/>
                    </a:cubicBezTo>
                    <a:cubicBezTo>
                      <a:pt x="1984" y="122531"/>
                      <a:pt x="1488" y="122531"/>
                      <a:pt x="1488" y="114594"/>
                    </a:cubicBezTo>
                    <a:cubicBezTo>
                      <a:pt x="1488" y="106161"/>
                      <a:pt x="496" y="106161"/>
                      <a:pt x="496" y="98224"/>
                    </a:cubicBezTo>
                    <a:cubicBezTo>
                      <a:pt x="496" y="89790"/>
                      <a:pt x="1488" y="89790"/>
                      <a:pt x="1488" y="81853"/>
                    </a:cubicBezTo>
                    <a:cubicBezTo>
                      <a:pt x="1488" y="73420"/>
                      <a:pt x="1488" y="73420"/>
                      <a:pt x="1488" y="65482"/>
                    </a:cubicBezTo>
                    <a:cubicBezTo>
                      <a:pt x="1488" y="57049"/>
                      <a:pt x="1984" y="57049"/>
                      <a:pt x="1984" y="49112"/>
                    </a:cubicBezTo>
                    <a:cubicBezTo>
                      <a:pt x="1984" y="40678"/>
                      <a:pt x="0" y="40678"/>
                      <a:pt x="0" y="32741"/>
                    </a:cubicBezTo>
                    <a:cubicBezTo>
                      <a:pt x="0" y="24308"/>
                      <a:pt x="1488" y="24308"/>
                      <a:pt x="1488" y="16371"/>
                    </a:cubicBezTo>
                    <a:cubicBezTo>
                      <a:pt x="1488" y="7937"/>
                      <a:pt x="496" y="7937"/>
                      <a:pt x="49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07" name="Freeform: Shape 1706">
                <a:extLst>
                  <a:ext uri="{FF2B5EF4-FFF2-40B4-BE49-F238E27FC236}">
                    <a16:creationId xmlns:a16="http://schemas.microsoft.com/office/drawing/2014/main" id="{1C6BE4F0-F4E2-2DC7-6F11-E8494A562987}"/>
                  </a:ext>
                </a:extLst>
              </p:cNvPr>
              <p:cNvSpPr/>
              <p:nvPr/>
            </p:nvSpPr>
            <p:spPr>
              <a:xfrm>
                <a:off x="4241832" y="3121322"/>
                <a:ext cx="2480" cy="294670"/>
              </a:xfrm>
              <a:custGeom>
                <a:avLst/>
                <a:gdLst>
                  <a:gd name="connsiteX0" fmla="*/ 992 w 2480"/>
                  <a:gd name="connsiteY0" fmla="*/ 0 h 294670"/>
                  <a:gd name="connsiteX1" fmla="*/ 496 w 2480"/>
                  <a:gd name="connsiteY1" fmla="*/ 16371 h 294670"/>
                  <a:gd name="connsiteX2" fmla="*/ 992 w 2480"/>
                  <a:gd name="connsiteY2" fmla="*/ 32741 h 294670"/>
                  <a:gd name="connsiteX3" fmla="*/ 1984 w 2480"/>
                  <a:gd name="connsiteY3" fmla="*/ 49112 h 294670"/>
                  <a:gd name="connsiteX4" fmla="*/ 1984 w 2480"/>
                  <a:gd name="connsiteY4" fmla="*/ 65482 h 294670"/>
                  <a:gd name="connsiteX5" fmla="*/ 2480 w 2480"/>
                  <a:gd name="connsiteY5" fmla="*/ 81853 h 294670"/>
                  <a:gd name="connsiteX6" fmla="*/ 992 w 2480"/>
                  <a:gd name="connsiteY6" fmla="*/ 98223 h 294670"/>
                  <a:gd name="connsiteX7" fmla="*/ 496 w 2480"/>
                  <a:gd name="connsiteY7" fmla="*/ 114594 h 294670"/>
                  <a:gd name="connsiteX8" fmla="*/ 0 w 2480"/>
                  <a:gd name="connsiteY8" fmla="*/ 130964 h 294670"/>
                  <a:gd name="connsiteX9" fmla="*/ 496 w 2480"/>
                  <a:gd name="connsiteY9" fmla="*/ 147335 h 294670"/>
                  <a:gd name="connsiteX10" fmla="*/ 496 w 2480"/>
                  <a:gd name="connsiteY10" fmla="*/ 163706 h 294670"/>
                  <a:gd name="connsiteX11" fmla="*/ 1488 w 2480"/>
                  <a:gd name="connsiteY11" fmla="*/ 180076 h 294670"/>
                  <a:gd name="connsiteX12" fmla="*/ 496 w 2480"/>
                  <a:gd name="connsiteY12" fmla="*/ 196447 h 294670"/>
                  <a:gd name="connsiteX13" fmla="*/ 496 w 2480"/>
                  <a:gd name="connsiteY13" fmla="*/ 212817 h 294670"/>
                  <a:gd name="connsiteX14" fmla="*/ 992 w 2480"/>
                  <a:gd name="connsiteY14" fmla="*/ 229188 h 294670"/>
                  <a:gd name="connsiteX15" fmla="*/ 0 w 2480"/>
                  <a:gd name="connsiteY15" fmla="*/ 245559 h 294670"/>
                  <a:gd name="connsiteX16" fmla="*/ 992 w 2480"/>
                  <a:gd name="connsiteY16" fmla="*/ 261929 h 294670"/>
                  <a:gd name="connsiteX17" fmla="*/ 496 w 2480"/>
                  <a:gd name="connsiteY17" fmla="*/ 278300 h 294670"/>
                  <a:gd name="connsiteX18" fmla="*/ 1984 w 2480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992" y="0"/>
                    </a:moveTo>
                    <a:cubicBezTo>
                      <a:pt x="992" y="8433"/>
                      <a:pt x="496" y="8433"/>
                      <a:pt x="496" y="16371"/>
                    </a:cubicBezTo>
                    <a:cubicBezTo>
                      <a:pt x="496" y="24804"/>
                      <a:pt x="992" y="24804"/>
                      <a:pt x="992" y="32741"/>
                    </a:cubicBezTo>
                    <a:cubicBezTo>
                      <a:pt x="992" y="41174"/>
                      <a:pt x="1984" y="41174"/>
                      <a:pt x="1984" y="49112"/>
                    </a:cubicBezTo>
                    <a:cubicBezTo>
                      <a:pt x="1984" y="57545"/>
                      <a:pt x="1984" y="57545"/>
                      <a:pt x="1984" y="65482"/>
                    </a:cubicBezTo>
                    <a:cubicBezTo>
                      <a:pt x="1984" y="73915"/>
                      <a:pt x="2480" y="73915"/>
                      <a:pt x="2480" y="81853"/>
                    </a:cubicBezTo>
                    <a:cubicBezTo>
                      <a:pt x="2480" y="90286"/>
                      <a:pt x="992" y="90286"/>
                      <a:pt x="992" y="98223"/>
                    </a:cubicBezTo>
                    <a:cubicBezTo>
                      <a:pt x="992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4"/>
                    </a:cubicBezTo>
                    <a:cubicBezTo>
                      <a:pt x="0" y="139398"/>
                      <a:pt x="496" y="139398"/>
                      <a:pt x="496" y="147335"/>
                    </a:cubicBezTo>
                    <a:cubicBezTo>
                      <a:pt x="496" y="155768"/>
                      <a:pt x="496" y="155768"/>
                      <a:pt x="496" y="163706"/>
                    </a:cubicBezTo>
                    <a:cubicBezTo>
                      <a:pt x="496" y="172139"/>
                      <a:pt x="1488" y="172139"/>
                      <a:pt x="1488" y="180076"/>
                    </a:cubicBezTo>
                    <a:cubicBezTo>
                      <a:pt x="1488" y="188510"/>
                      <a:pt x="496" y="188510"/>
                      <a:pt x="496" y="196447"/>
                    </a:cubicBezTo>
                    <a:cubicBezTo>
                      <a:pt x="496" y="204880"/>
                      <a:pt x="496" y="204880"/>
                      <a:pt x="496" y="212817"/>
                    </a:cubicBezTo>
                    <a:cubicBezTo>
                      <a:pt x="496" y="221251"/>
                      <a:pt x="992" y="221251"/>
                      <a:pt x="992" y="229188"/>
                    </a:cubicBezTo>
                    <a:cubicBezTo>
                      <a:pt x="992" y="237621"/>
                      <a:pt x="0" y="237621"/>
                      <a:pt x="0" y="245559"/>
                    </a:cubicBezTo>
                    <a:cubicBezTo>
                      <a:pt x="0" y="253992"/>
                      <a:pt x="992" y="253992"/>
                      <a:pt x="992" y="261929"/>
                    </a:cubicBezTo>
                    <a:cubicBezTo>
                      <a:pt x="992" y="270362"/>
                      <a:pt x="496" y="270362"/>
                      <a:pt x="496" y="278300"/>
                    </a:cubicBezTo>
                    <a:cubicBezTo>
                      <a:pt x="496" y="286237"/>
                      <a:pt x="1984" y="286733"/>
                      <a:pt x="1984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7" name="Graphic 10">
              <a:extLst>
                <a:ext uri="{FF2B5EF4-FFF2-40B4-BE49-F238E27FC236}">
                  <a16:creationId xmlns:a16="http://schemas.microsoft.com/office/drawing/2014/main" id="{7A7E7D30-6ADE-F5E0-7E50-5211E00BDFE7}"/>
                </a:ext>
              </a:extLst>
            </p:cNvPr>
            <p:cNvGrpSpPr/>
            <p:nvPr/>
          </p:nvGrpSpPr>
          <p:grpSpPr>
            <a:xfrm>
              <a:off x="3979903" y="3415992"/>
              <a:ext cx="481720" cy="231985"/>
              <a:chOff x="3979903" y="3415992"/>
              <a:chExt cx="481720" cy="231985"/>
            </a:xfrm>
            <a:noFill/>
          </p:grpSpPr>
          <p:sp>
            <p:nvSpPr>
              <p:cNvPr id="1682" name="Freeform: Shape 1681">
                <a:extLst>
                  <a:ext uri="{FF2B5EF4-FFF2-40B4-BE49-F238E27FC236}">
                    <a16:creationId xmlns:a16="http://schemas.microsoft.com/office/drawing/2014/main" id="{19243C1C-0400-21CB-2561-0B3A80EA372C}"/>
                  </a:ext>
                </a:extLst>
              </p:cNvPr>
              <p:cNvSpPr/>
              <p:nvPr/>
            </p:nvSpPr>
            <p:spPr>
              <a:xfrm>
                <a:off x="3990647" y="3608966"/>
                <a:ext cx="463444" cy="39010"/>
              </a:xfrm>
              <a:custGeom>
                <a:avLst/>
                <a:gdLst>
                  <a:gd name="connsiteX0" fmla="*/ 447632 w 463444"/>
                  <a:gd name="connsiteY0" fmla="*/ 36710 h 39010"/>
                  <a:gd name="connsiteX1" fmla="*/ 454081 w 463444"/>
                  <a:gd name="connsiteY1" fmla="*/ 24804 h 39010"/>
                  <a:gd name="connsiteX2" fmla="*/ 460530 w 463444"/>
                  <a:gd name="connsiteY2" fmla="*/ 12898 h 39010"/>
                  <a:gd name="connsiteX3" fmla="*/ 461026 w 463444"/>
                  <a:gd name="connsiteY3" fmla="*/ 1984 h 39010"/>
                  <a:gd name="connsiteX4" fmla="*/ 444656 w 463444"/>
                  <a:gd name="connsiteY4" fmla="*/ 1984 h 39010"/>
                  <a:gd name="connsiteX5" fmla="*/ 428285 w 463444"/>
                  <a:gd name="connsiteY5" fmla="*/ 1488 h 39010"/>
                  <a:gd name="connsiteX6" fmla="*/ 411914 w 463444"/>
                  <a:gd name="connsiteY6" fmla="*/ 2480 h 39010"/>
                  <a:gd name="connsiteX7" fmla="*/ 395544 w 463444"/>
                  <a:gd name="connsiteY7" fmla="*/ 1488 h 39010"/>
                  <a:gd name="connsiteX8" fmla="*/ 379173 w 463444"/>
                  <a:gd name="connsiteY8" fmla="*/ 2976 h 39010"/>
                  <a:gd name="connsiteX9" fmla="*/ 362803 w 463444"/>
                  <a:gd name="connsiteY9" fmla="*/ 992 h 39010"/>
                  <a:gd name="connsiteX10" fmla="*/ 346432 w 463444"/>
                  <a:gd name="connsiteY10" fmla="*/ 992 h 39010"/>
                  <a:gd name="connsiteX11" fmla="*/ 330061 w 463444"/>
                  <a:gd name="connsiteY11" fmla="*/ 992 h 39010"/>
                  <a:gd name="connsiteX12" fmla="*/ 313691 w 463444"/>
                  <a:gd name="connsiteY12" fmla="*/ 992 h 39010"/>
                  <a:gd name="connsiteX13" fmla="*/ 297320 w 463444"/>
                  <a:gd name="connsiteY13" fmla="*/ 992 h 39010"/>
                  <a:gd name="connsiteX14" fmla="*/ 280950 w 463444"/>
                  <a:gd name="connsiteY14" fmla="*/ 2480 h 39010"/>
                  <a:gd name="connsiteX15" fmla="*/ 264579 w 463444"/>
                  <a:gd name="connsiteY15" fmla="*/ 1984 h 39010"/>
                  <a:gd name="connsiteX16" fmla="*/ 248208 w 463444"/>
                  <a:gd name="connsiteY16" fmla="*/ 2480 h 39010"/>
                  <a:gd name="connsiteX17" fmla="*/ 231838 w 463444"/>
                  <a:gd name="connsiteY17" fmla="*/ 1984 h 39010"/>
                  <a:gd name="connsiteX18" fmla="*/ 215467 w 463444"/>
                  <a:gd name="connsiteY18" fmla="*/ 3968 h 39010"/>
                  <a:gd name="connsiteX19" fmla="*/ 199097 w 463444"/>
                  <a:gd name="connsiteY19" fmla="*/ 3968 h 39010"/>
                  <a:gd name="connsiteX20" fmla="*/ 182726 w 463444"/>
                  <a:gd name="connsiteY20" fmla="*/ 2976 h 39010"/>
                  <a:gd name="connsiteX21" fmla="*/ 166356 w 463444"/>
                  <a:gd name="connsiteY21" fmla="*/ 3473 h 39010"/>
                  <a:gd name="connsiteX22" fmla="*/ 149985 w 463444"/>
                  <a:gd name="connsiteY22" fmla="*/ 2480 h 39010"/>
                  <a:gd name="connsiteX23" fmla="*/ 133615 w 463444"/>
                  <a:gd name="connsiteY23" fmla="*/ 2480 h 39010"/>
                  <a:gd name="connsiteX24" fmla="*/ 117244 w 463444"/>
                  <a:gd name="connsiteY24" fmla="*/ 2480 h 39010"/>
                  <a:gd name="connsiteX25" fmla="*/ 100873 w 463444"/>
                  <a:gd name="connsiteY25" fmla="*/ 3968 h 39010"/>
                  <a:gd name="connsiteX26" fmla="*/ 84503 w 463444"/>
                  <a:gd name="connsiteY26" fmla="*/ 2480 h 39010"/>
                  <a:gd name="connsiteX27" fmla="*/ 68132 w 463444"/>
                  <a:gd name="connsiteY27" fmla="*/ 2480 h 39010"/>
                  <a:gd name="connsiteX28" fmla="*/ 51762 w 463444"/>
                  <a:gd name="connsiteY28" fmla="*/ 3473 h 39010"/>
                  <a:gd name="connsiteX29" fmla="*/ 35391 w 463444"/>
                  <a:gd name="connsiteY29" fmla="*/ 4465 h 39010"/>
                  <a:gd name="connsiteX30" fmla="*/ 19020 w 463444"/>
                  <a:gd name="connsiteY30" fmla="*/ 3473 h 39010"/>
                  <a:gd name="connsiteX31" fmla="*/ 2154 w 463444"/>
                  <a:gd name="connsiteY31" fmla="*/ 2480 h 39010"/>
                  <a:gd name="connsiteX32" fmla="*/ 3642 w 463444"/>
                  <a:gd name="connsiteY32" fmla="*/ 13890 h 39010"/>
                  <a:gd name="connsiteX33" fmla="*/ 12075 w 463444"/>
                  <a:gd name="connsiteY33" fmla="*/ 26788 h 39010"/>
                  <a:gd name="connsiteX34" fmla="*/ 23485 w 463444"/>
                  <a:gd name="connsiteY34" fmla="*/ 36710 h 39010"/>
                  <a:gd name="connsiteX35" fmla="*/ 39360 w 463444"/>
                  <a:gd name="connsiteY35" fmla="*/ 38694 h 39010"/>
                  <a:gd name="connsiteX36" fmla="*/ 55730 w 463444"/>
                  <a:gd name="connsiteY36" fmla="*/ 37702 h 39010"/>
                  <a:gd name="connsiteX37" fmla="*/ 72101 w 463444"/>
                  <a:gd name="connsiteY37" fmla="*/ 36710 h 39010"/>
                  <a:gd name="connsiteX38" fmla="*/ 88471 w 463444"/>
                  <a:gd name="connsiteY38" fmla="*/ 36710 h 39010"/>
                  <a:gd name="connsiteX39" fmla="*/ 104842 w 463444"/>
                  <a:gd name="connsiteY39" fmla="*/ 38694 h 39010"/>
                  <a:gd name="connsiteX40" fmla="*/ 121213 w 463444"/>
                  <a:gd name="connsiteY40" fmla="*/ 37206 h 39010"/>
                  <a:gd name="connsiteX41" fmla="*/ 137583 w 463444"/>
                  <a:gd name="connsiteY41" fmla="*/ 37702 h 39010"/>
                  <a:gd name="connsiteX42" fmla="*/ 153954 w 463444"/>
                  <a:gd name="connsiteY42" fmla="*/ 37206 h 39010"/>
                  <a:gd name="connsiteX43" fmla="*/ 170324 w 463444"/>
                  <a:gd name="connsiteY43" fmla="*/ 38198 h 39010"/>
                  <a:gd name="connsiteX44" fmla="*/ 186695 w 463444"/>
                  <a:gd name="connsiteY44" fmla="*/ 38694 h 39010"/>
                  <a:gd name="connsiteX45" fmla="*/ 203065 w 463444"/>
                  <a:gd name="connsiteY45" fmla="*/ 38694 h 39010"/>
                  <a:gd name="connsiteX46" fmla="*/ 219436 w 463444"/>
                  <a:gd name="connsiteY46" fmla="*/ 36710 h 39010"/>
                  <a:gd name="connsiteX47" fmla="*/ 235807 w 463444"/>
                  <a:gd name="connsiteY47" fmla="*/ 37702 h 39010"/>
                  <a:gd name="connsiteX48" fmla="*/ 252177 w 463444"/>
                  <a:gd name="connsiteY48" fmla="*/ 37206 h 39010"/>
                  <a:gd name="connsiteX49" fmla="*/ 268548 w 463444"/>
                  <a:gd name="connsiteY49" fmla="*/ 38198 h 39010"/>
                  <a:gd name="connsiteX50" fmla="*/ 284918 w 463444"/>
                  <a:gd name="connsiteY50" fmla="*/ 38198 h 3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463444" h="39010">
                    <a:moveTo>
                      <a:pt x="447632" y="36710"/>
                    </a:moveTo>
                    <a:cubicBezTo>
                      <a:pt x="451104" y="30757"/>
                      <a:pt x="450608" y="30261"/>
                      <a:pt x="454081" y="24804"/>
                    </a:cubicBezTo>
                    <a:cubicBezTo>
                      <a:pt x="457553" y="19347"/>
                      <a:pt x="458546" y="19347"/>
                      <a:pt x="460530" y="12898"/>
                    </a:cubicBezTo>
                    <a:cubicBezTo>
                      <a:pt x="462018" y="7441"/>
                      <a:pt x="465987" y="4961"/>
                      <a:pt x="461026" y="1984"/>
                    </a:cubicBezTo>
                    <a:cubicBezTo>
                      <a:pt x="454081" y="-2480"/>
                      <a:pt x="452593" y="1984"/>
                      <a:pt x="444656" y="1984"/>
                    </a:cubicBezTo>
                    <a:cubicBezTo>
                      <a:pt x="436222" y="1984"/>
                      <a:pt x="436222" y="1488"/>
                      <a:pt x="428285" y="1488"/>
                    </a:cubicBezTo>
                    <a:cubicBezTo>
                      <a:pt x="419852" y="1488"/>
                      <a:pt x="419852" y="2480"/>
                      <a:pt x="411914" y="2480"/>
                    </a:cubicBezTo>
                    <a:cubicBezTo>
                      <a:pt x="403481" y="2480"/>
                      <a:pt x="403481" y="1488"/>
                      <a:pt x="395544" y="1488"/>
                    </a:cubicBezTo>
                    <a:cubicBezTo>
                      <a:pt x="387110" y="1488"/>
                      <a:pt x="387110" y="2976"/>
                      <a:pt x="379173" y="2976"/>
                    </a:cubicBezTo>
                    <a:cubicBezTo>
                      <a:pt x="370740" y="2976"/>
                      <a:pt x="370740" y="992"/>
                      <a:pt x="362803" y="992"/>
                    </a:cubicBezTo>
                    <a:cubicBezTo>
                      <a:pt x="354369" y="992"/>
                      <a:pt x="354369" y="992"/>
                      <a:pt x="346432" y="992"/>
                    </a:cubicBezTo>
                    <a:cubicBezTo>
                      <a:pt x="337999" y="992"/>
                      <a:pt x="337999" y="992"/>
                      <a:pt x="330061" y="992"/>
                    </a:cubicBezTo>
                    <a:cubicBezTo>
                      <a:pt x="321628" y="992"/>
                      <a:pt x="321628" y="992"/>
                      <a:pt x="313691" y="992"/>
                    </a:cubicBezTo>
                    <a:cubicBezTo>
                      <a:pt x="305257" y="992"/>
                      <a:pt x="305257" y="992"/>
                      <a:pt x="297320" y="992"/>
                    </a:cubicBezTo>
                    <a:cubicBezTo>
                      <a:pt x="288887" y="992"/>
                      <a:pt x="288887" y="2480"/>
                      <a:pt x="280950" y="2480"/>
                    </a:cubicBezTo>
                    <a:cubicBezTo>
                      <a:pt x="272516" y="2480"/>
                      <a:pt x="272516" y="1984"/>
                      <a:pt x="264579" y="1984"/>
                    </a:cubicBezTo>
                    <a:cubicBezTo>
                      <a:pt x="256146" y="1984"/>
                      <a:pt x="256146" y="2480"/>
                      <a:pt x="248208" y="2480"/>
                    </a:cubicBezTo>
                    <a:cubicBezTo>
                      <a:pt x="239775" y="2480"/>
                      <a:pt x="239775" y="1984"/>
                      <a:pt x="231838" y="1984"/>
                    </a:cubicBezTo>
                    <a:cubicBezTo>
                      <a:pt x="223405" y="1984"/>
                      <a:pt x="223405" y="3968"/>
                      <a:pt x="215467" y="3968"/>
                    </a:cubicBezTo>
                    <a:cubicBezTo>
                      <a:pt x="207034" y="3968"/>
                      <a:pt x="207034" y="3968"/>
                      <a:pt x="199097" y="3968"/>
                    </a:cubicBezTo>
                    <a:cubicBezTo>
                      <a:pt x="190664" y="3968"/>
                      <a:pt x="190664" y="2976"/>
                      <a:pt x="182726" y="2976"/>
                    </a:cubicBezTo>
                    <a:cubicBezTo>
                      <a:pt x="174293" y="2976"/>
                      <a:pt x="174293" y="3473"/>
                      <a:pt x="166356" y="3473"/>
                    </a:cubicBezTo>
                    <a:cubicBezTo>
                      <a:pt x="157922" y="3473"/>
                      <a:pt x="157922" y="2480"/>
                      <a:pt x="149985" y="2480"/>
                    </a:cubicBezTo>
                    <a:cubicBezTo>
                      <a:pt x="141552" y="2480"/>
                      <a:pt x="141552" y="2480"/>
                      <a:pt x="133615" y="2480"/>
                    </a:cubicBezTo>
                    <a:cubicBezTo>
                      <a:pt x="125181" y="2480"/>
                      <a:pt x="125181" y="2480"/>
                      <a:pt x="117244" y="2480"/>
                    </a:cubicBezTo>
                    <a:cubicBezTo>
                      <a:pt x="109307" y="2480"/>
                      <a:pt x="108811" y="3968"/>
                      <a:pt x="100873" y="3968"/>
                    </a:cubicBezTo>
                    <a:cubicBezTo>
                      <a:pt x="92440" y="3968"/>
                      <a:pt x="92440" y="2480"/>
                      <a:pt x="84503" y="2480"/>
                    </a:cubicBezTo>
                    <a:cubicBezTo>
                      <a:pt x="76069" y="2480"/>
                      <a:pt x="76069" y="2480"/>
                      <a:pt x="68132" y="2480"/>
                    </a:cubicBezTo>
                    <a:cubicBezTo>
                      <a:pt x="59699" y="2480"/>
                      <a:pt x="59699" y="3473"/>
                      <a:pt x="51762" y="3473"/>
                    </a:cubicBezTo>
                    <a:cubicBezTo>
                      <a:pt x="43328" y="3473"/>
                      <a:pt x="43328" y="4465"/>
                      <a:pt x="35391" y="4465"/>
                    </a:cubicBezTo>
                    <a:cubicBezTo>
                      <a:pt x="26958" y="4465"/>
                      <a:pt x="26958" y="3473"/>
                      <a:pt x="19020" y="3473"/>
                    </a:cubicBezTo>
                    <a:cubicBezTo>
                      <a:pt x="11083" y="3473"/>
                      <a:pt x="8603" y="-1985"/>
                      <a:pt x="2154" y="2480"/>
                    </a:cubicBezTo>
                    <a:cubicBezTo>
                      <a:pt x="-2311" y="5457"/>
                      <a:pt x="1162" y="8929"/>
                      <a:pt x="3642" y="13890"/>
                    </a:cubicBezTo>
                    <a:cubicBezTo>
                      <a:pt x="6618" y="20835"/>
                      <a:pt x="7115" y="20835"/>
                      <a:pt x="12075" y="26788"/>
                    </a:cubicBezTo>
                    <a:cubicBezTo>
                      <a:pt x="17036" y="32741"/>
                      <a:pt x="16540" y="33733"/>
                      <a:pt x="23485" y="36710"/>
                    </a:cubicBezTo>
                    <a:cubicBezTo>
                      <a:pt x="30926" y="40182"/>
                      <a:pt x="30926" y="38694"/>
                      <a:pt x="39360" y="38694"/>
                    </a:cubicBezTo>
                    <a:cubicBezTo>
                      <a:pt x="47297" y="38694"/>
                      <a:pt x="47297" y="37702"/>
                      <a:pt x="55730" y="37702"/>
                    </a:cubicBezTo>
                    <a:cubicBezTo>
                      <a:pt x="63667" y="37702"/>
                      <a:pt x="63667" y="36710"/>
                      <a:pt x="72101" y="36710"/>
                    </a:cubicBezTo>
                    <a:cubicBezTo>
                      <a:pt x="80038" y="36710"/>
                      <a:pt x="80038" y="36710"/>
                      <a:pt x="88471" y="36710"/>
                    </a:cubicBezTo>
                    <a:cubicBezTo>
                      <a:pt x="96409" y="36710"/>
                      <a:pt x="96409" y="38694"/>
                      <a:pt x="104842" y="38694"/>
                    </a:cubicBezTo>
                    <a:cubicBezTo>
                      <a:pt x="112779" y="38694"/>
                      <a:pt x="112779" y="37206"/>
                      <a:pt x="121213" y="37206"/>
                    </a:cubicBezTo>
                    <a:cubicBezTo>
                      <a:pt x="129150" y="37206"/>
                      <a:pt x="129150" y="37702"/>
                      <a:pt x="137583" y="37702"/>
                    </a:cubicBezTo>
                    <a:cubicBezTo>
                      <a:pt x="145520" y="37702"/>
                      <a:pt x="145520" y="37206"/>
                      <a:pt x="153954" y="37206"/>
                    </a:cubicBezTo>
                    <a:cubicBezTo>
                      <a:pt x="161891" y="37206"/>
                      <a:pt x="161891" y="38198"/>
                      <a:pt x="170324" y="38198"/>
                    </a:cubicBezTo>
                    <a:cubicBezTo>
                      <a:pt x="178758" y="38198"/>
                      <a:pt x="178262" y="38694"/>
                      <a:pt x="186695" y="38694"/>
                    </a:cubicBezTo>
                    <a:cubicBezTo>
                      <a:pt x="194632" y="38694"/>
                      <a:pt x="194632" y="38694"/>
                      <a:pt x="203065" y="38694"/>
                    </a:cubicBezTo>
                    <a:cubicBezTo>
                      <a:pt x="211003" y="38694"/>
                      <a:pt x="211003" y="36710"/>
                      <a:pt x="219436" y="36710"/>
                    </a:cubicBezTo>
                    <a:cubicBezTo>
                      <a:pt x="227373" y="36710"/>
                      <a:pt x="227373" y="37702"/>
                      <a:pt x="235807" y="37702"/>
                    </a:cubicBezTo>
                    <a:cubicBezTo>
                      <a:pt x="243744" y="37702"/>
                      <a:pt x="243744" y="37206"/>
                      <a:pt x="252177" y="37206"/>
                    </a:cubicBezTo>
                    <a:cubicBezTo>
                      <a:pt x="260114" y="37206"/>
                      <a:pt x="260114" y="38198"/>
                      <a:pt x="268548" y="38198"/>
                    </a:cubicBezTo>
                    <a:cubicBezTo>
                      <a:pt x="276485" y="38198"/>
                      <a:pt x="276485" y="38198"/>
                      <a:pt x="284918" y="38198"/>
                    </a:cubicBezTo>
                  </a:path>
                </a:pathLst>
              </a:custGeom>
              <a:solidFill>
                <a:srgbClr val="B6C2D6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83" name="Freeform: Shape 1682">
                <a:extLst>
                  <a:ext uri="{FF2B5EF4-FFF2-40B4-BE49-F238E27FC236}">
                    <a16:creationId xmlns:a16="http://schemas.microsoft.com/office/drawing/2014/main" id="{EFBB1E29-6CF7-822C-DBFB-1C5FEAED77A1}"/>
                  </a:ext>
                </a:extLst>
              </p:cNvPr>
              <p:cNvSpPr/>
              <p:nvPr/>
            </p:nvSpPr>
            <p:spPr>
              <a:xfrm>
                <a:off x="3979903" y="3415992"/>
                <a:ext cx="481720" cy="25796"/>
              </a:xfrm>
              <a:custGeom>
                <a:avLst/>
                <a:gdLst>
                  <a:gd name="connsiteX0" fmla="*/ 469786 w 481720"/>
                  <a:gd name="connsiteY0" fmla="*/ 24308 h 25796"/>
                  <a:gd name="connsiteX1" fmla="*/ 453415 w 481720"/>
                  <a:gd name="connsiteY1" fmla="*/ 25796 h 25796"/>
                  <a:gd name="connsiteX2" fmla="*/ 437045 w 481720"/>
                  <a:gd name="connsiteY2" fmla="*/ 25300 h 25796"/>
                  <a:gd name="connsiteX3" fmla="*/ 420674 w 481720"/>
                  <a:gd name="connsiteY3" fmla="*/ 24804 h 25796"/>
                  <a:gd name="connsiteX4" fmla="*/ 404304 w 481720"/>
                  <a:gd name="connsiteY4" fmla="*/ 24308 h 25796"/>
                  <a:gd name="connsiteX5" fmla="*/ 387933 w 481720"/>
                  <a:gd name="connsiteY5" fmla="*/ 25300 h 25796"/>
                  <a:gd name="connsiteX6" fmla="*/ 371563 w 481720"/>
                  <a:gd name="connsiteY6" fmla="*/ 25796 h 25796"/>
                  <a:gd name="connsiteX7" fmla="*/ 355192 w 481720"/>
                  <a:gd name="connsiteY7" fmla="*/ 25796 h 25796"/>
                  <a:gd name="connsiteX8" fmla="*/ 338821 w 481720"/>
                  <a:gd name="connsiteY8" fmla="*/ 25796 h 25796"/>
                  <a:gd name="connsiteX9" fmla="*/ 322451 w 481720"/>
                  <a:gd name="connsiteY9" fmla="*/ 25796 h 25796"/>
                  <a:gd name="connsiteX10" fmla="*/ 306080 w 481720"/>
                  <a:gd name="connsiteY10" fmla="*/ 25796 h 25796"/>
                  <a:gd name="connsiteX11" fmla="*/ 289710 w 481720"/>
                  <a:gd name="connsiteY11" fmla="*/ 25796 h 25796"/>
                  <a:gd name="connsiteX12" fmla="*/ 273339 w 481720"/>
                  <a:gd name="connsiteY12" fmla="*/ 25796 h 25796"/>
                  <a:gd name="connsiteX13" fmla="*/ 256969 w 481720"/>
                  <a:gd name="connsiteY13" fmla="*/ 25796 h 25796"/>
                  <a:gd name="connsiteX14" fmla="*/ 240598 w 481720"/>
                  <a:gd name="connsiteY14" fmla="*/ 25796 h 25796"/>
                  <a:gd name="connsiteX15" fmla="*/ 224227 w 481720"/>
                  <a:gd name="connsiteY15" fmla="*/ 25796 h 25796"/>
                  <a:gd name="connsiteX16" fmla="*/ 207857 w 481720"/>
                  <a:gd name="connsiteY16" fmla="*/ 24308 h 25796"/>
                  <a:gd name="connsiteX17" fmla="*/ 191486 w 481720"/>
                  <a:gd name="connsiteY17" fmla="*/ 24804 h 25796"/>
                  <a:gd name="connsiteX18" fmla="*/ 175116 w 481720"/>
                  <a:gd name="connsiteY18" fmla="*/ 25796 h 25796"/>
                  <a:gd name="connsiteX19" fmla="*/ 158745 w 481720"/>
                  <a:gd name="connsiteY19" fmla="*/ 24308 h 25796"/>
                  <a:gd name="connsiteX20" fmla="*/ 142374 w 481720"/>
                  <a:gd name="connsiteY20" fmla="*/ 25300 h 25796"/>
                  <a:gd name="connsiteX21" fmla="*/ 126004 w 481720"/>
                  <a:gd name="connsiteY21" fmla="*/ 24804 h 25796"/>
                  <a:gd name="connsiteX22" fmla="*/ 109633 w 481720"/>
                  <a:gd name="connsiteY22" fmla="*/ 24804 h 25796"/>
                  <a:gd name="connsiteX23" fmla="*/ 93263 w 481720"/>
                  <a:gd name="connsiteY23" fmla="*/ 24804 h 25796"/>
                  <a:gd name="connsiteX24" fmla="*/ 76892 w 481720"/>
                  <a:gd name="connsiteY24" fmla="*/ 25796 h 25796"/>
                  <a:gd name="connsiteX25" fmla="*/ 60522 w 481720"/>
                  <a:gd name="connsiteY25" fmla="*/ 23812 h 25796"/>
                  <a:gd name="connsiteX26" fmla="*/ 44151 w 481720"/>
                  <a:gd name="connsiteY26" fmla="*/ 24804 h 25796"/>
                  <a:gd name="connsiteX27" fmla="*/ 27781 w 481720"/>
                  <a:gd name="connsiteY27" fmla="*/ 24308 h 25796"/>
                  <a:gd name="connsiteX28" fmla="*/ 11410 w 481720"/>
                  <a:gd name="connsiteY28" fmla="*/ 25300 h 25796"/>
                  <a:gd name="connsiteX29" fmla="*/ 0 w 481720"/>
                  <a:gd name="connsiteY29" fmla="*/ 13394 h 25796"/>
                  <a:gd name="connsiteX30" fmla="*/ 496 w 481720"/>
                  <a:gd name="connsiteY30" fmla="*/ 13394 h 25796"/>
                  <a:gd name="connsiteX31" fmla="*/ 11410 w 481720"/>
                  <a:gd name="connsiteY31" fmla="*/ 496 h 25796"/>
                  <a:gd name="connsiteX32" fmla="*/ 27781 w 481720"/>
                  <a:gd name="connsiteY32" fmla="*/ 2480 h 25796"/>
                  <a:gd name="connsiteX33" fmla="*/ 44151 w 481720"/>
                  <a:gd name="connsiteY33" fmla="*/ 496 h 25796"/>
                  <a:gd name="connsiteX34" fmla="*/ 60522 w 481720"/>
                  <a:gd name="connsiteY34" fmla="*/ 1984 h 25796"/>
                  <a:gd name="connsiteX35" fmla="*/ 76892 w 481720"/>
                  <a:gd name="connsiteY35" fmla="*/ 496 h 25796"/>
                  <a:gd name="connsiteX36" fmla="*/ 93263 w 481720"/>
                  <a:gd name="connsiteY36" fmla="*/ 2480 h 25796"/>
                  <a:gd name="connsiteX37" fmla="*/ 109633 w 481720"/>
                  <a:gd name="connsiteY37" fmla="*/ 992 h 25796"/>
                  <a:gd name="connsiteX38" fmla="*/ 126004 w 481720"/>
                  <a:gd name="connsiteY38" fmla="*/ 496 h 25796"/>
                  <a:gd name="connsiteX39" fmla="*/ 142374 w 481720"/>
                  <a:gd name="connsiteY39" fmla="*/ 2480 h 25796"/>
                  <a:gd name="connsiteX40" fmla="*/ 158745 w 481720"/>
                  <a:gd name="connsiteY40" fmla="*/ 1488 h 25796"/>
                  <a:gd name="connsiteX41" fmla="*/ 175116 w 481720"/>
                  <a:gd name="connsiteY41" fmla="*/ 992 h 25796"/>
                  <a:gd name="connsiteX42" fmla="*/ 191486 w 481720"/>
                  <a:gd name="connsiteY42" fmla="*/ 1984 h 25796"/>
                  <a:gd name="connsiteX43" fmla="*/ 207857 w 481720"/>
                  <a:gd name="connsiteY43" fmla="*/ 1488 h 25796"/>
                  <a:gd name="connsiteX44" fmla="*/ 224227 w 481720"/>
                  <a:gd name="connsiteY44" fmla="*/ 496 h 25796"/>
                  <a:gd name="connsiteX45" fmla="*/ 240598 w 481720"/>
                  <a:gd name="connsiteY45" fmla="*/ 496 h 25796"/>
                  <a:gd name="connsiteX46" fmla="*/ 256969 w 481720"/>
                  <a:gd name="connsiteY46" fmla="*/ 1984 h 25796"/>
                  <a:gd name="connsiteX47" fmla="*/ 273339 w 481720"/>
                  <a:gd name="connsiteY47" fmla="*/ 496 h 25796"/>
                  <a:gd name="connsiteX48" fmla="*/ 289710 w 481720"/>
                  <a:gd name="connsiteY48" fmla="*/ 496 h 25796"/>
                  <a:gd name="connsiteX49" fmla="*/ 306080 w 481720"/>
                  <a:gd name="connsiteY49" fmla="*/ 1984 h 25796"/>
                  <a:gd name="connsiteX50" fmla="*/ 322451 w 481720"/>
                  <a:gd name="connsiteY50" fmla="*/ 0 h 25796"/>
                  <a:gd name="connsiteX51" fmla="*/ 338821 w 481720"/>
                  <a:gd name="connsiteY51" fmla="*/ 992 h 25796"/>
                  <a:gd name="connsiteX52" fmla="*/ 355192 w 481720"/>
                  <a:gd name="connsiteY52" fmla="*/ 1984 h 25796"/>
                  <a:gd name="connsiteX53" fmla="*/ 371563 w 481720"/>
                  <a:gd name="connsiteY53" fmla="*/ 992 h 25796"/>
                  <a:gd name="connsiteX54" fmla="*/ 387933 w 481720"/>
                  <a:gd name="connsiteY54" fmla="*/ 1488 h 25796"/>
                  <a:gd name="connsiteX55" fmla="*/ 404304 w 481720"/>
                  <a:gd name="connsiteY55" fmla="*/ 0 h 25796"/>
                  <a:gd name="connsiteX56" fmla="*/ 420674 w 481720"/>
                  <a:gd name="connsiteY56" fmla="*/ 496 h 25796"/>
                  <a:gd name="connsiteX57" fmla="*/ 437045 w 481720"/>
                  <a:gd name="connsiteY57" fmla="*/ 1984 h 25796"/>
                  <a:gd name="connsiteX58" fmla="*/ 453415 w 481720"/>
                  <a:gd name="connsiteY58" fmla="*/ 1488 h 25796"/>
                  <a:gd name="connsiteX59" fmla="*/ 469786 w 481720"/>
                  <a:gd name="connsiteY59" fmla="*/ 992 h 25796"/>
                  <a:gd name="connsiteX60" fmla="*/ 481196 w 481720"/>
                  <a:gd name="connsiteY60" fmla="*/ 12402 h 25796"/>
                  <a:gd name="connsiteX61" fmla="*/ 481692 w 481720"/>
                  <a:gd name="connsiteY61" fmla="*/ 12402 h 25796"/>
                  <a:gd name="connsiteX62" fmla="*/ 469786 w 481720"/>
                  <a:gd name="connsiteY62" fmla="*/ 24308 h 2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720" h="25796">
                    <a:moveTo>
                      <a:pt x="469786" y="24308"/>
                    </a:moveTo>
                    <a:cubicBezTo>
                      <a:pt x="461352" y="24308"/>
                      <a:pt x="461352" y="25796"/>
                      <a:pt x="453415" y="25796"/>
                    </a:cubicBezTo>
                    <a:cubicBezTo>
                      <a:pt x="444982" y="25796"/>
                      <a:pt x="444982" y="25300"/>
                      <a:pt x="437045" y="25300"/>
                    </a:cubicBezTo>
                    <a:cubicBezTo>
                      <a:pt x="428611" y="25300"/>
                      <a:pt x="428611" y="24804"/>
                      <a:pt x="420674" y="24804"/>
                    </a:cubicBezTo>
                    <a:cubicBezTo>
                      <a:pt x="412241" y="24804"/>
                      <a:pt x="412241" y="24308"/>
                      <a:pt x="404304" y="24308"/>
                    </a:cubicBezTo>
                    <a:cubicBezTo>
                      <a:pt x="395870" y="24308"/>
                      <a:pt x="395870" y="25300"/>
                      <a:pt x="387933" y="25300"/>
                    </a:cubicBezTo>
                    <a:cubicBezTo>
                      <a:pt x="379500" y="25300"/>
                      <a:pt x="379500" y="25796"/>
                      <a:pt x="371563" y="25796"/>
                    </a:cubicBezTo>
                    <a:cubicBezTo>
                      <a:pt x="363129" y="25796"/>
                      <a:pt x="363129" y="25796"/>
                      <a:pt x="355192" y="25796"/>
                    </a:cubicBezTo>
                    <a:cubicBezTo>
                      <a:pt x="346759" y="25796"/>
                      <a:pt x="346759" y="25796"/>
                      <a:pt x="338821" y="25796"/>
                    </a:cubicBezTo>
                    <a:cubicBezTo>
                      <a:pt x="330388" y="25796"/>
                      <a:pt x="330388" y="25796"/>
                      <a:pt x="322451" y="25796"/>
                    </a:cubicBezTo>
                    <a:cubicBezTo>
                      <a:pt x="314018" y="25796"/>
                      <a:pt x="314018" y="25796"/>
                      <a:pt x="306080" y="25796"/>
                    </a:cubicBezTo>
                    <a:cubicBezTo>
                      <a:pt x="297647" y="25796"/>
                      <a:pt x="297647" y="25796"/>
                      <a:pt x="289710" y="25796"/>
                    </a:cubicBezTo>
                    <a:cubicBezTo>
                      <a:pt x="281276" y="25796"/>
                      <a:pt x="281276" y="25796"/>
                      <a:pt x="273339" y="25796"/>
                    </a:cubicBezTo>
                    <a:cubicBezTo>
                      <a:pt x="264906" y="25796"/>
                      <a:pt x="264906" y="25796"/>
                      <a:pt x="256969" y="25796"/>
                    </a:cubicBezTo>
                    <a:cubicBezTo>
                      <a:pt x="248535" y="25796"/>
                      <a:pt x="248535" y="25796"/>
                      <a:pt x="240598" y="25796"/>
                    </a:cubicBezTo>
                    <a:cubicBezTo>
                      <a:pt x="232165" y="25796"/>
                      <a:pt x="232165" y="25796"/>
                      <a:pt x="224227" y="25796"/>
                    </a:cubicBezTo>
                    <a:cubicBezTo>
                      <a:pt x="215794" y="25796"/>
                      <a:pt x="215794" y="24308"/>
                      <a:pt x="207857" y="24308"/>
                    </a:cubicBezTo>
                    <a:cubicBezTo>
                      <a:pt x="199423" y="24308"/>
                      <a:pt x="199423" y="24804"/>
                      <a:pt x="191486" y="24804"/>
                    </a:cubicBezTo>
                    <a:cubicBezTo>
                      <a:pt x="183053" y="24804"/>
                      <a:pt x="183053" y="25796"/>
                      <a:pt x="175116" y="25796"/>
                    </a:cubicBezTo>
                    <a:cubicBezTo>
                      <a:pt x="166682" y="25796"/>
                      <a:pt x="166682" y="24308"/>
                      <a:pt x="158745" y="24308"/>
                    </a:cubicBezTo>
                    <a:cubicBezTo>
                      <a:pt x="150312" y="24308"/>
                      <a:pt x="150312" y="25300"/>
                      <a:pt x="142374" y="25300"/>
                    </a:cubicBezTo>
                    <a:cubicBezTo>
                      <a:pt x="133941" y="25300"/>
                      <a:pt x="133941" y="24804"/>
                      <a:pt x="126004" y="24804"/>
                    </a:cubicBezTo>
                    <a:cubicBezTo>
                      <a:pt x="118067" y="24804"/>
                      <a:pt x="117571" y="24804"/>
                      <a:pt x="109633" y="24804"/>
                    </a:cubicBezTo>
                    <a:cubicBezTo>
                      <a:pt x="101200" y="24804"/>
                      <a:pt x="101200" y="24804"/>
                      <a:pt x="93263" y="24804"/>
                    </a:cubicBezTo>
                    <a:cubicBezTo>
                      <a:pt x="84830" y="24804"/>
                      <a:pt x="84830" y="25796"/>
                      <a:pt x="76892" y="25796"/>
                    </a:cubicBezTo>
                    <a:cubicBezTo>
                      <a:pt x="68459" y="25796"/>
                      <a:pt x="68459" y="23812"/>
                      <a:pt x="60522" y="23812"/>
                    </a:cubicBezTo>
                    <a:cubicBezTo>
                      <a:pt x="52088" y="23812"/>
                      <a:pt x="52088" y="24804"/>
                      <a:pt x="44151" y="24804"/>
                    </a:cubicBezTo>
                    <a:cubicBezTo>
                      <a:pt x="35718" y="24804"/>
                      <a:pt x="35718" y="24308"/>
                      <a:pt x="27781" y="24308"/>
                    </a:cubicBezTo>
                    <a:cubicBezTo>
                      <a:pt x="19843" y="24308"/>
                      <a:pt x="19347" y="25300"/>
                      <a:pt x="11410" y="25300"/>
                    </a:cubicBezTo>
                    <a:cubicBezTo>
                      <a:pt x="4961" y="25300"/>
                      <a:pt x="0" y="19843"/>
                      <a:pt x="0" y="13394"/>
                    </a:cubicBezTo>
                    <a:cubicBezTo>
                      <a:pt x="0" y="13394"/>
                      <a:pt x="496" y="13394"/>
                      <a:pt x="496" y="13394"/>
                    </a:cubicBezTo>
                    <a:cubicBezTo>
                      <a:pt x="496" y="6945"/>
                      <a:pt x="4961" y="496"/>
                      <a:pt x="11410" y="496"/>
                    </a:cubicBezTo>
                    <a:cubicBezTo>
                      <a:pt x="19843" y="496"/>
                      <a:pt x="19843" y="2480"/>
                      <a:pt x="27781" y="2480"/>
                    </a:cubicBezTo>
                    <a:cubicBezTo>
                      <a:pt x="36214" y="2480"/>
                      <a:pt x="36214" y="496"/>
                      <a:pt x="44151" y="496"/>
                    </a:cubicBezTo>
                    <a:cubicBezTo>
                      <a:pt x="52584" y="496"/>
                      <a:pt x="52584" y="1984"/>
                      <a:pt x="60522" y="1984"/>
                    </a:cubicBezTo>
                    <a:cubicBezTo>
                      <a:pt x="68955" y="1984"/>
                      <a:pt x="68955" y="496"/>
                      <a:pt x="76892" y="496"/>
                    </a:cubicBezTo>
                    <a:cubicBezTo>
                      <a:pt x="85325" y="496"/>
                      <a:pt x="85325" y="2480"/>
                      <a:pt x="93263" y="2480"/>
                    </a:cubicBezTo>
                    <a:cubicBezTo>
                      <a:pt x="101696" y="2480"/>
                      <a:pt x="101696" y="992"/>
                      <a:pt x="109633" y="992"/>
                    </a:cubicBezTo>
                    <a:cubicBezTo>
                      <a:pt x="118067" y="992"/>
                      <a:pt x="118067" y="496"/>
                      <a:pt x="126004" y="496"/>
                    </a:cubicBezTo>
                    <a:cubicBezTo>
                      <a:pt x="134437" y="496"/>
                      <a:pt x="134437" y="2480"/>
                      <a:pt x="142374" y="2480"/>
                    </a:cubicBezTo>
                    <a:cubicBezTo>
                      <a:pt x="150808" y="2480"/>
                      <a:pt x="150808" y="1488"/>
                      <a:pt x="158745" y="1488"/>
                    </a:cubicBezTo>
                    <a:cubicBezTo>
                      <a:pt x="167178" y="1488"/>
                      <a:pt x="167178" y="992"/>
                      <a:pt x="175116" y="992"/>
                    </a:cubicBezTo>
                    <a:cubicBezTo>
                      <a:pt x="183549" y="992"/>
                      <a:pt x="183549" y="1984"/>
                      <a:pt x="191486" y="1984"/>
                    </a:cubicBezTo>
                    <a:cubicBezTo>
                      <a:pt x="199920" y="1984"/>
                      <a:pt x="199920" y="1488"/>
                      <a:pt x="207857" y="1488"/>
                    </a:cubicBezTo>
                    <a:cubicBezTo>
                      <a:pt x="216290" y="1488"/>
                      <a:pt x="216290" y="496"/>
                      <a:pt x="224227" y="496"/>
                    </a:cubicBezTo>
                    <a:cubicBezTo>
                      <a:pt x="232661" y="496"/>
                      <a:pt x="232661" y="496"/>
                      <a:pt x="240598" y="496"/>
                    </a:cubicBezTo>
                    <a:cubicBezTo>
                      <a:pt x="249031" y="496"/>
                      <a:pt x="249031" y="1984"/>
                      <a:pt x="256969" y="1984"/>
                    </a:cubicBezTo>
                    <a:cubicBezTo>
                      <a:pt x="265402" y="1984"/>
                      <a:pt x="265402" y="496"/>
                      <a:pt x="273339" y="496"/>
                    </a:cubicBezTo>
                    <a:cubicBezTo>
                      <a:pt x="281773" y="496"/>
                      <a:pt x="281773" y="496"/>
                      <a:pt x="289710" y="496"/>
                    </a:cubicBezTo>
                    <a:cubicBezTo>
                      <a:pt x="298143" y="496"/>
                      <a:pt x="298143" y="1984"/>
                      <a:pt x="306080" y="1984"/>
                    </a:cubicBezTo>
                    <a:cubicBezTo>
                      <a:pt x="314514" y="1984"/>
                      <a:pt x="314514" y="0"/>
                      <a:pt x="322451" y="0"/>
                    </a:cubicBezTo>
                    <a:cubicBezTo>
                      <a:pt x="330884" y="0"/>
                      <a:pt x="330884" y="992"/>
                      <a:pt x="338821" y="992"/>
                    </a:cubicBezTo>
                    <a:cubicBezTo>
                      <a:pt x="347255" y="992"/>
                      <a:pt x="347255" y="1984"/>
                      <a:pt x="355192" y="1984"/>
                    </a:cubicBezTo>
                    <a:cubicBezTo>
                      <a:pt x="363129" y="1984"/>
                      <a:pt x="363625" y="992"/>
                      <a:pt x="371563" y="992"/>
                    </a:cubicBezTo>
                    <a:cubicBezTo>
                      <a:pt x="379996" y="992"/>
                      <a:pt x="379996" y="1488"/>
                      <a:pt x="387933" y="1488"/>
                    </a:cubicBezTo>
                    <a:cubicBezTo>
                      <a:pt x="396366" y="1488"/>
                      <a:pt x="396366" y="0"/>
                      <a:pt x="404304" y="0"/>
                    </a:cubicBezTo>
                    <a:cubicBezTo>
                      <a:pt x="412737" y="0"/>
                      <a:pt x="412737" y="496"/>
                      <a:pt x="420674" y="496"/>
                    </a:cubicBezTo>
                    <a:cubicBezTo>
                      <a:pt x="429107" y="496"/>
                      <a:pt x="429107" y="1984"/>
                      <a:pt x="437045" y="1984"/>
                    </a:cubicBezTo>
                    <a:cubicBezTo>
                      <a:pt x="445478" y="1984"/>
                      <a:pt x="445478" y="1488"/>
                      <a:pt x="453415" y="1488"/>
                    </a:cubicBezTo>
                    <a:cubicBezTo>
                      <a:pt x="461352" y="1488"/>
                      <a:pt x="461849" y="992"/>
                      <a:pt x="469786" y="992"/>
                    </a:cubicBezTo>
                    <a:cubicBezTo>
                      <a:pt x="476235" y="992"/>
                      <a:pt x="481196" y="5953"/>
                      <a:pt x="481196" y="12402"/>
                    </a:cubicBezTo>
                    <a:cubicBezTo>
                      <a:pt x="481196" y="12402"/>
                      <a:pt x="481692" y="12402"/>
                      <a:pt x="481692" y="12402"/>
                    </a:cubicBezTo>
                    <a:cubicBezTo>
                      <a:pt x="482188" y="19843"/>
                      <a:pt x="476235" y="24308"/>
                      <a:pt x="469786" y="24308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84" name="Graphic 10">
                <a:extLst>
                  <a:ext uri="{FF2B5EF4-FFF2-40B4-BE49-F238E27FC236}">
                    <a16:creationId xmlns:a16="http://schemas.microsoft.com/office/drawing/2014/main" id="{23670975-D9CF-B4DA-D77B-900D7C22F839}"/>
                  </a:ext>
                </a:extLst>
              </p:cNvPr>
              <p:cNvGrpSpPr/>
              <p:nvPr/>
            </p:nvGrpSpPr>
            <p:grpSpPr>
              <a:xfrm>
                <a:off x="3997265" y="3440796"/>
                <a:ext cx="19843" cy="170154"/>
                <a:chOff x="3997265" y="3440796"/>
                <a:chExt cx="19843" cy="170154"/>
              </a:xfrm>
              <a:noFill/>
            </p:grpSpPr>
            <p:sp>
              <p:nvSpPr>
                <p:cNvPr id="1703" name="Freeform: Shape 1702">
                  <a:extLst>
                    <a:ext uri="{FF2B5EF4-FFF2-40B4-BE49-F238E27FC236}">
                      <a16:creationId xmlns:a16="http://schemas.microsoft.com/office/drawing/2014/main" id="{8357B9D1-B677-DE5D-5EFC-92B86B5B95AA}"/>
                    </a:ext>
                  </a:extLst>
                </p:cNvPr>
                <p:cNvSpPr/>
                <p:nvPr/>
              </p:nvSpPr>
              <p:spPr>
                <a:xfrm>
                  <a:off x="399726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1488 w 1984"/>
                    <a:gd name="connsiteY1" fmla="*/ 151800 h 168666"/>
                    <a:gd name="connsiteX2" fmla="*/ 1984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496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984" y="143366"/>
                        <a:pt x="1984" y="134933"/>
                      </a:cubicBezTo>
                      <a:cubicBezTo>
                        <a:pt x="1984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496" y="59033"/>
                        <a:pt x="496" y="50600"/>
                      </a:cubicBezTo>
                      <a:cubicBezTo>
                        <a:pt x="496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4" name="Freeform: Shape 1703">
                  <a:extLst>
                    <a:ext uri="{FF2B5EF4-FFF2-40B4-BE49-F238E27FC236}">
                      <a16:creationId xmlns:a16="http://schemas.microsoft.com/office/drawing/2014/main" id="{A4CE097C-6423-8B01-0BF8-69B9342E8866}"/>
                    </a:ext>
                  </a:extLst>
                </p:cNvPr>
                <p:cNvSpPr/>
                <p:nvPr/>
              </p:nvSpPr>
              <p:spPr>
                <a:xfrm>
                  <a:off x="4015124" y="3440796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0 h 168666"/>
                    <a:gd name="connsiteX1" fmla="*/ 0 w 1984"/>
                    <a:gd name="connsiteY1" fmla="*/ 16867 h 168666"/>
                    <a:gd name="connsiteX2" fmla="*/ 0 w 1984"/>
                    <a:gd name="connsiteY2" fmla="*/ 33734 h 168666"/>
                    <a:gd name="connsiteX3" fmla="*/ 496 w 1984"/>
                    <a:gd name="connsiteY3" fmla="*/ 50600 h 168666"/>
                    <a:gd name="connsiteX4" fmla="*/ 992 w 1984"/>
                    <a:gd name="connsiteY4" fmla="*/ 67467 h 168666"/>
                    <a:gd name="connsiteX5" fmla="*/ 1488 w 1984"/>
                    <a:gd name="connsiteY5" fmla="*/ 84333 h 168666"/>
                    <a:gd name="connsiteX6" fmla="*/ 496 w 1984"/>
                    <a:gd name="connsiteY6" fmla="*/ 101200 h 168666"/>
                    <a:gd name="connsiteX7" fmla="*/ 1984 w 1984"/>
                    <a:gd name="connsiteY7" fmla="*/ 118067 h 168666"/>
                    <a:gd name="connsiteX8" fmla="*/ 1488 w 1984"/>
                    <a:gd name="connsiteY8" fmla="*/ 134933 h 168666"/>
                    <a:gd name="connsiteX9" fmla="*/ 0 w 1984"/>
                    <a:gd name="connsiteY9" fmla="*/ 151800 h 168666"/>
                    <a:gd name="connsiteX10" fmla="*/ 496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0" y="25300"/>
                        <a:pt x="0" y="33734"/>
                      </a:cubicBezTo>
                      <a:cubicBezTo>
                        <a:pt x="0" y="42167"/>
                        <a:pt x="496" y="42167"/>
                        <a:pt x="496" y="50600"/>
                      </a:cubicBezTo>
                      <a:cubicBezTo>
                        <a:pt x="496" y="59033"/>
                        <a:pt x="992" y="59033"/>
                        <a:pt x="992" y="67467"/>
                      </a:cubicBezTo>
                      <a:cubicBezTo>
                        <a:pt x="992" y="75900"/>
                        <a:pt x="1488" y="75900"/>
                        <a:pt x="1488" y="84333"/>
                      </a:cubicBezTo>
                      <a:cubicBezTo>
                        <a:pt x="1488" y="92767"/>
                        <a:pt x="496" y="92767"/>
                        <a:pt x="496" y="101200"/>
                      </a:cubicBezTo>
                      <a:cubicBezTo>
                        <a:pt x="496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  <a:cubicBezTo>
                        <a:pt x="0" y="160233"/>
                        <a:pt x="496" y="160233"/>
                        <a:pt x="496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5" name="Graphic 10">
                <a:extLst>
                  <a:ext uri="{FF2B5EF4-FFF2-40B4-BE49-F238E27FC236}">
                    <a16:creationId xmlns:a16="http://schemas.microsoft.com/office/drawing/2014/main" id="{167B7E3F-207F-4055-9C28-A04DFF46AD46}"/>
                  </a:ext>
                </a:extLst>
              </p:cNvPr>
              <p:cNvGrpSpPr/>
              <p:nvPr/>
            </p:nvGrpSpPr>
            <p:grpSpPr>
              <a:xfrm>
                <a:off x="4067709" y="3442284"/>
                <a:ext cx="19347" cy="170154"/>
                <a:chOff x="4067709" y="3442284"/>
                <a:chExt cx="19347" cy="170154"/>
              </a:xfrm>
              <a:noFill/>
            </p:grpSpPr>
            <p:sp>
              <p:nvSpPr>
                <p:cNvPr id="1701" name="Freeform: Shape 1700">
                  <a:extLst>
                    <a:ext uri="{FF2B5EF4-FFF2-40B4-BE49-F238E27FC236}">
                      <a16:creationId xmlns:a16="http://schemas.microsoft.com/office/drawing/2014/main" id="{9FB820AE-C2B4-A9EB-3269-270676C83ABF}"/>
                    </a:ext>
                  </a:extLst>
                </p:cNvPr>
                <p:cNvSpPr/>
                <p:nvPr/>
              </p:nvSpPr>
              <p:spPr>
                <a:xfrm>
                  <a:off x="4067709" y="3442284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1984 w 1984"/>
                    <a:gd name="connsiteY1" fmla="*/ 151800 h 168666"/>
                    <a:gd name="connsiteX2" fmla="*/ 0 w 1984"/>
                    <a:gd name="connsiteY2" fmla="*/ 134933 h 168666"/>
                    <a:gd name="connsiteX3" fmla="*/ 496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1984 w 1984"/>
                    <a:gd name="connsiteY7" fmla="*/ 50600 h 168666"/>
                    <a:gd name="connsiteX8" fmla="*/ 496 w 1984"/>
                    <a:gd name="connsiteY8" fmla="*/ 33733 h 168666"/>
                    <a:gd name="connsiteX9" fmla="*/ 992 w 1984"/>
                    <a:gd name="connsiteY9" fmla="*/ 16866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1984" y="160233"/>
                        <a:pt x="1984" y="151800"/>
                      </a:cubicBezTo>
                      <a:cubicBezTo>
                        <a:pt x="1984" y="143366"/>
                        <a:pt x="0" y="143366"/>
                        <a:pt x="0" y="134933"/>
                      </a:cubicBezTo>
                      <a:cubicBezTo>
                        <a:pt x="0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1984" y="59033"/>
                        <a:pt x="1984" y="50600"/>
                      </a:cubicBezTo>
                      <a:cubicBezTo>
                        <a:pt x="1984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2" name="Freeform: Shape 1701">
                  <a:extLst>
                    <a:ext uri="{FF2B5EF4-FFF2-40B4-BE49-F238E27FC236}">
                      <a16:creationId xmlns:a16="http://schemas.microsoft.com/office/drawing/2014/main" id="{A834870D-AEAF-9307-75BC-D8C5F1CC5129}"/>
                    </a:ext>
                  </a:extLst>
                </p:cNvPr>
                <p:cNvSpPr/>
                <p:nvPr/>
              </p:nvSpPr>
              <p:spPr>
                <a:xfrm>
                  <a:off x="4085071" y="3460639"/>
                  <a:ext cx="1984" cy="151800"/>
                </a:xfrm>
                <a:custGeom>
                  <a:avLst/>
                  <a:gdLst>
                    <a:gd name="connsiteX0" fmla="*/ 1488 w 1984"/>
                    <a:gd name="connsiteY0" fmla="*/ 0 h 151800"/>
                    <a:gd name="connsiteX1" fmla="*/ 992 w 1984"/>
                    <a:gd name="connsiteY1" fmla="*/ 16867 h 151800"/>
                    <a:gd name="connsiteX2" fmla="*/ 496 w 1984"/>
                    <a:gd name="connsiteY2" fmla="*/ 33734 h 151800"/>
                    <a:gd name="connsiteX3" fmla="*/ 1488 w 1984"/>
                    <a:gd name="connsiteY3" fmla="*/ 50600 h 151800"/>
                    <a:gd name="connsiteX4" fmla="*/ 0 w 1984"/>
                    <a:gd name="connsiteY4" fmla="*/ 67467 h 151800"/>
                    <a:gd name="connsiteX5" fmla="*/ 1984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1488 w 1984"/>
                    <a:gd name="connsiteY8" fmla="*/ 134933 h 151800"/>
                    <a:gd name="connsiteX9" fmla="*/ 1488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1488" y="0"/>
                      </a:moveTo>
                      <a:cubicBezTo>
                        <a:pt x="1488" y="8433"/>
                        <a:pt x="992" y="8433"/>
                        <a:pt x="992" y="16867"/>
                      </a:cubicBezTo>
                      <a:cubicBezTo>
                        <a:pt x="992" y="25300"/>
                        <a:pt x="496" y="25300"/>
                        <a:pt x="496" y="33734"/>
                      </a:cubicBezTo>
                      <a:cubicBezTo>
                        <a:pt x="496" y="42167"/>
                        <a:pt x="1488" y="42167"/>
                        <a:pt x="1488" y="50600"/>
                      </a:cubicBezTo>
                      <a:cubicBezTo>
                        <a:pt x="1488" y="59033"/>
                        <a:pt x="0" y="59033"/>
                        <a:pt x="0" y="67467"/>
                      </a:cubicBezTo>
                      <a:cubicBezTo>
                        <a:pt x="0" y="75900"/>
                        <a:pt x="1984" y="75900"/>
                        <a:pt x="1984" y="84333"/>
                      </a:cubicBezTo>
                      <a:cubicBezTo>
                        <a:pt x="1984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6" name="Graphic 10">
                <a:extLst>
                  <a:ext uri="{FF2B5EF4-FFF2-40B4-BE49-F238E27FC236}">
                    <a16:creationId xmlns:a16="http://schemas.microsoft.com/office/drawing/2014/main" id="{4AE1082C-1EC7-C883-DA08-052D52A53DED}"/>
                  </a:ext>
                </a:extLst>
              </p:cNvPr>
              <p:cNvGrpSpPr/>
              <p:nvPr/>
            </p:nvGrpSpPr>
            <p:grpSpPr>
              <a:xfrm>
                <a:off x="4137656" y="3442284"/>
                <a:ext cx="19843" cy="170154"/>
                <a:chOff x="4137656" y="3442284"/>
                <a:chExt cx="19843" cy="170154"/>
              </a:xfrm>
              <a:noFill/>
            </p:grpSpPr>
            <p:sp>
              <p:nvSpPr>
                <p:cNvPr id="1699" name="Freeform: Shape 1698">
                  <a:extLst>
                    <a:ext uri="{FF2B5EF4-FFF2-40B4-BE49-F238E27FC236}">
                      <a16:creationId xmlns:a16="http://schemas.microsoft.com/office/drawing/2014/main" id="{0BC43907-D139-D6CE-11C0-7C0E54997A77}"/>
                    </a:ext>
                  </a:extLst>
                </p:cNvPr>
                <p:cNvSpPr/>
                <p:nvPr/>
              </p:nvSpPr>
              <p:spPr>
                <a:xfrm>
                  <a:off x="4137656" y="3442284"/>
                  <a:ext cx="2480" cy="168666"/>
                </a:xfrm>
                <a:custGeom>
                  <a:avLst/>
                  <a:gdLst>
                    <a:gd name="connsiteX0" fmla="*/ 992 w 2480"/>
                    <a:gd name="connsiteY0" fmla="*/ 168666 h 168666"/>
                    <a:gd name="connsiteX1" fmla="*/ 1984 w 2480"/>
                    <a:gd name="connsiteY1" fmla="*/ 151800 h 168666"/>
                    <a:gd name="connsiteX2" fmla="*/ 2480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0 w 2480"/>
                    <a:gd name="connsiteY6" fmla="*/ 67466 h 168666"/>
                    <a:gd name="connsiteX7" fmla="*/ 0 w 2480"/>
                    <a:gd name="connsiteY7" fmla="*/ 50600 h 168666"/>
                    <a:gd name="connsiteX8" fmla="*/ 1984 w 2480"/>
                    <a:gd name="connsiteY8" fmla="*/ 33733 h 168666"/>
                    <a:gd name="connsiteX9" fmla="*/ 1488 w 2480"/>
                    <a:gd name="connsiteY9" fmla="*/ 16866 h 168666"/>
                    <a:gd name="connsiteX10" fmla="*/ 1984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992" y="168666"/>
                      </a:moveTo>
                      <a:cubicBezTo>
                        <a:pt x="992" y="160233"/>
                        <a:pt x="1984" y="160233"/>
                        <a:pt x="1984" y="151800"/>
                      </a:cubicBezTo>
                      <a:cubicBezTo>
                        <a:pt x="1984" y="143366"/>
                        <a:pt x="2480" y="143366"/>
                        <a:pt x="2480" y="134933"/>
                      </a:cubicBezTo>
                      <a:cubicBezTo>
                        <a:pt x="2480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1488" y="25300"/>
                        <a:pt x="1488" y="16866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0" name="Freeform: Shape 1699">
                  <a:extLst>
                    <a:ext uri="{FF2B5EF4-FFF2-40B4-BE49-F238E27FC236}">
                      <a16:creationId xmlns:a16="http://schemas.microsoft.com/office/drawing/2014/main" id="{90ADF1C0-9290-F49A-0803-B24341BD6FC8}"/>
                    </a:ext>
                  </a:extLst>
                </p:cNvPr>
                <p:cNvSpPr/>
                <p:nvPr/>
              </p:nvSpPr>
              <p:spPr>
                <a:xfrm>
                  <a:off x="4155514" y="3460639"/>
                  <a:ext cx="1984" cy="151800"/>
                </a:xfrm>
                <a:custGeom>
                  <a:avLst/>
                  <a:gdLst>
                    <a:gd name="connsiteX0" fmla="*/ 496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496 w 1984"/>
                    <a:gd name="connsiteY3" fmla="*/ 50600 h 151800"/>
                    <a:gd name="connsiteX4" fmla="*/ 1984 w 1984"/>
                    <a:gd name="connsiteY4" fmla="*/ 67467 h 151800"/>
                    <a:gd name="connsiteX5" fmla="*/ 1488 w 1984"/>
                    <a:gd name="connsiteY5" fmla="*/ 84333 h 151800"/>
                    <a:gd name="connsiteX6" fmla="*/ 1984 w 1984"/>
                    <a:gd name="connsiteY6" fmla="*/ 101200 h 151800"/>
                    <a:gd name="connsiteX7" fmla="*/ 0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496" y="0"/>
                      </a:moveTo>
                      <a:cubicBezTo>
                        <a:pt x="496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496" y="42167"/>
                        <a:pt x="496" y="50600"/>
                      </a:cubicBezTo>
                      <a:cubicBezTo>
                        <a:pt x="496" y="59033"/>
                        <a:pt x="1984" y="59033"/>
                        <a:pt x="1984" y="67467"/>
                      </a:cubicBezTo>
                      <a:cubicBezTo>
                        <a:pt x="1984" y="75900"/>
                        <a:pt x="1488" y="75900"/>
                        <a:pt x="1488" y="84333"/>
                      </a:cubicBezTo>
                      <a:cubicBezTo>
                        <a:pt x="1488" y="92767"/>
                        <a:pt x="1984" y="92767"/>
                        <a:pt x="1984" y="101200"/>
                      </a:cubicBezTo>
                      <a:cubicBezTo>
                        <a:pt x="1984" y="109633"/>
                        <a:pt x="0" y="109633"/>
                        <a:pt x="0" y="118067"/>
                      </a:cubicBezTo>
                      <a:cubicBezTo>
                        <a:pt x="0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7" name="Graphic 10">
                <a:extLst>
                  <a:ext uri="{FF2B5EF4-FFF2-40B4-BE49-F238E27FC236}">
                    <a16:creationId xmlns:a16="http://schemas.microsoft.com/office/drawing/2014/main" id="{AC2B0B3B-5CCB-0B54-B2FF-605810A39FF7}"/>
                  </a:ext>
                </a:extLst>
              </p:cNvPr>
              <p:cNvGrpSpPr/>
              <p:nvPr/>
            </p:nvGrpSpPr>
            <p:grpSpPr>
              <a:xfrm>
                <a:off x="4208595" y="3442284"/>
                <a:ext cx="19346" cy="170154"/>
                <a:chOff x="4208595" y="3442284"/>
                <a:chExt cx="19346" cy="170154"/>
              </a:xfrm>
              <a:noFill/>
            </p:grpSpPr>
            <p:sp>
              <p:nvSpPr>
                <p:cNvPr id="1697" name="Freeform: Shape 1696">
                  <a:extLst>
                    <a:ext uri="{FF2B5EF4-FFF2-40B4-BE49-F238E27FC236}">
                      <a16:creationId xmlns:a16="http://schemas.microsoft.com/office/drawing/2014/main" id="{B4B1E567-9525-1A45-0F19-D24CF4000BFE}"/>
                    </a:ext>
                  </a:extLst>
                </p:cNvPr>
                <p:cNvSpPr/>
                <p:nvPr/>
              </p:nvSpPr>
              <p:spPr>
                <a:xfrm>
                  <a:off x="420859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496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0 w 1984"/>
                    <a:gd name="connsiteY6" fmla="*/ 67466 h 168666"/>
                    <a:gd name="connsiteX7" fmla="*/ 0 w 1984"/>
                    <a:gd name="connsiteY7" fmla="*/ 50600 h 168666"/>
                    <a:gd name="connsiteX8" fmla="*/ 1488 w 1984"/>
                    <a:gd name="connsiteY8" fmla="*/ 33733 h 168666"/>
                    <a:gd name="connsiteX9" fmla="*/ 1984 w 1984"/>
                    <a:gd name="connsiteY9" fmla="*/ 16866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6"/>
                        <a:pt x="1984" y="143366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496" y="109633"/>
                        <a:pt x="496" y="101200"/>
                      </a:cubicBezTo>
                      <a:cubicBezTo>
                        <a:pt x="496" y="92766"/>
                        <a:pt x="0" y="92766"/>
                        <a:pt x="0" y="84333"/>
                      </a:cubicBezTo>
                      <a:cubicBezTo>
                        <a:pt x="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488" y="42167"/>
                        <a:pt x="1488" y="33733"/>
                      </a:cubicBezTo>
                      <a:cubicBezTo>
                        <a:pt x="1488" y="25300"/>
                        <a:pt x="1984" y="25300"/>
                        <a:pt x="1984" y="16866"/>
                      </a:cubicBezTo>
                      <a:cubicBezTo>
                        <a:pt x="1984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8" name="Freeform: Shape 1697">
                  <a:extLst>
                    <a:ext uri="{FF2B5EF4-FFF2-40B4-BE49-F238E27FC236}">
                      <a16:creationId xmlns:a16="http://schemas.microsoft.com/office/drawing/2014/main" id="{3BFE496A-761A-BAEF-7271-58DA8A2F2DB3}"/>
                    </a:ext>
                  </a:extLst>
                </p:cNvPr>
                <p:cNvSpPr/>
                <p:nvPr/>
              </p:nvSpPr>
              <p:spPr>
                <a:xfrm>
                  <a:off x="4225461" y="3460639"/>
                  <a:ext cx="2480" cy="151800"/>
                </a:xfrm>
                <a:custGeom>
                  <a:avLst/>
                  <a:gdLst>
                    <a:gd name="connsiteX0" fmla="*/ 0 w 2480"/>
                    <a:gd name="connsiteY0" fmla="*/ 0 h 151800"/>
                    <a:gd name="connsiteX1" fmla="*/ 1488 w 2480"/>
                    <a:gd name="connsiteY1" fmla="*/ 16867 h 151800"/>
                    <a:gd name="connsiteX2" fmla="*/ 496 w 2480"/>
                    <a:gd name="connsiteY2" fmla="*/ 33734 h 151800"/>
                    <a:gd name="connsiteX3" fmla="*/ 992 w 2480"/>
                    <a:gd name="connsiteY3" fmla="*/ 50600 h 151800"/>
                    <a:gd name="connsiteX4" fmla="*/ 992 w 2480"/>
                    <a:gd name="connsiteY4" fmla="*/ 67467 h 151800"/>
                    <a:gd name="connsiteX5" fmla="*/ 992 w 2480"/>
                    <a:gd name="connsiteY5" fmla="*/ 84333 h 151800"/>
                    <a:gd name="connsiteX6" fmla="*/ 2480 w 2480"/>
                    <a:gd name="connsiteY6" fmla="*/ 101200 h 151800"/>
                    <a:gd name="connsiteX7" fmla="*/ 1984 w 2480"/>
                    <a:gd name="connsiteY7" fmla="*/ 118067 h 151800"/>
                    <a:gd name="connsiteX8" fmla="*/ 0 w 2480"/>
                    <a:gd name="connsiteY8" fmla="*/ 134933 h 151800"/>
                    <a:gd name="connsiteX9" fmla="*/ 1984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992" y="42167"/>
                        <a:pt x="992" y="50600"/>
                      </a:cubicBezTo>
                      <a:cubicBezTo>
                        <a:pt x="992" y="59033"/>
                        <a:pt x="992" y="59033"/>
                        <a:pt x="992" y="67467"/>
                      </a:cubicBezTo>
                      <a:cubicBezTo>
                        <a:pt x="992" y="75900"/>
                        <a:pt x="992" y="75900"/>
                        <a:pt x="992" y="84333"/>
                      </a:cubicBezTo>
                      <a:cubicBezTo>
                        <a:pt x="992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0" y="126500"/>
                        <a:pt x="0" y="134933"/>
                      </a:cubicBezTo>
                      <a:cubicBezTo>
                        <a:pt x="0" y="143367"/>
                        <a:pt x="1984" y="143367"/>
                        <a:pt x="1984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8" name="Graphic 10">
                <a:extLst>
                  <a:ext uri="{FF2B5EF4-FFF2-40B4-BE49-F238E27FC236}">
                    <a16:creationId xmlns:a16="http://schemas.microsoft.com/office/drawing/2014/main" id="{74EC2F08-B0B6-5F87-3DE3-6EB2DEF658F9}"/>
                  </a:ext>
                </a:extLst>
              </p:cNvPr>
              <p:cNvGrpSpPr/>
              <p:nvPr/>
            </p:nvGrpSpPr>
            <p:grpSpPr>
              <a:xfrm>
                <a:off x="4279038" y="3442284"/>
                <a:ext cx="18354" cy="170154"/>
                <a:chOff x="4279038" y="3442284"/>
                <a:chExt cx="18354" cy="170154"/>
              </a:xfrm>
              <a:noFill/>
            </p:grpSpPr>
            <p:sp>
              <p:nvSpPr>
                <p:cNvPr id="1695" name="Freeform: Shape 1694">
                  <a:extLst>
                    <a:ext uri="{FF2B5EF4-FFF2-40B4-BE49-F238E27FC236}">
                      <a16:creationId xmlns:a16="http://schemas.microsoft.com/office/drawing/2014/main" id="{0CCC9AEF-6B56-8552-A8D3-008FD90432AF}"/>
                    </a:ext>
                  </a:extLst>
                </p:cNvPr>
                <p:cNvSpPr/>
                <p:nvPr/>
              </p:nvSpPr>
              <p:spPr>
                <a:xfrm>
                  <a:off x="4279038" y="3442284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0 w 1984"/>
                    <a:gd name="connsiteY5" fmla="*/ 84333 h 168666"/>
                    <a:gd name="connsiteX6" fmla="*/ 1488 w 1984"/>
                    <a:gd name="connsiteY6" fmla="*/ 67466 h 168666"/>
                    <a:gd name="connsiteX7" fmla="*/ 0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6"/>
                        <a:pt x="0" y="143366"/>
                        <a:pt x="0" y="134933"/>
                      </a:cubicBezTo>
                      <a:cubicBezTo>
                        <a:pt x="0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0" y="92766"/>
                        <a:pt x="0" y="84333"/>
                      </a:cubicBezTo>
                      <a:cubicBezTo>
                        <a:pt x="0" y="75900"/>
                        <a:pt x="1488" y="75900"/>
                        <a:pt x="1488" y="67466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6" name="Freeform: Shape 1695">
                  <a:extLst>
                    <a:ext uri="{FF2B5EF4-FFF2-40B4-BE49-F238E27FC236}">
                      <a16:creationId xmlns:a16="http://schemas.microsoft.com/office/drawing/2014/main" id="{46C4E6A9-CCB7-BA8A-3FA4-093EB88D71F1}"/>
                    </a:ext>
                  </a:extLst>
                </p:cNvPr>
                <p:cNvSpPr/>
                <p:nvPr/>
              </p:nvSpPr>
              <p:spPr>
                <a:xfrm>
                  <a:off x="4295408" y="3460639"/>
                  <a:ext cx="1984" cy="151800"/>
                </a:xfrm>
                <a:custGeom>
                  <a:avLst/>
                  <a:gdLst>
                    <a:gd name="connsiteX0" fmla="*/ 992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992 w 1984"/>
                    <a:gd name="connsiteY3" fmla="*/ 50600 h 151800"/>
                    <a:gd name="connsiteX4" fmla="*/ 1984 w 1984"/>
                    <a:gd name="connsiteY4" fmla="*/ 67467 h 151800"/>
                    <a:gd name="connsiteX5" fmla="*/ 0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992" y="0"/>
                      </a:moveTo>
                      <a:cubicBezTo>
                        <a:pt x="992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992" y="42167"/>
                        <a:pt x="992" y="50600"/>
                      </a:cubicBezTo>
                      <a:cubicBezTo>
                        <a:pt x="992" y="59033"/>
                        <a:pt x="1984" y="59033"/>
                        <a:pt x="1984" y="67467"/>
                      </a:cubicBezTo>
                      <a:cubicBezTo>
                        <a:pt x="1984" y="75900"/>
                        <a:pt x="0" y="75900"/>
                        <a:pt x="0" y="84333"/>
                      </a:cubicBezTo>
                      <a:cubicBezTo>
                        <a:pt x="0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9" name="Graphic 10">
                <a:extLst>
                  <a:ext uri="{FF2B5EF4-FFF2-40B4-BE49-F238E27FC236}">
                    <a16:creationId xmlns:a16="http://schemas.microsoft.com/office/drawing/2014/main" id="{7C604C39-8510-FAED-4764-6C597DB5C949}"/>
                  </a:ext>
                </a:extLst>
              </p:cNvPr>
              <p:cNvGrpSpPr/>
              <p:nvPr/>
            </p:nvGrpSpPr>
            <p:grpSpPr>
              <a:xfrm>
                <a:off x="4348985" y="3442284"/>
                <a:ext cx="19843" cy="170154"/>
                <a:chOff x="4348985" y="3442284"/>
                <a:chExt cx="19843" cy="170154"/>
              </a:xfrm>
              <a:noFill/>
            </p:grpSpPr>
            <p:sp>
              <p:nvSpPr>
                <p:cNvPr id="1693" name="Freeform: Shape 1692">
                  <a:extLst>
                    <a:ext uri="{FF2B5EF4-FFF2-40B4-BE49-F238E27FC236}">
                      <a16:creationId xmlns:a16="http://schemas.microsoft.com/office/drawing/2014/main" id="{B1F054C6-3795-C5B6-2D9D-347A9C11DF3B}"/>
                    </a:ext>
                  </a:extLst>
                </p:cNvPr>
                <p:cNvSpPr/>
                <p:nvPr/>
              </p:nvSpPr>
              <p:spPr>
                <a:xfrm>
                  <a:off x="4348985" y="3442284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1488 w 1488"/>
                    <a:gd name="connsiteY1" fmla="*/ 151800 h 168666"/>
                    <a:gd name="connsiteX2" fmla="*/ 1488 w 1488"/>
                    <a:gd name="connsiteY2" fmla="*/ 134933 h 168666"/>
                    <a:gd name="connsiteX3" fmla="*/ 496 w 1488"/>
                    <a:gd name="connsiteY3" fmla="*/ 118066 h 168666"/>
                    <a:gd name="connsiteX4" fmla="*/ 992 w 1488"/>
                    <a:gd name="connsiteY4" fmla="*/ 101200 h 168666"/>
                    <a:gd name="connsiteX5" fmla="*/ 992 w 1488"/>
                    <a:gd name="connsiteY5" fmla="*/ 84333 h 168666"/>
                    <a:gd name="connsiteX6" fmla="*/ 496 w 1488"/>
                    <a:gd name="connsiteY6" fmla="*/ 67466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992 w 1488"/>
                    <a:gd name="connsiteY9" fmla="*/ 16866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488" y="143366"/>
                        <a:pt x="1488" y="134933"/>
                      </a:cubicBezTo>
                      <a:cubicBezTo>
                        <a:pt x="1488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992" y="92766"/>
                        <a:pt x="992" y="84333"/>
                      </a:cubicBezTo>
                      <a:cubicBezTo>
                        <a:pt x="992" y="75900"/>
                        <a:pt x="496" y="75900"/>
                        <a:pt x="496" y="67466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4" name="Freeform: Shape 1693">
                  <a:extLst>
                    <a:ext uri="{FF2B5EF4-FFF2-40B4-BE49-F238E27FC236}">
                      <a16:creationId xmlns:a16="http://schemas.microsoft.com/office/drawing/2014/main" id="{9B1BF795-AE9C-3E14-BA0B-7DE5B1B70F82}"/>
                    </a:ext>
                  </a:extLst>
                </p:cNvPr>
                <p:cNvSpPr/>
                <p:nvPr/>
              </p:nvSpPr>
              <p:spPr>
                <a:xfrm>
                  <a:off x="4366348" y="3460639"/>
                  <a:ext cx="2480" cy="151800"/>
                </a:xfrm>
                <a:custGeom>
                  <a:avLst/>
                  <a:gdLst>
                    <a:gd name="connsiteX0" fmla="*/ 1984 w 2480"/>
                    <a:gd name="connsiteY0" fmla="*/ 0 h 151800"/>
                    <a:gd name="connsiteX1" fmla="*/ 496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0 w 2480"/>
                    <a:gd name="connsiteY4" fmla="*/ 67467 h 151800"/>
                    <a:gd name="connsiteX5" fmla="*/ 992 w 2480"/>
                    <a:gd name="connsiteY5" fmla="*/ 84333 h 151800"/>
                    <a:gd name="connsiteX6" fmla="*/ 1984 w 2480"/>
                    <a:gd name="connsiteY6" fmla="*/ 101200 h 151800"/>
                    <a:gd name="connsiteX7" fmla="*/ 1984 w 2480"/>
                    <a:gd name="connsiteY7" fmla="*/ 118067 h 151800"/>
                    <a:gd name="connsiteX8" fmla="*/ 2480 w 2480"/>
                    <a:gd name="connsiteY8" fmla="*/ 134933 h 151800"/>
                    <a:gd name="connsiteX9" fmla="*/ 248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984" y="0"/>
                      </a:moveTo>
                      <a:cubicBezTo>
                        <a:pt x="1984" y="8433"/>
                        <a:pt x="496" y="8433"/>
                        <a:pt x="496" y="16867"/>
                      </a:cubicBezTo>
                      <a:cubicBezTo>
                        <a:pt x="496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0" y="59033"/>
                        <a:pt x="0" y="67467"/>
                      </a:cubicBezTo>
                      <a:cubicBezTo>
                        <a:pt x="0" y="75900"/>
                        <a:pt x="992" y="75900"/>
                        <a:pt x="992" y="84333"/>
                      </a:cubicBezTo>
                      <a:cubicBezTo>
                        <a:pt x="992" y="92767"/>
                        <a:pt x="1984" y="92767"/>
                        <a:pt x="1984" y="101200"/>
                      </a:cubicBezTo>
                      <a:cubicBezTo>
                        <a:pt x="1984" y="109633"/>
                        <a:pt x="1984" y="109633"/>
                        <a:pt x="1984" y="118067"/>
                      </a:cubicBezTo>
                      <a:cubicBezTo>
                        <a:pt x="1984" y="126500"/>
                        <a:pt x="2480" y="126500"/>
                        <a:pt x="2480" y="134933"/>
                      </a:cubicBezTo>
                      <a:cubicBezTo>
                        <a:pt x="2480" y="143367"/>
                        <a:pt x="2480" y="143367"/>
                        <a:pt x="248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90" name="Graphic 10">
                <a:extLst>
                  <a:ext uri="{FF2B5EF4-FFF2-40B4-BE49-F238E27FC236}">
                    <a16:creationId xmlns:a16="http://schemas.microsoft.com/office/drawing/2014/main" id="{0660918F-798D-78C7-CF43-DBD3E776D05D}"/>
                  </a:ext>
                </a:extLst>
              </p:cNvPr>
              <p:cNvGrpSpPr/>
              <p:nvPr/>
            </p:nvGrpSpPr>
            <p:grpSpPr>
              <a:xfrm>
                <a:off x="4419428" y="3440796"/>
                <a:ext cx="19346" cy="170154"/>
                <a:chOff x="4419428" y="3440796"/>
                <a:chExt cx="19346" cy="170154"/>
              </a:xfrm>
              <a:noFill/>
            </p:grpSpPr>
            <p:sp>
              <p:nvSpPr>
                <p:cNvPr id="1691" name="Freeform: Shape 1690">
                  <a:extLst>
                    <a:ext uri="{FF2B5EF4-FFF2-40B4-BE49-F238E27FC236}">
                      <a16:creationId xmlns:a16="http://schemas.microsoft.com/office/drawing/2014/main" id="{375E8AE2-4C9C-79F4-ACA0-A0B3D92617E9}"/>
                    </a:ext>
                  </a:extLst>
                </p:cNvPr>
                <p:cNvSpPr/>
                <p:nvPr/>
              </p:nvSpPr>
              <p:spPr>
                <a:xfrm>
                  <a:off x="4419428" y="3442284"/>
                  <a:ext cx="2480" cy="168666"/>
                </a:xfrm>
                <a:custGeom>
                  <a:avLst/>
                  <a:gdLst>
                    <a:gd name="connsiteX0" fmla="*/ 496 w 2480"/>
                    <a:gd name="connsiteY0" fmla="*/ 168666 h 168666"/>
                    <a:gd name="connsiteX1" fmla="*/ 0 w 2480"/>
                    <a:gd name="connsiteY1" fmla="*/ 151800 h 168666"/>
                    <a:gd name="connsiteX2" fmla="*/ 496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2480 w 2480"/>
                    <a:gd name="connsiteY6" fmla="*/ 67466 h 168666"/>
                    <a:gd name="connsiteX7" fmla="*/ 2480 w 2480"/>
                    <a:gd name="connsiteY7" fmla="*/ 50600 h 168666"/>
                    <a:gd name="connsiteX8" fmla="*/ 2480 w 2480"/>
                    <a:gd name="connsiteY8" fmla="*/ 33733 h 168666"/>
                    <a:gd name="connsiteX9" fmla="*/ 1488 w 2480"/>
                    <a:gd name="connsiteY9" fmla="*/ 16866 h 168666"/>
                    <a:gd name="connsiteX10" fmla="*/ 2480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6"/>
                        <a:pt x="496" y="143366"/>
                        <a:pt x="496" y="134933"/>
                      </a:cubicBezTo>
                      <a:cubicBezTo>
                        <a:pt x="496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2480" y="75900"/>
                        <a:pt x="2480" y="67466"/>
                      </a:cubicBezTo>
                      <a:cubicBezTo>
                        <a:pt x="2480" y="59033"/>
                        <a:pt x="2480" y="59033"/>
                        <a:pt x="2480" y="50600"/>
                      </a:cubicBezTo>
                      <a:cubicBezTo>
                        <a:pt x="2480" y="42167"/>
                        <a:pt x="2480" y="42167"/>
                        <a:pt x="2480" y="33733"/>
                      </a:cubicBezTo>
                      <a:cubicBezTo>
                        <a:pt x="2480" y="25300"/>
                        <a:pt x="1488" y="25300"/>
                        <a:pt x="1488" y="16866"/>
                      </a:cubicBezTo>
                      <a:cubicBezTo>
                        <a:pt x="1488" y="8433"/>
                        <a:pt x="2480" y="8433"/>
                        <a:pt x="248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2" name="Freeform: Shape 1691">
                  <a:extLst>
                    <a:ext uri="{FF2B5EF4-FFF2-40B4-BE49-F238E27FC236}">
                      <a16:creationId xmlns:a16="http://schemas.microsoft.com/office/drawing/2014/main" id="{A98C5934-8D76-74B2-07EF-5A85DAC226FF}"/>
                    </a:ext>
                  </a:extLst>
                </p:cNvPr>
                <p:cNvSpPr/>
                <p:nvPr/>
              </p:nvSpPr>
              <p:spPr>
                <a:xfrm>
                  <a:off x="4436294" y="3440796"/>
                  <a:ext cx="2480" cy="168666"/>
                </a:xfrm>
                <a:custGeom>
                  <a:avLst/>
                  <a:gdLst>
                    <a:gd name="connsiteX0" fmla="*/ 1984 w 2480"/>
                    <a:gd name="connsiteY0" fmla="*/ 0 h 168666"/>
                    <a:gd name="connsiteX1" fmla="*/ 0 w 2480"/>
                    <a:gd name="connsiteY1" fmla="*/ 16867 h 168666"/>
                    <a:gd name="connsiteX2" fmla="*/ 2480 w 2480"/>
                    <a:gd name="connsiteY2" fmla="*/ 33734 h 168666"/>
                    <a:gd name="connsiteX3" fmla="*/ 1488 w 2480"/>
                    <a:gd name="connsiteY3" fmla="*/ 50600 h 168666"/>
                    <a:gd name="connsiteX4" fmla="*/ 1488 w 2480"/>
                    <a:gd name="connsiteY4" fmla="*/ 67467 h 168666"/>
                    <a:gd name="connsiteX5" fmla="*/ 1488 w 2480"/>
                    <a:gd name="connsiteY5" fmla="*/ 84333 h 168666"/>
                    <a:gd name="connsiteX6" fmla="*/ 1488 w 2480"/>
                    <a:gd name="connsiteY6" fmla="*/ 101200 h 168666"/>
                    <a:gd name="connsiteX7" fmla="*/ 2480 w 2480"/>
                    <a:gd name="connsiteY7" fmla="*/ 118067 h 168666"/>
                    <a:gd name="connsiteX8" fmla="*/ 1488 w 2480"/>
                    <a:gd name="connsiteY8" fmla="*/ 134933 h 168666"/>
                    <a:gd name="connsiteX9" fmla="*/ 1488 w 2480"/>
                    <a:gd name="connsiteY9" fmla="*/ 151800 h 168666"/>
                    <a:gd name="connsiteX10" fmla="*/ 992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1984" y="0"/>
                      </a:moveTo>
                      <a:cubicBezTo>
                        <a:pt x="1984" y="8433"/>
                        <a:pt x="0" y="8433"/>
                        <a:pt x="0" y="16867"/>
                      </a:cubicBezTo>
                      <a:cubicBezTo>
                        <a:pt x="0" y="25300"/>
                        <a:pt x="2480" y="25300"/>
                        <a:pt x="2480" y="33734"/>
                      </a:cubicBezTo>
                      <a:cubicBezTo>
                        <a:pt x="2480" y="42167"/>
                        <a:pt x="1488" y="42167"/>
                        <a:pt x="1488" y="50600"/>
                      </a:cubicBezTo>
                      <a:cubicBezTo>
                        <a:pt x="1488" y="59033"/>
                        <a:pt x="1488" y="59033"/>
                        <a:pt x="1488" y="67467"/>
                      </a:cubicBezTo>
                      <a:cubicBezTo>
                        <a:pt x="1488" y="75900"/>
                        <a:pt x="1488" y="75900"/>
                        <a:pt x="1488" y="84333"/>
                      </a:cubicBezTo>
                      <a:cubicBezTo>
                        <a:pt x="1488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  <a:cubicBezTo>
                        <a:pt x="1488" y="160233"/>
                        <a:pt x="992" y="160233"/>
                        <a:pt x="992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88" name="Graphic 10">
              <a:extLst>
                <a:ext uri="{FF2B5EF4-FFF2-40B4-BE49-F238E27FC236}">
                  <a16:creationId xmlns:a16="http://schemas.microsoft.com/office/drawing/2014/main" id="{31A28A9B-F0A1-0A45-06D0-E4296A37E9F1}"/>
                </a:ext>
              </a:extLst>
            </p:cNvPr>
            <p:cNvGrpSpPr/>
            <p:nvPr/>
          </p:nvGrpSpPr>
          <p:grpSpPr>
            <a:xfrm>
              <a:off x="5018978" y="2459447"/>
              <a:ext cx="332745" cy="331487"/>
              <a:chOff x="5018978" y="2459447"/>
              <a:chExt cx="332745" cy="331487"/>
            </a:xfrm>
            <a:noFill/>
          </p:grpSpPr>
          <p:grpSp>
            <p:nvGrpSpPr>
              <p:cNvPr id="1675" name="Graphic 10">
                <a:extLst>
                  <a:ext uri="{FF2B5EF4-FFF2-40B4-BE49-F238E27FC236}">
                    <a16:creationId xmlns:a16="http://schemas.microsoft.com/office/drawing/2014/main" id="{8383DD45-E229-19B5-F47C-401F2A49B7DB}"/>
                  </a:ext>
                </a:extLst>
              </p:cNvPr>
              <p:cNvGrpSpPr/>
              <p:nvPr/>
            </p:nvGrpSpPr>
            <p:grpSpPr>
              <a:xfrm>
                <a:off x="5018978" y="2459447"/>
                <a:ext cx="332745" cy="331487"/>
                <a:chOff x="5018978" y="2459447"/>
                <a:chExt cx="332745" cy="331487"/>
              </a:xfrm>
              <a:noFill/>
            </p:grpSpPr>
            <p:sp>
              <p:nvSpPr>
                <p:cNvPr id="1678" name="Freeform: Shape 1677">
                  <a:extLst>
                    <a:ext uri="{FF2B5EF4-FFF2-40B4-BE49-F238E27FC236}">
                      <a16:creationId xmlns:a16="http://schemas.microsoft.com/office/drawing/2014/main" id="{4621933E-8E37-B27D-4041-D28E36C80517}"/>
                    </a:ext>
                  </a:extLst>
                </p:cNvPr>
                <p:cNvSpPr/>
                <p:nvPr/>
              </p:nvSpPr>
              <p:spPr>
                <a:xfrm>
                  <a:off x="5018978" y="2459447"/>
                  <a:ext cx="332745" cy="330495"/>
                </a:xfrm>
                <a:custGeom>
                  <a:avLst/>
                  <a:gdLst>
                    <a:gd name="connsiteX0" fmla="*/ 2688 w 332745"/>
                    <a:gd name="connsiteY0" fmla="*/ 330495 h 330495"/>
                    <a:gd name="connsiteX1" fmla="*/ 2688 w 332745"/>
                    <a:gd name="connsiteY1" fmla="*/ 314124 h 330495"/>
                    <a:gd name="connsiteX2" fmla="*/ 3184 w 332745"/>
                    <a:gd name="connsiteY2" fmla="*/ 297754 h 330495"/>
                    <a:gd name="connsiteX3" fmla="*/ 1200 w 332745"/>
                    <a:gd name="connsiteY3" fmla="*/ 281383 h 330495"/>
                    <a:gd name="connsiteX4" fmla="*/ 1696 w 332745"/>
                    <a:gd name="connsiteY4" fmla="*/ 265013 h 330495"/>
                    <a:gd name="connsiteX5" fmla="*/ 1200 w 332745"/>
                    <a:gd name="connsiteY5" fmla="*/ 248642 h 330495"/>
                    <a:gd name="connsiteX6" fmla="*/ 2688 w 332745"/>
                    <a:gd name="connsiteY6" fmla="*/ 232272 h 330495"/>
                    <a:gd name="connsiteX7" fmla="*/ 1200 w 332745"/>
                    <a:gd name="connsiteY7" fmla="*/ 215901 h 330495"/>
                    <a:gd name="connsiteX8" fmla="*/ 1696 w 332745"/>
                    <a:gd name="connsiteY8" fmla="*/ 199531 h 330495"/>
                    <a:gd name="connsiteX9" fmla="*/ 1200 w 332745"/>
                    <a:gd name="connsiteY9" fmla="*/ 183160 h 330495"/>
                    <a:gd name="connsiteX10" fmla="*/ 2192 w 332745"/>
                    <a:gd name="connsiteY10" fmla="*/ 166790 h 330495"/>
                    <a:gd name="connsiteX11" fmla="*/ 2192 w 332745"/>
                    <a:gd name="connsiteY11" fmla="*/ 150419 h 330495"/>
                    <a:gd name="connsiteX12" fmla="*/ 2688 w 332745"/>
                    <a:gd name="connsiteY12" fmla="*/ 134048 h 330495"/>
                    <a:gd name="connsiteX13" fmla="*/ 1200 w 332745"/>
                    <a:gd name="connsiteY13" fmla="*/ 117678 h 330495"/>
                    <a:gd name="connsiteX14" fmla="*/ 2688 w 332745"/>
                    <a:gd name="connsiteY14" fmla="*/ 101307 h 330495"/>
                    <a:gd name="connsiteX15" fmla="*/ 2192 w 332745"/>
                    <a:gd name="connsiteY15" fmla="*/ 84937 h 330495"/>
                    <a:gd name="connsiteX16" fmla="*/ 2688 w 332745"/>
                    <a:gd name="connsiteY16" fmla="*/ 68566 h 330495"/>
                    <a:gd name="connsiteX17" fmla="*/ 3184 w 332745"/>
                    <a:gd name="connsiteY17" fmla="*/ 52195 h 330495"/>
                    <a:gd name="connsiteX18" fmla="*/ 2192 w 332745"/>
                    <a:gd name="connsiteY18" fmla="*/ 35825 h 330495"/>
                    <a:gd name="connsiteX19" fmla="*/ 3184 w 332745"/>
                    <a:gd name="connsiteY19" fmla="*/ 19454 h 330495"/>
                    <a:gd name="connsiteX20" fmla="*/ 2192 w 332745"/>
                    <a:gd name="connsiteY20" fmla="*/ 3580 h 330495"/>
                    <a:gd name="connsiteX21" fmla="*/ 18563 w 332745"/>
                    <a:gd name="connsiteY21" fmla="*/ 2092 h 330495"/>
                    <a:gd name="connsiteX22" fmla="*/ 34933 w 332745"/>
                    <a:gd name="connsiteY22" fmla="*/ 2588 h 330495"/>
                    <a:gd name="connsiteX23" fmla="*/ 51304 w 332745"/>
                    <a:gd name="connsiteY23" fmla="*/ 4572 h 330495"/>
                    <a:gd name="connsiteX24" fmla="*/ 67675 w 332745"/>
                    <a:gd name="connsiteY24" fmla="*/ 3084 h 330495"/>
                    <a:gd name="connsiteX25" fmla="*/ 84045 w 332745"/>
                    <a:gd name="connsiteY25" fmla="*/ 2092 h 330495"/>
                    <a:gd name="connsiteX26" fmla="*/ 100416 w 332745"/>
                    <a:gd name="connsiteY26" fmla="*/ 3084 h 330495"/>
                    <a:gd name="connsiteX27" fmla="*/ 116786 w 332745"/>
                    <a:gd name="connsiteY27" fmla="*/ 2588 h 330495"/>
                    <a:gd name="connsiteX28" fmla="*/ 133157 w 332745"/>
                    <a:gd name="connsiteY28" fmla="*/ 3580 h 330495"/>
                    <a:gd name="connsiteX29" fmla="*/ 149527 w 332745"/>
                    <a:gd name="connsiteY29" fmla="*/ 3580 h 330495"/>
                    <a:gd name="connsiteX30" fmla="*/ 165898 w 332745"/>
                    <a:gd name="connsiteY30" fmla="*/ 3580 h 330495"/>
                    <a:gd name="connsiteX31" fmla="*/ 182268 w 332745"/>
                    <a:gd name="connsiteY31" fmla="*/ 3580 h 330495"/>
                    <a:gd name="connsiteX32" fmla="*/ 198639 w 332745"/>
                    <a:gd name="connsiteY32" fmla="*/ 1596 h 330495"/>
                    <a:gd name="connsiteX33" fmla="*/ 215010 w 332745"/>
                    <a:gd name="connsiteY33" fmla="*/ 3084 h 330495"/>
                    <a:gd name="connsiteX34" fmla="*/ 231380 w 332745"/>
                    <a:gd name="connsiteY34" fmla="*/ 3084 h 330495"/>
                    <a:gd name="connsiteX35" fmla="*/ 247751 w 332745"/>
                    <a:gd name="connsiteY35" fmla="*/ 1596 h 330495"/>
                    <a:gd name="connsiteX36" fmla="*/ 264121 w 332745"/>
                    <a:gd name="connsiteY36" fmla="*/ 3580 h 330495"/>
                    <a:gd name="connsiteX37" fmla="*/ 280492 w 332745"/>
                    <a:gd name="connsiteY37" fmla="*/ 3084 h 330495"/>
                    <a:gd name="connsiteX38" fmla="*/ 296863 w 332745"/>
                    <a:gd name="connsiteY38" fmla="*/ 2588 h 330495"/>
                    <a:gd name="connsiteX39" fmla="*/ 313233 w 332745"/>
                    <a:gd name="connsiteY39" fmla="*/ 3580 h 330495"/>
                    <a:gd name="connsiteX40" fmla="*/ 330100 w 332745"/>
                    <a:gd name="connsiteY40" fmla="*/ 2092 h 330495"/>
                    <a:gd name="connsiteX41" fmla="*/ 330100 w 332745"/>
                    <a:gd name="connsiteY41" fmla="*/ 18462 h 330495"/>
                    <a:gd name="connsiteX42" fmla="*/ 330100 w 332745"/>
                    <a:gd name="connsiteY42" fmla="*/ 34833 h 330495"/>
                    <a:gd name="connsiteX43" fmla="*/ 331092 w 332745"/>
                    <a:gd name="connsiteY43" fmla="*/ 51203 h 330495"/>
                    <a:gd name="connsiteX44" fmla="*/ 329108 w 332745"/>
                    <a:gd name="connsiteY44" fmla="*/ 67574 h 330495"/>
                    <a:gd name="connsiteX45" fmla="*/ 331092 w 332745"/>
                    <a:gd name="connsiteY45" fmla="*/ 83945 h 330495"/>
                    <a:gd name="connsiteX46" fmla="*/ 329604 w 332745"/>
                    <a:gd name="connsiteY46" fmla="*/ 100315 h 330495"/>
                    <a:gd name="connsiteX47" fmla="*/ 330100 w 332745"/>
                    <a:gd name="connsiteY47" fmla="*/ 116686 h 330495"/>
                    <a:gd name="connsiteX48" fmla="*/ 329604 w 332745"/>
                    <a:gd name="connsiteY48" fmla="*/ 133056 h 330495"/>
                    <a:gd name="connsiteX49" fmla="*/ 329604 w 332745"/>
                    <a:gd name="connsiteY49" fmla="*/ 149427 h 330495"/>
                    <a:gd name="connsiteX50" fmla="*/ 329604 w 332745"/>
                    <a:gd name="connsiteY50" fmla="*/ 165797 h 330495"/>
                    <a:gd name="connsiteX51" fmla="*/ 331588 w 332745"/>
                    <a:gd name="connsiteY51" fmla="*/ 182168 h 330495"/>
                    <a:gd name="connsiteX52" fmla="*/ 331092 w 332745"/>
                    <a:gd name="connsiteY52" fmla="*/ 198538 h 330495"/>
                    <a:gd name="connsiteX53" fmla="*/ 330100 w 332745"/>
                    <a:gd name="connsiteY53" fmla="*/ 214909 h 330495"/>
                    <a:gd name="connsiteX54" fmla="*/ 330596 w 332745"/>
                    <a:gd name="connsiteY54" fmla="*/ 231280 h 330495"/>
                    <a:gd name="connsiteX55" fmla="*/ 331588 w 332745"/>
                    <a:gd name="connsiteY55" fmla="*/ 247650 h 330495"/>
                    <a:gd name="connsiteX56" fmla="*/ 330100 w 332745"/>
                    <a:gd name="connsiteY56" fmla="*/ 264021 h 330495"/>
                    <a:gd name="connsiteX57" fmla="*/ 330100 w 332745"/>
                    <a:gd name="connsiteY57" fmla="*/ 280391 h 330495"/>
                    <a:gd name="connsiteX58" fmla="*/ 330100 w 332745"/>
                    <a:gd name="connsiteY58" fmla="*/ 296762 h 330495"/>
                    <a:gd name="connsiteX59" fmla="*/ 329604 w 332745"/>
                    <a:gd name="connsiteY59" fmla="*/ 313133 h 330495"/>
                    <a:gd name="connsiteX60" fmla="*/ 329108 w 332745"/>
                    <a:gd name="connsiteY60" fmla="*/ 329503 h 330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2745" h="330495">
                      <a:moveTo>
                        <a:pt x="2688" y="330495"/>
                      </a:moveTo>
                      <a:cubicBezTo>
                        <a:pt x="2688" y="322558"/>
                        <a:pt x="2688" y="322558"/>
                        <a:pt x="2688" y="314124"/>
                      </a:cubicBezTo>
                      <a:cubicBezTo>
                        <a:pt x="2688" y="306187"/>
                        <a:pt x="3184" y="306187"/>
                        <a:pt x="3184" y="297754"/>
                      </a:cubicBezTo>
                      <a:cubicBezTo>
                        <a:pt x="3184" y="289817"/>
                        <a:pt x="1200" y="289817"/>
                        <a:pt x="1200" y="281383"/>
                      </a:cubicBezTo>
                      <a:cubicBezTo>
                        <a:pt x="1200" y="273446"/>
                        <a:pt x="1696" y="273446"/>
                        <a:pt x="1696" y="265013"/>
                      </a:cubicBezTo>
                      <a:cubicBezTo>
                        <a:pt x="1696" y="257076"/>
                        <a:pt x="1200" y="257076"/>
                        <a:pt x="1200" y="248642"/>
                      </a:cubicBezTo>
                      <a:cubicBezTo>
                        <a:pt x="1200" y="240705"/>
                        <a:pt x="2688" y="240705"/>
                        <a:pt x="2688" y="232272"/>
                      </a:cubicBezTo>
                      <a:cubicBezTo>
                        <a:pt x="2688" y="224334"/>
                        <a:pt x="1200" y="224334"/>
                        <a:pt x="1200" y="215901"/>
                      </a:cubicBezTo>
                      <a:cubicBezTo>
                        <a:pt x="1200" y="207964"/>
                        <a:pt x="1696" y="207964"/>
                        <a:pt x="1696" y="199531"/>
                      </a:cubicBezTo>
                      <a:cubicBezTo>
                        <a:pt x="1696" y="191593"/>
                        <a:pt x="1200" y="191593"/>
                        <a:pt x="1200" y="183160"/>
                      </a:cubicBezTo>
                      <a:cubicBezTo>
                        <a:pt x="1200" y="175223"/>
                        <a:pt x="2192" y="175223"/>
                        <a:pt x="2192" y="166790"/>
                      </a:cubicBezTo>
                      <a:cubicBezTo>
                        <a:pt x="2192" y="158852"/>
                        <a:pt x="2192" y="158852"/>
                        <a:pt x="2192" y="150419"/>
                      </a:cubicBezTo>
                      <a:cubicBezTo>
                        <a:pt x="2192" y="142482"/>
                        <a:pt x="2688" y="142482"/>
                        <a:pt x="2688" y="134048"/>
                      </a:cubicBezTo>
                      <a:cubicBezTo>
                        <a:pt x="2688" y="126111"/>
                        <a:pt x="1200" y="126111"/>
                        <a:pt x="1200" y="117678"/>
                      </a:cubicBezTo>
                      <a:cubicBezTo>
                        <a:pt x="1200" y="109741"/>
                        <a:pt x="2688" y="109741"/>
                        <a:pt x="2688" y="101307"/>
                      </a:cubicBezTo>
                      <a:cubicBezTo>
                        <a:pt x="2688" y="93370"/>
                        <a:pt x="2192" y="93370"/>
                        <a:pt x="2192" y="84937"/>
                      </a:cubicBezTo>
                      <a:cubicBezTo>
                        <a:pt x="2192" y="76999"/>
                        <a:pt x="2688" y="76999"/>
                        <a:pt x="2688" y="68566"/>
                      </a:cubicBezTo>
                      <a:cubicBezTo>
                        <a:pt x="2688" y="60629"/>
                        <a:pt x="3184" y="60629"/>
                        <a:pt x="3184" y="52195"/>
                      </a:cubicBezTo>
                      <a:cubicBezTo>
                        <a:pt x="3184" y="44258"/>
                        <a:pt x="2192" y="44258"/>
                        <a:pt x="2192" y="35825"/>
                      </a:cubicBezTo>
                      <a:cubicBezTo>
                        <a:pt x="2192" y="27888"/>
                        <a:pt x="3184" y="27888"/>
                        <a:pt x="3184" y="19454"/>
                      </a:cubicBezTo>
                      <a:cubicBezTo>
                        <a:pt x="3184" y="11021"/>
                        <a:pt x="-3264" y="9037"/>
                        <a:pt x="2192" y="3580"/>
                      </a:cubicBezTo>
                      <a:cubicBezTo>
                        <a:pt x="8145" y="-2373"/>
                        <a:pt x="10129" y="2092"/>
                        <a:pt x="18563" y="2092"/>
                      </a:cubicBezTo>
                      <a:cubicBezTo>
                        <a:pt x="26996" y="2092"/>
                        <a:pt x="26996" y="2588"/>
                        <a:pt x="34933" y="2588"/>
                      </a:cubicBezTo>
                      <a:cubicBezTo>
                        <a:pt x="43367" y="2588"/>
                        <a:pt x="43367" y="4572"/>
                        <a:pt x="51304" y="4572"/>
                      </a:cubicBezTo>
                      <a:cubicBezTo>
                        <a:pt x="59737" y="4572"/>
                        <a:pt x="59737" y="3084"/>
                        <a:pt x="67675" y="3084"/>
                      </a:cubicBezTo>
                      <a:cubicBezTo>
                        <a:pt x="76108" y="3084"/>
                        <a:pt x="76108" y="2092"/>
                        <a:pt x="84045" y="2092"/>
                      </a:cubicBezTo>
                      <a:cubicBezTo>
                        <a:pt x="92478" y="2092"/>
                        <a:pt x="92478" y="3084"/>
                        <a:pt x="100416" y="3084"/>
                      </a:cubicBezTo>
                      <a:cubicBezTo>
                        <a:pt x="108849" y="3084"/>
                        <a:pt x="108849" y="2588"/>
                        <a:pt x="116786" y="2588"/>
                      </a:cubicBezTo>
                      <a:cubicBezTo>
                        <a:pt x="125220" y="2588"/>
                        <a:pt x="125220" y="3580"/>
                        <a:pt x="133157" y="3580"/>
                      </a:cubicBezTo>
                      <a:cubicBezTo>
                        <a:pt x="141590" y="3580"/>
                        <a:pt x="141590" y="3580"/>
                        <a:pt x="149527" y="3580"/>
                      </a:cubicBezTo>
                      <a:cubicBezTo>
                        <a:pt x="157961" y="3580"/>
                        <a:pt x="157961" y="3580"/>
                        <a:pt x="165898" y="3580"/>
                      </a:cubicBezTo>
                      <a:cubicBezTo>
                        <a:pt x="174331" y="3580"/>
                        <a:pt x="174331" y="3580"/>
                        <a:pt x="182268" y="3580"/>
                      </a:cubicBezTo>
                      <a:cubicBezTo>
                        <a:pt x="190702" y="3580"/>
                        <a:pt x="190702" y="1596"/>
                        <a:pt x="198639" y="1596"/>
                      </a:cubicBezTo>
                      <a:cubicBezTo>
                        <a:pt x="207072" y="1596"/>
                        <a:pt x="207072" y="3084"/>
                        <a:pt x="215010" y="3084"/>
                      </a:cubicBezTo>
                      <a:cubicBezTo>
                        <a:pt x="222947" y="3084"/>
                        <a:pt x="223443" y="3084"/>
                        <a:pt x="231380" y="3084"/>
                      </a:cubicBezTo>
                      <a:cubicBezTo>
                        <a:pt x="239814" y="3084"/>
                        <a:pt x="239814" y="1596"/>
                        <a:pt x="247751" y="1596"/>
                      </a:cubicBezTo>
                      <a:cubicBezTo>
                        <a:pt x="256184" y="1596"/>
                        <a:pt x="256184" y="3580"/>
                        <a:pt x="264121" y="3580"/>
                      </a:cubicBezTo>
                      <a:cubicBezTo>
                        <a:pt x="272555" y="3580"/>
                        <a:pt x="272555" y="3084"/>
                        <a:pt x="280492" y="3084"/>
                      </a:cubicBezTo>
                      <a:cubicBezTo>
                        <a:pt x="288925" y="3084"/>
                        <a:pt x="288925" y="2588"/>
                        <a:pt x="296863" y="2588"/>
                      </a:cubicBezTo>
                      <a:cubicBezTo>
                        <a:pt x="305296" y="2588"/>
                        <a:pt x="305296" y="3580"/>
                        <a:pt x="313233" y="3580"/>
                      </a:cubicBezTo>
                      <a:cubicBezTo>
                        <a:pt x="321170" y="3580"/>
                        <a:pt x="324147" y="-3365"/>
                        <a:pt x="330100" y="2092"/>
                      </a:cubicBezTo>
                      <a:cubicBezTo>
                        <a:pt x="336053" y="7548"/>
                        <a:pt x="330100" y="10525"/>
                        <a:pt x="330100" y="18462"/>
                      </a:cubicBezTo>
                      <a:cubicBezTo>
                        <a:pt x="330100" y="26399"/>
                        <a:pt x="330100" y="26399"/>
                        <a:pt x="330100" y="34833"/>
                      </a:cubicBezTo>
                      <a:cubicBezTo>
                        <a:pt x="330100" y="42770"/>
                        <a:pt x="331092" y="42770"/>
                        <a:pt x="331092" y="51203"/>
                      </a:cubicBezTo>
                      <a:cubicBezTo>
                        <a:pt x="331092" y="59141"/>
                        <a:pt x="329108" y="59141"/>
                        <a:pt x="329108" y="67574"/>
                      </a:cubicBezTo>
                      <a:cubicBezTo>
                        <a:pt x="329108" y="75511"/>
                        <a:pt x="331092" y="75511"/>
                        <a:pt x="331092" y="83945"/>
                      </a:cubicBezTo>
                      <a:cubicBezTo>
                        <a:pt x="331092" y="91882"/>
                        <a:pt x="329604" y="91882"/>
                        <a:pt x="329604" y="100315"/>
                      </a:cubicBezTo>
                      <a:cubicBezTo>
                        <a:pt x="329604" y="108252"/>
                        <a:pt x="330100" y="108252"/>
                        <a:pt x="330100" y="116686"/>
                      </a:cubicBezTo>
                      <a:cubicBezTo>
                        <a:pt x="330100" y="124623"/>
                        <a:pt x="329604" y="124623"/>
                        <a:pt x="329604" y="133056"/>
                      </a:cubicBezTo>
                      <a:cubicBezTo>
                        <a:pt x="329604" y="140993"/>
                        <a:pt x="329604" y="140993"/>
                        <a:pt x="329604" y="149427"/>
                      </a:cubicBezTo>
                      <a:cubicBezTo>
                        <a:pt x="329604" y="157364"/>
                        <a:pt x="329604" y="157364"/>
                        <a:pt x="329604" y="165797"/>
                      </a:cubicBezTo>
                      <a:cubicBezTo>
                        <a:pt x="329604" y="173734"/>
                        <a:pt x="331588" y="173734"/>
                        <a:pt x="331588" y="182168"/>
                      </a:cubicBezTo>
                      <a:cubicBezTo>
                        <a:pt x="331588" y="190105"/>
                        <a:pt x="331092" y="190105"/>
                        <a:pt x="331092" y="198538"/>
                      </a:cubicBezTo>
                      <a:cubicBezTo>
                        <a:pt x="331092" y="206476"/>
                        <a:pt x="330100" y="206476"/>
                        <a:pt x="330100" y="214909"/>
                      </a:cubicBezTo>
                      <a:cubicBezTo>
                        <a:pt x="330100" y="222846"/>
                        <a:pt x="330596" y="222846"/>
                        <a:pt x="330596" y="231280"/>
                      </a:cubicBezTo>
                      <a:cubicBezTo>
                        <a:pt x="330596" y="239217"/>
                        <a:pt x="331588" y="239217"/>
                        <a:pt x="331588" y="247650"/>
                      </a:cubicBezTo>
                      <a:cubicBezTo>
                        <a:pt x="331588" y="255587"/>
                        <a:pt x="330100" y="255587"/>
                        <a:pt x="330100" y="264021"/>
                      </a:cubicBezTo>
                      <a:cubicBezTo>
                        <a:pt x="330100" y="271958"/>
                        <a:pt x="330100" y="271958"/>
                        <a:pt x="330100" y="280391"/>
                      </a:cubicBezTo>
                      <a:cubicBezTo>
                        <a:pt x="330100" y="288329"/>
                        <a:pt x="330100" y="288329"/>
                        <a:pt x="330100" y="296762"/>
                      </a:cubicBezTo>
                      <a:cubicBezTo>
                        <a:pt x="330100" y="304699"/>
                        <a:pt x="329604" y="304699"/>
                        <a:pt x="329604" y="313133"/>
                      </a:cubicBezTo>
                      <a:cubicBezTo>
                        <a:pt x="329604" y="321070"/>
                        <a:pt x="329108" y="321070"/>
                        <a:pt x="329108" y="32950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9" name="Freeform: Shape 1678">
                  <a:extLst>
                    <a:ext uri="{FF2B5EF4-FFF2-40B4-BE49-F238E27FC236}">
                      <a16:creationId xmlns:a16="http://schemas.microsoft.com/office/drawing/2014/main" id="{DF37E958-5F75-B3B3-52BC-5795E3E7E430}"/>
                    </a:ext>
                  </a:extLst>
                </p:cNvPr>
                <p:cNvSpPr/>
                <p:nvPr/>
              </p:nvSpPr>
              <p:spPr>
                <a:xfrm>
                  <a:off x="5210672" y="2597794"/>
                  <a:ext cx="125934" cy="39894"/>
                </a:xfrm>
                <a:custGeom>
                  <a:avLst/>
                  <a:gdLst>
                    <a:gd name="connsiteX0" fmla="*/ 0 w 125934"/>
                    <a:gd name="connsiteY0" fmla="*/ 2646 h 39894"/>
                    <a:gd name="connsiteX1" fmla="*/ 15378 w 125934"/>
                    <a:gd name="connsiteY1" fmla="*/ 3142 h 39894"/>
                    <a:gd name="connsiteX2" fmla="*/ 30757 w 125934"/>
                    <a:gd name="connsiteY2" fmla="*/ 2646 h 39894"/>
                    <a:gd name="connsiteX3" fmla="*/ 46135 w 125934"/>
                    <a:gd name="connsiteY3" fmla="*/ 2150 h 39894"/>
                    <a:gd name="connsiteX4" fmla="*/ 61513 w 125934"/>
                    <a:gd name="connsiteY4" fmla="*/ 3142 h 39894"/>
                    <a:gd name="connsiteX5" fmla="*/ 76892 w 125934"/>
                    <a:gd name="connsiteY5" fmla="*/ 2646 h 39894"/>
                    <a:gd name="connsiteX6" fmla="*/ 92270 w 125934"/>
                    <a:gd name="connsiteY6" fmla="*/ 4134 h 39894"/>
                    <a:gd name="connsiteX7" fmla="*/ 107649 w 125934"/>
                    <a:gd name="connsiteY7" fmla="*/ 2646 h 39894"/>
                    <a:gd name="connsiteX8" fmla="*/ 123523 w 125934"/>
                    <a:gd name="connsiteY8" fmla="*/ 2646 h 39894"/>
                    <a:gd name="connsiteX9" fmla="*/ 122531 w 125934"/>
                    <a:gd name="connsiteY9" fmla="*/ 20504 h 39894"/>
                    <a:gd name="connsiteX10" fmla="*/ 122531 w 125934"/>
                    <a:gd name="connsiteY10" fmla="*/ 37371 h 39894"/>
                    <a:gd name="connsiteX11" fmla="*/ 107649 w 125934"/>
                    <a:gd name="connsiteY11" fmla="*/ 36875 h 39894"/>
                    <a:gd name="connsiteX12" fmla="*/ 92270 w 125934"/>
                    <a:gd name="connsiteY12" fmla="*/ 37867 h 39894"/>
                    <a:gd name="connsiteX13" fmla="*/ 76892 w 125934"/>
                    <a:gd name="connsiteY13" fmla="*/ 38363 h 39894"/>
                    <a:gd name="connsiteX14" fmla="*/ 61513 w 125934"/>
                    <a:gd name="connsiteY14" fmla="*/ 37867 h 39894"/>
                    <a:gd name="connsiteX15" fmla="*/ 46135 w 125934"/>
                    <a:gd name="connsiteY15" fmla="*/ 38363 h 39894"/>
                    <a:gd name="connsiteX16" fmla="*/ 30757 w 125934"/>
                    <a:gd name="connsiteY16" fmla="*/ 37867 h 39894"/>
                    <a:gd name="connsiteX17" fmla="*/ 15378 w 125934"/>
                    <a:gd name="connsiteY17" fmla="*/ 36875 h 39894"/>
                    <a:gd name="connsiteX18" fmla="*/ 0 w 125934"/>
                    <a:gd name="connsiteY18" fmla="*/ 38859 h 39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934" h="39894">
                      <a:moveTo>
                        <a:pt x="0" y="2646"/>
                      </a:moveTo>
                      <a:cubicBezTo>
                        <a:pt x="7441" y="2646"/>
                        <a:pt x="7441" y="3142"/>
                        <a:pt x="15378" y="3142"/>
                      </a:cubicBezTo>
                      <a:cubicBezTo>
                        <a:pt x="22819" y="3142"/>
                        <a:pt x="22819" y="2646"/>
                        <a:pt x="30757" y="2646"/>
                      </a:cubicBezTo>
                      <a:cubicBezTo>
                        <a:pt x="38198" y="2646"/>
                        <a:pt x="38198" y="2150"/>
                        <a:pt x="46135" y="2150"/>
                      </a:cubicBezTo>
                      <a:cubicBezTo>
                        <a:pt x="53576" y="2150"/>
                        <a:pt x="53576" y="3142"/>
                        <a:pt x="61513" y="3142"/>
                      </a:cubicBezTo>
                      <a:cubicBezTo>
                        <a:pt x="68955" y="3142"/>
                        <a:pt x="68955" y="2646"/>
                        <a:pt x="76892" y="2646"/>
                      </a:cubicBezTo>
                      <a:cubicBezTo>
                        <a:pt x="84333" y="2646"/>
                        <a:pt x="84333" y="4134"/>
                        <a:pt x="92270" y="4134"/>
                      </a:cubicBezTo>
                      <a:cubicBezTo>
                        <a:pt x="99712" y="4134"/>
                        <a:pt x="99712" y="2646"/>
                        <a:pt x="107649" y="2646"/>
                      </a:cubicBezTo>
                      <a:cubicBezTo>
                        <a:pt x="115090" y="2646"/>
                        <a:pt x="118562" y="-3307"/>
                        <a:pt x="123523" y="2646"/>
                      </a:cubicBezTo>
                      <a:cubicBezTo>
                        <a:pt x="129476" y="9095"/>
                        <a:pt x="122531" y="12071"/>
                        <a:pt x="122531" y="20504"/>
                      </a:cubicBezTo>
                      <a:cubicBezTo>
                        <a:pt x="122531" y="28938"/>
                        <a:pt x="127988" y="30922"/>
                        <a:pt x="122531" y="37371"/>
                      </a:cubicBezTo>
                      <a:cubicBezTo>
                        <a:pt x="117571" y="43324"/>
                        <a:pt x="115586" y="36875"/>
                        <a:pt x="107649" y="36875"/>
                      </a:cubicBezTo>
                      <a:cubicBezTo>
                        <a:pt x="100208" y="36875"/>
                        <a:pt x="100208" y="37867"/>
                        <a:pt x="92270" y="37867"/>
                      </a:cubicBezTo>
                      <a:cubicBezTo>
                        <a:pt x="84829" y="37867"/>
                        <a:pt x="84829" y="38363"/>
                        <a:pt x="76892" y="38363"/>
                      </a:cubicBezTo>
                      <a:cubicBezTo>
                        <a:pt x="69451" y="38363"/>
                        <a:pt x="69451" y="37867"/>
                        <a:pt x="61513" y="37867"/>
                      </a:cubicBezTo>
                      <a:cubicBezTo>
                        <a:pt x="54072" y="37867"/>
                        <a:pt x="54072" y="38363"/>
                        <a:pt x="46135" y="38363"/>
                      </a:cubicBezTo>
                      <a:cubicBezTo>
                        <a:pt x="38694" y="38363"/>
                        <a:pt x="38694" y="37867"/>
                        <a:pt x="30757" y="37867"/>
                      </a:cubicBezTo>
                      <a:cubicBezTo>
                        <a:pt x="23316" y="37867"/>
                        <a:pt x="23316" y="36875"/>
                        <a:pt x="15378" y="36875"/>
                      </a:cubicBezTo>
                      <a:cubicBezTo>
                        <a:pt x="7937" y="36875"/>
                        <a:pt x="7937" y="38859"/>
                        <a:pt x="0" y="38859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0" name="Freeform: Shape 1679">
                  <a:extLst>
                    <a:ext uri="{FF2B5EF4-FFF2-40B4-BE49-F238E27FC236}">
                      <a16:creationId xmlns:a16="http://schemas.microsoft.com/office/drawing/2014/main" id="{DDA07D76-BAAE-1010-A3EC-A0EA6CCFE619}"/>
                    </a:ext>
                  </a:extLst>
                </p:cNvPr>
                <p:cNvSpPr/>
                <p:nvPr/>
              </p:nvSpPr>
              <p:spPr>
                <a:xfrm>
                  <a:off x="5034895" y="2599517"/>
                  <a:ext cx="130137" cy="39547"/>
                </a:xfrm>
                <a:custGeom>
                  <a:avLst/>
                  <a:gdLst>
                    <a:gd name="connsiteX0" fmla="*/ 130138 w 130137"/>
                    <a:gd name="connsiteY0" fmla="*/ 36640 h 39547"/>
                    <a:gd name="connsiteX1" fmla="*/ 114263 w 130137"/>
                    <a:gd name="connsiteY1" fmla="*/ 35648 h 39547"/>
                    <a:gd name="connsiteX2" fmla="*/ 98389 w 130137"/>
                    <a:gd name="connsiteY2" fmla="*/ 37632 h 39547"/>
                    <a:gd name="connsiteX3" fmla="*/ 82515 w 130137"/>
                    <a:gd name="connsiteY3" fmla="*/ 36640 h 39547"/>
                    <a:gd name="connsiteX4" fmla="*/ 66640 w 130137"/>
                    <a:gd name="connsiteY4" fmla="*/ 37136 h 39547"/>
                    <a:gd name="connsiteX5" fmla="*/ 50765 w 130137"/>
                    <a:gd name="connsiteY5" fmla="*/ 36640 h 39547"/>
                    <a:gd name="connsiteX6" fmla="*/ 34891 w 130137"/>
                    <a:gd name="connsiteY6" fmla="*/ 37136 h 39547"/>
                    <a:gd name="connsiteX7" fmla="*/ 19016 w 130137"/>
                    <a:gd name="connsiteY7" fmla="*/ 36144 h 39547"/>
                    <a:gd name="connsiteX8" fmla="*/ 2646 w 130137"/>
                    <a:gd name="connsiteY8" fmla="*/ 37136 h 39547"/>
                    <a:gd name="connsiteX9" fmla="*/ 2646 w 130137"/>
                    <a:gd name="connsiteY9" fmla="*/ 19278 h 39547"/>
                    <a:gd name="connsiteX10" fmla="*/ 3142 w 130137"/>
                    <a:gd name="connsiteY10" fmla="*/ 2411 h 39547"/>
                    <a:gd name="connsiteX11" fmla="*/ 18520 w 130137"/>
                    <a:gd name="connsiteY11" fmla="*/ 3403 h 39547"/>
                    <a:gd name="connsiteX12" fmla="*/ 34395 w 130137"/>
                    <a:gd name="connsiteY12" fmla="*/ 1419 h 39547"/>
                    <a:gd name="connsiteX13" fmla="*/ 50269 w 130137"/>
                    <a:gd name="connsiteY13" fmla="*/ 2411 h 39547"/>
                    <a:gd name="connsiteX14" fmla="*/ 66144 w 130137"/>
                    <a:gd name="connsiteY14" fmla="*/ 2907 h 39547"/>
                    <a:gd name="connsiteX15" fmla="*/ 82018 w 130137"/>
                    <a:gd name="connsiteY15" fmla="*/ 1915 h 39547"/>
                    <a:gd name="connsiteX16" fmla="*/ 97893 w 130137"/>
                    <a:gd name="connsiteY16" fmla="*/ 1915 h 39547"/>
                    <a:gd name="connsiteX17" fmla="*/ 113767 w 130137"/>
                    <a:gd name="connsiteY17" fmla="*/ 1419 h 39547"/>
                    <a:gd name="connsiteX18" fmla="*/ 129642 w 130137"/>
                    <a:gd name="connsiteY18" fmla="*/ 1915 h 39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137" h="39547">
                      <a:moveTo>
                        <a:pt x="130138" y="36640"/>
                      </a:moveTo>
                      <a:cubicBezTo>
                        <a:pt x="122201" y="36640"/>
                        <a:pt x="122201" y="35648"/>
                        <a:pt x="114263" y="35648"/>
                      </a:cubicBezTo>
                      <a:cubicBezTo>
                        <a:pt x="106326" y="35648"/>
                        <a:pt x="106326" y="37632"/>
                        <a:pt x="98389" y="37632"/>
                      </a:cubicBezTo>
                      <a:cubicBezTo>
                        <a:pt x="90452" y="37632"/>
                        <a:pt x="90452" y="36640"/>
                        <a:pt x="82515" y="36640"/>
                      </a:cubicBezTo>
                      <a:cubicBezTo>
                        <a:pt x="74577" y="36640"/>
                        <a:pt x="74577" y="37136"/>
                        <a:pt x="66640" y="37136"/>
                      </a:cubicBezTo>
                      <a:cubicBezTo>
                        <a:pt x="58703" y="37136"/>
                        <a:pt x="58703" y="36640"/>
                        <a:pt x="50765" y="36640"/>
                      </a:cubicBezTo>
                      <a:cubicBezTo>
                        <a:pt x="42828" y="36640"/>
                        <a:pt x="42828" y="37136"/>
                        <a:pt x="34891" y="37136"/>
                      </a:cubicBezTo>
                      <a:cubicBezTo>
                        <a:pt x="26954" y="37136"/>
                        <a:pt x="26954" y="36144"/>
                        <a:pt x="19016" y="36144"/>
                      </a:cubicBezTo>
                      <a:cubicBezTo>
                        <a:pt x="11079" y="36144"/>
                        <a:pt x="8103" y="43089"/>
                        <a:pt x="2646" y="37136"/>
                      </a:cubicBezTo>
                      <a:cubicBezTo>
                        <a:pt x="-3307" y="30687"/>
                        <a:pt x="2646" y="28207"/>
                        <a:pt x="2646" y="19278"/>
                      </a:cubicBezTo>
                      <a:cubicBezTo>
                        <a:pt x="2646" y="10348"/>
                        <a:pt x="-2811" y="8860"/>
                        <a:pt x="3142" y="2411"/>
                      </a:cubicBezTo>
                      <a:cubicBezTo>
                        <a:pt x="8599" y="-3542"/>
                        <a:pt x="10583" y="3403"/>
                        <a:pt x="18520" y="3403"/>
                      </a:cubicBezTo>
                      <a:cubicBezTo>
                        <a:pt x="26457" y="3403"/>
                        <a:pt x="26457" y="1419"/>
                        <a:pt x="34395" y="1419"/>
                      </a:cubicBezTo>
                      <a:cubicBezTo>
                        <a:pt x="42332" y="1419"/>
                        <a:pt x="42332" y="2411"/>
                        <a:pt x="50269" y="2411"/>
                      </a:cubicBezTo>
                      <a:cubicBezTo>
                        <a:pt x="58207" y="2411"/>
                        <a:pt x="58207" y="2907"/>
                        <a:pt x="66144" y="2907"/>
                      </a:cubicBezTo>
                      <a:cubicBezTo>
                        <a:pt x="74081" y="2907"/>
                        <a:pt x="74081" y="1915"/>
                        <a:pt x="82018" y="1915"/>
                      </a:cubicBezTo>
                      <a:cubicBezTo>
                        <a:pt x="89956" y="1915"/>
                        <a:pt x="89956" y="1915"/>
                        <a:pt x="97893" y="1915"/>
                      </a:cubicBezTo>
                      <a:cubicBezTo>
                        <a:pt x="105830" y="1915"/>
                        <a:pt x="105830" y="1419"/>
                        <a:pt x="113767" y="1419"/>
                      </a:cubicBezTo>
                      <a:cubicBezTo>
                        <a:pt x="121704" y="1419"/>
                        <a:pt x="121704" y="1915"/>
                        <a:pt x="129642" y="1915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1" name="Freeform: Shape 1680">
                  <a:extLst>
                    <a:ext uri="{FF2B5EF4-FFF2-40B4-BE49-F238E27FC236}">
                      <a16:creationId xmlns:a16="http://schemas.microsoft.com/office/drawing/2014/main" id="{2A2FBDD9-F7C5-9E94-E0DA-194D1606ED17}"/>
                    </a:ext>
                  </a:extLst>
                </p:cNvPr>
                <p:cNvSpPr/>
                <p:nvPr/>
              </p:nvSpPr>
              <p:spPr>
                <a:xfrm>
                  <a:off x="5035391" y="2492341"/>
                  <a:ext cx="299749" cy="298592"/>
                </a:xfrm>
                <a:custGeom>
                  <a:avLst/>
                  <a:gdLst>
                    <a:gd name="connsiteX0" fmla="*/ 1654 w 299749"/>
                    <a:gd name="connsiteY0" fmla="*/ 297600 h 298592"/>
                    <a:gd name="connsiteX1" fmla="*/ 3142 w 299749"/>
                    <a:gd name="connsiteY1" fmla="*/ 281230 h 298592"/>
                    <a:gd name="connsiteX2" fmla="*/ 3142 w 299749"/>
                    <a:gd name="connsiteY2" fmla="*/ 264859 h 298592"/>
                    <a:gd name="connsiteX3" fmla="*/ 2646 w 299749"/>
                    <a:gd name="connsiteY3" fmla="*/ 248489 h 298592"/>
                    <a:gd name="connsiteX4" fmla="*/ 2646 w 299749"/>
                    <a:gd name="connsiteY4" fmla="*/ 232118 h 298592"/>
                    <a:gd name="connsiteX5" fmla="*/ 3142 w 299749"/>
                    <a:gd name="connsiteY5" fmla="*/ 215748 h 298592"/>
                    <a:gd name="connsiteX6" fmla="*/ 2646 w 299749"/>
                    <a:gd name="connsiteY6" fmla="*/ 199377 h 298592"/>
                    <a:gd name="connsiteX7" fmla="*/ 1654 w 299749"/>
                    <a:gd name="connsiteY7" fmla="*/ 183006 h 298592"/>
                    <a:gd name="connsiteX8" fmla="*/ 1654 w 299749"/>
                    <a:gd name="connsiteY8" fmla="*/ 166636 h 298592"/>
                    <a:gd name="connsiteX9" fmla="*/ 3638 w 299749"/>
                    <a:gd name="connsiteY9" fmla="*/ 150265 h 298592"/>
                    <a:gd name="connsiteX10" fmla="*/ 2150 w 299749"/>
                    <a:gd name="connsiteY10" fmla="*/ 133895 h 298592"/>
                    <a:gd name="connsiteX11" fmla="*/ 3638 w 299749"/>
                    <a:gd name="connsiteY11" fmla="*/ 117524 h 298592"/>
                    <a:gd name="connsiteX12" fmla="*/ 1654 w 299749"/>
                    <a:gd name="connsiteY12" fmla="*/ 101153 h 298592"/>
                    <a:gd name="connsiteX13" fmla="*/ 2646 w 299749"/>
                    <a:gd name="connsiteY13" fmla="*/ 84783 h 298592"/>
                    <a:gd name="connsiteX14" fmla="*/ 3142 w 299749"/>
                    <a:gd name="connsiteY14" fmla="*/ 68412 h 298592"/>
                    <a:gd name="connsiteX15" fmla="*/ 1654 w 299749"/>
                    <a:gd name="connsiteY15" fmla="*/ 52042 h 298592"/>
                    <a:gd name="connsiteX16" fmla="*/ 3142 w 299749"/>
                    <a:gd name="connsiteY16" fmla="*/ 35671 h 298592"/>
                    <a:gd name="connsiteX17" fmla="*/ 2646 w 299749"/>
                    <a:gd name="connsiteY17" fmla="*/ 19301 h 298592"/>
                    <a:gd name="connsiteX18" fmla="*/ 2646 w 299749"/>
                    <a:gd name="connsiteY18" fmla="*/ 2930 h 298592"/>
                    <a:gd name="connsiteX19" fmla="*/ 19016 w 299749"/>
                    <a:gd name="connsiteY19" fmla="*/ 1938 h 298592"/>
                    <a:gd name="connsiteX20" fmla="*/ 35387 w 299749"/>
                    <a:gd name="connsiteY20" fmla="*/ 1938 h 298592"/>
                    <a:gd name="connsiteX21" fmla="*/ 51757 w 299749"/>
                    <a:gd name="connsiteY21" fmla="*/ 2930 h 298592"/>
                    <a:gd name="connsiteX22" fmla="*/ 68128 w 299749"/>
                    <a:gd name="connsiteY22" fmla="*/ 3426 h 298592"/>
                    <a:gd name="connsiteX23" fmla="*/ 84499 w 299749"/>
                    <a:gd name="connsiteY23" fmla="*/ 2930 h 298592"/>
                    <a:gd name="connsiteX24" fmla="*/ 100869 w 299749"/>
                    <a:gd name="connsiteY24" fmla="*/ 2930 h 298592"/>
                    <a:gd name="connsiteX25" fmla="*/ 117240 w 299749"/>
                    <a:gd name="connsiteY25" fmla="*/ 1938 h 298592"/>
                    <a:gd name="connsiteX26" fmla="*/ 133610 w 299749"/>
                    <a:gd name="connsiteY26" fmla="*/ 2930 h 298592"/>
                    <a:gd name="connsiteX27" fmla="*/ 149981 w 299749"/>
                    <a:gd name="connsiteY27" fmla="*/ 3426 h 298592"/>
                    <a:gd name="connsiteX28" fmla="*/ 166351 w 299749"/>
                    <a:gd name="connsiteY28" fmla="*/ 3922 h 298592"/>
                    <a:gd name="connsiteX29" fmla="*/ 182722 w 299749"/>
                    <a:gd name="connsiteY29" fmla="*/ 2930 h 298592"/>
                    <a:gd name="connsiteX30" fmla="*/ 199093 w 299749"/>
                    <a:gd name="connsiteY30" fmla="*/ 1938 h 298592"/>
                    <a:gd name="connsiteX31" fmla="*/ 215463 w 299749"/>
                    <a:gd name="connsiteY31" fmla="*/ 3426 h 298592"/>
                    <a:gd name="connsiteX32" fmla="*/ 231834 w 299749"/>
                    <a:gd name="connsiteY32" fmla="*/ 2434 h 298592"/>
                    <a:gd name="connsiteX33" fmla="*/ 248204 w 299749"/>
                    <a:gd name="connsiteY33" fmla="*/ 2930 h 298592"/>
                    <a:gd name="connsiteX34" fmla="*/ 264575 w 299749"/>
                    <a:gd name="connsiteY34" fmla="*/ 2434 h 298592"/>
                    <a:gd name="connsiteX35" fmla="*/ 280945 w 299749"/>
                    <a:gd name="connsiteY35" fmla="*/ 2434 h 298592"/>
                    <a:gd name="connsiteX36" fmla="*/ 296820 w 299749"/>
                    <a:gd name="connsiteY36" fmla="*/ 4418 h 298592"/>
                    <a:gd name="connsiteX37" fmla="*/ 297812 w 299749"/>
                    <a:gd name="connsiteY37" fmla="*/ 20293 h 298592"/>
                    <a:gd name="connsiteX38" fmla="*/ 297316 w 299749"/>
                    <a:gd name="connsiteY38" fmla="*/ 36663 h 298592"/>
                    <a:gd name="connsiteX39" fmla="*/ 298308 w 299749"/>
                    <a:gd name="connsiteY39" fmla="*/ 53034 h 298592"/>
                    <a:gd name="connsiteX40" fmla="*/ 297812 w 299749"/>
                    <a:gd name="connsiteY40" fmla="*/ 69405 h 298592"/>
                    <a:gd name="connsiteX41" fmla="*/ 298308 w 299749"/>
                    <a:gd name="connsiteY41" fmla="*/ 85775 h 298592"/>
                    <a:gd name="connsiteX42" fmla="*/ 299300 w 299749"/>
                    <a:gd name="connsiteY42" fmla="*/ 102146 h 298592"/>
                    <a:gd name="connsiteX43" fmla="*/ 298308 w 299749"/>
                    <a:gd name="connsiteY43" fmla="*/ 118516 h 298592"/>
                    <a:gd name="connsiteX44" fmla="*/ 298308 w 299749"/>
                    <a:gd name="connsiteY44" fmla="*/ 134887 h 298592"/>
                    <a:gd name="connsiteX45" fmla="*/ 299300 w 299749"/>
                    <a:gd name="connsiteY45" fmla="*/ 151257 h 298592"/>
                    <a:gd name="connsiteX46" fmla="*/ 296820 w 299749"/>
                    <a:gd name="connsiteY46" fmla="*/ 167628 h 298592"/>
                    <a:gd name="connsiteX47" fmla="*/ 297812 w 299749"/>
                    <a:gd name="connsiteY47" fmla="*/ 183998 h 298592"/>
                    <a:gd name="connsiteX48" fmla="*/ 297812 w 299749"/>
                    <a:gd name="connsiteY48" fmla="*/ 200369 h 298592"/>
                    <a:gd name="connsiteX49" fmla="*/ 298308 w 299749"/>
                    <a:gd name="connsiteY49" fmla="*/ 216739 h 298592"/>
                    <a:gd name="connsiteX50" fmla="*/ 298804 w 299749"/>
                    <a:gd name="connsiteY50" fmla="*/ 233110 h 298592"/>
                    <a:gd name="connsiteX51" fmla="*/ 298308 w 299749"/>
                    <a:gd name="connsiteY51" fmla="*/ 249481 h 298592"/>
                    <a:gd name="connsiteX52" fmla="*/ 297812 w 299749"/>
                    <a:gd name="connsiteY52" fmla="*/ 265851 h 298592"/>
                    <a:gd name="connsiteX53" fmla="*/ 298308 w 299749"/>
                    <a:gd name="connsiteY53" fmla="*/ 282222 h 298592"/>
                    <a:gd name="connsiteX54" fmla="*/ 297316 w 299749"/>
                    <a:gd name="connsiteY54" fmla="*/ 298592 h 298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99749" h="298592">
                      <a:moveTo>
                        <a:pt x="1654" y="297600"/>
                      </a:moveTo>
                      <a:cubicBezTo>
                        <a:pt x="1654" y="289167"/>
                        <a:pt x="3142" y="289167"/>
                        <a:pt x="3142" y="281230"/>
                      </a:cubicBezTo>
                      <a:cubicBezTo>
                        <a:pt x="3142" y="272797"/>
                        <a:pt x="3142" y="272797"/>
                        <a:pt x="3142" y="264859"/>
                      </a:cubicBezTo>
                      <a:cubicBezTo>
                        <a:pt x="3142" y="256426"/>
                        <a:pt x="2646" y="256426"/>
                        <a:pt x="2646" y="248489"/>
                      </a:cubicBezTo>
                      <a:cubicBezTo>
                        <a:pt x="2646" y="240055"/>
                        <a:pt x="2646" y="240055"/>
                        <a:pt x="2646" y="232118"/>
                      </a:cubicBezTo>
                      <a:cubicBezTo>
                        <a:pt x="2646" y="223685"/>
                        <a:pt x="3142" y="223685"/>
                        <a:pt x="3142" y="215748"/>
                      </a:cubicBezTo>
                      <a:cubicBezTo>
                        <a:pt x="3142" y="207314"/>
                        <a:pt x="2646" y="207314"/>
                        <a:pt x="2646" y="199377"/>
                      </a:cubicBezTo>
                      <a:cubicBezTo>
                        <a:pt x="2646" y="190944"/>
                        <a:pt x="1654" y="190944"/>
                        <a:pt x="1654" y="183006"/>
                      </a:cubicBezTo>
                      <a:cubicBezTo>
                        <a:pt x="1654" y="174573"/>
                        <a:pt x="1654" y="174573"/>
                        <a:pt x="1654" y="166636"/>
                      </a:cubicBezTo>
                      <a:cubicBezTo>
                        <a:pt x="1654" y="158202"/>
                        <a:pt x="3638" y="158202"/>
                        <a:pt x="3638" y="150265"/>
                      </a:cubicBezTo>
                      <a:cubicBezTo>
                        <a:pt x="3638" y="141832"/>
                        <a:pt x="2150" y="141832"/>
                        <a:pt x="2150" y="133895"/>
                      </a:cubicBezTo>
                      <a:cubicBezTo>
                        <a:pt x="2150" y="125461"/>
                        <a:pt x="3638" y="125461"/>
                        <a:pt x="3638" y="117524"/>
                      </a:cubicBezTo>
                      <a:cubicBezTo>
                        <a:pt x="3638" y="109091"/>
                        <a:pt x="1654" y="109091"/>
                        <a:pt x="1654" y="101153"/>
                      </a:cubicBezTo>
                      <a:cubicBezTo>
                        <a:pt x="1654" y="92720"/>
                        <a:pt x="2646" y="92720"/>
                        <a:pt x="2646" y="84783"/>
                      </a:cubicBezTo>
                      <a:cubicBezTo>
                        <a:pt x="2646" y="76349"/>
                        <a:pt x="3142" y="76349"/>
                        <a:pt x="3142" y="68412"/>
                      </a:cubicBezTo>
                      <a:cubicBezTo>
                        <a:pt x="3142" y="59979"/>
                        <a:pt x="1654" y="59979"/>
                        <a:pt x="1654" y="52042"/>
                      </a:cubicBezTo>
                      <a:cubicBezTo>
                        <a:pt x="1654" y="43608"/>
                        <a:pt x="3142" y="43608"/>
                        <a:pt x="3142" y="35671"/>
                      </a:cubicBezTo>
                      <a:cubicBezTo>
                        <a:pt x="3142" y="27238"/>
                        <a:pt x="2646" y="27238"/>
                        <a:pt x="2646" y="19301"/>
                      </a:cubicBezTo>
                      <a:cubicBezTo>
                        <a:pt x="2646" y="11363"/>
                        <a:pt x="-3307" y="8387"/>
                        <a:pt x="2646" y="2930"/>
                      </a:cubicBezTo>
                      <a:cubicBezTo>
                        <a:pt x="8598" y="-3023"/>
                        <a:pt x="11079" y="1938"/>
                        <a:pt x="19016" y="1938"/>
                      </a:cubicBezTo>
                      <a:cubicBezTo>
                        <a:pt x="26953" y="1938"/>
                        <a:pt x="26953" y="1938"/>
                        <a:pt x="35387" y="1938"/>
                      </a:cubicBezTo>
                      <a:cubicBezTo>
                        <a:pt x="43324" y="1938"/>
                        <a:pt x="43324" y="2930"/>
                        <a:pt x="51757" y="2930"/>
                      </a:cubicBezTo>
                      <a:cubicBezTo>
                        <a:pt x="60191" y="2930"/>
                        <a:pt x="60191" y="3426"/>
                        <a:pt x="68128" y="3426"/>
                      </a:cubicBezTo>
                      <a:cubicBezTo>
                        <a:pt x="76065" y="3426"/>
                        <a:pt x="76065" y="2930"/>
                        <a:pt x="84499" y="2930"/>
                      </a:cubicBezTo>
                      <a:cubicBezTo>
                        <a:pt x="92932" y="2930"/>
                        <a:pt x="92932" y="2930"/>
                        <a:pt x="100869" y="2930"/>
                      </a:cubicBezTo>
                      <a:cubicBezTo>
                        <a:pt x="108806" y="2930"/>
                        <a:pt x="108806" y="1938"/>
                        <a:pt x="117240" y="1938"/>
                      </a:cubicBezTo>
                      <a:cubicBezTo>
                        <a:pt x="125673" y="1938"/>
                        <a:pt x="125673" y="2930"/>
                        <a:pt x="133610" y="2930"/>
                      </a:cubicBezTo>
                      <a:cubicBezTo>
                        <a:pt x="142044" y="2930"/>
                        <a:pt x="142044" y="3426"/>
                        <a:pt x="149981" y="3426"/>
                      </a:cubicBezTo>
                      <a:cubicBezTo>
                        <a:pt x="158414" y="3426"/>
                        <a:pt x="158414" y="3922"/>
                        <a:pt x="166351" y="3922"/>
                      </a:cubicBezTo>
                      <a:cubicBezTo>
                        <a:pt x="174785" y="3922"/>
                        <a:pt x="174785" y="2930"/>
                        <a:pt x="182722" y="2930"/>
                      </a:cubicBezTo>
                      <a:cubicBezTo>
                        <a:pt x="191155" y="2930"/>
                        <a:pt x="191155" y="1938"/>
                        <a:pt x="199093" y="1938"/>
                      </a:cubicBezTo>
                      <a:cubicBezTo>
                        <a:pt x="207526" y="1938"/>
                        <a:pt x="207526" y="3426"/>
                        <a:pt x="215463" y="3426"/>
                      </a:cubicBezTo>
                      <a:cubicBezTo>
                        <a:pt x="223896" y="3426"/>
                        <a:pt x="223896" y="2434"/>
                        <a:pt x="231834" y="2434"/>
                      </a:cubicBezTo>
                      <a:cubicBezTo>
                        <a:pt x="240267" y="2434"/>
                        <a:pt x="240267" y="2930"/>
                        <a:pt x="248204" y="2930"/>
                      </a:cubicBezTo>
                      <a:cubicBezTo>
                        <a:pt x="256637" y="2930"/>
                        <a:pt x="256637" y="2434"/>
                        <a:pt x="264575" y="2434"/>
                      </a:cubicBezTo>
                      <a:cubicBezTo>
                        <a:pt x="273008" y="2434"/>
                        <a:pt x="273008" y="2434"/>
                        <a:pt x="280945" y="2434"/>
                      </a:cubicBezTo>
                      <a:cubicBezTo>
                        <a:pt x="288883" y="2434"/>
                        <a:pt x="290867" y="-1535"/>
                        <a:pt x="296820" y="4418"/>
                      </a:cubicBezTo>
                      <a:cubicBezTo>
                        <a:pt x="302773" y="10371"/>
                        <a:pt x="297812" y="11859"/>
                        <a:pt x="297812" y="20293"/>
                      </a:cubicBezTo>
                      <a:cubicBezTo>
                        <a:pt x="297812" y="28726"/>
                        <a:pt x="297316" y="28726"/>
                        <a:pt x="297316" y="36663"/>
                      </a:cubicBezTo>
                      <a:cubicBezTo>
                        <a:pt x="297316" y="45097"/>
                        <a:pt x="298308" y="45097"/>
                        <a:pt x="298308" y="53034"/>
                      </a:cubicBezTo>
                      <a:cubicBezTo>
                        <a:pt x="298308" y="61467"/>
                        <a:pt x="297812" y="61467"/>
                        <a:pt x="297812" y="69405"/>
                      </a:cubicBezTo>
                      <a:cubicBezTo>
                        <a:pt x="297812" y="77838"/>
                        <a:pt x="298308" y="77838"/>
                        <a:pt x="298308" y="85775"/>
                      </a:cubicBezTo>
                      <a:cubicBezTo>
                        <a:pt x="298308" y="94208"/>
                        <a:pt x="299300" y="94208"/>
                        <a:pt x="299300" y="102146"/>
                      </a:cubicBezTo>
                      <a:cubicBezTo>
                        <a:pt x="299300" y="110579"/>
                        <a:pt x="298308" y="110579"/>
                        <a:pt x="298308" y="118516"/>
                      </a:cubicBezTo>
                      <a:cubicBezTo>
                        <a:pt x="298308" y="126949"/>
                        <a:pt x="298308" y="126949"/>
                        <a:pt x="298308" y="134887"/>
                      </a:cubicBezTo>
                      <a:cubicBezTo>
                        <a:pt x="298308" y="143320"/>
                        <a:pt x="299300" y="143320"/>
                        <a:pt x="299300" y="151257"/>
                      </a:cubicBezTo>
                      <a:cubicBezTo>
                        <a:pt x="299300" y="159691"/>
                        <a:pt x="296820" y="159691"/>
                        <a:pt x="296820" y="167628"/>
                      </a:cubicBezTo>
                      <a:cubicBezTo>
                        <a:pt x="296820" y="176061"/>
                        <a:pt x="297812" y="176061"/>
                        <a:pt x="297812" y="183998"/>
                      </a:cubicBezTo>
                      <a:cubicBezTo>
                        <a:pt x="297812" y="192432"/>
                        <a:pt x="297812" y="192432"/>
                        <a:pt x="297812" y="200369"/>
                      </a:cubicBezTo>
                      <a:cubicBezTo>
                        <a:pt x="297812" y="208802"/>
                        <a:pt x="298308" y="208802"/>
                        <a:pt x="298308" y="216739"/>
                      </a:cubicBezTo>
                      <a:cubicBezTo>
                        <a:pt x="298308" y="225173"/>
                        <a:pt x="298804" y="225173"/>
                        <a:pt x="298804" y="233110"/>
                      </a:cubicBezTo>
                      <a:cubicBezTo>
                        <a:pt x="298804" y="241543"/>
                        <a:pt x="298308" y="241543"/>
                        <a:pt x="298308" y="249481"/>
                      </a:cubicBezTo>
                      <a:cubicBezTo>
                        <a:pt x="298308" y="257914"/>
                        <a:pt x="297812" y="257914"/>
                        <a:pt x="297812" y="265851"/>
                      </a:cubicBezTo>
                      <a:cubicBezTo>
                        <a:pt x="297812" y="274285"/>
                        <a:pt x="298308" y="274285"/>
                        <a:pt x="298308" y="282222"/>
                      </a:cubicBezTo>
                      <a:cubicBezTo>
                        <a:pt x="298308" y="290159"/>
                        <a:pt x="297316" y="290655"/>
                        <a:pt x="297316" y="298592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676" name="Freeform: Shape 1675">
                <a:extLst>
                  <a:ext uri="{FF2B5EF4-FFF2-40B4-BE49-F238E27FC236}">
                    <a16:creationId xmlns:a16="http://schemas.microsoft.com/office/drawing/2014/main" id="{F0E03998-9F07-C41B-A97B-00A8386AB952}"/>
                  </a:ext>
                </a:extLst>
              </p:cNvPr>
              <p:cNvSpPr/>
              <p:nvPr/>
            </p:nvSpPr>
            <p:spPr>
              <a:xfrm>
                <a:off x="5164041" y="2495271"/>
                <a:ext cx="2480" cy="294670"/>
              </a:xfrm>
              <a:custGeom>
                <a:avLst/>
                <a:gdLst>
                  <a:gd name="connsiteX0" fmla="*/ 496 w 2480"/>
                  <a:gd name="connsiteY0" fmla="*/ 294670 h 294670"/>
                  <a:gd name="connsiteX1" fmla="*/ 2480 w 2480"/>
                  <a:gd name="connsiteY1" fmla="*/ 278300 h 294670"/>
                  <a:gd name="connsiteX2" fmla="*/ 496 w 2480"/>
                  <a:gd name="connsiteY2" fmla="*/ 261929 h 294670"/>
                  <a:gd name="connsiteX3" fmla="*/ 0 w 2480"/>
                  <a:gd name="connsiteY3" fmla="*/ 245559 h 294670"/>
                  <a:gd name="connsiteX4" fmla="*/ 0 w 2480"/>
                  <a:gd name="connsiteY4" fmla="*/ 229188 h 294670"/>
                  <a:gd name="connsiteX5" fmla="*/ 496 w 2480"/>
                  <a:gd name="connsiteY5" fmla="*/ 212818 h 294670"/>
                  <a:gd name="connsiteX6" fmla="*/ 1488 w 2480"/>
                  <a:gd name="connsiteY6" fmla="*/ 196447 h 294670"/>
                  <a:gd name="connsiteX7" fmla="*/ 2480 w 2480"/>
                  <a:gd name="connsiteY7" fmla="*/ 180076 h 294670"/>
                  <a:gd name="connsiteX8" fmla="*/ 1488 w 2480"/>
                  <a:gd name="connsiteY8" fmla="*/ 163706 h 294670"/>
                  <a:gd name="connsiteX9" fmla="*/ 992 w 2480"/>
                  <a:gd name="connsiteY9" fmla="*/ 147335 h 294670"/>
                  <a:gd name="connsiteX10" fmla="*/ 1984 w 2480"/>
                  <a:gd name="connsiteY10" fmla="*/ 130965 h 294670"/>
                  <a:gd name="connsiteX11" fmla="*/ 2480 w 2480"/>
                  <a:gd name="connsiteY11" fmla="*/ 114594 h 294670"/>
                  <a:gd name="connsiteX12" fmla="*/ 2480 w 2480"/>
                  <a:gd name="connsiteY12" fmla="*/ 98223 h 294670"/>
                  <a:gd name="connsiteX13" fmla="*/ 496 w 2480"/>
                  <a:gd name="connsiteY13" fmla="*/ 81853 h 294670"/>
                  <a:gd name="connsiteX14" fmla="*/ 1984 w 2480"/>
                  <a:gd name="connsiteY14" fmla="*/ 65482 h 294670"/>
                  <a:gd name="connsiteX15" fmla="*/ 496 w 2480"/>
                  <a:gd name="connsiteY15" fmla="*/ 49112 h 294670"/>
                  <a:gd name="connsiteX16" fmla="*/ 992 w 2480"/>
                  <a:gd name="connsiteY16" fmla="*/ 32741 h 294670"/>
                  <a:gd name="connsiteX17" fmla="*/ 0 w 2480"/>
                  <a:gd name="connsiteY17" fmla="*/ 16371 h 294670"/>
                  <a:gd name="connsiteX18" fmla="*/ 0 w 2480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496" y="294670"/>
                    </a:moveTo>
                    <a:cubicBezTo>
                      <a:pt x="496" y="286237"/>
                      <a:pt x="2480" y="286237"/>
                      <a:pt x="2480" y="278300"/>
                    </a:cubicBezTo>
                    <a:cubicBezTo>
                      <a:pt x="2480" y="269867"/>
                      <a:pt x="496" y="269867"/>
                      <a:pt x="496" y="261929"/>
                    </a:cubicBezTo>
                    <a:cubicBezTo>
                      <a:pt x="496" y="253496"/>
                      <a:pt x="0" y="253496"/>
                      <a:pt x="0" y="245559"/>
                    </a:cubicBezTo>
                    <a:cubicBezTo>
                      <a:pt x="0" y="237125"/>
                      <a:pt x="0" y="237125"/>
                      <a:pt x="0" y="229188"/>
                    </a:cubicBezTo>
                    <a:cubicBezTo>
                      <a:pt x="0" y="220755"/>
                      <a:pt x="496" y="220755"/>
                      <a:pt x="496" y="212818"/>
                    </a:cubicBezTo>
                    <a:cubicBezTo>
                      <a:pt x="496" y="204384"/>
                      <a:pt x="1488" y="204384"/>
                      <a:pt x="1488" y="196447"/>
                    </a:cubicBezTo>
                    <a:cubicBezTo>
                      <a:pt x="1488" y="188014"/>
                      <a:pt x="2480" y="188014"/>
                      <a:pt x="2480" y="180076"/>
                    </a:cubicBezTo>
                    <a:cubicBezTo>
                      <a:pt x="2480" y="171643"/>
                      <a:pt x="1488" y="171643"/>
                      <a:pt x="1488" y="163706"/>
                    </a:cubicBezTo>
                    <a:cubicBezTo>
                      <a:pt x="1488" y="155272"/>
                      <a:pt x="992" y="155272"/>
                      <a:pt x="992" y="147335"/>
                    </a:cubicBezTo>
                    <a:cubicBezTo>
                      <a:pt x="992" y="138902"/>
                      <a:pt x="1984" y="138902"/>
                      <a:pt x="1984" y="130965"/>
                    </a:cubicBezTo>
                    <a:cubicBezTo>
                      <a:pt x="1984" y="122531"/>
                      <a:pt x="2480" y="122531"/>
                      <a:pt x="2480" y="114594"/>
                    </a:cubicBezTo>
                    <a:cubicBezTo>
                      <a:pt x="2480" y="106161"/>
                      <a:pt x="2480" y="106161"/>
                      <a:pt x="2480" y="98223"/>
                    </a:cubicBezTo>
                    <a:cubicBezTo>
                      <a:pt x="2480" y="89790"/>
                      <a:pt x="496" y="89790"/>
                      <a:pt x="496" y="81853"/>
                    </a:cubicBezTo>
                    <a:cubicBezTo>
                      <a:pt x="496" y="73419"/>
                      <a:pt x="1984" y="73419"/>
                      <a:pt x="1984" y="65482"/>
                    </a:cubicBezTo>
                    <a:cubicBezTo>
                      <a:pt x="1984" y="57049"/>
                      <a:pt x="496" y="57049"/>
                      <a:pt x="496" y="49112"/>
                    </a:cubicBezTo>
                    <a:cubicBezTo>
                      <a:pt x="496" y="40678"/>
                      <a:pt x="992" y="40678"/>
                      <a:pt x="992" y="32741"/>
                    </a:cubicBezTo>
                    <a:cubicBezTo>
                      <a:pt x="992" y="24308"/>
                      <a:pt x="0" y="24308"/>
                      <a:pt x="0" y="16371"/>
                    </a:cubicBezTo>
                    <a:cubicBezTo>
                      <a:pt x="0" y="8433"/>
                      <a:pt x="0" y="7937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77" name="Freeform: Shape 1676">
                <a:extLst>
                  <a:ext uri="{FF2B5EF4-FFF2-40B4-BE49-F238E27FC236}">
                    <a16:creationId xmlns:a16="http://schemas.microsoft.com/office/drawing/2014/main" id="{D95F7408-3E60-ECA9-D9ED-62452B9562CA}"/>
                  </a:ext>
                </a:extLst>
              </p:cNvPr>
              <p:cNvSpPr/>
              <p:nvPr/>
            </p:nvSpPr>
            <p:spPr>
              <a:xfrm>
                <a:off x="5209680" y="2493287"/>
                <a:ext cx="1488" cy="294670"/>
              </a:xfrm>
              <a:custGeom>
                <a:avLst/>
                <a:gdLst>
                  <a:gd name="connsiteX0" fmla="*/ 496 w 1488"/>
                  <a:gd name="connsiteY0" fmla="*/ 0 h 294670"/>
                  <a:gd name="connsiteX1" fmla="*/ 0 w 1488"/>
                  <a:gd name="connsiteY1" fmla="*/ 16371 h 294670"/>
                  <a:gd name="connsiteX2" fmla="*/ 992 w 1488"/>
                  <a:gd name="connsiteY2" fmla="*/ 32741 h 294670"/>
                  <a:gd name="connsiteX3" fmla="*/ 992 w 1488"/>
                  <a:gd name="connsiteY3" fmla="*/ 49112 h 294670"/>
                  <a:gd name="connsiteX4" fmla="*/ 0 w 1488"/>
                  <a:gd name="connsiteY4" fmla="*/ 65482 h 294670"/>
                  <a:gd name="connsiteX5" fmla="*/ 0 w 1488"/>
                  <a:gd name="connsiteY5" fmla="*/ 81853 h 294670"/>
                  <a:gd name="connsiteX6" fmla="*/ 0 w 1488"/>
                  <a:gd name="connsiteY6" fmla="*/ 98224 h 294670"/>
                  <a:gd name="connsiteX7" fmla="*/ 496 w 1488"/>
                  <a:gd name="connsiteY7" fmla="*/ 114594 h 294670"/>
                  <a:gd name="connsiteX8" fmla="*/ 0 w 1488"/>
                  <a:gd name="connsiteY8" fmla="*/ 130965 h 294670"/>
                  <a:gd name="connsiteX9" fmla="*/ 0 w 1488"/>
                  <a:gd name="connsiteY9" fmla="*/ 147335 h 294670"/>
                  <a:gd name="connsiteX10" fmla="*/ 992 w 1488"/>
                  <a:gd name="connsiteY10" fmla="*/ 163706 h 294670"/>
                  <a:gd name="connsiteX11" fmla="*/ 0 w 1488"/>
                  <a:gd name="connsiteY11" fmla="*/ 180076 h 294670"/>
                  <a:gd name="connsiteX12" fmla="*/ 1488 w 1488"/>
                  <a:gd name="connsiteY12" fmla="*/ 196447 h 294670"/>
                  <a:gd name="connsiteX13" fmla="*/ 1488 w 1488"/>
                  <a:gd name="connsiteY13" fmla="*/ 212817 h 294670"/>
                  <a:gd name="connsiteX14" fmla="*/ 992 w 1488"/>
                  <a:gd name="connsiteY14" fmla="*/ 229188 h 294670"/>
                  <a:gd name="connsiteX15" fmla="*/ 992 w 1488"/>
                  <a:gd name="connsiteY15" fmla="*/ 245558 h 294670"/>
                  <a:gd name="connsiteX16" fmla="*/ 496 w 1488"/>
                  <a:gd name="connsiteY16" fmla="*/ 261929 h 294670"/>
                  <a:gd name="connsiteX17" fmla="*/ 496 w 1488"/>
                  <a:gd name="connsiteY17" fmla="*/ 278300 h 294670"/>
                  <a:gd name="connsiteX18" fmla="*/ 0 w 1488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88" h="294670">
                    <a:moveTo>
                      <a:pt x="496" y="0"/>
                    </a:moveTo>
                    <a:cubicBezTo>
                      <a:pt x="496" y="8433"/>
                      <a:pt x="0" y="8433"/>
                      <a:pt x="0" y="16371"/>
                    </a:cubicBezTo>
                    <a:cubicBezTo>
                      <a:pt x="0" y="24804"/>
                      <a:pt x="992" y="24804"/>
                      <a:pt x="992" y="32741"/>
                    </a:cubicBezTo>
                    <a:cubicBezTo>
                      <a:pt x="992" y="41174"/>
                      <a:pt x="992" y="41174"/>
                      <a:pt x="992" y="49112"/>
                    </a:cubicBezTo>
                    <a:cubicBezTo>
                      <a:pt x="992" y="57545"/>
                      <a:pt x="0" y="57545"/>
                      <a:pt x="0" y="65482"/>
                    </a:cubicBezTo>
                    <a:cubicBezTo>
                      <a:pt x="0" y="73916"/>
                      <a:pt x="0" y="73916"/>
                      <a:pt x="0" y="81853"/>
                    </a:cubicBezTo>
                    <a:cubicBezTo>
                      <a:pt x="0" y="90286"/>
                      <a:pt x="0" y="90286"/>
                      <a:pt x="0" y="98224"/>
                    </a:cubicBezTo>
                    <a:cubicBezTo>
                      <a:pt x="0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5"/>
                    </a:cubicBezTo>
                    <a:cubicBezTo>
                      <a:pt x="0" y="139398"/>
                      <a:pt x="0" y="139398"/>
                      <a:pt x="0" y="147335"/>
                    </a:cubicBezTo>
                    <a:cubicBezTo>
                      <a:pt x="0" y="155768"/>
                      <a:pt x="992" y="155768"/>
                      <a:pt x="992" y="163706"/>
                    </a:cubicBezTo>
                    <a:cubicBezTo>
                      <a:pt x="992" y="172139"/>
                      <a:pt x="0" y="172139"/>
                      <a:pt x="0" y="180076"/>
                    </a:cubicBezTo>
                    <a:cubicBezTo>
                      <a:pt x="0" y="188509"/>
                      <a:pt x="1488" y="188509"/>
                      <a:pt x="1488" y="196447"/>
                    </a:cubicBezTo>
                    <a:cubicBezTo>
                      <a:pt x="1488" y="204880"/>
                      <a:pt x="1488" y="204880"/>
                      <a:pt x="1488" y="212817"/>
                    </a:cubicBezTo>
                    <a:cubicBezTo>
                      <a:pt x="1488" y="221251"/>
                      <a:pt x="992" y="221251"/>
                      <a:pt x="992" y="229188"/>
                    </a:cubicBezTo>
                    <a:cubicBezTo>
                      <a:pt x="992" y="237621"/>
                      <a:pt x="992" y="237621"/>
                      <a:pt x="992" y="245558"/>
                    </a:cubicBezTo>
                    <a:cubicBezTo>
                      <a:pt x="992" y="253992"/>
                      <a:pt x="496" y="253992"/>
                      <a:pt x="496" y="261929"/>
                    </a:cubicBezTo>
                    <a:cubicBezTo>
                      <a:pt x="496" y="270362"/>
                      <a:pt x="496" y="270362"/>
                      <a:pt x="496" y="278300"/>
                    </a:cubicBezTo>
                    <a:cubicBezTo>
                      <a:pt x="496" y="286237"/>
                      <a:pt x="0" y="286733"/>
                      <a:pt x="0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9" name="Graphic 10">
              <a:extLst>
                <a:ext uri="{FF2B5EF4-FFF2-40B4-BE49-F238E27FC236}">
                  <a16:creationId xmlns:a16="http://schemas.microsoft.com/office/drawing/2014/main" id="{D4DCB1D5-4228-3718-F67B-7C312523E27A}"/>
                </a:ext>
              </a:extLst>
            </p:cNvPr>
            <p:cNvGrpSpPr/>
            <p:nvPr/>
          </p:nvGrpSpPr>
          <p:grpSpPr>
            <a:xfrm>
              <a:off x="4947255" y="2788453"/>
              <a:ext cx="481195" cy="230676"/>
              <a:chOff x="4947255" y="2788453"/>
              <a:chExt cx="481195" cy="230676"/>
            </a:xfrm>
            <a:noFill/>
          </p:grpSpPr>
          <p:sp>
            <p:nvSpPr>
              <p:cNvPr id="1652" name="Freeform: Shape 1651">
                <a:extLst>
                  <a:ext uri="{FF2B5EF4-FFF2-40B4-BE49-F238E27FC236}">
                    <a16:creationId xmlns:a16="http://schemas.microsoft.com/office/drawing/2014/main" id="{C1D457F1-FB73-A0DA-99E4-353E815AF6F0}"/>
                  </a:ext>
                </a:extLst>
              </p:cNvPr>
              <p:cNvSpPr/>
              <p:nvPr/>
            </p:nvSpPr>
            <p:spPr>
              <a:xfrm>
                <a:off x="4958279" y="2980263"/>
                <a:ext cx="464095" cy="38866"/>
              </a:xfrm>
              <a:custGeom>
                <a:avLst/>
                <a:gdLst>
                  <a:gd name="connsiteX0" fmla="*/ 447351 w 464095"/>
                  <a:gd name="connsiteY0" fmla="*/ 36882 h 38866"/>
                  <a:gd name="connsiteX1" fmla="*/ 453304 w 464095"/>
                  <a:gd name="connsiteY1" fmla="*/ 24480 h 38866"/>
                  <a:gd name="connsiteX2" fmla="*/ 461738 w 464095"/>
                  <a:gd name="connsiteY2" fmla="*/ 13566 h 38866"/>
                  <a:gd name="connsiteX3" fmla="*/ 461738 w 464095"/>
                  <a:gd name="connsiteY3" fmla="*/ 1660 h 38866"/>
                  <a:gd name="connsiteX4" fmla="*/ 444871 w 464095"/>
                  <a:gd name="connsiteY4" fmla="*/ 3149 h 38866"/>
                  <a:gd name="connsiteX5" fmla="*/ 428500 w 464095"/>
                  <a:gd name="connsiteY5" fmla="*/ 3645 h 38866"/>
                  <a:gd name="connsiteX6" fmla="*/ 412130 w 464095"/>
                  <a:gd name="connsiteY6" fmla="*/ 3645 h 38866"/>
                  <a:gd name="connsiteX7" fmla="*/ 395759 w 464095"/>
                  <a:gd name="connsiteY7" fmla="*/ 2653 h 38866"/>
                  <a:gd name="connsiteX8" fmla="*/ 379389 w 464095"/>
                  <a:gd name="connsiteY8" fmla="*/ 3645 h 38866"/>
                  <a:gd name="connsiteX9" fmla="*/ 363018 w 464095"/>
                  <a:gd name="connsiteY9" fmla="*/ 2653 h 38866"/>
                  <a:gd name="connsiteX10" fmla="*/ 346648 w 464095"/>
                  <a:gd name="connsiteY10" fmla="*/ 3645 h 38866"/>
                  <a:gd name="connsiteX11" fmla="*/ 330277 w 464095"/>
                  <a:gd name="connsiteY11" fmla="*/ 2157 h 38866"/>
                  <a:gd name="connsiteX12" fmla="*/ 313906 w 464095"/>
                  <a:gd name="connsiteY12" fmla="*/ 2157 h 38866"/>
                  <a:gd name="connsiteX13" fmla="*/ 297536 w 464095"/>
                  <a:gd name="connsiteY13" fmla="*/ 3645 h 38866"/>
                  <a:gd name="connsiteX14" fmla="*/ 281165 w 464095"/>
                  <a:gd name="connsiteY14" fmla="*/ 2653 h 38866"/>
                  <a:gd name="connsiteX15" fmla="*/ 264795 w 464095"/>
                  <a:gd name="connsiteY15" fmla="*/ 3645 h 38866"/>
                  <a:gd name="connsiteX16" fmla="*/ 248424 w 464095"/>
                  <a:gd name="connsiteY16" fmla="*/ 2653 h 38866"/>
                  <a:gd name="connsiteX17" fmla="*/ 232053 w 464095"/>
                  <a:gd name="connsiteY17" fmla="*/ 3149 h 38866"/>
                  <a:gd name="connsiteX18" fmla="*/ 215683 w 464095"/>
                  <a:gd name="connsiteY18" fmla="*/ 3149 h 38866"/>
                  <a:gd name="connsiteX19" fmla="*/ 199312 w 464095"/>
                  <a:gd name="connsiteY19" fmla="*/ 3149 h 38866"/>
                  <a:gd name="connsiteX20" fmla="*/ 182942 w 464095"/>
                  <a:gd name="connsiteY20" fmla="*/ 4637 h 38866"/>
                  <a:gd name="connsiteX21" fmla="*/ 166571 w 464095"/>
                  <a:gd name="connsiteY21" fmla="*/ 4637 h 38866"/>
                  <a:gd name="connsiteX22" fmla="*/ 150201 w 464095"/>
                  <a:gd name="connsiteY22" fmla="*/ 4141 h 38866"/>
                  <a:gd name="connsiteX23" fmla="*/ 133830 w 464095"/>
                  <a:gd name="connsiteY23" fmla="*/ 3149 h 38866"/>
                  <a:gd name="connsiteX24" fmla="*/ 117460 w 464095"/>
                  <a:gd name="connsiteY24" fmla="*/ 2653 h 38866"/>
                  <a:gd name="connsiteX25" fmla="*/ 101089 w 464095"/>
                  <a:gd name="connsiteY25" fmla="*/ 2653 h 38866"/>
                  <a:gd name="connsiteX26" fmla="*/ 84719 w 464095"/>
                  <a:gd name="connsiteY26" fmla="*/ 2653 h 38866"/>
                  <a:gd name="connsiteX27" fmla="*/ 68348 w 464095"/>
                  <a:gd name="connsiteY27" fmla="*/ 3645 h 38866"/>
                  <a:gd name="connsiteX28" fmla="*/ 51977 w 464095"/>
                  <a:gd name="connsiteY28" fmla="*/ 4141 h 38866"/>
                  <a:gd name="connsiteX29" fmla="*/ 35607 w 464095"/>
                  <a:gd name="connsiteY29" fmla="*/ 3149 h 38866"/>
                  <a:gd name="connsiteX30" fmla="*/ 19236 w 464095"/>
                  <a:gd name="connsiteY30" fmla="*/ 2653 h 38866"/>
                  <a:gd name="connsiteX31" fmla="*/ 2866 w 464095"/>
                  <a:gd name="connsiteY31" fmla="*/ 3645 h 38866"/>
                  <a:gd name="connsiteX32" fmla="*/ 2369 w 464095"/>
                  <a:gd name="connsiteY32" fmla="*/ 14062 h 38866"/>
                  <a:gd name="connsiteX33" fmla="*/ 12787 w 464095"/>
                  <a:gd name="connsiteY33" fmla="*/ 25472 h 38866"/>
                  <a:gd name="connsiteX34" fmla="*/ 22709 w 464095"/>
                  <a:gd name="connsiteY34" fmla="*/ 36882 h 38866"/>
                  <a:gd name="connsiteX35" fmla="*/ 38087 w 464095"/>
                  <a:gd name="connsiteY35" fmla="*/ 37874 h 38866"/>
                  <a:gd name="connsiteX36" fmla="*/ 53465 w 464095"/>
                  <a:gd name="connsiteY36" fmla="*/ 36882 h 38866"/>
                  <a:gd name="connsiteX37" fmla="*/ 68844 w 464095"/>
                  <a:gd name="connsiteY37" fmla="*/ 38866 h 38866"/>
                  <a:gd name="connsiteX38" fmla="*/ 84222 w 464095"/>
                  <a:gd name="connsiteY38" fmla="*/ 37874 h 38866"/>
                  <a:gd name="connsiteX39" fmla="*/ 99601 w 464095"/>
                  <a:gd name="connsiteY39" fmla="*/ 37378 h 38866"/>
                  <a:gd name="connsiteX40" fmla="*/ 114979 w 464095"/>
                  <a:gd name="connsiteY40" fmla="*/ 38866 h 38866"/>
                  <a:gd name="connsiteX41" fmla="*/ 130357 w 464095"/>
                  <a:gd name="connsiteY41" fmla="*/ 36882 h 38866"/>
                  <a:gd name="connsiteX42" fmla="*/ 145736 w 464095"/>
                  <a:gd name="connsiteY42" fmla="*/ 38866 h 38866"/>
                  <a:gd name="connsiteX43" fmla="*/ 161114 w 464095"/>
                  <a:gd name="connsiteY43" fmla="*/ 38866 h 3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64095" h="38866">
                    <a:moveTo>
                      <a:pt x="447351" y="36882"/>
                    </a:moveTo>
                    <a:cubicBezTo>
                      <a:pt x="450824" y="30929"/>
                      <a:pt x="449832" y="30433"/>
                      <a:pt x="453304" y="24480"/>
                    </a:cubicBezTo>
                    <a:cubicBezTo>
                      <a:pt x="456777" y="18527"/>
                      <a:pt x="459753" y="20015"/>
                      <a:pt x="461738" y="13566"/>
                    </a:cubicBezTo>
                    <a:cubicBezTo>
                      <a:pt x="463226" y="8110"/>
                      <a:pt x="466202" y="5133"/>
                      <a:pt x="461738" y="1660"/>
                    </a:cubicBezTo>
                    <a:cubicBezTo>
                      <a:pt x="454793" y="-2804"/>
                      <a:pt x="453304" y="3149"/>
                      <a:pt x="444871" y="3149"/>
                    </a:cubicBezTo>
                    <a:cubicBezTo>
                      <a:pt x="436438" y="3149"/>
                      <a:pt x="436438" y="3645"/>
                      <a:pt x="428500" y="3645"/>
                    </a:cubicBezTo>
                    <a:cubicBezTo>
                      <a:pt x="420067" y="3645"/>
                      <a:pt x="420067" y="3645"/>
                      <a:pt x="412130" y="3645"/>
                    </a:cubicBezTo>
                    <a:cubicBezTo>
                      <a:pt x="403697" y="3645"/>
                      <a:pt x="403697" y="2653"/>
                      <a:pt x="395759" y="2653"/>
                    </a:cubicBezTo>
                    <a:cubicBezTo>
                      <a:pt x="387326" y="2653"/>
                      <a:pt x="387326" y="3645"/>
                      <a:pt x="379389" y="3645"/>
                    </a:cubicBezTo>
                    <a:cubicBezTo>
                      <a:pt x="370955" y="3645"/>
                      <a:pt x="370955" y="2653"/>
                      <a:pt x="363018" y="2653"/>
                    </a:cubicBezTo>
                    <a:cubicBezTo>
                      <a:pt x="354585" y="2653"/>
                      <a:pt x="354585" y="3645"/>
                      <a:pt x="346648" y="3645"/>
                    </a:cubicBezTo>
                    <a:cubicBezTo>
                      <a:pt x="338214" y="3645"/>
                      <a:pt x="338214" y="2157"/>
                      <a:pt x="330277" y="2157"/>
                    </a:cubicBezTo>
                    <a:cubicBezTo>
                      <a:pt x="321844" y="2157"/>
                      <a:pt x="321844" y="2157"/>
                      <a:pt x="313906" y="2157"/>
                    </a:cubicBezTo>
                    <a:cubicBezTo>
                      <a:pt x="305473" y="2157"/>
                      <a:pt x="305473" y="3645"/>
                      <a:pt x="297536" y="3645"/>
                    </a:cubicBezTo>
                    <a:cubicBezTo>
                      <a:pt x="289102" y="3645"/>
                      <a:pt x="289102" y="2653"/>
                      <a:pt x="281165" y="2653"/>
                    </a:cubicBezTo>
                    <a:cubicBezTo>
                      <a:pt x="272732" y="2653"/>
                      <a:pt x="272732" y="3645"/>
                      <a:pt x="264795" y="3645"/>
                    </a:cubicBezTo>
                    <a:cubicBezTo>
                      <a:pt x="256361" y="3645"/>
                      <a:pt x="256361" y="2653"/>
                      <a:pt x="248424" y="2653"/>
                    </a:cubicBezTo>
                    <a:cubicBezTo>
                      <a:pt x="239991" y="2653"/>
                      <a:pt x="239991" y="3149"/>
                      <a:pt x="232053" y="3149"/>
                    </a:cubicBezTo>
                    <a:cubicBezTo>
                      <a:pt x="223620" y="3149"/>
                      <a:pt x="223620" y="3149"/>
                      <a:pt x="215683" y="3149"/>
                    </a:cubicBezTo>
                    <a:cubicBezTo>
                      <a:pt x="207250" y="3149"/>
                      <a:pt x="207250" y="3149"/>
                      <a:pt x="199312" y="3149"/>
                    </a:cubicBezTo>
                    <a:cubicBezTo>
                      <a:pt x="190879" y="3149"/>
                      <a:pt x="190879" y="4637"/>
                      <a:pt x="182942" y="4637"/>
                    </a:cubicBezTo>
                    <a:cubicBezTo>
                      <a:pt x="174508" y="4637"/>
                      <a:pt x="174508" y="4637"/>
                      <a:pt x="166571" y="4637"/>
                    </a:cubicBezTo>
                    <a:cubicBezTo>
                      <a:pt x="158138" y="4637"/>
                      <a:pt x="158138" y="4141"/>
                      <a:pt x="150201" y="4141"/>
                    </a:cubicBezTo>
                    <a:cubicBezTo>
                      <a:pt x="141767" y="4141"/>
                      <a:pt x="141767" y="3149"/>
                      <a:pt x="133830" y="3149"/>
                    </a:cubicBezTo>
                    <a:cubicBezTo>
                      <a:pt x="125397" y="3149"/>
                      <a:pt x="125397" y="2653"/>
                      <a:pt x="117460" y="2653"/>
                    </a:cubicBezTo>
                    <a:cubicBezTo>
                      <a:pt x="109026" y="2653"/>
                      <a:pt x="109026" y="2653"/>
                      <a:pt x="101089" y="2653"/>
                    </a:cubicBezTo>
                    <a:cubicBezTo>
                      <a:pt x="92656" y="2653"/>
                      <a:pt x="92656" y="2653"/>
                      <a:pt x="84719" y="2653"/>
                    </a:cubicBezTo>
                    <a:cubicBezTo>
                      <a:pt x="76285" y="2653"/>
                      <a:pt x="76285" y="3645"/>
                      <a:pt x="68348" y="3645"/>
                    </a:cubicBezTo>
                    <a:cubicBezTo>
                      <a:pt x="59915" y="3645"/>
                      <a:pt x="59915" y="4141"/>
                      <a:pt x="51977" y="4141"/>
                    </a:cubicBezTo>
                    <a:cubicBezTo>
                      <a:pt x="43544" y="4141"/>
                      <a:pt x="43544" y="3149"/>
                      <a:pt x="35607" y="3149"/>
                    </a:cubicBezTo>
                    <a:cubicBezTo>
                      <a:pt x="27173" y="3149"/>
                      <a:pt x="27173" y="2653"/>
                      <a:pt x="19236" y="2653"/>
                    </a:cubicBezTo>
                    <a:cubicBezTo>
                      <a:pt x="10803" y="2653"/>
                      <a:pt x="9811" y="-820"/>
                      <a:pt x="2866" y="3645"/>
                    </a:cubicBezTo>
                    <a:cubicBezTo>
                      <a:pt x="-1599" y="6621"/>
                      <a:pt x="-111" y="9101"/>
                      <a:pt x="2369" y="14062"/>
                    </a:cubicBezTo>
                    <a:cubicBezTo>
                      <a:pt x="5346" y="21007"/>
                      <a:pt x="7826" y="19519"/>
                      <a:pt x="12787" y="25472"/>
                    </a:cubicBezTo>
                    <a:cubicBezTo>
                      <a:pt x="17748" y="31425"/>
                      <a:pt x="15764" y="33409"/>
                      <a:pt x="22709" y="36882"/>
                    </a:cubicBezTo>
                    <a:cubicBezTo>
                      <a:pt x="29654" y="39858"/>
                      <a:pt x="30150" y="37874"/>
                      <a:pt x="38087" y="37874"/>
                    </a:cubicBezTo>
                    <a:cubicBezTo>
                      <a:pt x="46024" y="37874"/>
                      <a:pt x="46024" y="36882"/>
                      <a:pt x="53465" y="36882"/>
                    </a:cubicBezTo>
                    <a:cubicBezTo>
                      <a:pt x="61403" y="36882"/>
                      <a:pt x="61403" y="38866"/>
                      <a:pt x="68844" y="38866"/>
                    </a:cubicBezTo>
                    <a:cubicBezTo>
                      <a:pt x="76781" y="38866"/>
                      <a:pt x="76781" y="37874"/>
                      <a:pt x="84222" y="37874"/>
                    </a:cubicBezTo>
                    <a:cubicBezTo>
                      <a:pt x="92160" y="37874"/>
                      <a:pt x="92160" y="37378"/>
                      <a:pt x="99601" y="37378"/>
                    </a:cubicBezTo>
                    <a:cubicBezTo>
                      <a:pt x="107538" y="37378"/>
                      <a:pt x="107538" y="38866"/>
                      <a:pt x="114979" y="38866"/>
                    </a:cubicBezTo>
                    <a:cubicBezTo>
                      <a:pt x="122916" y="38866"/>
                      <a:pt x="122916" y="36882"/>
                      <a:pt x="130357" y="36882"/>
                    </a:cubicBezTo>
                    <a:cubicBezTo>
                      <a:pt x="138295" y="36882"/>
                      <a:pt x="138295" y="38866"/>
                      <a:pt x="145736" y="38866"/>
                    </a:cubicBezTo>
                    <a:cubicBezTo>
                      <a:pt x="153177" y="38866"/>
                      <a:pt x="153673" y="38866"/>
                      <a:pt x="161114" y="3886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3" name="Freeform: Shape 1652">
                <a:extLst>
                  <a:ext uri="{FF2B5EF4-FFF2-40B4-BE49-F238E27FC236}">
                    <a16:creationId xmlns:a16="http://schemas.microsoft.com/office/drawing/2014/main" id="{D78FD7A4-5FFD-A76B-AAA1-3E0183C94C79}"/>
                  </a:ext>
                </a:extLst>
              </p:cNvPr>
              <p:cNvSpPr/>
              <p:nvPr/>
            </p:nvSpPr>
            <p:spPr>
              <a:xfrm>
                <a:off x="4947255" y="2788453"/>
                <a:ext cx="481195" cy="25300"/>
              </a:xfrm>
              <a:custGeom>
                <a:avLst/>
                <a:gdLst>
                  <a:gd name="connsiteX0" fmla="*/ 470282 w 481195"/>
                  <a:gd name="connsiteY0" fmla="*/ 23812 h 25300"/>
                  <a:gd name="connsiteX1" fmla="*/ 453911 w 481195"/>
                  <a:gd name="connsiteY1" fmla="*/ 24308 h 25300"/>
                  <a:gd name="connsiteX2" fmla="*/ 437541 w 481195"/>
                  <a:gd name="connsiteY2" fmla="*/ 25300 h 25300"/>
                  <a:gd name="connsiteX3" fmla="*/ 421170 w 481195"/>
                  <a:gd name="connsiteY3" fmla="*/ 25300 h 25300"/>
                  <a:gd name="connsiteX4" fmla="*/ 404800 w 481195"/>
                  <a:gd name="connsiteY4" fmla="*/ 23316 h 25300"/>
                  <a:gd name="connsiteX5" fmla="*/ 388429 w 481195"/>
                  <a:gd name="connsiteY5" fmla="*/ 24804 h 25300"/>
                  <a:gd name="connsiteX6" fmla="*/ 372058 w 481195"/>
                  <a:gd name="connsiteY6" fmla="*/ 23316 h 25300"/>
                  <a:gd name="connsiteX7" fmla="*/ 355688 w 481195"/>
                  <a:gd name="connsiteY7" fmla="*/ 24804 h 25300"/>
                  <a:gd name="connsiteX8" fmla="*/ 339317 w 481195"/>
                  <a:gd name="connsiteY8" fmla="*/ 24308 h 25300"/>
                  <a:gd name="connsiteX9" fmla="*/ 322947 w 481195"/>
                  <a:gd name="connsiteY9" fmla="*/ 22820 h 25300"/>
                  <a:gd name="connsiteX10" fmla="*/ 306576 w 481195"/>
                  <a:gd name="connsiteY10" fmla="*/ 24308 h 25300"/>
                  <a:gd name="connsiteX11" fmla="*/ 290206 w 481195"/>
                  <a:gd name="connsiteY11" fmla="*/ 22820 h 25300"/>
                  <a:gd name="connsiteX12" fmla="*/ 273835 w 481195"/>
                  <a:gd name="connsiteY12" fmla="*/ 24308 h 25300"/>
                  <a:gd name="connsiteX13" fmla="*/ 257465 w 481195"/>
                  <a:gd name="connsiteY13" fmla="*/ 24308 h 25300"/>
                  <a:gd name="connsiteX14" fmla="*/ 241094 w 481195"/>
                  <a:gd name="connsiteY14" fmla="*/ 25300 h 25300"/>
                  <a:gd name="connsiteX15" fmla="*/ 224724 w 481195"/>
                  <a:gd name="connsiteY15" fmla="*/ 23812 h 25300"/>
                  <a:gd name="connsiteX16" fmla="*/ 208353 w 481195"/>
                  <a:gd name="connsiteY16" fmla="*/ 25300 h 25300"/>
                  <a:gd name="connsiteX17" fmla="*/ 191982 w 481195"/>
                  <a:gd name="connsiteY17" fmla="*/ 25300 h 25300"/>
                  <a:gd name="connsiteX18" fmla="*/ 175612 w 481195"/>
                  <a:gd name="connsiteY18" fmla="*/ 25300 h 25300"/>
                  <a:gd name="connsiteX19" fmla="*/ 159241 w 481195"/>
                  <a:gd name="connsiteY19" fmla="*/ 25300 h 25300"/>
                  <a:gd name="connsiteX20" fmla="*/ 142871 w 481195"/>
                  <a:gd name="connsiteY20" fmla="*/ 25300 h 25300"/>
                  <a:gd name="connsiteX21" fmla="*/ 126500 w 481195"/>
                  <a:gd name="connsiteY21" fmla="*/ 23812 h 25300"/>
                  <a:gd name="connsiteX22" fmla="*/ 110129 w 481195"/>
                  <a:gd name="connsiteY22" fmla="*/ 24308 h 25300"/>
                  <a:gd name="connsiteX23" fmla="*/ 93759 w 481195"/>
                  <a:gd name="connsiteY23" fmla="*/ 22820 h 25300"/>
                  <a:gd name="connsiteX24" fmla="*/ 77388 w 481195"/>
                  <a:gd name="connsiteY24" fmla="*/ 23316 h 25300"/>
                  <a:gd name="connsiteX25" fmla="*/ 61018 w 481195"/>
                  <a:gd name="connsiteY25" fmla="*/ 23316 h 25300"/>
                  <a:gd name="connsiteX26" fmla="*/ 44647 w 481195"/>
                  <a:gd name="connsiteY26" fmla="*/ 24804 h 25300"/>
                  <a:gd name="connsiteX27" fmla="*/ 28277 w 481195"/>
                  <a:gd name="connsiteY27" fmla="*/ 23812 h 25300"/>
                  <a:gd name="connsiteX28" fmla="*/ 11906 w 481195"/>
                  <a:gd name="connsiteY28" fmla="*/ 23316 h 25300"/>
                  <a:gd name="connsiteX29" fmla="*/ 0 w 481195"/>
                  <a:gd name="connsiteY29" fmla="*/ 12402 h 25300"/>
                  <a:gd name="connsiteX30" fmla="*/ 0 w 481195"/>
                  <a:gd name="connsiteY30" fmla="*/ 12402 h 25300"/>
                  <a:gd name="connsiteX31" fmla="*/ 12402 w 481195"/>
                  <a:gd name="connsiteY31" fmla="*/ 0 h 25300"/>
                  <a:gd name="connsiteX32" fmla="*/ 28773 w 481195"/>
                  <a:gd name="connsiteY32" fmla="*/ 992 h 25300"/>
                  <a:gd name="connsiteX33" fmla="*/ 45143 w 481195"/>
                  <a:gd name="connsiteY33" fmla="*/ 992 h 25300"/>
                  <a:gd name="connsiteX34" fmla="*/ 61514 w 481195"/>
                  <a:gd name="connsiteY34" fmla="*/ 992 h 25300"/>
                  <a:gd name="connsiteX35" fmla="*/ 77884 w 481195"/>
                  <a:gd name="connsiteY35" fmla="*/ 1488 h 25300"/>
                  <a:gd name="connsiteX36" fmla="*/ 94255 w 481195"/>
                  <a:gd name="connsiteY36" fmla="*/ 1488 h 25300"/>
                  <a:gd name="connsiteX37" fmla="*/ 110626 w 481195"/>
                  <a:gd name="connsiteY37" fmla="*/ 2480 h 25300"/>
                  <a:gd name="connsiteX38" fmla="*/ 126996 w 481195"/>
                  <a:gd name="connsiteY38" fmla="*/ 992 h 25300"/>
                  <a:gd name="connsiteX39" fmla="*/ 143367 w 481195"/>
                  <a:gd name="connsiteY39" fmla="*/ 1984 h 25300"/>
                  <a:gd name="connsiteX40" fmla="*/ 159737 w 481195"/>
                  <a:gd name="connsiteY40" fmla="*/ 496 h 25300"/>
                  <a:gd name="connsiteX41" fmla="*/ 176108 w 481195"/>
                  <a:gd name="connsiteY41" fmla="*/ 1984 h 25300"/>
                  <a:gd name="connsiteX42" fmla="*/ 192478 w 481195"/>
                  <a:gd name="connsiteY42" fmla="*/ 496 h 25300"/>
                  <a:gd name="connsiteX43" fmla="*/ 208849 w 481195"/>
                  <a:gd name="connsiteY43" fmla="*/ 1984 h 25300"/>
                  <a:gd name="connsiteX44" fmla="*/ 225220 w 481195"/>
                  <a:gd name="connsiteY44" fmla="*/ 0 h 25300"/>
                  <a:gd name="connsiteX45" fmla="*/ 241590 w 481195"/>
                  <a:gd name="connsiteY45" fmla="*/ 992 h 25300"/>
                  <a:gd name="connsiteX46" fmla="*/ 257961 w 481195"/>
                  <a:gd name="connsiteY46" fmla="*/ 992 h 25300"/>
                  <a:gd name="connsiteX47" fmla="*/ 274331 w 481195"/>
                  <a:gd name="connsiteY47" fmla="*/ 992 h 25300"/>
                  <a:gd name="connsiteX48" fmla="*/ 290702 w 481195"/>
                  <a:gd name="connsiteY48" fmla="*/ 992 h 25300"/>
                  <a:gd name="connsiteX49" fmla="*/ 307072 w 481195"/>
                  <a:gd name="connsiteY49" fmla="*/ 0 h 25300"/>
                  <a:gd name="connsiteX50" fmla="*/ 323443 w 481195"/>
                  <a:gd name="connsiteY50" fmla="*/ 0 h 25300"/>
                  <a:gd name="connsiteX51" fmla="*/ 339813 w 481195"/>
                  <a:gd name="connsiteY51" fmla="*/ 1488 h 25300"/>
                  <a:gd name="connsiteX52" fmla="*/ 356184 w 481195"/>
                  <a:gd name="connsiteY52" fmla="*/ 496 h 25300"/>
                  <a:gd name="connsiteX53" fmla="*/ 372555 w 481195"/>
                  <a:gd name="connsiteY53" fmla="*/ 1984 h 25300"/>
                  <a:gd name="connsiteX54" fmla="*/ 388925 w 481195"/>
                  <a:gd name="connsiteY54" fmla="*/ 496 h 25300"/>
                  <a:gd name="connsiteX55" fmla="*/ 405296 w 481195"/>
                  <a:gd name="connsiteY55" fmla="*/ 1488 h 25300"/>
                  <a:gd name="connsiteX56" fmla="*/ 421666 w 481195"/>
                  <a:gd name="connsiteY56" fmla="*/ 496 h 25300"/>
                  <a:gd name="connsiteX57" fmla="*/ 438037 w 481195"/>
                  <a:gd name="connsiteY57" fmla="*/ 496 h 25300"/>
                  <a:gd name="connsiteX58" fmla="*/ 454408 w 481195"/>
                  <a:gd name="connsiteY58" fmla="*/ 0 h 25300"/>
                  <a:gd name="connsiteX59" fmla="*/ 470778 w 481195"/>
                  <a:gd name="connsiteY59" fmla="*/ 496 h 25300"/>
                  <a:gd name="connsiteX60" fmla="*/ 481196 w 481195"/>
                  <a:gd name="connsiteY60" fmla="*/ 12402 h 25300"/>
                  <a:gd name="connsiteX61" fmla="*/ 481196 w 481195"/>
                  <a:gd name="connsiteY61" fmla="*/ 12402 h 25300"/>
                  <a:gd name="connsiteX62" fmla="*/ 470282 w 481195"/>
                  <a:gd name="connsiteY62" fmla="*/ 23812 h 2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195" h="25300">
                    <a:moveTo>
                      <a:pt x="470282" y="23812"/>
                    </a:moveTo>
                    <a:cubicBezTo>
                      <a:pt x="461849" y="23812"/>
                      <a:pt x="461849" y="24308"/>
                      <a:pt x="453911" y="24308"/>
                    </a:cubicBezTo>
                    <a:cubicBezTo>
                      <a:pt x="445478" y="24308"/>
                      <a:pt x="445478" y="25300"/>
                      <a:pt x="437541" y="25300"/>
                    </a:cubicBezTo>
                    <a:cubicBezTo>
                      <a:pt x="429107" y="25300"/>
                      <a:pt x="429107" y="25300"/>
                      <a:pt x="421170" y="25300"/>
                    </a:cubicBezTo>
                    <a:cubicBezTo>
                      <a:pt x="412737" y="25300"/>
                      <a:pt x="412737" y="23316"/>
                      <a:pt x="404800" y="23316"/>
                    </a:cubicBezTo>
                    <a:cubicBezTo>
                      <a:pt x="396366" y="23316"/>
                      <a:pt x="396366" y="24804"/>
                      <a:pt x="388429" y="24804"/>
                    </a:cubicBezTo>
                    <a:cubicBezTo>
                      <a:pt x="379996" y="24804"/>
                      <a:pt x="379996" y="23316"/>
                      <a:pt x="372058" y="23316"/>
                    </a:cubicBezTo>
                    <a:cubicBezTo>
                      <a:pt x="363625" y="23316"/>
                      <a:pt x="363625" y="24804"/>
                      <a:pt x="355688" y="24804"/>
                    </a:cubicBezTo>
                    <a:cubicBezTo>
                      <a:pt x="347255" y="24804"/>
                      <a:pt x="347255" y="24308"/>
                      <a:pt x="339317" y="24308"/>
                    </a:cubicBezTo>
                    <a:cubicBezTo>
                      <a:pt x="330884" y="24308"/>
                      <a:pt x="330884" y="22820"/>
                      <a:pt x="322947" y="22820"/>
                    </a:cubicBezTo>
                    <a:cubicBezTo>
                      <a:pt x="314514" y="22820"/>
                      <a:pt x="314514" y="24308"/>
                      <a:pt x="306576" y="24308"/>
                    </a:cubicBezTo>
                    <a:cubicBezTo>
                      <a:pt x="298143" y="24308"/>
                      <a:pt x="298143" y="22820"/>
                      <a:pt x="290206" y="22820"/>
                    </a:cubicBezTo>
                    <a:cubicBezTo>
                      <a:pt x="281773" y="22820"/>
                      <a:pt x="281773" y="24308"/>
                      <a:pt x="273835" y="24308"/>
                    </a:cubicBezTo>
                    <a:cubicBezTo>
                      <a:pt x="265402" y="24308"/>
                      <a:pt x="265402" y="24308"/>
                      <a:pt x="257465" y="24308"/>
                    </a:cubicBezTo>
                    <a:cubicBezTo>
                      <a:pt x="249031" y="24308"/>
                      <a:pt x="249031" y="25300"/>
                      <a:pt x="241094" y="25300"/>
                    </a:cubicBezTo>
                    <a:cubicBezTo>
                      <a:pt x="232661" y="25300"/>
                      <a:pt x="232661" y="23812"/>
                      <a:pt x="224724" y="23812"/>
                    </a:cubicBezTo>
                    <a:cubicBezTo>
                      <a:pt x="216290" y="23812"/>
                      <a:pt x="216290" y="25300"/>
                      <a:pt x="208353" y="25300"/>
                    </a:cubicBezTo>
                    <a:cubicBezTo>
                      <a:pt x="199920" y="25300"/>
                      <a:pt x="199920" y="25300"/>
                      <a:pt x="191982" y="25300"/>
                    </a:cubicBezTo>
                    <a:cubicBezTo>
                      <a:pt x="183549" y="25300"/>
                      <a:pt x="183549" y="25300"/>
                      <a:pt x="175612" y="25300"/>
                    </a:cubicBezTo>
                    <a:cubicBezTo>
                      <a:pt x="167178" y="25300"/>
                      <a:pt x="167178" y="25300"/>
                      <a:pt x="159241" y="25300"/>
                    </a:cubicBezTo>
                    <a:cubicBezTo>
                      <a:pt x="150808" y="25300"/>
                      <a:pt x="150808" y="25300"/>
                      <a:pt x="142871" y="25300"/>
                    </a:cubicBezTo>
                    <a:cubicBezTo>
                      <a:pt x="134437" y="25300"/>
                      <a:pt x="134437" y="23812"/>
                      <a:pt x="126500" y="23812"/>
                    </a:cubicBezTo>
                    <a:cubicBezTo>
                      <a:pt x="118563" y="23812"/>
                      <a:pt x="118067" y="24308"/>
                      <a:pt x="110129" y="24308"/>
                    </a:cubicBezTo>
                    <a:cubicBezTo>
                      <a:pt x="101696" y="24308"/>
                      <a:pt x="101696" y="22820"/>
                      <a:pt x="93759" y="22820"/>
                    </a:cubicBezTo>
                    <a:cubicBezTo>
                      <a:pt x="85325" y="22820"/>
                      <a:pt x="85325" y="23316"/>
                      <a:pt x="77388" y="23316"/>
                    </a:cubicBezTo>
                    <a:cubicBezTo>
                      <a:pt x="68955" y="23316"/>
                      <a:pt x="68955" y="23316"/>
                      <a:pt x="61018" y="23316"/>
                    </a:cubicBezTo>
                    <a:cubicBezTo>
                      <a:pt x="52584" y="23316"/>
                      <a:pt x="52584" y="24804"/>
                      <a:pt x="44647" y="24804"/>
                    </a:cubicBezTo>
                    <a:cubicBezTo>
                      <a:pt x="36214" y="24804"/>
                      <a:pt x="36214" y="23812"/>
                      <a:pt x="28277" y="23812"/>
                    </a:cubicBezTo>
                    <a:cubicBezTo>
                      <a:pt x="20339" y="23812"/>
                      <a:pt x="19843" y="23316"/>
                      <a:pt x="11906" y="23316"/>
                    </a:cubicBezTo>
                    <a:cubicBezTo>
                      <a:pt x="5457" y="23316"/>
                      <a:pt x="0" y="18851"/>
                      <a:pt x="0" y="12402"/>
                    </a:cubicBezTo>
                    <a:cubicBezTo>
                      <a:pt x="0" y="12402"/>
                      <a:pt x="0" y="12402"/>
                      <a:pt x="0" y="12402"/>
                    </a:cubicBezTo>
                    <a:cubicBezTo>
                      <a:pt x="0" y="5953"/>
                      <a:pt x="5953" y="0"/>
                      <a:pt x="12402" y="0"/>
                    </a:cubicBezTo>
                    <a:cubicBezTo>
                      <a:pt x="20835" y="0"/>
                      <a:pt x="20835" y="992"/>
                      <a:pt x="28773" y="992"/>
                    </a:cubicBezTo>
                    <a:cubicBezTo>
                      <a:pt x="37206" y="992"/>
                      <a:pt x="37206" y="992"/>
                      <a:pt x="45143" y="992"/>
                    </a:cubicBezTo>
                    <a:cubicBezTo>
                      <a:pt x="53577" y="992"/>
                      <a:pt x="53577" y="992"/>
                      <a:pt x="61514" y="992"/>
                    </a:cubicBezTo>
                    <a:cubicBezTo>
                      <a:pt x="69947" y="992"/>
                      <a:pt x="69947" y="1488"/>
                      <a:pt x="77884" y="1488"/>
                    </a:cubicBezTo>
                    <a:cubicBezTo>
                      <a:pt x="86318" y="1488"/>
                      <a:pt x="86318" y="1488"/>
                      <a:pt x="94255" y="1488"/>
                    </a:cubicBezTo>
                    <a:cubicBezTo>
                      <a:pt x="102688" y="1488"/>
                      <a:pt x="102688" y="2480"/>
                      <a:pt x="110626" y="2480"/>
                    </a:cubicBezTo>
                    <a:cubicBezTo>
                      <a:pt x="119059" y="2480"/>
                      <a:pt x="119059" y="992"/>
                      <a:pt x="126996" y="992"/>
                    </a:cubicBezTo>
                    <a:cubicBezTo>
                      <a:pt x="135430" y="992"/>
                      <a:pt x="135430" y="1984"/>
                      <a:pt x="143367" y="1984"/>
                    </a:cubicBezTo>
                    <a:cubicBezTo>
                      <a:pt x="151800" y="1984"/>
                      <a:pt x="151800" y="496"/>
                      <a:pt x="159737" y="496"/>
                    </a:cubicBezTo>
                    <a:cubicBezTo>
                      <a:pt x="168171" y="496"/>
                      <a:pt x="168171" y="1984"/>
                      <a:pt x="176108" y="1984"/>
                    </a:cubicBezTo>
                    <a:cubicBezTo>
                      <a:pt x="184541" y="1984"/>
                      <a:pt x="184541" y="496"/>
                      <a:pt x="192478" y="496"/>
                    </a:cubicBezTo>
                    <a:cubicBezTo>
                      <a:pt x="200912" y="496"/>
                      <a:pt x="200912" y="1984"/>
                      <a:pt x="208849" y="1984"/>
                    </a:cubicBezTo>
                    <a:cubicBezTo>
                      <a:pt x="217282" y="1984"/>
                      <a:pt x="217282" y="0"/>
                      <a:pt x="225220" y="0"/>
                    </a:cubicBezTo>
                    <a:cubicBezTo>
                      <a:pt x="233653" y="0"/>
                      <a:pt x="233653" y="992"/>
                      <a:pt x="241590" y="992"/>
                    </a:cubicBezTo>
                    <a:cubicBezTo>
                      <a:pt x="250023" y="992"/>
                      <a:pt x="250023" y="992"/>
                      <a:pt x="257961" y="992"/>
                    </a:cubicBezTo>
                    <a:cubicBezTo>
                      <a:pt x="266394" y="992"/>
                      <a:pt x="266394" y="992"/>
                      <a:pt x="274331" y="992"/>
                    </a:cubicBezTo>
                    <a:cubicBezTo>
                      <a:pt x="282764" y="992"/>
                      <a:pt x="282764" y="992"/>
                      <a:pt x="290702" y="992"/>
                    </a:cubicBezTo>
                    <a:cubicBezTo>
                      <a:pt x="299135" y="992"/>
                      <a:pt x="299135" y="0"/>
                      <a:pt x="307072" y="0"/>
                    </a:cubicBezTo>
                    <a:cubicBezTo>
                      <a:pt x="315506" y="0"/>
                      <a:pt x="315506" y="0"/>
                      <a:pt x="323443" y="0"/>
                    </a:cubicBezTo>
                    <a:cubicBezTo>
                      <a:pt x="331876" y="0"/>
                      <a:pt x="331876" y="1488"/>
                      <a:pt x="339813" y="1488"/>
                    </a:cubicBezTo>
                    <a:cubicBezTo>
                      <a:pt x="348247" y="1488"/>
                      <a:pt x="348247" y="496"/>
                      <a:pt x="356184" y="496"/>
                    </a:cubicBezTo>
                    <a:cubicBezTo>
                      <a:pt x="364121" y="496"/>
                      <a:pt x="364617" y="1984"/>
                      <a:pt x="372555" y="1984"/>
                    </a:cubicBezTo>
                    <a:cubicBezTo>
                      <a:pt x="380988" y="1984"/>
                      <a:pt x="380988" y="496"/>
                      <a:pt x="388925" y="496"/>
                    </a:cubicBezTo>
                    <a:cubicBezTo>
                      <a:pt x="397359" y="496"/>
                      <a:pt x="397359" y="1488"/>
                      <a:pt x="405296" y="1488"/>
                    </a:cubicBezTo>
                    <a:cubicBezTo>
                      <a:pt x="413729" y="1488"/>
                      <a:pt x="413729" y="496"/>
                      <a:pt x="421666" y="496"/>
                    </a:cubicBezTo>
                    <a:cubicBezTo>
                      <a:pt x="430100" y="496"/>
                      <a:pt x="430100" y="496"/>
                      <a:pt x="438037" y="496"/>
                    </a:cubicBezTo>
                    <a:cubicBezTo>
                      <a:pt x="446470" y="496"/>
                      <a:pt x="446470" y="0"/>
                      <a:pt x="454408" y="0"/>
                    </a:cubicBezTo>
                    <a:cubicBezTo>
                      <a:pt x="462345" y="0"/>
                      <a:pt x="462841" y="496"/>
                      <a:pt x="470778" y="496"/>
                    </a:cubicBezTo>
                    <a:cubicBezTo>
                      <a:pt x="477227" y="496"/>
                      <a:pt x="481196" y="5953"/>
                      <a:pt x="481196" y="12402"/>
                    </a:cubicBezTo>
                    <a:cubicBezTo>
                      <a:pt x="481196" y="12402"/>
                      <a:pt x="481196" y="12402"/>
                      <a:pt x="481196" y="12402"/>
                    </a:cubicBezTo>
                    <a:cubicBezTo>
                      <a:pt x="480700" y="19347"/>
                      <a:pt x="476731" y="23812"/>
                      <a:pt x="470282" y="2381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54" name="Graphic 10">
                <a:extLst>
                  <a:ext uri="{FF2B5EF4-FFF2-40B4-BE49-F238E27FC236}">
                    <a16:creationId xmlns:a16="http://schemas.microsoft.com/office/drawing/2014/main" id="{C6FF5040-0DF9-3F53-4AE4-C6210F2622B4}"/>
                  </a:ext>
                </a:extLst>
              </p:cNvPr>
              <p:cNvGrpSpPr/>
              <p:nvPr/>
            </p:nvGrpSpPr>
            <p:grpSpPr>
              <a:xfrm>
                <a:off x="4965610" y="2813257"/>
                <a:ext cx="18850" cy="169658"/>
                <a:chOff x="4965610" y="2813257"/>
                <a:chExt cx="18850" cy="169658"/>
              </a:xfrm>
              <a:noFill/>
            </p:grpSpPr>
            <p:sp>
              <p:nvSpPr>
                <p:cNvPr id="1673" name="Freeform: Shape 1672">
                  <a:extLst>
                    <a:ext uri="{FF2B5EF4-FFF2-40B4-BE49-F238E27FC236}">
                      <a16:creationId xmlns:a16="http://schemas.microsoft.com/office/drawing/2014/main" id="{972736AF-A6FB-D2F1-FEC3-BD15F06F385A}"/>
                    </a:ext>
                  </a:extLst>
                </p:cNvPr>
                <p:cNvSpPr/>
                <p:nvPr/>
              </p:nvSpPr>
              <p:spPr>
                <a:xfrm>
                  <a:off x="4965610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992 w 1984"/>
                    <a:gd name="connsiteY2" fmla="*/ 134933 h 168666"/>
                    <a:gd name="connsiteX3" fmla="*/ 496 w 1984"/>
                    <a:gd name="connsiteY3" fmla="*/ 118066 h 168666"/>
                    <a:gd name="connsiteX4" fmla="*/ 0 w 1984"/>
                    <a:gd name="connsiteY4" fmla="*/ 101200 h 168666"/>
                    <a:gd name="connsiteX5" fmla="*/ 0 w 1984"/>
                    <a:gd name="connsiteY5" fmla="*/ 84333 h 168666"/>
                    <a:gd name="connsiteX6" fmla="*/ 992 w 1984"/>
                    <a:gd name="connsiteY6" fmla="*/ 67467 h 168666"/>
                    <a:gd name="connsiteX7" fmla="*/ 496 w 1984"/>
                    <a:gd name="connsiteY7" fmla="*/ 50600 h 168666"/>
                    <a:gd name="connsiteX8" fmla="*/ 1488 w 1984"/>
                    <a:gd name="connsiteY8" fmla="*/ 33733 h 168666"/>
                    <a:gd name="connsiteX9" fmla="*/ 1488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0" y="109633"/>
                        <a:pt x="0" y="101200"/>
                      </a:cubicBezTo>
                      <a:cubicBezTo>
                        <a:pt x="0" y="92767"/>
                        <a:pt x="0" y="92767"/>
                        <a:pt x="0" y="84333"/>
                      </a:cubicBezTo>
                      <a:cubicBezTo>
                        <a:pt x="0" y="75900"/>
                        <a:pt x="992" y="75900"/>
                        <a:pt x="992" y="67467"/>
                      </a:cubicBezTo>
                      <a:cubicBezTo>
                        <a:pt x="992" y="59033"/>
                        <a:pt x="496" y="59033"/>
                        <a:pt x="496" y="50600"/>
                      </a:cubicBezTo>
                      <a:cubicBezTo>
                        <a:pt x="496" y="42167"/>
                        <a:pt x="1488" y="42167"/>
                        <a:pt x="1488" y="33733"/>
                      </a:cubicBezTo>
                      <a:cubicBezTo>
                        <a:pt x="1488" y="25300"/>
                        <a:pt x="1488" y="25300"/>
                        <a:pt x="1488" y="16867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4" name="Freeform: Shape 1673">
                  <a:extLst>
                    <a:ext uri="{FF2B5EF4-FFF2-40B4-BE49-F238E27FC236}">
                      <a16:creationId xmlns:a16="http://schemas.microsoft.com/office/drawing/2014/main" id="{C6AA7043-7B9B-D158-4CC8-3B7C1C080F58}"/>
                    </a:ext>
                  </a:extLst>
                </p:cNvPr>
                <p:cNvSpPr/>
                <p:nvPr/>
              </p:nvSpPr>
              <p:spPr>
                <a:xfrm>
                  <a:off x="4982476" y="2813257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0 h 168666"/>
                    <a:gd name="connsiteX1" fmla="*/ 1984 w 1984"/>
                    <a:gd name="connsiteY1" fmla="*/ 16867 h 168666"/>
                    <a:gd name="connsiteX2" fmla="*/ 1984 w 1984"/>
                    <a:gd name="connsiteY2" fmla="*/ 33734 h 168666"/>
                    <a:gd name="connsiteX3" fmla="*/ 992 w 1984"/>
                    <a:gd name="connsiteY3" fmla="*/ 50600 h 168666"/>
                    <a:gd name="connsiteX4" fmla="*/ 1488 w 1984"/>
                    <a:gd name="connsiteY4" fmla="*/ 67467 h 168666"/>
                    <a:gd name="connsiteX5" fmla="*/ 0 w 1984"/>
                    <a:gd name="connsiteY5" fmla="*/ 84333 h 168666"/>
                    <a:gd name="connsiteX6" fmla="*/ 992 w 1984"/>
                    <a:gd name="connsiteY6" fmla="*/ 101200 h 168666"/>
                    <a:gd name="connsiteX7" fmla="*/ 992 w 1984"/>
                    <a:gd name="connsiteY7" fmla="*/ 118067 h 168666"/>
                    <a:gd name="connsiteX8" fmla="*/ 496 w 1984"/>
                    <a:gd name="connsiteY8" fmla="*/ 134933 h 168666"/>
                    <a:gd name="connsiteX9" fmla="*/ 1984 w 1984"/>
                    <a:gd name="connsiteY9" fmla="*/ 151800 h 168666"/>
                    <a:gd name="connsiteX10" fmla="*/ 1488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0"/>
                      </a:moveTo>
                      <a:cubicBezTo>
                        <a:pt x="992" y="8433"/>
                        <a:pt x="1984" y="8433"/>
                        <a:pt x="1984" y="16867"/>
                      </a:cubicBezTo>
                      <a:cubicBezTo>
                        <a:pt x="1984" y="25300"/>
                        <a:pt x="1984" y="25300"/>
                        <a:pt x="1984" y="33734"/>
                      </a:cubicBezTo>
                      <a:cubicBezTo>
                        <a:pt x="1984" y="42167"/>
                        <a:pt x="992" y="42167"/>
                        <a:pt x="992" y="50600"/>
                      </a:cubicBezTo>
                      <a:cubicBezTo>
                        <a:pt x="992" y="59033"/>
                        <a:pt x="1488" y="59033"/>
                        <a:pt x="1488" y="67467"/>
                      </a:cubicBezTo>
                      <a:cubicBezTo>
                        <a:pt x="1488" y="75900"/>
                        <a:pt x="0" y="75900"/>
                        <a:pt x="0" y="84333"/>
                      </a:cubicBezTo>
                      <a:cubicBezTo>
                        <a:pt x="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1984" y="143367"/>
                        <a:pt x="1984" y="151800"/>
                      </a:cubicBezTo>
                      <a:cubicBezTo>
                        <a:pt x="1984" y="160233"/>
                        <a:pt x="1488" y="160233"/>
                        <a:pt x="1488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5" name="Graphic 10">
                <a:extLst>
                  <a:ext uri="{FF2B5EF4-FFF2-40B4-BE49-F238E27FC236}">
                    <a16:creationId xmlns:a16="http://schemas.microsoft.com/office/drawing/2014/main" id="{F50817C6-A045-B96A-F89C-0E630014FC5F}"/>
                  </a:ext>
                </a:extLst>
              </p:cNvPr>
              <p:cNvGrpSpPr/>
              <p:nvPr/>
            </p:nvGrpSpPr>
            <p:grpSpPr>
              <a:xfrm>
                <a:off x="5035557" y="2814249"/>
                <a:ext cx="18850" cy="170650"/>
                <a:chOff x="5035557" y="2814249"/>
                <a:chExt cx="18850" cy="170650"/>
              </a:xfrm>
              <a:noFill/>
            </p:grpSpPr>
            <p:sp>
              <p:nvSpPr>
                <p:cNvPr id="1671" name="Freeform: Shape 1670">
                  <a:extLst>
                    <a:ext uri="{FF2B5EF4-FFF2-40B4-BE49-F238E27FC236}">
                      <a16:creationId xmlns:a16="http://schemas.microsoft.com/office/drawing/2014/main" id="{B3A27E2C-5B2F-C5AE-8315-639E382EEB53}"/>
                    </a:ext>
                  </a:extLst>
                </p:cNvPr>
                <p:cNvSpPr/>
                <p:nvPr/>
              </p:nvSpPr>
              <p:spPr>
                <a:xfrm>
                  <a:off x="5035557" y="2814249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1984 w 1984"/>
                    <a:gd name="connsiteY3" fmla="*/ 118066 h 168666"/>
                    <a:gd name="connsiteX4" fmla="*/ 1984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1984 w 1984"/>
                    <a:gd name="connsiteY9" fmla="*/ 16867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7"/>
                        <a:pt x="0" y="143367"/>
                        <a:pt x="0" y="134933"/>
                      </a:cubicBezTo>
                      <a:cubicBezTo>
                        <a:pt x="0" y="126500"/>
                        <a:pt x="1984" y="126500"/>
                        <a:pt x="1984" y="118066"/>
                      </a:cubicBezTo>
                      <a:cubicBezTo>
                        <a:pt x="1984" y="109633"/>
                        <a:pt x="1984" y="109633"/>
                        <a:pt x="1984" y="101200"/>
                      </a:cubicBezTo>
                      <a:cubicBezTo>
                        <a:pt x="1984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1984" y="25300"/>
                        <a:pt x="1984" y="16867"/>
                      </a:cubicBezTo>
                      <a:cubicBezTo>
                        <a:pt x="1984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2" name="Freeform: Shape 1671">
                  <a:extLst>
                    <a:ext uri="{FF2B5EF4-FFF2-40B4-BE49-F238E27FC236}">
                      <a16:creationId xmlns:a16="http://schemas.microsoft.com/office/drawing/2014/main" id="{08BAC710-13A6-BA9F-533A-4EF3981AD9BF}"/>
                    </a:ext>
                  </a:extLst>
                </p:cNvPr>
                <p:cNvSpPr/>
                <p:nvPr/>
              </p:nvSpPr>
              <p:spPr>
                <a:xfrm>
                  <a:off x="5052920" y="2833100"/>
                  <a:ext cx="1488" cy="151800"/>
                </a:xfrm>
                <a:custGeom>
                  <a:avLst/>
                  <a:gdLst>
                    <a:gd name="connsiteX0" fmla="*/ 1488 w 1488"/>
                    <a:gd name="connsiteY0" fmla="*/ 0 h 151800"/>
                    <a:gd name="connsiteX1" fmla="*/ 1488 w 1488"/>
                    <a:gd name="connsiteY1" fmla="*/ 16867 h 151800"/>
                    <a:gd name="connsiteX2" fmla="*/ 0 w 1488"/>
                    <a:gd name="connsiteY2" fmla="*/ 33734 h 151800"/>
                    <a:gd name="connsiteX3" fmla="*/ 1488 w 1488"/>
                    <a:gd name="connsiteY3" fmla="*/ 50600 h 151800"/>
                    <a:gd name="connsiteX4" fmla="*/ 992 w 1488"/>
                    <a:gd name="connsiteY4" fmla="*/ 67467 h 151800"/>
                    <a:gd name="connsiteX5" fmla="*/ 496 w 1488"/>
                    <a:gd name="connsiteY5" fmla="*/ 84333 h 151800"/>
                    <a:gd name="connsiteX6" fmla="*/ 1488 w 1488"/>
                    <a:gd name="connsiteY6" fmla="*/ 101200 h 151800"/>
                    <a:gd name="connsiteX7" fmla="*/ 496 w 1488"/>
                    <a:gd name="connsiteY7" fmla="*/ 118067 h 151800"/>
                    <a:gd name="connsiteX8" fmla="*/ 0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0" y="25300"/>
                        <a:pt x="0" y="33734"/>
                      </a:cubicBezTo>
                      <a:cubicBezTo>
                        <a:pt x="0" y="42167"/>
                        <a:pt x="1488" y="42167"/>
                        <a:pt x="1488" y="50600"/>
                      </a:cubicBezTo>
                      <a:cubicBezTo>
                        <a:pt x="1488" y="59033"/>
                        <a:pt x="992" y="59033"/>
                        <a:pt x="992" y="67467"/>
                      </a:cubicBezTo>
                      <a:cubicBezTo>
                        <a:pt x="992" y="75900"/>
                        <a:pt x="496" y="75900"/>
                        <a:pt x="496" y="84333"/>
                      </a:cubicBezTo>
                      <a:cubicBezTo>
                        <a:pt x="496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0" y="126500"/>
                        <a:pt x="0" y="134933"/>
                      </a:cubicBezTo>
                      <a:cubicBezTo>
                        <a:pt x="0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6" name="Graphic 10">
                <a:extLst>
                  <a:ext uri="{FF2B5EF4-FFF2-40B4-BE49-F238E27FC236}">
                    <a16:creationId xmlns:a16="http://schemas.microsoft.com/office/drawing/2014/main" id="{7C7AC48A-E225-4165-F236-00C5F088611A}"/>
                  </a:ext>
                </a:extLst>
              </p:cNvPr>
              <p:cNvGrpSpPr/>
              <p:nvPr/>
            </p:nvGrpSpPr>
            <p:grpSpPr>
              <a:xfrm>
                <a:off x="5106496" y="2814249"/>
                <a:ext cx="19346" cy="170650"/>
                <a:chOff x="5106496" y="2814249"/>
                <a:chExt cx="19346" cy="170650"/>
              </a:xfrm>
              <a:noFill/>
            </p:grpSpPr>
            <p:sp>
              <p:nvSpPr>
                <p:cNvPr id="1669" name="Freeform: Shape 1668">
                  <a:extLst>
                    <a:ext uri="{FF2B5EF4-FFF2-40B4-BE49-F238E27FC236}">
                      <a16:creationId xmlns:a16="http://schemas.microsoft.com/office/drawing/2014/main" id="{0AEE5E13-FB95-5350-FB6E-E62F208CBA06}"/>
                    </a:ext>
                  </a:extLst>
                </p:cNvPr>
                <p:cNvSpPr/>
                <p:nvPr/>
              </p:nvSpPr>
              <p:spPr>
                <a:xfrm>
                  <a:off x="5106496" y="2814249"/>
                  <a:ext cx="1984" cy="168666"/>
                </a:xfrm>
                <a:custGeom>
                  <a:avLst/>
                  <a:gdLst>
                    <a:gd name="connsiteX0" fmla="*/ 0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1984 w 1984"/>
                    <a:gd name="connsiteY4" fmla="*/ 101200 h 168666"/>
                    <a:gd name="connsiteX5" fmla="*/ 992 w 1984"/>
                    <a:gd name="connsiteY5" fmla="*/ 84333 h 168666"/>
                    <a:gd name="connsiteX6" fmla="*/ 992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0" y="168666"/>
                      </a:moveTo>
                      <a:cubicBezTo>
                        <a:pt x="0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1984" y="109633"/>
                        <a:pt x="1984" y="101200"/>
                      </a:cubicBezTo>
                      <a:cubicBezTo>
                        <a:pt x="1984" y="92767"/>
                        <a:pt x="992" y="92767"/>
                        <a:pt x="992" y="84333"/>
                      </a:cubicBezTo>
                      <a:cubicBezTo>
                        <a:pt x="992" y="75900"/>
                        <a:pt x="992" y="75900"/>
                        <a:pt x="992" y="67467"/>
                      </a:cubicBezTo>
                      <a:cubicBezTo>
                        <a:pt x="992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0" name="Freeform: Shape 1669">
                  <a:extLst>
                    <a:ext uri="{FF2B5EF4-FFF2-40B4-BE49-F238E27FC236}">
                      <a16:creationId xmlns:a16="http://schemas.microsoft.com/office/drawing/2014/main" id="{D2B4F9B2-0743-485D-1B86-0DA2A381AC35}"/>
                    </a:ext>
                  </a:extLst>
                </p:cNvPr>
                <p:cNvSpPr/>
                <p:nvPr/>
              </p:nvSpPr>
              <p:spPr>
                <a:xfrm>
                  <a:off x="5122866" y="2833100"/>
                  <a:ext cx="2976" cy="151800"/>
                </a:xfrm>
                <a:custGeom>
                  <a:avLst/>
                  <a:gdLst>
                    <a:gd name="connsiteX0" fmla="*/ 496 w 2976"/>
                    <a:gd name="connsiteY0" fmla="*/ 0 h 151800"/>
                    <a:gd name="connsiteX1" fmla="*/ 0 w 2976"/>
                    <a:gd name="connsiteY1" fmla="*/ 16867 h 151800"/>
                    <a:gd name="connsiteX2" fmla="*/ 1984 w 2976"/>
                    <a:gd name="connsiteY2" fmla="*/ 33734 h 151800"/>
                    <a:gd name="connsiteX3" fmla="*/ 1984 w 2976"/>
                    <a:gd name="connsiteY3" fmla="*/ 50600 h 151800"/>
                    <a:gd name="connsiteX4" fmla="*/ 1488 w 2976"/>
                    <a:gd name="connsiteY4" fmla="*/ 67467 h 151800"/>
                    <a:gd name="connsiteX5" fmla="*/ 1984 w 2976"/>
                    <a:gd name="connsiteY5" fmla="*/ 84333 h 151800"/>
                    <a:gd name="connsiteX6" fmla="*/ 2480 w 2976"/>
                    <a:gd name="connsiteY6" fmla="*/ 101200 h 151800"/>
                    <a:gd name="connsiteX7" fmla="*/ 1984 w 2976"/>
                    <a:gd name="connsiteY7" fmla="*/ 118067 h 151800"/>
                    <a:gd name="connsiteX8" fmla="*/ 1488 w 2976"/>
                    <a:gd name="connsiteY8" fmla="*/ 134933 h 151800"/>
                    <a:gd name="connsiteX9" fmla="*/ 2976 w 2976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976" h="151800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1984" y="25300"/>
                        <a:pt x="1984" y="33734"/>
                      </a:cubicBezTo>
                      <a:cubicBezTo>
                        <a:pt x="1984" y="42167"/>
                        <a:pt x="1984" y="42167"/>
                        <a:pt x="1984" y="50600"/>
                      </a:cubicBezTo>
                      <a:cubicBezTo>
                        <a:pt x="1984" y="59033"/>
                        <a:pt x="1488" y="59033"/>
                        <a:pt x="1488" y="67467"/>
                      </a:cubicBezTo>
                      <a:cubicBezTo>
                        <a:pt x="1488" y="75900"/>
                        <a:pt x="1984" y="75900"/>
                        <a:pt x="1984" y="84333"/>
                      </a:cubicBezTo>
                      <a:cubicBezTo>
                        <a:pt x="1984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2976" y="143367"/>
                        <a:pt x="297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7" name="Graphic 10">
                <a:extLst>
                  <a:ext uri="{FF2B5EF4-FFF2-40B4-BE49-F238E27FC236}">
                    <a16:creationId xmlns:a16="http://schemas.microsoft.com/office/drawing/2014/main" id="{68BD72F6-487B-4CB5-548E-124ABD2198BE}"/>
                  </a:ext>
                </a:extLst>
              </p:cNvPr>
              <p:cNvGrpSpPr/>
              <p:nvPr/>
            </p:nvGrpSpPr>
            <p:grpSpPr>
              <a:xfrm>
                <a:off x="5176443" y="2814249"/>
                <a:ext cx="18850" cy="170650"/>
                <a:chOff x="5176443" y="2814249"/>
                <a:chExt cx="18850" cy="170650"/>
              </a:xfrm>
              <a:noFill/>
            </p:grpSpPr>
            <p:sp>
              <p:nvSpPr>
                <p:cNvPr id="1667" name="Freeform: Shape 1666">
                  <a:extLst>
                    <a:ext uri="{FF2B5EF4-FFF2-40B4-BE49-F238E27FC236}">
                      <a16:creationId xmlns:a16="http://schemas.microsoft.com/office/drawing/2014/main" id="{81BD9D4E-213C-1396-9991-FF0B709B7596}"/>
                    </a:ext>
                  </a:extLst>
                </p:cNvPr>
                <p:cNvSpPr/>
                <p:nvPr/>
              </p:nvSpPr>
              <p:spPr>
                <a:xfrm>
                  <a:off x="5176443" y="2814249"/>
                  <a:ext cx="1984" cy="168666"/>
                </a:xfrm>
                <a:custGeom>
                  <a:avLst/>
                  <a:gdLst>
                    <a:gd name="connsiteX0" fmla="*/ 1488 w 1984"/>
                    <a:gd name="connsiteY0" fmla="*/ 168666 h 168666"/>
                    <a:gd name="connsiteX1" fmla="*/ 496 w 1984"/>
                    <a:gd name="connsiteY1" fmla="*/ 151800 h 168666"/>
                    <a:gd name="connsiteX2" fmla="*/ 992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496 w 1984"/>
                    <a:gd name="connsiteY6" fmla="*/ 67467 h 168666"/>
                    <a:gd name="connsiteX7" fmla="*/ 0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488" y="168666"/>
                      </a:moveTo>
                      <a:cubicBezTo>
                        <a:pt x="1488" y="160233"/>
                        <a:pt x="496" y="160233"/>
                        <a:pt x="496" y="151800"/>
                      </a:cubicBezTo>
                      <a:cubicBezTo>
                        <a:pt x="496" y="143367"/>
                        <a:pt x="992" y="143367"/>
                        <a:pt x="992" y="134933"/>
                      </a:cubicBezTo>
                      <a:cubicBezTo>
                        <a:pt x="992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0" y="92767"/>
                        <a:pt x="0" y="84333"/>
                      </a:cubicBezTo>
                      <a:cubicBezTo>
                        <a:pt x="0" y="75900"/>
                        <a:pt x="496" y="75900"/>
                        <a:pt x="496" y="67467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8" name="Freeform: Shape 1667">
                  <a:extLst>
                    <a:ext uri="{FF2B5EF4-FFF2-40B4-BE49-F238E27FC236}">
                      <a16:creationId xmlns:a16="http://schemas.microsoft.com/office/drawing/2014/main" id="{D0D6FA4B-A15B-1004-E161-967E41B3B293}"/>
                    </a:ext>
                  </a:extLst>
                </p:cNvPr>
                <p:cNvSpPr/>
                <p:nvPr/>
              </p:nvSpPr>
              <p:spPr>
                <a:xfrm>
                  <a:off x="5192813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496 w 2480"/>
                    <a:gd name="connsiteY4" fmla="*/ 67467 h 151800"/>
                    <a:gd name="connsiteX5" fmla="*/ 0 w 2480"/>
                    <a:gd name="connsiteY5" fmla="*/ 84333 h 151800"/>
                    <a:gd name="connsiteX6" fmla="*/ 1488 w 2480"/>
                    <a:gd name="connsiteY6" fmla="*/ 101200 h 151800"/>
                    <a:gd name="connsiteX7" fmla="*/ 2480 w 2480"/>
                    <a:gd name="connsiteY7" fmla="*/ 118067 h 151800"/>
                    <a:gd name="connsiteX8" fmla="*/ 1984 w 2480"/>
                    <a:gd name="connsiteY8" fmla="*/ 134933 h 151800"/>
                    <a:gd name="connsiteX9" fmla="*/ 496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496" y="59033"/>
                        <a:pt x="496" y="67467"/>
                      </a:cubicBezTo>
                      <a:cubicBezTo>
                        <a:pt x="496" y="75900"/>
                        <a:pt x="0" y="75900"/>
                        <a:pt x="0" y="84333"/>
                      </a:cubicBezTo>
                      <a:cubicBezTo>
                        <a:pt x="0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984" y="126500"/>
                        <a:pt x="1984" y="134933"/>
                      </a:cubicBezTo>
                      <a:cubicBezTo>
                        <a:pt x="1984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8" name="Graphic 10">
                <a:extLst>
                  <a:ext uri="{FF2B5EF4-FFF2-40B4-BE49-F238E27FC236}">
                    <a16:creationId xmlns:a16="http://schemas.microsoft.com/office/drawing/2014/main" id="{F8B384C2-CAC0-56E9-0E0E-48D0F4E89794}"/>
                  </a:ext>
                </a:extLst>
              </p:cNvPr>
              <p:cNvGrpSpPr/>
              <p:nvPr/>
            </p:nvGrpSpPr>
            <p:grpSpPr>
              <a:xfrm>
                <a:off x="5246390" y="2814249"/>
                <a:ext cx="19346" cy="170650"/>
                <a:chOff x="5246390" y="2814249"/>
                <a:chExt cx="19346" cy="170650"/>
              </a:xfrm>
              <a:noFill/>
            </p:grpSpPr>
            <p:sp>
              <p:nvSpPr>
                <p:cNvPr id="1665" name="Freeform: Shape 1664">
                  <a:extLst>
                    <a:ext uri="{FF2B5EF4-FFF2-40B4-BE49-F238E27FC236}">
                      <a16:creationId xmlns:a16="http://schemas.microsoft.com/office/drawing/2014/main" id="{CE6DDBB1-CF5F-36FE-9C8C-63814A5D12FC}"/>
                    </a:ext>
                  </a:extLst>
                </p:cNvPr>
                <p:cNvSpPr/>
                <p:nvPr/>
              </p:nvSpPr>
              <p:spPr>
                <a:xfrm>
                  <a:off x="5246390" y="2814249"/>
                  <a:ext cx="1488" cy="168666"/>
                </a:xfrm>
                <a:custGeom>
                  <a:avLst/>
                  <a:gdLst>
                    <a:gd name="connsiteX0" fmla="*/ 496 w 1488"/>
                    <a:gd name="connsiteY0" fmla="*/ 168666 h 168666"/>
                    <a:gd name="connsiteX1" fmla="*/ 992 w 1488"/>
                    <a:gd name="connsiteY1" fmla="*/ 151800 h 168666"/>
                    <a:gd name="connsiteX2" fmla="*/ 992 w 1488"/>
                    <a:gd name="connsiteY2" fmla="*/ 134933 h 168666"/>
                    <a:gd name="connsiteX3" fmla="*/ 496 w 1488"/>
                    <a:gd name="connsiteY3" fmla="*/ 118066 h 168666"/>
                    <a:gd name="connsiteX4" fmla="*/ 1488 w 1488"/>
                    <a:gd name="connsiteY4" fmla="*/ 101200 h 168666"/>
                    <a:gd name="connsiteX5" fmla="*/ 496 w 1488"/>
                    <a:gd name="connsiteY5" fmla="*/ 84333 h 168666"/>
                    <a:gd name="connsiteX6" fmla="*/ 1488 w 1488"/>
                    <a:gd name="connsiteY6" fmla="*/ 67467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1488 w 1488"/>
                    <a:gd name="connsiteY9" fmla="*/ 16867 h 168666"/>
                    <a:gd name="connsiteX10" fmla="*/ 0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496" y="168666"/>
                      </a:moveTo>
                      <a:cubicBezTo>
                        <a:pt x="496" y="160233"/>
                        <a:pt x="992" y="160233"/>
                        <a:pt x="992" y="151800"/>
                      </a:cubicBezTo>
                      <a:cubicBezTo>
                        <a:pt x="992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1488" y="109633"/>
                        <a:pt x="1488" y="101200"/>
                      </a:cubicBezTo>
                      <a:cubicBezTo>
                        <a:pt x="1488" y="92767"/>
                        <a:pt x="496" y="92767"/>
                        <a:pt x="496" y="84333"/>
                      </a:cubicBezTo>
                      <a:cubicBezTo>
                        <a:pt x="496" y="75900"/>
                        <a:pt x="1488" y="75900"/>
                        <a:pt x="1488" y="67467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6" name="Freeform: Shape 1665">
                  <a:extLst>
                    <a:ext uri="{FF2B5EF4-FFF2-40B4-BE49-F238E27FC236}">
                      <a16:creationId xmlns:a16="http://schemas.microsoft.com/office/drawing/2014/main" id="{2CF7FE9B-0389-A2D9-59D2-D2949A83DCED}"/>
                    </a:ext>
                  </a:extLst>
                </p:cNvPr>
                <p:cNvSpPr/>
                <p:nvPr/>
              </p:nvSpPr>
              <p:spPr>
                <a:xfrm>
                  <a:off x="5263256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1984 w 2480"/>
                    <a:gd name="connsiteY2" fmla="*/ 33734 h 151800"/>
                    <a:gd name="connsiteX3" fmla="*/ 1488 w 2480"/>
                    <a:gd name="connsiteY3" fmla="*/ 50600 h 151800"/>
                    <a:gd name="connsiteX4" fmla="*/ 496 w 2480"/>
                    <a:gd name="connsiteY4" fmla="*/ 67467 h 151800"/>
                    <a:gd name="connsiteX5" fmla="*/ 2480 w 2480"/>
                    <a:gd name="connsiteY5" fmla="*/ 84333 h 151800"/>
                    <a:gd name="connsiteX6" fmla="*/ 992 w 2480"/>
                    <a:gd name="connsiteY6" fmla="*/ 101200 h 151800"/>
                    <a:gd name="connsiteX7" fmla="*/ 992 w 2480"/>
                    <a:gd name="connsiteY7" fmla="*/ 118067 h 151800"/>
                    <a:gd name="connsiteX8" fmla="*/ 1488 w 2480"/>
                    <a:gd name="connsiteY8" fmla="*/ 134933 h 151800"/>
                    <a:gd name="connsiteX9" fmla="*/ 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1984" y="25300"/>
                        <a:pt x="1984" y="33734"/>
                      </a:cubicBezTo>
                      <a:cubicBezTo>
                        <a:pt x="1984" y="42167"/>
                        <a:pt x="1488" y="42167"/>
                        <a:pt x="1488" y="50600"/>
                      </a:cubicBezTo>
                      <a:cubicBezTo>
                        <a:pt x="1488" y="59033"/>
                        <a:pt x="496" y="59033"/>
                        <a:pt x="496" y="67467"/>
                      </a:cubicBezTo>
                      <a:cubicBezTo>
                        <a:pt x="496" y="75900"/>
                        <a:pt x="2480" y="75900"/>
                        <a:pt x="2480" y="84333"/>
                      </a:cubicBezTo>
                      <a:cubicBezTo>
                        <a:pt x="248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9" name="Graphic 10">
                <a:extLst>
                  <a:ext uri="{FF2B5EF4-FFF2-40B4-BE49-F238E27FC236}">
                    <a16:creationId xmlns:a16="http://schemas.microsoft.com/office/drawing/2014/main" id="{12445AB5-BD91-16B8-1D80-02D7BFFDCF20}"/>
                  </a:ext>
                </a:extLst>
              </p:cNvPr>
              <p:cNvGrpSpPr/>
              <p:nvPr/>
            </p:nvGrpSpPr>
            <p:grpSpPr>
              <a:xfrm>
                <a:off x="5316833" y="2814249"/>
                <a:ext cx="17858" cy="170650"/>
                <a:chOff x="5316833" y="2814249"/>
                <a:chExt cx="17858" cy="170650"/>
              </a:xfrm>
              <a:noFill/>
            </p:grpSpPr>
            <p:sp>
              <p:nvSpPr>
                <p:cNvPr id="1663" name="Freeform: Shape 1662">
                  <a:extLst>
                    <a:ext uri="{FF2B5EF4-FFF2-40B4-BE49-F238E27FC236}">
                      <a16:creationId xmlns:a16="http://schemas.microsoft.com/office/drawing/2014/main" id="{EE18EB62-E942-7C69-BF41-9C8DCE78B586}"/>
                    </a:ext>
                  </a:extLst>
                </p:cNvPr>
                <p:cNvSpPr/>
                <p:nvPr/>
              </p:nvSpPr>
              <p:spPr>
                <a:xfrm>
                  <a:off x="5316833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496 w 1984"/>
                    <a:gd name="connsiteY7" fmla="*/ 50600 h 168666"/>
                    <a:gd name="connsiteX8" fmla="*/ 496 w 1984"/>
                    <a:gd name="connsiteY8" fmla="*/ 33733 h 168666"/>
                    <a:gd name="connsiteX9" fmla="*/ 1488 w 1984"/>
                    <a:gd name="connsiteY9" fmla="*/ 16867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496" y="59033"/>
                        <a:pt x="496" y="50600"/>
                      </a:cubicBezTo>
                      <a:cubicBezTo>
                        <a:pt x="496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4" name="Freeform: Shape 1663">
                  <a:extLst>
                    <a:ext uri="{FF2B5EF4-FFF2-40B4-BE49-F238E27FC236}">
                      <a16:creationId xmlns:a16="http://schemas.microsoft.com/office/drawing/2014/main" id="{96AAFB3A-69E3-2931-0937-D79918D8C7EF}"/>
                    </a:ext>
                  </a:extLst>
                </p:cNvPr>
                <p:cNvSpPr/>
                <p:nvPr/>
              </p:nvSpPr>
              <p:spPr>
                <a:xfrm>
                  <a:off x="5333204" y="2833100"/>
                  <a:ext cx="1488" cy="151800"/>
                </a:xfrm>
                <a:custGeom>
                  <a:avLst/>
                  <a:gdLst>
                    <a:gd name="connsiteX0" fmla="*/ 992 w 1488"/>
                    <a:gd name="connsiteY0" fmla="*/ 0 h 151800"/>
                    <a:gd name="connsiteX1" fmla="*/ 1488 w 1488"/>
                    <a:gd name="connsiteY1" fmla="*/ 16867 h 151800"/>
                    <a:gd name="connsiteX2" fmla="*/ 496 w 1488"/>
                    <a:gd name="connsiteY2" fmla="*/ 33734 h 151800"/>
                    <a:gd name="connsiteX3" fmla="*/ 496 w 1488"/>
                    <a:gd name="connsiteY3" fmla="*/ 50600 h 151800"/>
                    <a:gd name="connsiteX4" fmla="*/ 496 w 1488"/>
                    <a:gd name="connsiteY4" fmla="*/ 67467 h 151800"/>
                    <a:gd name="connsiteX5" fmla="*/ 992 w 1488"/>
                    <a:gd name="connsiteY5" fmla="*/ 84333 h 151800"/>
                    <a:gd name="connsiteX6" fmla="*/ 0 w 1488"/>
                    <a:gd name="connsiteY6" fmla="*/ 101200 h 151800"/>
                    <a:gd name="connsiteX7" fmla="*/ 992 w 1488"/>
                    <a:gd name="connsiteY7" fmla="*/ 118067 h 151800"/>
                    <a:gd name="connsiteX8" fmla="*/ 496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992" y="0"/>
                      </a:moveTo>
                      <a:cubicBezTo>
                        <a:pt x="992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496" y="42167"/>
                        <a:pt x="496" y="50600"/>
                      </a:cubicBezTo>
                      <a:cubicBezTo>
                        <a:pt x="496" y="59033"/>
                        <a:pt x="496" y="59033"/>
                        <a:pt x="496" y="67467"/>
                      </a:cubicBezTo>
                      <a:cubicBezTo>
                        <a:pt x="496" y="75900"/>
                        <a:pt x="992" y="75900"/>
                        <a:pt x="992" y="84333"/>
                      </a:cubicBezTo>
                      <a:cubicBezTo>
                        <a:pt x="992" y="92767"/>
                        <a:pt x="0" y="92767"/>
                        <a:pt x="0" y="101200"/>
                      </a:cubicBezTo>
                      <a:cubicBezTo>
                        <a:pt x="0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60" name="Graphic 10">
                <a:extLst>
                  <a:ext uri="{FF2B5EF4-FFF2-40B4-BE49-F238E27FC236}">
                    <a16:creationId xmlns:a16="http://schemas.microsoft.com/office/drawing/2014/main" id="{D886D33F-E0C5-8532-1EE2-01AD6A02A51D}"/>
                  </a:ext>
                </a:extLst>
              </p:cNvPr>
              <p:cNvGrpSpPr/>
              <p:nvPr/>
            </p:nvGrpSpPr>
            <p:grpSpPr>
              <a:xfrm>
                <a:off x="5387772" y="2813257"/>
                <a:ext cx="18850" cy="169658"/>
                <a:chOff x="5387772" y="2813257"/>
                <a:chExt cx="18850" cy="169658"/>
              </a:xfrm>
              <a:noFill/>
            </p:grpSpPr>
            <p:sp>
              <p:nvSpPr>
                <p:cNvPr id="1661" name="Freeform: Shape 1660">
                  <a:extLst>
                    <a:ext uri="{FF2B5EF4-FFF2-40B4-BE49-F238E27FC236}">
                      <a16:creationId xmlns:a16="http://schemas.microsoft.com/office/drawing/2014/main" id="{B2F53F43-9D41-04E1-2931-C29480F289DD}"/>
                    </a:ext>
                  </a:extLst>
                </p:cNvPr>
                <p:cNvSpPr/>
                <p:nvPr/>
              </p:nvSpPr>
              <p:spPr>
                <a:xfrm>
                  <a:off x="5387772" y="2814249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496 w 1488"/>
                    <a:gd name="connsiteY1" fmla="*/ 151800 h 168666"/>
                    <a:gd name="connsiteX2" fmla="*/ 1488 w 1488"/>
                    <a:gd name="connsiteY2" fmla="*/ 134933 h 168666"/>
                    <a:gd name="connsiteX3" fmla="*/ 0 w 1488"/>
                    <a:gd name="connsiteY3" fmla="*/ 118066 h 168666"/>
                    <a:gd name="connsiteX4" fmla="*/ 496 w 1488"/>
                    <a:gd name="connsiteY4" fmla="*/ 101200 h 168666"/>
                    <a:gd name="connsiteX5" fmla="*/ 992 w 1488"/>
                    <a:gd name="connsiteY5" fmla="*/ 84333 h 168666"/>
                    <a:gd name="connsiteX6" fmla="*/ 0 w 1488"/>
                    <a:gd name="connsiteY6" fmla="*/ 67467 h 168666"/>
                    <a:gd name="connsiteX7" fmla="*/ 1488 w 1488"/>
                    <a:gd name="connsiteY7" fmla="*/ 50600 h 168666"/>
                    <a:gd name="connsiteX8" fmla="*/ 0 w 1488"/>
                    <a:gd name="connsiteY8" fmla="*/ 33733 h 168666"/>
                    <a:gd name="connsiteX9" fmla="*/ 0 w 1488"/>
                    <a:gd name="connsiteY9" fmla="*/ 16867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7"/>
                        <a:pt x="1488" y="143367"/>
                        <a:pt x="1488" y="134933"/>
                      </a:cubicBezTo>
                      <a:cubicBezTo>
                        <a:pt x="1488" y="126500"/>
                        <a:pt x="0" y="126500"/>
                        <a:pt x="0" y="118066"/>
                      </a:cubicBezTo>
                      <a:cubicBezTo>
                        <a:pt x="0" y="109633"/>
                        <a:pt x="496" y="109633"/>
                        <a:pt x="496" y="101200"/>
                      </a:cubicBezTo>
                      <a:cubicBezTo>
                        <a:pt x="496" y="92767"/>
                        <a:pt x="992" y="92767"/>
                        <a:pt x="992" y="84333"/>
                      </a:cubicBezTo>
                      <a:cubicBezTo>
                        <a:pt x="992" y="75900"/>
                        <a:pt x="0" y="75900"/>
                        <a:pt x="0" y="67467"/>
                      </a:cubicBezTo>
                      <a:cubicBezTo>
                        <a:pt x="0" y="59033"/>
                        <a:pt x="1488" y="59033"/>
                        <a:pt x="1488" y="50600"/>
                      </a:cubicBezTo>
                      <a:cubicBezTo>
                        <a:pt x="1488" y="42167"/>
                        <a:pt x="0" y="42167"/>
                        <a:pt x="0" y="33733"/>
                      </a:cubicBezTo>
                      <a:cubicBezTo>
                        <a:pt x="0" y="25300"/>
                        <a:pt x="0" y="25300"/>
                        <a:pt x="0" y="16867"/>
                      </a:cubicBezTo>
                      <a:cubicBezTo>
                        <a:pt x="0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2" name="Freeform: Shape 1661">
                  <a:extLst>
                    <a:ext uri="{FF2B5EF4-FFF2-40B4-BE49-F238E27FC236}">
                      <a16:creationId xmlns:a16="http://schemas.microsoft.com/office/drawing/2014/main" id="{2FB27B91-586B-674C-6C84-8ACFC4542F5F}"/>
                    </a:ext>
                  </a:extLst>
                </p:cNvPr>
                <p:cNvSpPr/>
                <p:nvPr/>
              </p:nvSpPr>
              <p:spPr>
                <a:xfrm>
                  <a:off x="5404143" y="2813257"/>
                  <a:ext cx="2480" cy="168666"/>
                </a:xfrm>
                <a:custGeom>
                  <a:avLst/>
                  <a:gdLst>
                    <a:gd name="connsiteX0" fmla="*/ 0 w 2480"/>
                    <a:gd name="connsiteY0" fmla="*/ 0 h 168666"/>
                    <a:gd name="connsiteX1" fmla="*/ 496 w 2480"/>
                    <a:gd name="connsiteY1" fmla="*/ 16867 h 168666"/>
                    <a:gd name="connsiteX2" fmla="*/ 1488 w 2480"/>
                    <a:gd name="connsiteY2" fmla="*/ 33734 h 168666"/>
                    <a:gd name="connsiteX3" fmla="*/ 2480 w 2480"/>
                    <a:gd name="connsiteY3" fmla="*/ 50600 h 168666"/>
                    <a:gd name="connsiteX4" fmla="*/ 1984 w 2480"/>
                    <a:gd name="connsiteY4" fmla="*/ 67467 h 168666"/>
                    <a:gd name="connsiteX5" fmla="*/ 1984 w 2480"/>
                    <a:gd name="connsiteY5" fmla="*/ 84333 h 168666"/>
                    <a:gd name="connsiteX6" fmla="*/ 1488 w 2480"/>
                    <a:gd name="connsiteY6" fmla="*/ 101200 h 168666"/>
                    <a:gd name="connsiteX7" fmla="*/ 496 w 2480"/>
                    <a:gd name="connsiteY7" fmla="*/ 118067 h 168666"/>
                    <a:gd name="connsiteX8" fmla="*/ 2480 w 2480"/>
                    <a:gd name="connsiteY8" fmla="*/ 134933 h 168666"/>
                    <a:gd name="connsiteX9" fmla="*/ 992 w 2480"/>
                    <a:gd name="connsiteY9" fmla="*/ 151800 h 168666"/>
                    <a:gd name="connsiteX10" fmla="*/ 1984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0" y="0"/>
                      </a:moveTo>
                      <a:cubicBezTo>
                        <a:pt x="0" y="8433"/>
                        <a:pt x="496" y="8433"/>
                        <a:pt x="496" y="16867"/>
                      </a:cubicBezTo>
                      <a:cubicBezTo>
                        <a:pt x="496" y="25300"/>
                        <a:pt x="1488" y="25300"/>
                        <a:pt x="1488" y="33734"/>
                      </a:cubicBezTo>
                      <a:cubicBezTo>
                        <a:pt x="1488" y="42167"/>
                        <a:pt x="2480" y="42167"/>
                        <a:pt x="2480" y="50600"/>
                      </a:cubicBezTo>
                      <a:cubicBezTo>
                        <a:pt x="2480" y="59033"/>
                        <a:pt x="1984" y="59033"/>
                        <a:pt x="1984" y="67467"/>
                      </a:cubicBezTo>
                      <a:cubicBezTo>
                        <a:pt x="1984" y="75900"/>
                        <a:pt x="1984" y="75900"/>
                        <a:pt x="1984" y="84333"/>
                      </a:cubicBezTo>
                      <a:cubicBezTo>
                        <a:pt x="1984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2480" y="126500"/>
                        <a:pt x="2480" y="134933"/>
                      </a:cubicBezTo>
                      <a:cubicBezTo>
                        <a:pt x="2480" y="143367"/>
                        <a:pt x="992" y="143367"/>
                        <a:pt x="992" y="151800"/>
                      </a:cubicBezTo>
                      <a:cubicBezTo>
                        <a:pt x="992" y="160233"/>
                        <a:pt x="1984" y="160233"/>
                        <a:pt x="1984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90" name="Graphic 10">
              <a:extLst>
                <a:ext uri="{FF2B5EF4-FFF2-40B4-BE49-F238E27FC236}">
                  <a16:creationId xmlns:a16="http://schemas.microsoft.com/office/drawing/2014/main" id="{6680866B-AC5B-22C9-7562-68D5EE8B3A5F}"/>
                </a:ext>
              </a:extLst>
            </p:cNvPr>
            <p:cNvGrpSpPr/>
            <p:nvPr/>
          </p:nvGrpSpPr>
          <p:grpSpPr>
            <a:xfrm>
              <a:off x="6022752" y="3195182"/>
              <a:ext cx="674025" cy="313080"/>
              <a:chOff x="6022752" y="3195182"/>
              <a:chExt cx="674025" cy="313080"/>
            </a:xfrm>
            <a:noFill/>
          </p:grpSpPr>
          <p:sp>
            <p:nvSpPr>
              <p:cNvPr id="1648" name="Freeform: Shape 1647">
                <a:extLst>
                  <a:ext uri="{FF2B5EF4-FFF2-40B4-BE49-F238E27FC236}">
                    <a16:creationId xmlns:a16="http://schemas.microsoft.com/office/drawing/2014/main" id="{CDC7CB94-040B-0A98-6D1C-FB582965A9F8}"/>
                  </a:ext>
                </a:extLst>
              </p:cNvPr>
              <p:cNvSpPr/>
              <p:nvPr/>
            </p:nvSpPr>
            <p:spPr>
              <a:xfrm>
                <a:off x="6022752" y="3195182"/>
                <a:ext cx="674025" cy="313080"/>
              </a:xfrm>
              <a:custGeom>
                <a:avLst/>
                <a:gdLst>
                  <a:gd name="connsiteX0" fmla="*/ 0 w 674025"/>
                  <a:gd name="connsiteY0" fmla="*/ 299190 h 313080"/>
                  <a:gd name="connsiteX1" fmla="*/ 11906 w 674025"/>
                  <a:gd name="connsiteY1" fmla="*/ 288276 h 313080"/>
                  <a:gd name="connsiteX2" fmla="*/ 23315 w 674025"/>
                  <a:gd name="connsiteY2" fmla="*/ 276867 h 313080"/>
                  <a:gd name="connsiteX3" fmla="*/ 34230 w 674025"/>
                  <a:gd name="connsiteY3" fmla="*/ 264961 h 313080"/>
                  <a:gd name="connsiteX4" fmla="*/ 46631 w 674025"/>
                  <a:gd name="connsiteY4" fmla="*/ 254543 h 313080"/>
                  <a:gd name="connsiteX5" fmla="*/ 57545 w 674025"/>
                  <a:gd name="connsiteY5" fmla="*/ 242637 h 313080"/>
                  <a:gd name="connsiteX6" fmla="*/ 68458 w 674025"/>
                  <a:gd name="connsiteY6" fmla="*/ 230731 h 313080"/>
                  <a:gd name="connsiteX7" fmla="*/ 79868 w 674025"/>
                  <a:gd name="connsiteY7" fmla="*/ 219322 h 313080"/>
                  <a:gd name="connsiteX8" fmla="*/ 91278 w 674025"/>
                  <a:gd name="connsiteY8" fmla="*/ 207912 h 313080"/>
                  <a:gd name="connsiteX9" fmla="*/ 102192 w 674025"/>
                  <a:gd name="connsiteY9" fmla="*/ 196006 h 313080"/>
                  <a:gd name="connsiteX10" fmla="*/ 114594 w 674025"/>
                  <a:gd name="connsiteY10" fmla="*/ 185588 h 313080"/>
                  <a:gd name="connsiteX11" fmla="*/ 126500 w 674025"/>
                  <a:gd name="connsiteY11" fmla="*/ 174675 h 313080"/>
                  <a:gd name="connsiteX12" fmla="*/ 137413 w 674025"/>
                  <a:gd name="connsiteY12" fmla="*/ 162769 h 313080"/>
                  <a:gd name="connsiteX13" fmla="*/ 148823 w 674025"/>
                  <a:gd name="connsiteY13" fmla="*/ 151359 h 313080"/>
                  <a:gd name="connsiteX14" fmla="*/ 159737 w 674025"/>
                  <a:gd name="connsiteY14" fmla="*/ 139453 h 313080"/>
                  <a:gd name="connsiteX15" fmla="*/ 171147 w 674025"/>
                  <a:gd name="connsiteY15" fmla="*/ 128043 h 313080"/>
                  <a:gd name="connsiteX16" fmla="*/ 183549 w 674025"/>
                  <a:gd name="connsiteY16" fmla="*/ 117626 h 313080"/>
                  <a:gd name="connsiteX17" fmla="*/ 194958 w 674025"/>
                  <a:gd name="connsiteY17" fmla="*/ 105720 h 313080"/>
                  <a:gd name="connsiteX18" fmla="*/ 206368 w 674025"/>
                  <a:gd name="connsiteY18" fmla="*/ 94310 h 313080"/>
                  <a:gd name="connsiteX19" fmla="*/ 217778 w 674025"/>
                  <a:gd name="connsiteY19" fmla="*/ 82900 h 313080"/>
                  <a:gd name="connsiteX20" fmla="*/ 229188 w 674025"/>
                  <a:gd name="connsiteY20" fmla="*/ 71490 h 313080"/>
                  <a:gd name="connsiteX21" fmla="*/ 241094 w 674025"/>
                  <a:gd name="connsiteY21" fmla="*/ 60577 h 313080"/>
                  <a:gd name="connsiteX22" fmla="*/ 252007 w 674025"/>
                  <a:gd name="connsiteY22" fmla="*/ 48671 h 313080"/>
                  <a:gd name="connsiteX23" fmla="*/ 263417 w 674025"/>
                  <a:gd name="connsiteY23" fmla="*/ 37261 h 313080"/>
                  <a:gd name="connsiteX24" fmla="*/ 274827 w 674025"/>
                  <a:gd name="connsiteY24" fmla="*/ 25851 h 313080"/>
                  <a:gd name="connsiteX25" fmla="*/ 285741 w 674025"/>
                  <a:gd name="connsiteY25" fmla="*/ 13945 h 313080"/>
                  <a:gd name="connsiteX26" fmla="*/ 297647 w 674025"/>
                  <a:gd name="connsiteY26" fmla="*/ 3032 h 313080"/>
                  <a:gd name="connsiteX27" fmla="*/ 314017 w 674025"/>
                  <a:gd name="connsiteY27" fmla="*/ 2039 h 313080"/>
                  <a:gd name="connsiteX28" fmla="*/ 330388 w 674025"/>
                  <a:gd name="connsiteY28" fmla="*/ 3528 h 313080"/>
                  <a:gd name="connsiteX29" fmla="*/ 346759 w 674025"/>
                  <a:gd name="connsiteY29" fmla="*/ 2039 h 313080"/>
                  <a:gd name="connsiteX30" fmla="*/ 363129 w 674025"/>
                  <a:gd name="connsiteY30" fmla="*/ 2535 h 313080"/>
                  <a:gd name="connsiteX31" fmla="*/ 379500 w 674025"/>
                  <a:gd name="connsiteY31" fmla="*/ 3528 h 313080"/>
                  <a:gd name="connsiteX32" fmla="*/ 395870 w 674025"/>
                  <a:gd name="connsiteY32" fmla="*/ 2039 h 313080"/>
                  <a:gd name="connsiteX33" fmla="*/ 412241 w 674025"/>
                  <a:gd name="connsiteY33" fmla="*/ 3528 h 313080"/>
                  <a:gd name="connsiteX34" fmla="*/ 428611 w 674025"/>
                  <a:gd name="connsiteY34" fmla="*/ 4024 h 313080"/>
                  <a:gd name="connsiteX35" fmla="*/ 444982 w 674025"/>
                  <a:gd name="connsiteY35" fmla="*/ 2039 h 313080"/>
                  <a:gd name="connsiteX36" fmla="*/ 461352 w 674025"/>
                  <a:gd name="connsiteY36" fmla="*/ 2535 h 313080"/>
                  <a:gd name="connsiteX37" fmla="*/ 477723 w 674025"/>
                  <a:gd name="connsiteY37" fmla="*/ 4024 h 313080"/>
                  <a:gd name="connsiteX38" fmla="*/ 494094 w 674025"/>
                  <a:gd name="connsiteY38" fmla="*/ 4024 h 313080"/>
                  <a:gd name="connsiteX39" fmla="*/ 510464 w 674025"/>
                  <a:gd name="connsiteY39" fmla="*/ 3528 h 313080"/>
                  <a:gd name="connsiteX40" fmla="*/ 526835 w 674025"/>
                  <a:gd name="connsiteY40" fmla="*/ 1543 h 313080"/>
                  <a:gd name="connsiteX41" fmla="*/ 543205 w 674025"/>
                  <a:gd name="connsiteY41" fmla="*/ 2039 h 313080"/>
                  <a:gd name="connsiteX42" fmla="*/ 559576 w 674025"/>
                  <a:gd name="connsiteY42" fmla="*/ 4024 h 313080"/>
                  <a:gd name="connsiteX43" fmla="*/ 575946 w 674025"/>
                  <a:gd name="connsiteY43" fmla="*/ 4024 h 313080"/>
                  <a:gd name="connsiteX44" fmla="*/ 592317 w 674025"/>
                  <a:gd name="connsiteY44" fmla="*/ 3528 h 313080"/>
                  <a:gd name="connsiteX45" fmla="*/ 608687 w 674025"/>
                  <a:gd name="connsiteY45" fmla="*/ 2535 h 313080"/>
                  <a:gd name="connsiteX46" fmla="*/ 625058 w 674025"/>
                  <a:gd name="connsiteY46" fmla="*/ 2039 h 313080"/>
                  <a:gd name="connsiteX47" fmla="*/ 641428 w 674025"/>
                  <a:gd name="connsiteY47" fmla="*/ 2535 h 313080"/>
                  <a:gd name="connsiteX48" fmla="*/ 657799 w 674025"/>
                  <a:gd name="connsiteY48" fmla="*/ 3528 h 313080"/>
                  <a:gd name="connsiteX49" fmla="*/ 673178 w 674025"/>
                  <a:gd name="connsiteY49" fmla="*/ 3528 h 313080"/>
                  <a:gd name="connsiteX50" fmla="*/ 662760 w 674025"/>
                  <a:gd name="connsiteY50" fmla="*/ 14441 h 313080"/>
                  <a:gd name="connsiteX51" fmla="*/ 651847 w 674025"/>
                  <a:gd name="connsiteY51" fmla="*/ 26347 h 313080"/>
                  <a:gd name="connsiteX52" fmla="*/ 640932 w 674025"/>
                  <a:gd name="connsiteY52" fmla="*/ 37757 h 313080"/>
                  <a:gd name="connsiteX53" fmla="*/ 628035 w 674025"/>
                  <a:gd name="connsiteY53" fmla="*/ 47679 h 313080"/>
                  <a:gd name="connsiteX54" fmla="*/ 617121 w 674025"/>
                  <a:gd name="connsiteY54" fmla="*/ 59584 h 313080"/>
                  <a:gd name="connsiteX55" fmla="*/ 606703 w 674025"/>
                  <a:gd name="connsiteY55" fmla="*/ 71490 h 313080"/>
                  <a:gd name="connsiteX56" fmla="*/ 595294 w 674025"/>
                  <a:gd name="connsiteY56" fmla="*/ 82404 h 313080"/>
                  <a:gd name="connsiteX57" fmla="*/ 583388 w 674025"/>
                  <a:gd name="connsiteY57" fmla="*/ 93318 h 313080"/>
                  <a:gd name="connsiteX58" fmla="*/ 572474 w 674025"/>
                  <a:gd name="connsiteY58" fmla="*/ 105224 h 313080"/>
                  <a:gd name="connsiteX59" fmla="*/ 561560 w 674025"/>
                  <a:gd name="connsiteY59" fmla="*/ 117130 h 313080"/>
                  <a:gd name="connsiteX60" fmla="*/ 549158 w 674025"/>
                  <a:gd name="connsiteY60" fmla="*/ 127547 h 313080"/>
                  <a:gd name="connsiteX61" fmla="*/ 538741 w 674025"/>
                  <a:gd name="connsiteY61" fmla="*/ 139453 h 313080"/>
                  <a:gd name="connsiteX62" fmla="*/ 527331 w 674025"/>
                  <a:gd name="connsiteY62" fmla="*/ 150863 h 313080"/>
                  <a:gd name="connsiteX63" fmla="*/ 515425 w 674025"/>
                  <a:gd name="connsiteY63" fmla="*/ 161777 h 313080"/>
                  <a:gd name="connsiteX64" fmla="*/ 504511 w 674025"/>
                  <a:gd name="connsiteY64" fmla="*/ 173682 h 313080"/>
                  <a:gd name="connsiteX65" fmla="*/ 492605 w 674025"/>
                  <a:gd name="connsiteY65" fmla="*/ 184596 h 313080"/>
                  <a:gd name="connsiteX66" fmla="*/ 481196 w 674025"/>
                  <a:gd name="connsiteY66" fmla="*/ 196006 h 313080"/>
                  <a:gd name="connsiteX67" fmla="*/ 470282 w 674025"/>
                  <a:gd name="connsiteY67" fmla="*/ 207912 h 313080"/>
                  <a:gd name="connsiteX68" fmla="*/ 459368 w 674025"/>
                  <a:gd name="connsiteY68" fmla="*/ 219818 h 313080"/>
                  <a:gd name="connsiteX69" fmla="*/ 447958 w 674025"/>
                  <a:gd name="connsiteY69" fmla="*/ 231228 h 313080"/>
                  <a:gd name="connsiteX70" fmla="*/ 436053 w 674025"/>
                  <a:gd name="connsiteY70" fmla="*/ 242141 h 313080"/>
                  <a:gd name="connsiteX71" fmla="*/ 424147 w 674025"/>
                  <a:gd name="connsiteY71" fmla="*/ 253055 h 313080"/>
                  <a:gd name="connsiteX72" fmla="*/ 413729 w 674025"/>
                  <a:gd name="connsiteY72" fmla="*/ 265457 h 313080"/>
                  <a:gd name="connsiteX73" fmla="*/ 401823 w 674025"/>
                  <a:gd name="connsiteY73" fmla="*/ 275875 h 313080"/>
                  <a:gd name="connsiteX74" fmla="*/ 390413 w 674025"/>
                  <a:gd name="connsiteY74" fmla="*/ 287284 h 313080"/>
                  <a:gd name="connsiteX75" fmla="*/ 379500 w 674025"/>
                  <a:gd name="connsiteY75" fmla="*/ 299190 h 313080"/>
                  <a:gd name="connsiteX76" fmla="*/ 368090 w 674025"/>
                  <a:gd name="connsiteY76" fmla="*/ 311096 h 313080"/>
                  <a:gd name="connsiteX77" fmla="*/ 351719 w 674025"/>
                  <a:gd name="connsiteY77" fmla="*/ 311096 h 313080"/>
                  <a:gd name="connsiteX78" fmla="*/ 335845 w 674025"/>
                  <a:gd name="connsiteY78" fmla="*/ 310600 h 313080"/>
                  <a:gd name="connsiteX79" fmla="*/ 319970 w 674025"/>
                  <a:gd name="connsiteY79" fmla="*/ 311096 h 313080"/>
                  <a:gd name="connsiteX80" fmla="*/ 304095 w 674025"/>
                  <a:gd name="connsiteY80" fmla="*/ 310600 h 313080"/>
                  <a:gd name="connsiteX81" fmla="*/ 288221 w 674025"/>
                  <a:gd name="connsiteY81" fmla="*/ 311096 h 313080"/>
                  <a:gd name="connsiteX82" fmla="*/ 272347 w 674025"/>
                  <a:gd name="connsiteY82" fmla="*/ 311096 h 313080"/>
                  <a:gd name="connsiteX83" fmla="*/ 256472 w 674025"/>
                  <a:gd name="connsiteY83" fmla="*/ 313080 h 313080"/>
                  <a:gd name="connsiteX84" fmla="*/ 240598 w 674025"/>
                  <a:gd name="connsiteY84" fmla="*/ 311592 h 313080"/>
                  <a:gd name="connsiteX85" fmla="*/ 224723 w 674025"/>
                  <a:gd name="connsiteY85" fmla="*/ 313080 h 313080"/>
                  <a:gd name="connsiteX86" fmla="*/ 208849 w 674025"/>
                  <a:gd name="connsiteY86" fmla="*/ 312584 h 313080"/>
                  <a:gd name="connsiteX87" fmla="*/ 192974 w 674025"/>
                  <a:gd name="connsiteY87" fmla="*/ 312584 h 313080"/>
                  <a:gd name="connsiteX88" fmla="*/ 177100 w 674025"/>
                  <a:gd name="connsiteY88" fmla="*/ 312584 h 313080"/>
                  <a:gd name="connsiteX89" fmla="*/ 161225 w 674025"/>
                  <a:gd name="connsiteY89" fmla="*/ 311096 h 313080"/>
                  <a:gd name="connsiteX90" fmla="*/ 145350 w 674025"/>
                  <a:gd name="connsiteY90" fmla="*/ 312584 h 313080"/>
                  <a:gd name="connsiteX91" fmla="*/ 129476 w 674025"/>
                  <a:gd name="connsiteY91" fmla="*/ 311096 h 313080"/>
                  <a:gd name="connsiteX92" fmla="*/ 113602 w 674025"/>
                  <a:gd name="connsiteY92" fmla="*/ 311096 h 313080"/>
                  <a:gd name="connsiteX93" fmla="*/ 97727 w 674025"/>
                  <a:gd name="connsiteY93" fmla="*/ 311592 h 313080"/>
                  <a:gd name="connsiteX94" fmla="*/ 81853 w 674025"/>
                  <a:gd name="connsiteY94" fmla="*/ 312584 h 313080"/>
                  <a:gd name="connsiteX95" fmla="*/ 65978 w 674025"/>
                  <a:gd name="connsiteY95" fmla="*/ 312584 h 313080"/>
                  <a:gd name="connsiteX96" fmla="*/ 50104 w 674025"/>
                  <a:gd name="connsiteY96" fmla="*/ 311096 h 313080"/>
                  <a:gd name="connsiteX97" fmla="*/ 34230 w 674025"/>
                  <a:gd name="connsiteY97" fmla="*/ 312088 h 313080"/>
                  <a:gd name="connsiteX98" fmla="*/ 17859 w 674025"/>
                  <a:gd name="connsiteY98" fmla="*/ 312088 h 313080"/>
                  <a:gd name="connsiteX99" fmla="*/ 1488 w 674025"/>
                  <a:gd name="connsiteY99" fmla="*/ 311592 h 31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674025" h="313080">
                    <a:moveTo>
                      <a:pt x="0" y="299190"/>
                    </a:moveTo>
                    <a:cubicBezTo>
                      <a:pt x="5953" y="293237"/>
                      <a:pt x="6449" y="294229"/>
                      <a:pt x="11906" y="288276"/>
                    </a:cubicBezTo>
                    <a:cubicBezTo>
                      <a:pt x="17859" y="282323"/>
                      <a:pt x="17363" y="282323"/>
                      <a:pt x="23315" y="276867"/>
                    </a:cubicBezTo>
                    <a:cubicBezTo>
                      <a:pt x="29269" y="270914"/>
                      <a:pt x="28772" y="270914"/>
                      <a:pt x="34230" y="264961"/>
                    </a:cubicBezTo>
                    <a:cubicBezTo>
                      <a:pt x="40182" y="259008"/>
                      <a:pt x="40678" y="260000"/>
                      <a:pt x="46631" y="254543"/>
                    </a:cubicBezTo>
                    <a:cubicBezTo>
                      <a:pt x="52088" y="249086"/>
                      <a:pt x="51592" y="248590"/>
                      <a:pt x="57545" y="242637"/>
                    </a:cubicBezTo>
                    <a:cubicBezTo>
                      <a:pt x="63002" y="237181"/>
                      <a:pt x="63002" y="236684"/>
                      <a:pt x="68458" y="230731"/>
                    </a:cubicBezTo>
                    <a:cubicBezTo>
                      <a:pt x="73916" y="225275"/>
                      <a:pt x="74412" y="225275"/>
                      <a:pt x="79868" y="219322"/>
                    </a:cubicBezTo>
                    <a:cubicBezTo>
                      <a:pt x="85821" y="213369"/>
                      <a:pt x="85821" y="213865"/>
                      <a:pt x="91278" y="207912"/>
                    </a:cubicBezTo>
                    <a:cubicBezTo>
                      <a:pt x="97231" y="201959"/>
                      <a:pt x="96239" y="201463"/>
                      <a:pt x="102192" y="196006"/>
                    </a:cubicBezTo>
                    <a:cubicBezTo>
                      <a:pt x="107649" y="190549"/>
                      <a:pt x="108641" y="191045"/>
                      <a:pt x="114594" y="185588"/>
                    </a:cubicBezTo>
                    <a:cubicBezTo>
                      <a:pt x="120547" y="179635"/>
                      <a:pt x="120547" y="180132"/>
                      <a:pt x="126500" y="174675"/>
                    </a:cubicBezTo>
                    <a:cubicBezTo>
                      <a:pt x="132453" y="168722"/>
                      <a:pt x="131461" y="168226"/>
                      <a:pt x="137413" y="162769"/>
                    </a:cubicBezTo>
                    <a:cubicBezTo>
                      <a:pt x="143367" y="156816"/>
                      <a:pt x="143367" y="157312"/>
                      <a:pt x="148823" y="151359"/>
                    </a:cubicBezTo>
                    <a:cubicBezTo>
                      <a:pt x="154776" y="145406"/>
                      <a:pt x="154280" y="145406"/>
                      <a:pt x="159737" y="139453"/>
                    </a:cubicBezTo>
                    <a:cubicBezTo>
                      <a:pt x="165690" y="133500"/>
                      <a:pt x="165194" y="133500"/>
                      <a:pt x="171147" y="128043"/>
                    </a:cubicBezTo>
                    <a:cubicBezTo>
                      <a:pt x="177100" y="122090"/>
                      <a:pt x="177596" y="123083"/>
                      <a:pt x="183549" y="117626"/>
                    </a:cubicBezTo>
                    <a:cubicBezTo>
                      <a:pt x="189502" y="111673"/>
                      <a:pt x="189006" y="111673"/>
                      <a:pt x="194958" y="105720"/>
                    </a:cubicBezTo>
                    <a:cubicBezTo>
                      <a:pt x="200912" y="99767"/>
                      <a:pt x="200912" y="100263"/>
                      <a:pt x="206368" y="94310"/>
                    </a:cubicBezTo>
                    <a:cubicBezTo>
                      <a:pt x="212321" y="88357"/>
                      <a:pt x="211825" y="88357"/>
                      <a:pt x="217778" y="82900"/>
                    </a:cubicBezTo>
                    <a:cubicBezTo>
                      <a:pt x="223731" y="76947"/>
                      <a:pt x="223731" y="77443"/>
                      <a:pt x="229188" y="71490"/>
                    </a:cubicBezTo>
                    <a:cubicBezTo>
                      <a:pt x="235141" y="65537"/>
                      <a:pt x="235141" y="66034"/>
                      <a:pt x="241094" y="60577"/>
                    </a:cubicBezTo>
                    <a:cubicBezTo>
                      <a:pt x="247046" y="54624"/>
                      <a:pt x="246550" y="54624"/>
                      <a:pt x="252007" y="48671"/>
                    </a:cubicBezTo>
                    <a:cubicBezTo>
                      <a:pt x="257961" y="42718"/>
                      <a:pt x="257465" y="42718"/>
                      <a:pt x="263417" y="37261"/>
                    </a:cubicBezTo>
                    <a:cubicBezTo>
                      <a:pt x="269370" y="31308"/>
                      <a:pt x="268874" y="31308"/>
                      <a:pt x="274827" y="25851"/>
                    </a:cubicBezTo>
                    <a:cubicBezTo>
                      <a:pt x="280780" y="19898"/>
                      <a:pt x="280284" y="19898"/>
                      <a:pt x="285741" y="13945"/>
                    </a:cubicBezTo>
                    <a:cubicBezTo>
                      <a:pt x="291198" y="7992"/>
                      <a:pt x="290206" y="6504"/>
                      <a:pt x="297647" y="3032"/>
                    </a:cubicBezTo>
                    <a:cubicBezTo>
                      <a:pt x="305088" y="55"/>
                      <a:pt x="305584" y="2039"/>
                      <a:pt x="314017" y="2039"/>
                    </a:cubicBezTo>
                    <a:cubicBezTo>
                      <a:pt x="322451" y="2039"/>
                      <a:pt x="322451" y="3528"/>
                      <a:pt x="330388" y="3528"/>
                    </a:cubicBezTo>
                    <a:cubicBezTo>
                      <a:pt x="338821" y="3528"/>
                      <a:pt x="338821" y="2039"/>
                      <a:pt x="346759" y="2039"/>
                    </a:cubicBezTo>
                    <a:cubicBezTo>
                      <a:pt x="355192" y="2039"/>
                      <a:pt x="355192" y="2535"/>
                      <a:pt x="363129" y="2535"/>
                    </a:cubicBezTo>
                    <a:cubicBezTo>
                      <a:pt x="371563" y="2535"/>
                      <a:pt x="371563" y="3528"/>
                      <a:pt x="379500" y="3528"/>
                    </a:cubicBezTo>
                    <a:cubicBezTo>
                      <a:pt x="387933" y="3528"/>
                      <a:pt x="387933" y="2039"/>
                      <a:pt x="395870" y="2039"/>
                    </a:cubicBezTo>
                    <a:cubicBezTo>
                      <a:pt x="404304" y="2039"/>
                      <a:pt x="404304" y="3528"/>
                      <a:pt x="412241" y="3528"/>
                    </a:cubicBezTo>
                    <a:cubicBezTo>
                      <a:pt x="420674" y="3528"/>
                      <a:pt x="420674" y="4024"/>
                      <a:pt x="428611" y="4024"/>
                    </a:cubicBezTo>
                    <a:cubicBezTo>
                      <a:pt x="437045" y="4024"/>
                      <a:pt x="437045" y="2039"/>
                      <a:pt x="444982" y="2039"/>
                    </a:cubicBezTo>
                    <a:cubicBezTo>
                      <a:pt x="453415" y="2039"/>
                      <a:pt x="453415" y="2535"/>
                      <a:pt x="461352" y="2535"/>
                    </a:cubicBezTo>
                    <a:cubicBezTo>
                      <a:pt x="469786" y="2535"/>
                      <a:pt x="469786" y="4024"/>
                      <a:pt x="477723" y="4024"/>
                    </a:cubicBezTo>
                    <a:cubicBezTo>
                      <a:pt x="486156" y="4024"/>
                      <a:pt x="486156" y="4024"/>
                      <a:pt x="494094" y="4024"/>
                    </a:cubicBezTo>
                    <a:cubicBezTo>
                      <a:pt x="502527" y="4024"/>
                      <a:pt x="502527" y="3528"/>
                      <a:pt x="510464" y="3528"/>
                    </a:cubicBezTo>
                    <a:cubicBezTo>
                      <a:pt x="518897" y="3528"/>
                      <a:pt x="518897" y="1543"/>
                      <a:pt x="526835" y="1543"/>
                    </a:cubicBezTo>
                    <a:cubicBezTo>
                      <a:pt x="535268" y="1543"/>
                      <a:pt x="535268" y="2039"/>
                      <a:pt x="543205" y="2039"/>
                    </a:cubicBezTo>
                    <a:cubicBezTo>
                      <a:pt x="551638" y="2039"/>
                      <a:pt x="551638" y="4024"/>
                      <a:pt x="559576" y="4024"/>
                    </a:cubicBezTo>
                    <a:cubicBezTo>
                      <a:pt x="568009" y="4024"/>
                      <a:pt x="568009" y="4024"/>
                      <a:pt x="575946" y="4024"/>
                    </a:cubicBezTo>
                    <a:cubicBezTo>
                      <a:pt x="584379" y="4024"/>
                      <a:pt x="584379" y="3528"/>
                      <a:pt x="592317" y="3528"/>
                    </a:cubicBezTo>
                    <a:cubicBezTo>
                      <a:pt x="600750" y="3528"/>
                      <a:pt x="600750" y="2535"/>
                      <a:pt x="608687" y="2535"/>
                    </a:cubicBezTo>
                    <a:cubicBezTo>
                      <a:pt x="617121" y="2535"/>
                      <a:pt x="617121" y="2039"/>
                      <a:pt x="625058" y="2039"/>
                    </a:cubicBezTo>
                    <a:cubicBezTo>
                      <a:pt x="633491" y="2039"/>
                      <a:pt x="633491" y="2535"/>
                      <a:pt x="641428" y="2535"/>
                    </a:cubicBezTo>
                    <a:cubicBezTo>
                      <a:pt x="649862" y="2535"/>
                      <a:pt x="649862" y="3528"/>
                      <a:pt x="657799" y="3528"/>
                    </a:cubicBezTo>
                    <a:cubicBezTo>
                      <a:pt x="665736" y="3528"/>
                      <a:pt x="669705" y="-4410"/>
                      <a:pt x="673178" y="3528"/>
                    </a:cubicBezTo>
                    <a:cubicBezTo>
                      <a:pt x="676650" y="10969"/>
                      <a:pt x="668713" y="8488"/>
                      <a:pt x="662760" y="14441"/>
                    </a:cubicBezTo>
                    <a:cubicBezTo>
                      <a:pt x="657303" y="19898"/>
                      <a:pt x="657303" y="20394"/>
                      <a:pt x="651847" y="26347"/>
                    </a:cubicBezTo>
                    <a:cubicBezTo>
                      <a:pt x="646389" y="31804"/>
                      <a:pt x="646389" y="32300"/>
                      <a:pt x="640932" y="37757"/>
                    </a:cubicBezTo>
                    <a:cubicBezTo>
                      <a:pt x="635476" y="43214"/>
                      <a:pt x="633987" y="42222"/>
                      <a:pt x="628035" y="47679"/>
                    </a:cubicBezTo>
                    <a:cubicBezTo>
                      <a:pt x="622578" y="53135"/>
                      <a:pt x="622578" y="53632"/>
                      <a:pt x="617121" y="59584"/>
                    </a:cubicBezTo>
                    <a:cubicBezTo>
                      <a:pt x="611664" y="65041"/>
                      <a:pt x="612160" y="66034"/>
                      <a:pt x="606703" y="71490"/>
                    </a:cubicBezTo>
                    <a:cubicBezTo>
                      <a:pt x="601246" y="76947"/>
                      <a:pt x="600750" y="76947"/>
                      <a:pt x="595294" y="82404"/>
                    </a:cubicBezTo>
                    <a:cubicBezTo>
                      <a:pt x="589837" y="87861"/>
                      <a:pt x="589340" y="87861"/>
                      <a:pt x="583388" y="93318"/>
                    </a:cubicBezTo>
                    <a:cubicBezTo>
                      <a:pt x="577931" y="98775"/>
                      <a:pt x="577931" y="99271"/>
                      <a:pt x="572474" y="105224"/>
                    </a:cubicBezTo>
                    <a:cubicBezTo>
                      <a:pt x="567017" y="110681"/>
                      <a:pt x="567017" y="111177"/>
                      <a:pt x="561560" y="117130"/>
                    </a:cubicBezTo>
                    <a:cubicBezTo>
                      <a:pt x="556103" y="122586"/>
                      <a:pt x="555111" y="122090"/>
                      <a:pt x="549158" y="127547"/>
                    </a:cubicBezTo>
                    <a:cubicBezTo>
                      <a:pt x="543701" y="133004"/>
                      <a:pt x="544197" y="133996"/>
                      <a:pt x="538741" y="139453"/>
                    </a:cubicBezTo>
                    <a:cubicBezTo>
                      <a:pt x="533284" y="144910"/>
                      <a:pt x="532788" y="144910"/>
                      <a:pt x="527331" y="150863"/>
                    </a:cubicBezTo>
                    <a:cubicBezTo>
                      <a:pt x="521874" y="156320"/>
                      <a:pt x="520882" y="155824"/>
                      <a:pt x="515425" y="161777"/>
                    </a:cubicBezTo>
                    <a:cubicBezTo>
                      <a:pt x="509968" y="167233"/>
                      <a:pt x="510464" y="167730"/>
                      <a:pt x="504511" y="173682"/>
                    </a:cubicBezTo>
                    <a:cubicBezTo>
                      <a:pt x="499054" y="179139"/>
                      <a:pt x="498062" y="178643"/>
                      <a:pt x="492605" y="184596"/>
                    </a:cubicBezTo>
                    <a:cubicBezTo>
                      <a:pt x="487148" y="190053"/>
                      <a:pt x="486652" y="190053"/>
                      <a:pt x="481196" y="196006"/>
                    </a:cubicBezTo>
                    <a:cubicBezTo>
                      <a:pt x="475739" y="201463"/>
                      <a:pt x="475739" y="201959"/>
                      <a:pt x="470282" y="207912"/>
                    </a:cubicBezTo>
                    <a:cubicBezTo>
                      <a:pt x="464825" y="213369"/>
                      <a:pt x="464825" y="213865"/>
                      <a:pt x="459368" y="219818"/>
                    </a:cubicBezTo>
                    <a:cubicBezTo>
                      <a:pt x="453911" y="225770"/>
                      <a:pt x="453415" y="225275"/>
                      <a:pt x="447958" y="231228"/>
                    </a:cubicBezTo>
                    <a:cubicBezTo>
                      <a:pt x="442501" y="236684"/>
                      <a:pt x="441509" y="236188"/>
                      <a:pt x="436053" y="242141"/>
                    </a:cubicBezTo>
                    <a:cubicBezTo>
                      <a:pt x="430595" y="247598"/>
                      <a:pt x="429603" y="247102"/>
                      <a:pt x="424147" y="253055"/>
                    </a:cubicBezTo>
                    <a:cubicBezTo>
                      <a:pt x="418690" y="258512"/>
                      <a:pt x="419682" y="260000"/>
                      <a:pt x="413729" y="265457"/>
                    </a:cubicBezTo>
                    <a:cubicBezTo>
                      <a:pt x="408272" y="270914"/>
                      <a:pt x="407280" y="270417"/>
                      <a:pt x="401823" y="275875"/>
                    </a:cubicBezTo>
                    <a:cubicBezTo>
                      <a:pt x="396366" y="281331"/>
                      <a:pt x="396366" y="281331"/>
                      <a:pt x="390413" y="287284"/>
                    </a:cubicBezTo>
                    <a:cubicBezTo>
                      <a:pt x="384460" y="293237"/>
                      <a:pt x="384956" y="293237"/>
                      <a:pt x="379500" y="299190"/>
                    </a:cubicBezTo>
                    <a:cubicBezTo>
                      <a:pt x="373546" y="305143"/>
                      <a:pt x="376027" y="307623"/>
                      <a:pt x="368090" y="311096"/>
                    </a:cubicBezTo>
                    <a:cubicBezTo>
                      <a:pt x="360648" y="314073"/>
                      <a:pt x="360152" y="311096"/>
                      <a:pt x="351719" y="311096"/>
                    </a:cubicBezTo>
                    <a:cubicBezTo>
                      <a:pt x="343782" y="311096"/>
                      <a:pt x="343782" y="310600"/>
                      <a:pt x="335845" y="310600"/>
                    </a:cubicBezTo>
                    <a:cubicBezTo>
                      <a:pt x="327907" y="310600"/>
                      <a:pt x="327907" y="311096"/>
                      <a:pt x="319970" y="311096"/>
                    </a:cubicBezTo>
                    <a:cubicBezTo>
                      <a:pt x="312033" y="311096"/>
                      <a:pt x="312033" y="310600"/>
                      <a:pt x="304095" y="310600"/>
                    </a:cubicBezTo>
                    <a:cubicBezTo>
                      <a:pt x="296158" y="310600"/>
                      <a:pt x="296158" y="311096"/>
                      <a:pt x="288221" y="311096"/>
                    </a:cubicBezTo>
                    <a:cubicBezTo>
                      <a:pt x="280284" y="311096"/>
                      <a:pt x="280284" y="311096"/>
                      <a:pt x="272347" y="311096"/>
                    </a:cubicBezTo>
                    <a:cubicBezTo>
                      <a:pt x="264409" y="311096"/>
                      <a:pt x="264409" y="313080"/>
                      <a:pt x="256472" y="313080"/>
                    </a:cubicBezTo>
                    <a:cubicBezTo>
                      <a:pt x="248535" y="313080"/>
                      <a:pt x="248535" y="311592"/>
                      <a:pt x="240598" y="311592"/>
                    </a:cubicBezTo>
                    <a:cubicBezTo>
                      <a:pt x="232661" y="311592"/>
                      <a:pt x="232661" y="313080"/>
                      <a:pt x="224723" y="313080"/>
                    </a:cubicBezTo>
                    <a:cubicBezTo>
                      <a:pt x="216786" y="313080"/>
                      <a:pt x="216786" y="312584"/>
                      <a:pt x="208849" y="312584"/>
                    </a:cubicBezTo>
                    <a:cubicBezTo>
                      <a:pt x="200912" y="312584"/>
                      <a:pt x="200912" y="312584"/>
                      <a:pt x="192974" y="312584"/>
                    </a:cubicBezTo>
                    <a:cubicBezTo>
                      <a:pt x="185037" y="312584"/>
                      <a:pt x="185037" y="312584"/>
                      <a:pt x="177100" y="312584"/>
                    </a:cubicBezTo>
                    <a:cubicBezTo>
                      <a:pt x="169162" y="312584"/>
                      <a:pt x="169162" y="311096"/>
                      <a:pt x="161225" y="311096"/>
                    </a:cubicBezTo>
                    <a:cubicBezTo>
                      <a:pt x="153288" y="311096"/>
                      <a:pt x="153288" y="312584"/>
                      <a:pt x="145350" y="312584"/>
                    </a:cubicBezTo>
                    <a:cubicBezTo>
                      <a:pt x="137413" y="312584"/>
                      <a:pt x="137413" y="311096"/>
                      <a:pt x="129476" y="311096"/>
                    </a:cubicBezTo>
                    <a:cubicBezTo>
                      <a:pt x="121539" y="311096"/>
                      <a:pt x="121539" y="311096"/>
                      <a:pt x="113602" y="311096"/>
                    </a:cubicBezTo>
                    <a:cubicBezTo>
                      <a:pt x="105664" y="311096"/>
                      <a:pt x="105664" y="311592"/>
                      <a:pt x="97727" y="311592"/>
                    </a:cubicBezTo>
                    <a:cubicBezTo>
                      <a:pt x="89790" y="311592"/>
                      <a:pt x="89790" y="312584"/>
                      <a:pt x="81853" y="312584"/>
                    </a:cubicBezTo>
                    <a:cubicBezTo>
                      <a:pt x="73916" y="312584"/>
                      <a:pt x="73916" y="312584"/>
                      <a:pt x="65978" y="312584"/>
                    </a:cubicBezTo>
                    <a:cubicBezTo>
                      <a:pt x="58041" y="312584"/>
                      <a:pt x="58041" y="311096"/>
                      <a:pt x="50104" y="311096"/>
                    </a:cubicBezTo>
                    <a:cubicBezTo>
                      <a:pt x="42167" y="311096"/>
                      <a:pt x="42167" y="312088"/>
                      <a:pt x="34230" y="312088"/>
                    </a:cubicBezTo>
                    <a:cubicBezTo>
                      <a:pt x="26292" y="312088"/>
                      <a:pt x="26292" y="312088"/>
                      <a:pt x="17859" y="312088"/>
                    </a:cubicBezTo>
                    <a:cubicBezTo>
                      <a:pt x="9922" y="312088"/>
                      <a:pt x="9922" y="311592"/>
                      <a:pt x="1488" y="3115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9" name="Freeform: Shape 1648">
                <a:extLst>
                  <a:ext uri="{FF2B5EF4-FFF2-40B4-BE49-F238E27FC236}">
                    <a16:creationId xmlns:a16="http://schemas.microsoft.com/office/drawing/2014/main" id="{BDD61BB6-FE6C-5569-5135-ABC52C20DE78}"/>
                  </a:ext>
                </a:extLst>
              </p:cNvPr>
              <p:cNvSpPr/>
              <p:nvPr/>
            </p:nvSpPr>
            <p:spPr>
              <a:xfrm>
                <a:off x="6112046" y="3406070"/>
                <a:ext cx="376523" cy="2480"/>
              </a:xfrm>
              <a:custGeom>
                <a:avLst/>
                <a:gdLst>
                  <a:gd name="connsiteX0" fmla="*/ 0 w 376523"/>
                  <a:gd name="connsiteY0" fmla="*/ 0 h 2480"/>
                  <a:gd name="connsiteX1" fmla="*/ 16370 w 376523"/>
                  <a:gd name="connsiteY1" fmla="*/ 496 h 2480"/>
                  <a:gd name="connsiteX2" fmla="*/ 32741 w 376523"/>
                  <a:gd name="connsiteY2" fmla="*/ 1488 h 2480"/>
                  <a:gd name="connsiteX3" fmla="*/ 49112 w 376523"/>
                  <a:gd name="connsiteY3" fmla="*/ 1488 h 2480"/>
                  <a:gd name="connsiteX4" fmla="*/ 65482 w 376523"/>
                  <a:gd name="connsiteY4" fmla="*/ 1984 h 2480"/>
                  <a:gd name="connsiteX5" fmla="*/ 81853 w 376523"/>
                  <a:gd name="connsiteY5" fmla="*/ 992 h 2480"/>
                  <a:gd name="connsiteX6" fmla="*/ 98223 w 376523"/>
                  <a:gd name="connsiteY6" fmla="*/ 992 h 2480"/>
                  <a:gd name="connsiteX7" fmla="*/ 114594 w 376523"/>
                  <a:gd name="connsiteY7" fmla="*/ 2480 h 2480"/>
                  <a:gd name="connsiteX8" fmla="*/ 130965 w 376523"/>
                  <a:gd name="connsiteY8" fmla="*/ 1488 h 2480"/>
                  <a:gd name="connsiteX9" fmla="*/ 147335 w 376523"/>
                  <a:gd name="connsiteY9" fmla="*/ 2480 h 2480"/>
                  <a:gd name="connsiteX10" fmla="*/ 163706 w 376523"/>
                  <a:gd name="connsiteY10" fmla="*/ 496 h 2480"/>
                  <a:gd name="connsiteX11" fmla="*/ 180076 w 376523"/>
                  <a:gd name="connsiteY11" fmla="*/ 1488 h 2480"/>
                  <a:gd name="connsiteX12" fmla="*/ 196447 w 376523"/>
                  <a:gd name="connsiteY12" fmla="*/ 1488 h 2480"/>
                  <a:gd name="connsiteX13" fmla="*/ 212818 w 376523"/>
                  <a:gd name="connsiteY13" fmla="*/ 2480 h 2480"/>
                  <a:gd name="connsiteX14" fmla="*/ 229188 w 376523"/>
                  <a:gd name="connsiteY14" fmla="*/ 992 h 2480"/>
                  <a:gd name="connsiteX15" fmla="*/ 245559 w 376523"/>
                  <a:gd name="connsiteY15" fmla="*/ 1488 h 2480"/>
                  <a:gd name="connsiteX16" fmla="*/ 261929 w 376523"/>
                  <a:gd name="connsiteY16" fmla="*/ 496 h 2480"/>
                  <a:gd name="connsiteX17" fmla="*/ 278300 w 376523"/>
                  <a:gd name="connsiteY17" fmla="*/ 496 h 2480"/>
                  <a:gd name="connsiteX18" fmla="*/ 294670 w 376523"/>
                  <a:gd name="connsiteY18" fmla="*/ 1984 h 2480"/>
                  <a:gd name="connsiteX19" fmla="*/ 311041 w 376523"/>
                  <a:gd name="connsiteY19" fmla="*/ 0 h 2480"/>
                  <a:gd name="connsiteX20" fmla="*/ 327411 w 376523"/>
                  <a:gd name="connsiteY20" fmla="*/ 1488 h 2480"/>
                  <a:gd name="connsiteX21" fmla="*/ 343782 w 376523"/>
                  <a:gd name="connsiteY21" fmla="*/ 992 h 2480"/>
                  <a:gd name="connsiteX22" fmla="*/ 360152 w 376523"/>
                  <a:gd name="connsiteY22" fmla="*/ 1984 h 2480"/>
                  <a:gd name="connsiteX23" fmla="*/ 376523 w 376523"/>
                  <a:gd name="connsiteY23" fmla="*/ 496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480">
                    <a:moveTo>
                      <a:pt x="0" y="0"/>
                    </a:moveTo>
                    <a:cubicBezTo>
                      <a:pt x="8433" y="0"/>
                      <a:pt x="8433" y="496"/>
                      <a:pt x="16370" y="496"/>
                    </a:cubicBezTo>
                    <a:cubicBezTo>
                      <a:pt x="24804" y="496"/>
                      <a:pt x="24804" y="1488"/>
                      <a:pt x="32741" y="1488"/>
                    </a:cubicBezTo>
                    <a:cubicBezTo>
                      <a:pt x="41174" y="1488"/>
                      <a:pt x="41174" y="1488"/>
                      <a:pt x="49112" y="1488"/>
                    </a:cubicBezTo>
                    <a:cubicBezTo>
                      <a:pt x="57545" y="1488"/>
                      <a:pt x="57545" y="1984"/>
                      <a:pt x="65482" y="1984"/>
                    </a:cubicBezTo>
                    <a:cubicBezTo>
                      <a:pt x="73916" y="1984"/>
                      <a:pt x="73916" y="992"/>
                      <a:pt x="81853" y="992"/>
                    </a:cubicBezTo>
                    <a:cubicBezTo>
                      <a:pt x="89790" y="992"/>
                      <a:pt x="90286" y="992"/>
                      <a:pt x="98223" y="992"/>
                    </a:cubicBezTo>
                    <a:cubicBezTo>
                      <a:pt x="106657" y="992"/>
                      <a:pt x="106657" y="2480"/>
                      <a:pt x="114594" y="2480"/>
                    </a:cubicBezTo>
                    <a:cubicBezTo>
                      <a:pt x="123027" y="2480"/>
                      <a:pt x="123027" y="1488"/>
                      <a:pt x="130965" y="1488"/>
                    </a:cubicBezTo>
                    <a:cubicBezTo>
                      <a:pt x="139398" y="1488"/>
                      <a:pt x="139398" y="2480"/>
                      <a:pt x="147335" y="2480"/>
                    </a:cubicBezTo>
                    <a:cubicBezTo>
                      <a:pt x="155769" y="2480"/>
                      <a:pt x="155769" y="496"/>
                      <a:pt x="163706" y="496"/>
                    </a:cubicBezTo>
                    <a:cubicBezTo>
                      <a:pt x="172139" y="496"/>
                      <a:pt x="172139" y="1488"/>
                      <a:pt x="180076" y="1488"/>
                    </a:cubicBezTo>
                    <a:cubicBezTo>
                      <a:pt x="188510" y="1488"/>
                      <a:pt x="188510" y="1488"/>
                      <a:pt x="196447" y="1488"/>
                    </a:cubicBezTo>
                    <a:cubicBezTo>
                      <a:pt x="204880" y="1488"/>
                      <a:pt x="204880" y="2480"/>
                      <a:pt x="212818" y="2480"/>
                    </a:cubicBezTo>
                    <a:cubicBezTo>
                      <a:pt x="221251" y="2480"/>
                      <a:pt x="221251" y="992"/>
                      <a:pt x="229188" y="992"/>
                    </a:cubicBezTo>
                    <a:cubicBezTo>
                      <a:pt x="237621" y="992"/>
                      <a:pt x="237621" y="1488"/>
                      <a:pt x="245559" y="1488"/>
                    </a:cubicBezTo>
                    <a:cubicBezTo>
                      <a:pt x="253992" y="1488"/>
                      <a:pt x="253992" y="496"/>
                      <a:pt x="261929" y="496"/>
                    </a:cubicBezTo>
                    <a:cubicBezTo>
                      <a:pt x="270362" y="496"/>
                      <a:pt x="270362" y="496"/>
                      <a:pt x="278300" y="496"/>
                    </a:cubicBezTo>
                    <a:cubicBezTo>
                      <a:pt x="286733" y="496"/>
                      <a:pt x="286733" y="1984"/>
                      <a:pt x="294670" y="1984"/>
                    </a:cubicBezTo>
                    <a:cubicBezTo>
                      <a:pt x="303104" y="1984"/>
                      <a:pt x="303104" y="0"/>
                      <a:pt x="311041" y="0"/>
                    </a:cubicBezTo>
                    <a:cubicBezTo>
                      <a:pt x="319474" y="0"/>
                      <a:pt x="319474" y="1488"/>
                      <a:pt x="327411" y="1488"/>
                    </a:cubicBezTo>
                    <a:cubicBezTo>
                      <a:pt x="335845" y="1488"/>
                      <a:pt x="335845" y="992"/>
                      <a:pt x="343782" y="992"/>
                    </a:cubicBezTo>
                    <a:cubicBezTo>
                      <a:pt x="352215" y="992"/>
                      <a:pt x="352215" y="1984"/>
                      <a:pt x="360152" y="1984"/>
                    </a:cubicBezTo>
                    <a:cubicBezTo>
                      <a:pt x="368586" y="1984"/>
                      <a:pt x="368586" y="496"/>
                      <a:pt x="376523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0" name="Freeform: Shape 1649">
                <a:extLst>
                  <a:ext uri="{FF2B5EF4-FFF2-40B4-BE49-F238E27FC236}">
                    <a16:creationId xmlns:a16="http://schemas.microsoft.com/office/drawing/2014/main" id="{D09DE758-9C0A-1FEE-FDFA-18BB6ACF259B}"/>
                  </a:ext>
                </a:extLst>
              </p:cNvPr>
              <p:cNvSpPr/>
              <p:nvPr/>
            </p:nvSpPr>
            <p:spPr>
              <a:xfrm>
                <a:off x="6231601" y="3285523"/>
                <a:ext cx="376523" cy="2976"/>
              </a:xfrm>
              <a:custGeom>
                <a:avLst/>
                <a:gdLst>
                  <a:gd name="connsiteX0" fmla="*/ 0 w 376523"/>
                  <a:gd name="connsiteY0" fmla="*/ 496 h 2976"/>
                  <a:gd name="connsiteX1" fmla="*/ 16371 w 376523"/>
                  <a:gd name="connsiteY1" fmla="*/ 1984 h 2976"/>
                  <a:gd name="connsiteX2" fmla="*/ 32741 w 376523"/>
                  <a:gd name="connsiteY2" fmla="*/ 496 h 2976"/>
                  <a:gd name="connsiteX3" fmla="*/ 49112 w 376523"/>
                  <a:gd name="connsiteY3" fmla="*/ 1984 h 2976"/>
                  <a:gd name="connsiteX4" fmla="*/ 65482 w 376523"/>
                  <a:gd name="connsiteY4" fmla="*/ 992 h 2976"/>
                  <a:gd name="connsiteX5" fmla="*/ 81853 w 376523"/>
                  <a:gd name="connsiteY5" fmla="*/ 1984 h 2976"/>
                  <a:gd name="connsiteX6" fmla="*/ 98224 w 376523"/>
                  <a:gd name="connsiteY6" fmla="*/ 1488 h 2976"/>
                  <a:gd name="connsiteX7" fmla="*/ 114594 w 376523"/>
                  <a:gd name="connsiteY7" fmla="*/ 496 h 2976"/>
                  <a:gd name="connsiteX8" fmla="*/ 130965 w 376523"/>
                  <a:gd name="connsiteY8" fmla="*/ 1984 h 2976"/>
                  <a:gd name="connsiteX9" fmla="*/ 147335 w 376523"/>
                  <a:gd name="connsiteY9" fmla="*/ 1488 h 2976"/>
                  <a:gd name="connsiteX10" fmla="*/ 163706 w 376523"/>
                  <a:gd name="connsiteY10" fmla="*/ 992 h 2976"/>
                  <a:gd name="connsiteX11" fmla="*/ 180077 w 376523"/>
                  <a:gd name="connsiteY11" fmla="*/ 0 h 2976"/>
                  <a:gd name="connsiteX12" fmla="*/ 196447 w 376523"/>
                  <a:gd name="connsiteY12" fmla="*/ 496 h 2976"/>
                  <a:gd name="connsiteX13" fmla="*/ 212818 w 376523"/>
                  <a:gd name="connsiteY13" fmla="*/ 1488 h 2976"/>
                  <a:gd name="connsiteX14" fmla="*/ 229188 w 376523"/>
                  <a:gd name="connsiteY14" fmla="*/ 1984 h 2976"/>
                  <a:gd name="connsiteX15" fmla="*/ 245559 w 376523"/>
                  <a:gd name="connsiteY15" fmla="*/ 496 h 2976"/>
                  <a:gd name="connsiteX16" fmla="*/ 261929 w 376523"/>
                  <a:gd name="connsiteY16" fmla="*/ 0 h 2976"/>
                  <a:gd name="connsiteX17" fmla="*/ 278300 w 376523"/>
                  <a:gd name="connsiteY17" fmla="*/ 1984 h 2976"/>
                  <a:gd name="connsiteX18" fmla="*/ 294670 w 376523"/>
                  <a:gd name="connsiteY18" fmla="*/ 2480 h 2976"/>
                  <a:gd name="connsiteX19" fmla="*/ 311041 w 376523"/>
                  <a:gd name="connsiteY19" fmla="*/ 496 h 2976"/>
                  <a:gd name="connsiteX20" fmla="*/ 327411 w 376523"/>
                  <a:gd name="connsiteY20" fmla="*/ 2977 h 2976"/>
                  <a:gd name="connsiteX21" fmla="*/ 343782 w 376523"/>
                  <a:gd name="connsiteY21" fmla="*/ 2480 h 2976"/>
                  <a:gd name="connsiteX22" fmla="*/ 360152 w 376523"/>
                  <a:gd name="connsiteY22" fmla="*/ 2977 h 2976"/>
                  <a:gd name="connsiteX23" fmla="*/ 376523 w 376523"/>
                  <a:gd name="connsiteY23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976">
                    <a:moveTo>
                      <a:pt x="0" y="496"/>
                    </a:moveTo>
                    <a:cubicBezTo>
                      <a:pt x="7937" y="496"/>
                      <a:pt x="7937" y="1984"/>
                      <a:pt x="16371" y="1984"/>
                    </a:cubicBezTo>
                    <a:cubicBezTo>
                      <a:pt x="24308" y="1984"/>
                      <a:pt x="24308" y="496"/>
                      <a:pt x="32741" y="496"/>
                    </a:cubicBezTo>
                    <a:cubicBezTo>
                      <a:pt x="40678" y="496"/>
                      <a:pt x="40678" y="1984"/>
                      <a:pt x="49112" y="1984"/>
                    </a:cubicBezTo>
                    <a:cubicBezTo>
                      <a:pt x="57049" y="1984"/>
                      <a:pt x="57049" y="992"/>
                      <a:pt x="65482" y="992"/>
                    </a:cubicBezTo>
                    <a:cubicBezTo>
                      <a:pt x="73420" y="992"/>
                      <a:pt x="73420" y="1984"/>
                      <a:pt x="81853" y="1984"/>
                    </a:cubicBezTo>
                    <a:cubicBezTo>
                      <a:pt x="89790" y="1984"/>
                      <a:pt x="89790" y="1488"/>
                      <a:pt x="98224" y="1488"/>
                    </a:cubicBezTo>
                    <a:cubicBezTo>
                      <a:pt x="106161" y="1488"/>
                      <a:pt x="106161" y="496"/>
                      <a:pt x="114594" y="496"/>
                    </a:cubicBezTo>
                    <a:cubicBezTo>
                      <a:pt x="122531" y="496"/>
                      <a:pt x="122531" y="1984"/>
                      <a:pt x="130965" y="1984"/>
                    </a:cubicBezTo>
                    <a:cubicBezTo>
                      <a:pt x="138902" y="1984"/>
                      <a:pt x="138902" y="1488"/>
                      <a:pt x="147335" y="1488"/>
                    </a:cubicBezTo>
                    <a:cubicBezTo>
                      <a:pt x="155273" y="1488"/>
                      <a:pt x="155273" y="992"/>
                      <a:pt x="163706" y="992"/>
                    </a:cubicBezTo>
                    <a:cubicBezTo>
                      <a:pt x="171643" y="992"/>
                      <a:pt x="171643" y="0"/>
                      <a:pt x="180077" y="0"/>
                    </a:cubicBezTo>
                    <a:cubicBezTo>
                      <a:pt x="188014" y="0"/>
                      <a:pt x="188014" y="496"/>
                      <a:pt x="196447" y="496"/>
                    </a:cubicBezTo>
                    <a:cubicBezTo>
                      <a:pt x="204384" y="496"/>
                      <a:pt x="204384" y="1488"/>
                      <a:pt x="212818" y="1488"/>
                    </a:cubicBezTo>
                    <a:cubicBezTo>
                      <a:pt x="220755" y="1488"/>
                      <a:pt x="220755" y="1984"/>
                      <a:pt x="229188" y="1984"/>
                    </a:cubicBezTo>
                    <a:cubicBezTo>
                      <a:pt x="237125" y="1984"/>
                      <a:pt x="237125" y="496"/>
                      <a:pt x="245559" y="496"/>
                    </a:cubicBezTo>
                    <a:cubicBezTo>
                      <a:pt x="253496" y="496"/>
                      <a:pt x="253496" y="0"/>
                      <a:pt x="261929" y="0"/>
                    </a:cubicBezTo>
                    <a:cubicBezTo>
                      <a:pt x="270362" y="0"/>
                      <a:pt x="269867" y="1984"/>
                      <a:pt x="278300" y="1984"/>
                    </a:cubicBezTo>
                    <a:cubicBezTo>
                      <a:pt x="286237" y="1984"/>
                      <a:pt x="286237" y="2480"/>
                      <a:pt x="294670" y="2480"/>
                    </a:cubicBezTo>
                    <a:cubicBezTo>
                      <a:pt x="302608" y="2480"/>
                      <a:pt x="302608" y="496"/>
                      <a:pt x="311041" y="496"/>
                    </a:cubicBezTo>
                    <a:cubicBezTo>
                      <a:pt x="318978" y="496"/>
                      <a:pt x="318978" y="2977"/>
                      <a:pt x="327411" y="2977"/>
                    </a:cubicBezTo>
                    <a:cubicBezTo>
                      <a:pt x="335349" y="2977"/>
                      <a:pt x="335349" y="2480"/>
                      <a:pt x="343782" y="2480"/>
                    </a:cubicBezTo>
                    <a:cubicBezTo>
                      <a:pt x="351719" y="2480"/>
                      <a:pt x="351719" y="2977"/>
                      <a:pt x="360152" y="2977"/>
                    </a:cubicBezTo>
                    <a:cubicBezTo>
                      <a:pt x="368586" y="2977"/>
                      <a:pt x="368090" y="1488"/>
                      <a:pt x="376523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1" name="Freeform: Shape 1650">
                <a:extLst>
                  <a:ext uri="{FF2B5EF4-FFF2-40B4-BE49-F238E27FC236}">
                    <a16:creationId xmlns:a16="http://schemas.microsoft.com/office/drawing/2014/main" id="{6110096C-C973-E291-EDE4-2E9B5B61F888}"/>
                  </a:ext>
                </a:extLst>
              </p:cNvPr>
              <p:cNvSpPr/>
              <p:nvPr/>
            </p:nvSpPr>
            <p:spPr>
              <a:xfrm>
                <a:off x="6198860" y="3196726"/>
                <a:ext cx="307568" cy="307568"/>
              </a:xfrm>
              <a:custGeom>
                <a:avLst/>
                <a:gdLst>
                  <a:gd name="connsiteX0" fmla="*/ 0 w 307568"/>
                  <a:gd name="connsiteY0" fmla="*/ 307568 h 307568"/>
                  <a:gd name="connsiteX1" fmla="*/ 11906 w 307568"/>
                  <a:gd name="connsiteY1" fmla="*/ 296655 h 307568"/>
                  <a:gd name="connsiteX2" fmla="*/ 23811 w 307568"/>
                  <a:gd name="connsiteY2" fmla="*/ 285741 h 307568"/>
                  <a:gd name="connsiteX3" fmla="*/ 34230 w 307568"/>
                  <a:gd name="connsiteY3" fmla="*/ 273339 h 307568"/>
                  <a:gd name="connsiteX4" fmla="*/ 46135 w 307568"/>
                  <a:gd name="connsiteY4" fmla="*/ 262425 h 307568"/>
                  <a:gd name="connsiteX5" fmla="*/ 58041 w 307568"/>
                  <a:gd name="connsiteY5" fmla="*/ 251511 h 307568"/>
                  <a:gd name="connsiteX6" fmla="*/ 68955 w 307568"/>
                  <a:gd name="connsiteY6" fmla="*/ 239606 h 307568"/>
                  <a:gd name="connsiteX7" fmla="*/ 80860 w 307568"/>
                  <a:gd name="connsiteY7" fmla="*/ 228692 h 307568"/>
                  <a:gd name="connsiteX8" fmla="*/ 92270 w 307568"/>
                  <a:gd name="connsiteY8" fmla="*/ 217282 h 307568"/>
                  <a:gd name="connsiteX9" fmla="*/ 103680 w 307568"/>
                  <a:gd name="connsiteY9" fmla="*/ 205872 h 307568"/>
                  <a:gd name="connsiteX10" fmla="*/ 114098 w 307568"/>
                  <a:gd name="connsiteY10" fmla="*/ 193470 h 307568"/>
                  <a:gd name="connsiteX11" fmla="*/ 126996 w 307568"/>
                  <a:gd name="connsiteY11" fmla="*/ 183549 h 307568"/>
                  <a:gd name="connsiteX12" fmla="*/ 137413 w 307568"/>
                  <a:gd name="connsiteY12" fmla="*/ 171643 h 307568"/>
                  <a:gd name="connsiteX13" fmla="*/ 148823 w 307568"/>
                  <a:gd name="connsiteY13" fmla="*/ 160233 h 307568"/>
                  <a:gd name="connsiteX14" fmla="*/ 160729 w 307568"/>
                  <a:gd name="connsiteY14" fmla="*/ 149815 h 307568"/>
                  <a:gd name="connsiteX15" fmla="*/ 172139 w 307568"/>
                  <a:gd name="connsiteY15" fmla="*/ 138406 h 307568"/>
                  <a:gd name="connsiteX16" fmla="*/ 183053 w 307568"/>
                  <a:gd name="connsiteY16" fmla="*/ 126500 h 307568"/>
                  <a:gd name="connsiteX17" fmla="*/ 194958 w 307568"/>
                  <a:gd name="connsiteY17" fmla="*/ 115586 h 307568"/>
                  <a:gd name="connsiteX18" fmla="*/ 205376 w 307568"/>
                  <a:gd name="connsiteY18" fmla="*/ 103184 h 307568"/>
                  <a:gd name="connsiteX19" fmla="*/ 216786 w 307568"/>
                  <a:gd name="connsiteY19" fmla="*/ 91774 h 307568"/>
                  <a:gd name="connsiteX20" fmla="*/ 228196 w 307568"/>
                  <a:gd name="connsiteY20" fmla="*/ 80364 h 307568"/>
                  <a:gd name="connsiteX21" fmla="*/ 239605 w 307568"/>
                  <a:gd name="connsiteY21" fmla="*/ 68955 h 307568"/>
                  <a:gd name="connsiteX22" fmla="*/ 252007 w 307568"/>
                  <a:gd name="connsiteY22" fmla="*/ 58537 h 307568"/>
                  <a:gd name="connsiteX23" fmla="*/ 262921 w 307568"/>
                  <a:gd name="connsiteY23" fmla="*/ 46631 h 307568"/>
                  <a:gd name="connsiteX24" fmla="*/ 274827 w 307568"/>
                  <a:gd name="connsiteY24" fmla="*/ 35717 h 307568"/>
                  <a:gd name="connsiteX25" fmla="*/ 284749 w 307568"/>
                  <a:gd name="connsiteY25" fmla="*/ 22819 h 307568"/>
                  <a:gd name="connsiteX26" fmla="*/ 296158 w 307568"/>
                  <a:gd name="connsiteY26" fmla="*/ 11410 h 307568"/>
                  <a:gd name="connsiteX27" fmla="*/ 307568 w 307568"/>
                  <a:gd name="connsiteY27" fmla="*/ 0 h 30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07568" h="307568">
                    <a:moveTo>
                      <a:pt x="0" y="307568"/>
                    </a:moveTo>
                    <a:cubicBezTo>
                      <a:pt x="5457" y="302111"/>
                      <a:pt x="5953" y="302111"/>
                      <a:pt x="11906" y="296655"/>
                    </a:cubicBezTo>
                    <a:cubicBezTo>
                      <a:pt x="17363" y="291198"/>
                      <a:pt x="18355" y="291694"/>
                      <a:pt x="23811" y="285741"/>
                    </a:cubicBezTo>
                    <a:cubicBezTo>
                      <a:pt x="29269" y="280284"/>
                      <a:pt x="28772" y="279292"/>
                      <a:pt x="34230" y="273339"/>
                    </a:cubicBezTo>
                    <a:cubicBezTo>
                      <a:pt x="39686" y="267882"/>
                      <a:pt x="40678" y="268378"/>
                      <a:pt x="46135" y="262425"/>
                    </a:cubicBezTo>
                    <a:cubicBezTo>
                      <a:pt x="51592" y="256968"/>
                      <a:pt x="52088" y="256968"/>
                      <a:pt x="58041" y="251511"/>
                    </a:cubicBezTo>
                    <a:cubicBezTo>
                      <a:pt x="63498" y="246055"/>
                      <a:pt x="63498" y="245559"/>
                      <a:pt x="68955" y="239606"/>
                    </a:cubicBezTo>
                    <a:cubicBezTo>
                      <a:pt x="74412" y="234149"/>
                      <a:pt x="74908" y="234645"/>
                      <a:pt x="80860" y="228692"/>
                    </a:cubicBezTo>
                    <a:cubicBezTo>
                      <a:pt x="86318" y="223235"/>
                      <a:pt x="86318" y="222739"/>
                      <a:pt x="92270" y="217282"/>
                    </a:cubicBezTo>
                    <a:cubicBezTo>
                      <a:pt x="97727" y="211825"/>
                      <a:pt x="98223" y="211825"/>
                      <a:pt x="103680" y="205872"/>
                    </a:cubicBezTo>
                    <a:cubicBezTo>
                      <a:pt x="109137" y="200415"/>
                      <a:pt x="108145" y="199423"/>
                      <a:pt x="114098" y="193470"/>
                    </a:cubicBezTo>
                    <a:cubicBezTo>
                      <a:pt x="119555" y="188013"/>
                      <a:pt x="121043" y="189006"/>
                      <a:pt x="126996" y="183549"/>
                    </a:cubicBezTo>
                    <a:cubicBezTo>
                      <a:pt x="132453" y="178092"/>
                      <a:pt x="131957" y="177100"/>
                      <a:pt x="137413" y="171643"/>
                    </a:cubicBezTo>
                    <a:cubicBezTo>
                      <a:pt x="142870" y="166186"/>
                      <a:pt x="142870" y="165690"/>
                      <a:pt x="148823" y="160233"/>
                    </a:cubicBezTo>
                    <a:cubicBezTo>
                      <a:pt x="154280" y="154776"/>
                      <a:pt x="155272" y="155272"/>
                      <a:pt x="160729" y="149815"/>
                    </a:cubicBezTo>
                    <a:cubicBezTo>
                      <a:pt x="166186" y="144359"/>
                      <a:pt x="166186" y="143863"/>
                      <a:pt x="172139" y="138406"/>
                    </a:cubicBezTo>
                    <a:cubicBezTo>
                      <a:pt x="177596" y="132949"/>
                      <a:pt x="177596" y="132453"/>
                      <a:pt x="183053" y="126500"/>
                    </a:cubicBezTo>
                    <a:cubicBezTo>
                      <a:pt x="188510" y="121043"/>
                      <a:pt x="189006" y="121043"/>
                      <a:pt x="194958" y="115586"/>
                    </a:cubicBezTo>
                    <a:cubicBezTo>
                      <a:pt x="200416" y="110129"/>
                      <a:pt x="199423" y="109137"/>
                      <a:pt x="205376" y="103184"/>
                    </a:cubicBezTo>
                    <a:cubicBezTo>
                      <a:pt x="210833" y="97727"/>
                      <a:pt x="210833" y="97231"/>
                      <a:pt x="216786" y="91774"/>
                    </a:cubicBezTo>
                    <a:cubicBezTo>
                      <a:pt x="222243" y="86317"/>
                      <a:pt x="222739" y="86317"/>
                      <a:pt x="228196" y="80364"/>
                    </a:cubicBezTo>
                    <a:cubicBezTo>
                      <a:pt x="233653" y="74908"/>
                      <a:pt x="234149" y="74908"/>
                      <a:pt x="239605" y="68955"/>
                    </a:cubicBezTo>
                    <a:cubicBezTo>
                      <a:pt x="245063" y="63498"/>
                      <a:pt x="246550" y="64490"/>
                      <a:pt x="252007" y="58537"/>
                    </a:cubicBezTo>
                    <a:cubicBezTo>
                      <a:pt x="257465" y="53080"/>
                      <a:pt x="257465" y="52584"/>
                      <a:pt x="262921" y="46631"/>
                    </a:cubicBezTo>
                    <a:cubicBezTo>
                      <a:pt x="268378" y="41174"/>
                      <a:pt x="268874" y="41174"/>
                      <a:pt x="274827" y="35717"/>
                    </a:cubicBezTo>
                    <a:cubicBezTo>
                      <a:pt x="280284" y="30261"/>
                      <a:pt x="279292" y="28772"/>
                      <a:pt x="284749" y="22819"/>
                    </a:cubicBezTo>
                    <a:cubicBezTo>
                      <a:pt x="290702" y="16866"/>
                      <a:pt x="290702" y="17363"/>
                      <a:pt x="296158" y="11410"/>
                    </a:cubicBezTo>
                    <a:cubicBezTo>
                      <a:pt x="302112" y="5457"/>
                      <a:pt x="301615" y="5457"/>
                      <a:pt x="30756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525D7AB0-8E10-5823-9704-431E244046AC}"/>
                </a:ext>
              </a:extLst>
            </p:cNvPr>
            <p:cNvSpPr/>
            <p:nvPr/>
          </p:nvSpPr>
          <p:spPr>
            <a:xfrm>
              <a:off x="5792422" y="3094699"/>
              <a:ext cx="930296" cy="494694"/>
            </a:xfrm>
            <a:custGeom>
              <a:avLst/>
              <a:gdLst>
                <a:gd name="connsiteX0" fmla="*/ 496290 w 951279"/>
                <a:gd name="connsiteY0" fmla="*/ 207 h 494694"/>
                <a:gd name="connsiteX1" fmla="*/ 504661 w 951279"/>
                <a:gd name="connsiteY1" fmla="*/ 1323 h 494694"/>
                <a:gd name="connsiteX2" fmla="*/ 521032 w 951279"/>
                <a:gd name="connsiteY2" fmla="*/ 1323 h 494694"/>
                <a:gd name="connsiteX3" fmla="*/ 537403 w 951279"/>
                <a:gd name="connsiteY3" fmla="*/ 1819 h 494694"/>
                <a:gd name="connsiteX4" fmla="*/ 553773 w 951279"/>
                <a:gd name="connsiteY4" fmla="*/ 1819 h 494694"/>
                <a:gd name="connsiteX5" fmla="*/ 570144 w 951279"/>
                <a:gd name="connsiteY5" fmla="*/ 2812 h 494694"/>
                <a:gd name="connsiteX6" fmla="*/ 586514 w 951279"/>
                <a:gd name="connsiteY6" fmla="*/ 1819 h 494694"/>
                <a:gd name="connsiteX7" fmla="*/ 602885 w 951279"/>
                <a:gd name="connsiteY7" fmla="*/ 2812 h 494694"/>
                <a:gd name="connsiteX8" fmla="*/ 619256 w 951279"/>
                <a:gd name="connsiteY8" fmla="*/ 1819 h 494694"/>
                <a:gd name="connsiteX9" fmla="*/ 635626 w 951279"/>
                <a:gd name="connsiteY9" fmla="*/ 1323 h 494694"/>
                <a:gd name="connsiteX10" fmla="*/ 651997 w 951279"/>
                <a:gd name="connsiteY10" fmla="*/ 1819 h 494694"/>
                <a:gd name="connsiteX11" fmla="*/ 668367 w 951279"/>
                <a:gd name="connsiteY11" fmla="*/ 2315 h 494694"/>
                <a:gd name="connsiteX12" fmla="*/ 684738 w 951279"/>
                <a:gd name="connsiteY12" fmla="*/ 2812 h 494694"/>
                <a:gd name="connsiteX13" fmla="*/ 701109 w 951279"/>
                <a:gd name="connsiteY13" fmla="*/ 1323 h 494694"/>
                <a:gd name="connsiteX14" fmla="*/ 717479 w 951279"/>
                <a:gd name="connsiteY14" fmla="*/ 2315 h 494694"/>
                <a:gd name="connsiteX15" fmla="*/ 733850 w 951279"/>
                <a:gd name="connsiteY15" fmla="*/ 3308 h 494694"/>
                <a:gd name="connsiteX16" fmla="*/ 750220 w 951279"/>
                <a:gd name="connsiteY16" fmla="*/ 3308 h 494694"/>
                <a:gd name="connsiteX17" fmla="*/ 766591 w 951279"/>
                <a:gd name="connsiteY17" fmla="*/ 2315 h 494694"/>
                <a:gd name="connsiteX18" fmla="*/ 782962 w 951279"/>
                <a:gd name="connsiteY18" fmla="*/ 2315 h 494694"/>
                <a:gd name="connsiteX19" fmla="*/ 799332 w 951279"/>
                <a:gd name="connsiteY19" fmla="*/ 2812 h 494694"/>
                <a:gd name="connsiteX20" fmla="*/ 815703 w 951279"/>
                <a:gd name="connsiteY20" fmla="*/ 2812 h 494694"/>
                <a:gd name="connsiteX21" fmla="*/ 832073 w 951279"/>
                <a:gd name="connsiteY21" fmla="*/ 2315 h 494694"/>
                <a:gd name="connsiteX22" fmla="*/ 848444 w 951279"/>
                <a:gd name="connsiteY22" fmla="*/ 2812 h 494694"/>
                <a:gd name="connsiteX23" fmla="*/ 864814 w 951279"/>
                <a:gd name="connsiteY23" fmla="*/ 1323 h 494694"/>
                <a:gd name="connsiteX24" fmla="*/ 881185 w 951279"/>
                <a:gd name="connsiteY24" fmla="*/ 2315 h 494694"/>
                <a:gd name="connsiteX25" fmla="*/ 897555 w 951279"/>
                <a:gd name="connsiteY25" fmla="*/ 1323 h 494694"/>
                <a:gd name="connsiteX26" fmla="*/ 913926 w 951279"/>
                <a:gd name="connsiteY26" fmla="*/ 827 h 494694"/>
                <a:gd name="connsiteX27" fmla="*/ 930296 w 951279"/>
                <a:gd name="connsiteY27" fmla="*/ 2315 h 494694"/>
                <a:gd name="connsiteX28" fmla="*/ 946667 w 951279"/>
                <a:gd name="connsiteY28" fmla="*/ 827 h 494694"/>
                <a:gd name="connsiteX29" fmla="*/ 951279 w 951279"/>
                <a:gd name="connsiteY29" fmla="*/ 827 h 494694"/>
                <a:gd name="connsiteX30" fmla="*/ 951279 w 951279"/>
                <a:gd name="connsiteY30" fmla="*/ 491448 h 494694"/>
                <a:gd name="connsiteX31" fmla="*/ 949148 w 951279"/>
                <a:gd name="connsiteY31" fmla="*/ 491448 h 494694"/>
                <a:gd name="connsiteX32" fmla="*/ 932777 w 951279"/>
                <a:gd name="connsiteY32" fmla="*/ 491448 h 494694"/>
                <a:gd name="connsiteX33" fmla="*/ 916406 w 951279"/>
                <a:gd name="connsiteY33" fmla="*/ 490456 h 494694"/>
                <a:gd name="connsiteX34" fmla="*/ 900036 w 951279"/>
                <a:gd name="connsiteY34" fmla="*/ 490456 h 494694"/>
                <a:gd name="connsiteX35" fmla="*/ 883665 w 951279"/>
                <a:gd name="connsiteY35" fmla="*/ 491944 h 494694"/>
                <a:gd name="connsiteX36" fmla="*/ 867295 w 951279"/>
                <a:gd name="connsiteY36" fmla="*/ 490456 h 494694"/>
                <a:gd name="connsiteX37" fmla="*/ 850924 w 951279"/>
                <a:gd name="connsiteY37" fmla="*/ 490952 h 494694"/>
                <a:gd name="connsiteX38" fmla="*/ 834553 w 951279"/>
                <a:gd name="connsiteY38" fmla="*/ 491448 h 494694"/>
                <a:gd name="connsiteX39" fmla="*/ 818183 w 951279"/>
                <a:gd name="connsiteY39" fmla="*/ 491944 h 494694"/>
                <a:gd name="connsiteX40" fmla="*/ 801812 w 951279"/>
                <a:gd name="connsiteY40" fmla="*/ 491944 h 494694"/>
                <a:gd name="connsiteX41" fmla="*/ 785442 w 951279"/>
                <a:gd name="connsiteY41" fmla="*/ 491944 h 494694"/>
                <a:gd name="connsiteX42" fmla="*/ 769071 w 951279"/>
                <a:gd name="connsiteY42" fmla="*/ 489960 h 494694"/>
                <a:gd name="connsiteX43" fmla="*/ 752700 w 951279"/>
                <a:gd name="connsiteY43" fmla="*/ 490952 h 494694"/>
                <a:gd name="connsiteX44" fmla="*/ 736330 w 951279"/>
                <a:gd name="connsiteY44" fmla="*/ 491944 h 494694"/>
                <a:gd name="connsiteX45" fmla="*/ 719959 w 951279"/>
                <a:gd name="connsiteY45" fmla="*/ 490456 h 494694"/>
                <a:gd name="connsiteX46" fmla="*/ 703589 w 951279"/>
                <a:gd name="connsiteY46" fmla="*/ 491944 h 494694"/>
                <a:gd name="connsiteX47" fmla="*/ 687218 w 951279"/>
                <a:gd name="connsiteY47" fmla="*/ 491944 h 494694"/>
                <a:gd name="connsiteX48" fmla="*/ 670847 w 951279"/>
                <a:gd name="connsiteY48" fmla="*/ 491944 h 494694"/>
                <a:gd name="connsiteX49" fmla="*/ 654477 w 951279"/>
                <a:gd name="connsiteY49" fmla="*/ 492440 h 494694"/>
                <a:gd name="connsiteX50" fmla="*/ 638106 w 951279"/>
                <a:gd name="connsiteY50" fmla="*/ 490952 h 494694"/>
                <a:gd name="connsiteX51" fmla="*/ 621736 w 951279"/>
                <a:gd name="connsiteY51" fmla="*/ 490952 h 494694"/>
                <a:gd name="connsiteX52" fmla="*/ 605365 w 951279"/>
                <a:gd name="connsiteY52" fmla="*/ 492936 h 494694"/>
                <a:gd name="connsiteX53" fmla="*/ 588995 w 951279"/>
                <a:gd name="connsiteY53" fmla="*/ 491944 h 494694"/>
                <a:gd name="connsiteX54" fmla="*/ 572624 w 951279"/>
                <a:gd name="connsiteY54" fmla="*/ 492936 h 494694"/>
                <a:gd name="connsiteX55" fmla="*/ 556254 w 951279"/>
                <a:gd name="connsiteY55" fmla="*/ 491944 h 494694"/>
                <a:gd name="connsiteX56" fmla="*/ 539883 w 951279"/>
                <a:gd name="connsiteY56" fmla="*/ 490952 h 494694"/>
                <a:gd name="connsiteX57" fmla="*/ 523513 w 951279"/>
                <a:gd name="connsiteY57" fmla="*/ 491944 h 494694"/>
                <a:gd name="connsiteX58" fmla="*/ 507142 w 951279"/>
                <a:gd name="connsiteY58" fmla="*/ 492936 h 494694"/>
                <a:gd name="connsiteX59" fmla="*/ 490771 w 951279"/>
                <a:gd name="connsiteY59" fmla="*/ 492440 h 494694"/>
                <a:gd name="connsiteX60" fmla="*/ 474401 w 951279"/>
                <a:gd name="connsiteY60" fmla="*/ 491448 h 494694"/>
                <a:gd name="connsiteX61" fmla="*/ 458030 w 951279"/>
                <a:gd name="connsiteY61" fmla="*/ 492440 h 494694"/>
                <a:gd name="connsiteX62" fmla="*/ 441660 w 951279"/>
                <a:gd name="connsiteY62" fmla="*/ 491944 h 494694"/>
                <a:gd name="connsiteX63" fmla="*/ 425289 w 951279"/>
                <a:gd name="connsiteY63" fmla="*/ 492936 h 494694"/>
                <a:gd name="connsiteX64" fmla="*/ 408919 w 951279"/>
                <a:gd name="connsiteY64" fmla="*/ 493432 h 494694"/>
                <a:gd name="connsiteX65" fmla="*/ 392548 w 951279"/>
                <a:gd name="connsiteY65" fmla="*/ 492440 h 494694"/>
                <a:gd name="connsiteX66" fmla="*/ 376178 w 951279"/>
                <a:gd name="connsiteY66" fmla="*/ 491448 h 494694"/>
                <a:gd name="connsiteX67" fmla="*/ 359807 w 951279"/>
                <a:gd name="connsiteY67" fmla="*/ 492440 h 494694"/>
                <a:gd name="connsiteX68" fmla="*/ 343436 w 951279"/>
                <a:gd name="connsiteY68" fmla="*/ 492936 h 494694"/>
                <a:gd name="connsiteX69" fmla="*/ 327066 w 951279"/>
                <a:gd name="connsiteY69" fmla="*/ 492936 h 494694"/>
                <a:gd name="connsiteX70" fmla="*/ 310695 w 951279"/>
                <a:gd name="connsiteY70" fmla="*/ 492440 h 494694"/>
                <a:gd name="connsiteX71" fmla="*/ 294325 w 951279"/>
                <a:gd name="connsiteY71" fmla="*/ 491944 h 494694"/>
                <a:gd name="connsiteX72" fmla="*/ 277954 w 951279"/>
                <a:gd name="connsiteY72" fmla="*/ 492440 h 494694"/>
                <a:gd name="connsiteX73" fmla="*/ 261583 w 951279"/>
                <a:gd name="connsiteY73" fmla="*/ 490952 h 494694"/>
                <a:gd name="connsiteX74" fmla="*/ 245213 w 951279"/>
                <a:gd name="connsiteY74" fmla="*/ 493432 h 494694"/>
                <a:gd name="connsiteX75" fmla="*/ 228842 w 951279"/>
                <a:gd name="connsiteY75" fmla="*/ 493432 h 494694"/>
                <a:gd name="connsiteX76" fmla="*/ 212472 w 951279"/>
                <a:gd name="connsiteY76" fmla="*/ 492936 h 494694"/>
                <a:gd name="connsiteX77" fmla="*/ 196101 w 951279"/>
                <a:gd name="connsiteY77" fmla="*/ 491944 h 494694"/>
                <a:gd name="connsiteX78" fmla="*/ 179730 w 951279"/>
                <a:gd name="connsiteY78" fmla="*/ 493432 h 494694"/>
                <a:gd name="connsiteX79" fmla="*/ 163360 w 951279"/>
                <a:gd name="connsiteY79" fmla="*/ 492936 h 494694"/>
                <a:gd name="connsiteX80" fmla="*/ 146989 w 951279"/>
                <a:gd name="connsiteY80" fmla="*/ 492440 h 494694"/>
                <a:gd name="connsiteX81" fmla="*/ 130619 w 951279"/>
                <a:gd name="connsiteY81" fmla="*/ 493432 h 494694"/>
                <a:gd name="connsiteX82" fmla="*/ 114248 w 951279"/>
                <a:gd name="connsiteY82" fmla="*/ 491448 h 494694"/>
                <a:gd name="connsiteX83" fmla="*/ 97877 w 951279"/>
                <a:gd name="connsiteY83" fmla="*/ 491448 h 494694"/>
                <a:gd name="connsiteX84" fmla="*/ 81507 w 951279"/>
                <a:gd name="connsiteY84" fmla="*/ 492936 h 494694"/>
                <a:gd name="connsiteX85" fmla="*/ 65136 w 951279"/>
                <a:gd name="connsiteY85" fmla="*/ 492440 h 494694"/>
                <a:gd name="connsiteX86" fmla="*/ 48766 w 951279"/>
                <a:gd name="connsiteY86" fmla="*/ 492440 h 494694"/>
                <a:gd name="connsiteX87" fmla="*/ 32395 w 951279"/>
                <a:gd name="connsiteY87" fmla="*/ 492936 h 494694"/>
                <a:gd name="connsiteX88" fmla="*/ 16025 w 951279"/>
                <a:gd name="connsiteY88" fmla="*/ 492440 h 494694"/>
                <a:gd name="connsiteX89" fmla="*/ 646 w 951279"/>
                <a:gd name="connsiteY89" fmla="*/ 490952 h 494694"/>
                <a:gd name="connsiteX90" fmla="*/ 11560 w 951279"/>
                <a:gd name="connsiteY90" fmla="*/ 480038 h 494694"/>
                <a:gd name="connsiteX91" fmla="*/ 22474 w 951279"/>
                <a:gd name="connsiteY91" fmla="*/ 468133 h 494694"/>
                <a:gd name="connsiteX92" fmla="*/ 33884 w 951279"/>
                <a:gd name="connsiteY92" fmla="*/ 456723 h 494694"/>
                <a:gd name="connsiteX93" fmla="*/ 46286 w 951279"/>
                <a:gd name="connsiteY93" fmla="*/ 446305 h 494694"/>
                <a:gd name="connsiteX94" fmla="*/ 57695 w 951279"/>
                <a:gd name="connsiteY94" fmla="*/ 434895 h 494694"/>
                <a:gd name="connsiteX95" fmla="*/ 68113 w 951279"/>
                <a:gd name="connsiteY95" fmla="*/ 422493 h 494694"/>
                <a:gd name="connsiteX96" fmla="*/ 80019 w 951279"/>
                <a:gd name="connsiteY96" fmla="*/ 411580 h 494694"/>
                <a:gd name="connsiteX97" fmla="*/ 90436 w 951279"/>
                <a:gd name="connsiteY97" fmla="*/ 399178 h 494694"/>
                <a:gd name="connsiteX98" fmla="*/ 101846 w 951279"/>
                <a:gd name="connsiteY98" fmla="*/ 387768 h 494694"/>
                <a:gd name="connsiteX99" fmla="*/ 113256 w 951279"/>
                <a:gd name="connsiteY99" fmla="*/ 376358 h 494694"/>
                <a:gd name="connsiteX100" fmla="*/ 125658 w 951279"/>
                <a:gd name="connsiteY100" fmla="*/ 365940 h 494694"/>
                <a:gd name="connsiteX101" fmla="*/ 136572 w 951279"/>
                <a:gd name="connsiteY101" fmla="*/ 354035 h 494694"/>
                <a:gd name="connsiteX102" fmla="*/ 147485 w 951279"/>
                <a:gd name="connsiteY102" fmla="*/ 342129 h 494694"/>
                <a:gd name="connsiteX103" fmla="*/ 158399 w 951279"/>
                <a:gd name="connsiteY103" fmla="*/ 330223 h 494694"/>
                <a:gd name="connsiteX104" fmla="*/ 170801 w 951279"/>
                <a:gd name="connsiteY104" fmla="*/ 320301 h 494694"/>
                <a:gd name="connsiteX105" fmla="*/ 181715 w 951279"/>
                <a:gd name="connsiteY105" fmla="*/ 308395 h 494694"/>
                <a:gd name="connsiteX106" fmla="*/ 193621 w 951279"/>
                <a:gd name="connsiteY106" fmla="*/ 297482 h 494694"/>
                <a:gd name="connsiteX107" fmla="*/ 204534 w 951279"/>
                <a:gd name="connsiteY107" fmla="*/ 285576 h 494694"/>
                <a:gd name="connsiteX108" fmla="*/ 215944 w 951279"/>
                <a:gd name="connsiteY108" fmla="*/ 274166 h 494694"/>
                <a:gd name="connsiteX109" fmla="*/ 226858 w 951279"/>
                <a:gd name="connsiteY109" fmla="*/ 262260 h 494694"/>
                <a:gd name="connsiteX110" fmla="*/ 239260 w 951279"/>
                <a:gd name="connsiteY110" fmla="*/ 251842 h 494694"/>
                <a:gd name="connsiteX111" fmla="*/ 249181 w 951279"/>
                <a:gd name="connsiteY111" fmla="*/ 239440 h 494694"/>
                <a:gd name="connsiteX112" fmla="*/ 261087 w 951279"/>
                <a:gd name="connsiteY112" fmla="*/ 229023 h 494694"/>
                <a:gd name="connsiteX113" fmla="*/ 272993 w 951279"/>
                <a:gd name="connsiteY113" fmla="*/ 218109 h 494694"/>
                <a:gd name="connsiteX114" fmla="*/ 283411 w 951279"/>
                <a:gd name="connsiteY114" fmla="*/ 205707 h 494694"/>
                <a:gd name="connsiteX115" fmla="*/ 295317 w 951279"/>
                <a:gd name="connsiteY115" fmla="*/ 194793 h 494694"/>
                <a:gd name="connsiteX116" fmla="*/ 307223 w 951279"/>
                <a:gd name="connsiteY116" fmla="*/ 183880 h 494694"/>
                <a:gd name="connsiteX117" fmla="*/ 318632 w 951279"/>
                <a:gd name="connsiteY117" fmla="*/ 172470 h 494694"/>
                <a:gd name="connsiteX118" fmla="*/ 329546 w 951279"/>
                <a:gd name="connsiteY118" fmla="*/ 161060 h 494694"/>
                <a:gd name="connsiteX119" fmla="*/ 340460 w 951279"/>
                <a:gd name="connsiteY119" fmla="*/ 149155 h 494694"/>
                <a:gd name="connsiteX120" fmla="*/ 352366 w 951279"/>
                <a:gd name="connsiteY120" fmla="*/ 138241 h 494694"/>
                <a:gd name="connsiteX121" fmla="*/ 363279 w 951279"/>
                <a:gd name="connsiteY121" fmla="*/ 126335 h 494694"/>
                <a:gd name="connsiteX122" fmla="*/ 375185 w 951279"/>
                <a:gd name="connsiteY122" fmla="*/ 115421 h 494694"/>
                <a:gd name="connsiteX123" fmla="*/ 385603 w 951279"/>
                <a:gd name="connsiteY123" fmla="*/ 103019 h 494694"/>
                <a:gd name="connsiteX124" fmla="*/ 398005 w 951279"/>
                <a:gd name="connsiteY124" fmla="*/ 92602 h 494694"/>
                <a:gd name="connsiteX125" fmla="*/ 408423 w 951279"/>
                <a:gd name="connsiteY125" fmla="*/ 80200 h 494694"/>
                <a:gd name="connsiteX126" fmla="*/ 420328 w 951279"/>
                <a:gd name="connsiteY126" fmla="*/ 69782 h 494694"/>
                <a:gd name="connsiteX127" fmla="*/ 430746 w 951279"/>
                <a:gd name="connsiteY127" fmla="*/ 57876 h 494694"/>
                <a:gd name="connsiteX128" fmla="*/ 443148 w 951279"/>
                <a:gd name="connsiteY128" fmla="*/ 47459 h 494694"/>
                <a:gd name="connsiteX129" fmla="*/ 454062 w 951279"/>
                <a:gd name="connsiteY129" fmla="*/ 35553 h 494694"/>
                <a:gd name="connsiteX130" fmla="*/ 466464 w 951279"/>
                <a:gd name="connsiteY130" fmla="*/ 25135 h 494694"/>
                <a:gd name="connsiteX131" fmla="*/ 477377 w 951279"/>
                <a:gd name="connsiteY131" fmla="*/ 13229 h 494694"/>
                <a:gd name="connsiteX132" fmla="*/ 488291 w 951279"/>
                <a:gd name="connsiteY132" fmla="*/ 1323 h 494694"/>
                <a:gd name="connsiteX133" fmla="*/ 496290 w 951279"/>
                <a:gd name="connsiteY133" fmla="*/ 207 h 494694"/>
                <a:gd name="connsiteX0" fmla="*/ 951279 w 1042719"/>
                <a:gd name="connsiteY0" fmla="*/ 827 h 494694"/>
                <a:gd name="connsiteX1" fmla="*/ 951279 w 1042719"/>
                <a:gd name="connsiteY1" fmla="*/ 491448 h 494694"/>
                <a:gd name="connsiteX2" fmla="*/ 949148 w 1042719"/>
                <a:gd name="connsiteY2" fmla="*/ 491448 h 494694"/>
                <a:gd name="connsiteX3" fmla="*/ 932777 w 1042719"/>
                <a:gd name="connsiteY3" fmla="*/ 491448 h 494694"/>
                <a:gd name="connsiteX4" fmla="*/ 916406 w 1042719"/>
                <a:gd name="connsiteY4" fmla="*/ 490456 h 494694"/>
                <a:gd name="connsiteX5" fmla="*/ 900036 w 1042719"/>
                <a:gd name="connsiteY5" fmla="*/ 490456 h 494694"/>
                <a:gd name="connsiteX6" fmla="*/ 883665 w 1042719"/>
                <a:gd name="connsiteY6" fmla="*/ 491944 h 494694"/>
                <a:gd name="connsiteX7" fmla="*/ 867295 w 1042719"/>
                <a:gd name="connsiteY7" fmla="*/ 490456 h 494694"/>
                <a:gd name="connsiteX8" fmla="*/ 850924 w 1042719"/>
                <a:gd name="connsiteY8" fmla="*/ 490952 h 494694"/>
                <a:gd name="connsiteX9" fmla="*/ 834553 w 1042719"/>
                <a:gd name="connsiteY9" fmla="*/ 491448 h 494694"/>
                <a:gd name="connsiteX10" fmla="*/ 818183 w 1042719"/>
                <a:gd name="connsiteY10" fmla="*/ 491944 h 494694"/>
                <a:gd name="connsiteX11" fmla="*/ 801812 w 1042719"/>
                <a:gd name="connsiteY11" fmla="*/ 491944 h 494694"/>
                <a:gd name="connsiteX12" fmla="*/ 785442 w 1042719"/>
                <a:gd name="connsiteY12" fmla="*/ 491944 h 494694"/>
                <a:gd name="connsiteX13" fmla="*/ 769071 w 1042719"/>
                <a:gd name="connsiteY13" fmla="*/ 489960 h 494694"/>
                <a:gd name="connsiteX14" fmla="*/ 752700 w 1042719"/>
                <a:gd name="connsiteY14" fmla="*/ 490952 h 494694"/>
                <a:gd name="connsiteX15" fmla="*/ 736330 w 1042719"/>
                <a:gd name="connsiteY15" fmla="*/ 491944 h 494694"/>
                <a:gd name="connsiteX16" fmla="*/ 719959 w 1042719"/>
                <a:gd name="connsiteY16" fmla="*/ 490456 h 494694"/>
                <a:gd name="connsiteX17" fmla="*/ 703589 w 1042719"/>
                <a:gd name="connsiteY17" fmla="*/ 491944 h 494694"/>
                <a:gd name="connsiteX18" fmla="*/ 687218 w 1042719"/>
                <a:gd name="connsiteY18" fmla="*/ 491944 h 494694"/>
                <a:gd name="connsiteX19" fmla="*/ 670847 w 1042719"/>
                <a:gd name="connsiteY19" fmla="*/ 491944 h 494694"/>
                <a:gd name="connsiteX20" fmla="*/ 654477 w 1042719"/>
                <a:gd name="connsiteY20" fmla="*/ 492440 h 494694"/>
                <a:gd name="connsiteX21" fmla="*/ 638106 w 1042719"/>
                <a:gd name="connsiteY21" fmla="*/ 490952 h 494694"/>
                <a:gd name="connsiteX22" fmla="*/ 621736 w 1042719"/>
                <a:gd name="connsiteY22" fmla="*/ 490952 h 494694"/>
                <a:gd name="connsiteX23" fmla="*/ 605365 w 1042719"/>
                <a:gd name="connsiteY23" fmla="*/ 492936 h 494694"/>
                <a:gd name="connsiteX24" fmla="*/ 588995 w 1042719"/>
                <a:gd name="connsiteY24" fmla="*/ 491944 h 494694"/>
                <a:gd name="connsiteX25" fmla="*/ 572624 w 1042719"/>
                <a:gd name="connsiteY25" fmla="*/ 492936 h 494694"/>
                <a:gd name="connsiteX26" fmla="*/ 556254 w 1042719"/>
                <a:gd name="connsiteY26" fmla="*/ 491944 h 494694"/>
                <a:gd name="connsiteX27" fmla="*/ 539883 w 1042719"/>
                <a:gd name="connsiteY27" fmla="*/ 490952 h 494694"/>
                <a:gd name="connsiteX28" fmla="*/ 523513 w 1042719"/>
                <a:gd name="connsiteY28" fmla="*/ 491944 h 494694"/>
                <a:gd name="connsiteX29" fmla="*/ 507142 w 1042719"/>
                <a:gd name="connsiteY29" fmla="*/ 492936 h 494694"/>
                <a:gd name="connsiteX30" fmla="*/ 490771 w 1042719"/>
                <a:gd name="connsiteY30" fmla="*/ 492440 h 494694"/>
                <a:gd name="connsiteX31" fmla="*/ 474401 w 1042719"/>
                <a:gd name="connsiteY31" fmla="*/ 491448 h 494694"/>
                <a:gd name="connsiteX32" fmla="*/ 458030 w 1042719"/>
                <a:gd name="connsiteY32" fmla="*/ 492440 h 494694"/>
                <a:gd name="connsiteX33" fmla="*/ 441660 w 1042719"/>
                <a:gd name="connsiteY33" fmla="*/ 491944 h 494694"/>
                <a:gd name="connsiteX34" fmla="*/ 425289 w 1042719"/>
                <a:gd name="connsiteY34" fmla="*/ 492936 h 494694"/>
                <a:gd name="connsiteX35" fmla="*/ 408919 w 1042719"/>
                <a:gd name="connsiteY35" fmla="*/ 493432 h 494694"/>
                <a:gd name="connsiteX36" fmla="*/ 392548 w 1042719"/>
                <a:gd name="connsiteY36" fmla="*/ 492440 h 494694"/>
                <a:gd name="connsiteX37" fmla="*/ 376178 w 1042719"/>
                <a:gd name="connsiteY37" fmla="*/ 491448 h 494694"/>
                <a:gd name="connsiteX38" fmla="*/ 359807 w 1042719"/>
                <a:gd name="connsiteY38" fmla="*/ 492440 h 494694"/>
                <a:gd name="connsiteX39" fmla="*/ 343436 w 1042719"/>
                <a:gd name="connsiteY39" fmla="*/ 492936 h 494694"/>
                <a:gd name="connsiteX40" fmla="*/ 327066 w 1042719"/>
                <a:gd name="connsiteY40" fmla="*/ 492936 h 494694"/>
                <a:gd name="connsiteX41" fmla="*/ 310695 w 1042719"/>
                <a:gd name="connsiteY41" fmla="*/ 492440 h 494694"/>
                <a:gd name="connsiteX42" fmla="*/ 294325 w 1042719"/>
                <a:gd name="connsiteY42" fmla="*/ 491944 h 494694"/>
                <a:gd name="connsiteX43" fmla="*/ 277954 w 1042719"/>
                <a:gd name="connsiteY43" fmla="*/ 492440 h 494694"/>
                <a:gd name="connsiteX44" fmla="*/ 261583 w 1042719"/>
                <a:gd name="connsiteY44" fmla="*/ 490952 h 494694"/>
                <a:gd name="connsiteX45" fmla="*/ 245213 w 1042719"/>
                <a:gd name="connsiteY45" fmla="*/ 493432 h 494694"/>
                <a:gd name="connsiteX46" fmla="*/ 228842 w 1042719"/>
                <a:gd name="connsiteY46" fmla="*/ 493432 h 494694"/>
                <a:gd name="connsiteX47" fmla="*/ 212472 w 1042719"/>
                <a:gd name="connsiteY47" fmla="*/ 492936 h 494694"/>
                <a:gd name="connsiteX48" fmla="*/ 196101 w 1042719"/>
                <a:gd name="connsiteY48" fmla="*/ 491944 h 494694"/>
                <a:gd name="connsiteX49" fmla="*/ 179730 w 1042719"/>
                <a:gd name="connsiteY49" fmla="*/ 493432 h 494694"/>
                <a:gd name="connsiteX50" fmla="*/ 163360 w 1042719"/>
                <a:gd name="connsiteY50" fmla="*/ 492936 h 494694"/>
                <a:gd name="connsiteX51" fmla="*/ 146989 w 1042719"/>
                <a:gd name="connsiteY51" fmla="*/ 492440 h 494694"/>
                <a:gd name="connsiteX52" fmla="*/ 130619 w 1042719"/>
                <a:gd name="connsiteY52" fmla="*/ 493432 h 494694"/>
                <a:gd name="connsiteX53" fmla="*/ 114248 w 1042719"/>
                <a:gd name="connsiteY53" fmla="*/ 491448 h 494694"/>
                <a:gd name="connsiteX54" fmla="*/ 97877 w 1042719"/>
                <a:gd name="connsiteY54" fmla="*/ 491448 h 494694"/>
                <a:gd name="connsiteX55" fmla="*/ 81507 w 1042719"/>
                <a:gd name="connsiteY55" fmla="*/ 492936 h 494694"/>
                <a:gd name="connsiteX56" fmla="*/ 65136 w 1042719"/>
                <a:gd name="connsiteY56" fmla="*/ 492440 h 494694"/>
                <a:gd name="connsiteX57" fmla="*/ 48766 w 1042719"/>
                <a:gd name="connsiteY57" fmla="*/ 492440 h 494694"/>
                <a:gd name="connsiteX58" fmla="*/ 32395 w 1042719"/>
                <a:gd name="connsiteY58" fmla="*/ 492936 h 494694"/>
                <a:gd name="connsiteX59" fmla="*/ 16025 w 1042719"/>
                <a:gd name="connsiteY59" fmla="*/ 492440 h 494694"/>
                <a:gd name="connsiteX60" fmla="*/ 646 w 1042719"/>
                <a:gd name="connsiteY60" fmla="*/ 490952 h 494694"/>
                <a:gd name="connsiteX61" fmla="*/ 11560 w 1042719"/>
                <a:gd name="connsiteY61" fmla="*/ 480038 h 494694"/>
                <a:gd name="connsiteX62" fmla="*/ 22474 w 1042719"/>
                <a:gd name="connsiteY62" fmla="*/ 468133 h 494694"/>
                <a:gd name="connsiteX63" fmla="*/ 33884 w 1042719"/>
                <a:gd name="connsiteY63" fmla="*/ 456723 h 494694"/>
                <a:gd name="connsiteX64" fmla="*/ 46286 w 1042719"/>
                <a:gd name="connsiteY64" fmla="*/ 446305 h 494694"/>
                <a:gd name="connsiteX65" fmla="*/ 57695 w 1042719"/>
                <a:gd name="connsiteY65" fmla="*/ 434895 h 494694"/>
                <a:gd name="connsiteX66" fmla="*/ 68113 w 1042719"/>
                <a:gd name="connsiteY66" fmla="*/ 422493 h 494694"/>
                <a:gd name="connsiteX67" fmla="*/ 80019 w 1042719"/>
                <a:gd name="connsiteY67" fmla="*/ 411580 h 494694"/>
                <a:gd name="connsiteX68" fmla="*/ 90436 w 1042719"/>
                <a:gd name="connsiteY68" fmla="*/ 399178 h 494694"/>
                <a:gd name="connsiteX69" fmla="*/ 101846 w 1042719"/>
                <a:gd name="connsiteY69" fmla="*/ 387768 h 494694"/>
                <a:gd name="connsiteX70" fmla="*/ 113256 w 1042719"/>
                <a:gd name="connsiteY70" fmla="*/ 376358 h 494694"/>
                <a:gd name="connsiteX71" fmla="*/ 125658 w 1042719"/>
                <a:gd name="connsiteY71" fmla="*/ 365940 h 494694"/>
                <a:gd name="connsiteX72" fmla="*/ 136572 w 1042719"/>
                <a:gd name="connsiteY72" fmla="*/ 354035 h 494694"/>
                <a:gd name="connsiteX73" fmla="*/ 147485 w 1042719"/>
                <a:gd name="connsiteY73" fmla="*/ 342129 h 494694"/>
                <a:gd name="connsiteX74" fmla="*/ 158399 w 1042719"/>
                <a:gd name="connsiteY74" fmla="*/ 330223 h 494694"/>
                <a:gd name="connsiteX75" fmla="*/ 170801 w 1042719"/>
                <a:gd name="connsiteY75" fmla="*/ 320301 h 494694"/>
                <a:gd name="connsiteX76" fmla="*/ 181715 w 1042719"/>
                <a:gd name="connsiteY76" fmla="*/ 308395 h 494694"/>
                <a:gd name="connsiteX77" fmla="*/ 193621 w 1042719"/>
                <a:gd name="connsiteY77" fmla="*/ 297482 h 494694"/>
                <a:gd name="connsiteX78" fmla="*/ 204534 w 1042719"/>
                <a:gd name="connsiteY78" fmla="*/ 285576 h 494694"/>
                <a:gd name="connsiteX79" fmla="*/ 215944 w 1042719"/>
                <a:gd name="connsiteY79" fmla="*/ 274166 h 494694"/>
                <a:gd name="connsiteX80" fmla="*/ 226858 w 1042719"/>
                <a:gd name="connsiteY80" fmla="*/ 262260 h 494694"/>
                <a:gd name="connsiteX81" fmla="*/ 239260 w 1042719"/>
                <a:gd name="connsiteY81" fmla="*/ 251842 h 494694"/>
                <a:gd name="connsiteX82" fmla="*/ 249181 w 1042719"/>
                <a:gd name="connsiteY82" fmla="*/ 239440 h 494694"/>
                <a:gd name="connsiteX83" fmla="*/ 261087 w 1042719"/>
                <a:gd name="connsiteY83" fmla="*/ 229023 h 494694"/>
                <a:gd name="connsiteX84" fmla="*/ 272993 w 1042719"/>
                <a:gd name="connsiteY84" fmla="*/ 218109 h 494694"/>
                <a:gd name="connsiteX85" fmla="*/ 283411 w 1042719"/>
                <a:gd name="connsiteY85" fmla="*/ 205707 h 494694"/>
                <a:gd name="connsiteX86" fmla="*/ 295317 w 1042719"/>
                <a:gd name="connsiteY86" fmla="*/ 194793 h 494694"/>
                <a:gd name="connsiteX87" fmla="*/ 307223 w 1042719"/>
                <a:gd name="connsiteY87" fmla="*/ 183880 h 494694"/>
                <a:gd name="connsiteX88" fmla="*/ 318632 w 1042719"/>
                <a:gd name="connsiteY88" fmla="*/ 172470 h 494694"/>
                <a:gd name="connsiteX89" fmla="*/ 329546 w 1042719"/>
                <a:gd name="connsiteY89" fmla="*/ 161060 h 494694"/>
                <a:gd name="connsiteX90" fmla="*/ 340460 w 1042719"/>
                <a:gd name="connsiteY90" fmla="*/ 149155 h 494694"/>
                <a:gd name="connsiteX91" fmla="*/ 352366 w 1042719"/>
                <a:gd name="connsiteY91" fmla="*/ 138241 h 494694"/>
                <a:gd name="connsiteX92" fmla="*/ 363279 w 1042719"/>
                <a:gd name="connsiteY92" fmla="*/ 126335 h 494694"/>
                <a:gd name="connsiteX93" fmla="*/ 375185 w 1042719"/>
                <a:gd name="connsiteY93" fmla="*/ 115421 h 494694"/>
                <a:gd name="connsiteX94" fmla="*/ 385603 w 1042719"/>
                <a:gd name="connsiteY94" fmla="*/ 103019 h 494694"/>
                <a:gd name="connsiteX95" fmla="*/ 398005 w 1042719"/>
                <a:gd name="connsiteY95" fmla="*/ 92602 h 494694"/>
                <a:gd name="connsiteX96" fmla="*/ 408423 w 1042719"/>
                <a:gd name="connsiteY96" fmla="*/ 80200 h 494694"/>
                <a:gd name="connsiteX97" fmla="*/ 420328 w 1042719"/>
                <a:gd name="connsiteY97" fmla="*/ 69782 h 494694"/>
                <a:gd name="connsiteX98" fmla="*/ 430746 w 1042719"/>
                <a:gd name="connsiteY98" fmla="*/ 57876 h 494694"/>
                <a:gd name="connsiteX99" fmla="*/ 443148 w 1042719"/>
                <a:gd name="connsiteY99" fmla="*/ 47459 h 494694"/>
                <a:gd name="connsiteX100" fmla="*/ 454062 w 1042719"/>
                <a:gd name="connsiteY100" fmla="*/ 35553 h 494694"/>
                <a:gd name="connsiteX101" fmla="*/ 466464 w 1042719"/>
                <a:gd name="connsiteY101" fmla="*/ 25135 h 494694"/>
                <a:gd name="connsiteX102" fmla="*/ 477377 w 1042719"/>
                <a:gd name="connsiteY102" fmla="*/ 13229 h 494694"/>
                <a:gd name="connsiteX103" fmla="*/ 488291 w 1042719"/>
                <a:gd name="connsiteY103" fmla="*/ 1323 h 494694"/>
                <a:gd name="connsiteX104" fmla="*/ 496290 w 1042719"/>
                <a:gd name="connsiteY104" fmla="*/ 207 h 494694"/>
                <a:gd name="connsiteX105" fmla="*/ 504661 w 1042719"/>
                <a:gd name="connsiteY105" fmla="*/ 1323 h 494694"/>
                <a:gd name="connsiteX106" fmla="*/ 521032 w 1042719"/>
                <a:gd name="connsiteY106" fmla="*/ 1323 h 494694"/>
                <a:gd name="connsiteX107" fmla="*/ 537403 w 1042719"/>
                <a:gd name="connsiteY107" fmla="*/ 1819 h 494694"/>
                <a:gd name="connsiteX108" fmla="*/ 553773 w 1042719"/>
                <a:gd name="connsiteY108" fmla="*/ 1819 h 494694"/>
                <a:gd name="connsiteX109" fmla="*/ 570144 w 1042719"/>
                <a:gd name="connsiteY109" fmla="*/ 2812 h 494694"/>
                <a:gd name="connsiteX110" fmla="*/ 586514 w 1042719"/>
                <a:gd name="connsiteY110" fmla="*/ 1819 h 494694"/>
                <a:gd name="connsiteX111" fmla="*/ 602885 w 1042719"/>
                <a:gd name="connsiteY111" fmla="*/ 2812 h 494694"/>
                <a:gd name="connsiteX112" fmla="*/ 619256 w 1042719"/>
                <a:gd name="connsiteY112" fmla="*/ 1819 h 494694"/>
                <a:gd name="connsiteX113" fmla="*/ 635626 w 1042719"/>
                <a:gd name="connsiteY113" fmla="*/ 1323 h 494694"/>
                <a:gd name="connsiteX114" fmla="*/ 651997 w 1042719"/>
                <a:gd name="connsiteY114" fmla="*/ 1819 h 494694"/>
                <a:gd name="connsiteX115" fmla="*/ 668367 w 1042719"/>
                <a:gd name="connsiteY115" fmla="*/ 2315 h 494694"/>
                <a:gd name="connsiteX116" fmla="*/ 684738 w 1042719"/>
                <a:gd name="connsiteY116" fmla="*/ 2812 h 494694"/>
                <a:gd name="connsiteX117" fmla="*/ 701109 w 1042719"/>
                <a:gd name="connsiteY117" fmla="*/ 1323 h 494694"/>
                <a:gd name="connsiteX118" fmla="*/ 717479 w 1042719"/>
                <a:gd name="connsiteY118" fmla="*/ 2315 h 494694"/>
                <a:gd name="connsiteX119" fmla="*/ 733850 w 1042719"/>
                <a:gd name="connsiteY119" fmla="*/ 3308 h 494694"/>
                <a:gd name="connsiteX120" fmla="*/ 750220 w 1042719"/>
                <a:gd name="connsiteY120" fmla="*/ 3308 h 494694"/>
                <a:gd name="connsiteX121" fmla="*/ 766591 w 1042719"/>
                <a:gd name="connsiteY121" fmla="*/ 2315 h 494694"/>
                <a:gd name="connsiteX122" fmla="*/ 782962 w 1042719"/>
                <a:gd name="connsiteY122" fmla="*/ 2315 h 494694"/>
                <a:gd name="connsiteX123" fmla="*/ 799332 w 1042719"/>
                <a:gd name="connsiteY123" fmla="*/ 2812 h 494694"/>
                <a:gd name="connsiteX124" fmla="*/ 815703 w 1042719"/>
                <a:gd name="connsiteY124" fmla="*/ 2812 h 494694"/>
                <a:gd name="connsiteX125" fmla="*/ 832073 w 1042719"/>
                <a:gd name="connsiteY125" fmla="*/ 2315 h 494694"/>
                <a:gd name="connsiteX126" fmla="*/ 848444 w 1042719"/>
                <a:gd name="connsiteY126" fmla="*/ 2812 h 494694"/>
                <a:gd name="connsiteX127" fmla="*/ 864814 w 1042719"/>
                <a:gd name="connsiteY127" fmla="*/ 1323 h 494694"/>
                <a:gd name="connsiteX128" fmla="*/ 881185 w 1042719"/>
                <a:gd name="connsiteY128" fmla="*/ 2315 h 494694"/>
                <a:gd name="connsiteX129" fmla="*/ 897555 w 1042719"/>
                <a:gd name="connsiteY129" fmla="*/ 1323 h 494694"/>
                <a:gd name="connsiteX130" fmla="*/ 913926 w 1042719"/>
                <a:gd name="connsiteY130" fmla="*/ 827 h 494694"/>
                <a:gd name="connsiteX131" fmla="*/ 930296 w 1042719"/>
                <a:gd name="connsiteY131" fmla="*/ 2315 h 494694"/>
                <a:gd name="connsiteX132" fmla="*/ 946667 w 1042719"/>
                <a:gd name="connsiteY132" fmla="*/ 827 h 494694"/>
                <a:gd name="connsiteX133" fmla="*/ 1042719 w 1042719"/>
                <a:gd name="connsiteY133" fmla="*/ 9226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132" fmla="*/ 946667 w 951279"/>
                <a:gd name="connsiteY132" fmla="*/ 82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32777 w 951279"/>
                <a:gd name="connsiteY2" fmla="*/ 491448 h 494694"/>
                <a:gd name="connsiteX3" fmla="*/ 916406 w 951279"/>
                <a:gd name="connsiteY3" fmla="*/ 490456 h 494694"/>
                <a:gd name="connsiteX4" fmla="*/ 900036 w 951279"/>
                <a:gd name="connsiteY4" fmla="*/ 490456 h 494694"/>
                <a:gd name="connsiteX5" fmla="*/ 883665 w 951279"/>
                <a:gd name="connsiteY5" fmla="*/ 491944 h 494694"/>
                <a:gd name="connsiteX6" fmla="*/ 867295 w 951279"/>
                <a:gd name="connsiteY6" fmla="*/ 490456 h 494694"/>
                <a:gd name="connsiteX7" fmla="*/ 850924 w 951279"/>
                <a:gd name="connsiteY7" fmla="*/ 490952 h 494694"/>
                <a:gd name="connsiteX8" fmla="*/ 834553 w 951279"/>
                <a:gd name="connsiteY8" fmla="*/ 491448 h 494694"/>
                <a:gd name="connsiteX9" fmla="*/ 818183 w 951279"/>
                <a:gd name="connsiteY9" fmla="*/ 491944 h 494694"/>
                <a:gd name="connsiteX10" fmla="*/ 801812 w 951279"/>
                <a:gd name="connsiteY10" fmla="*/ 491944 h 494694"/>
                <a:gd name="connsiteX11" fmla="*/ 785442 w 951279"/>
                <a:gd name="connsiteY11" fmla="*/ 491944 h 494694"/>
                <a:gd name="connsiteX12" fmla="*/ 769071 w 951279"/>
                <a:gd name="connsiteY12" fmla="*/ 489960 h 494694"/>
                <a:gd name="connsiteX13" fmla="*/ 752700 w 951279"/>
                <a:gd name="connsiteY13" fmla="*/ 490952 h 494694"/>
                <a:gd name="connsiteX14" fmla="*/ 736330 w 951279"/>
                <a:gd name="connsiteY14" fmla="*/ 491944 h 494694"/>
                <a:gd name="connsiteX15" fmla="*/ 719959 w 951279"/>
                <a:gd name="connsiteY15" fmla="*/ 490456 h 494694"/>
                <a:gd name="connsiteX16" fmla="*/ 703589 w 951279"/>
                <a:gd name="connsiteY16" fmla="*/ 491944 h 494694"/>
                <a:gd name="connsiteX17" fmla="*/ 687218 w 951279"/>
                <a:gd name="connsiteY17" fmla="*/ 491944 h 494694"/>
                <a:gd name="connsiteX18" fmla="*/ 670847 w 951279"/>
                <a:gd name="connsiteY18" fmla="*/ 491944 h 494694"/>
                <a:gd name="connsiteX19" fmla="*/ 654477 w 951279"/>
                <a:gd name="connsiteY19" fmla="*/ 492440 h 494694"/>
                <a:gd name="connsiteX20" fmla="*/ 638106 w 951279"/>
                <a:gd name="connsiteY20" fmla="*/ 490952 h 494694"/>
                <a:gd name="connsiteX21" fmla="*/ 621736 w 951279"/>
                <a:gd name="connsiteY21" fmla="*/ 490952 h 494694"/>
                <a:gd name="connsiteX22" fmla="*/ 605365 w 951279"/>
                <a:gd name="connsiteY22" fmla="*/ 492936 h 494694"/>
                <a:gd name="connsiteX23" fmla="*/ 588995 w 951279"/>
                <a:gd name="connsiteY23" fmla="*/ 491944 h 494694"/>
                <a:gd name="connsiteX24" fmla="*/ 572624 w 951279"/>
                <a:gd name="connsiteY24" fmla="*/ 492936 h 494694"/>
                <a:gd name="connsiteX25" fmla="*/ 556254 w 951279"/>
                <a:gd name="connsiteY25" fmla="*/ 491944 h 494694"/>
                <a:gd name="connsiteX26" fmla="*/ 539883 w 951279"/>
                <a:gd name="connsiteY26" fmla="*/ 490952 h 494694"/>
                <a:gd name="connsiteX27" fmla="*/ 523513 w 951279"/>
                <a:gd name="connsiteY27" fmla="*/ 491944 h 494694"/>
                <a:gd name="connsiteX28" fmla="*/ 507142 w 951279"/>
                <a:gd name="connsiteY28" fmla="*/ 492936 h 494694"/>
                <a:gd name="connsiteX29" fmla="*/ 490771 w 951279"/>
                <a:gd name="connsiteY29" fmla="*/ 492440 h 494694"/>
                <a:gd name="connsiteX30" fmla="*/ 474401 w 951279"/>
                <a:gd name="connsiteY30" fmla="*/ 491448 h 494694"/>
                <a:gd name="connsiteX31" fmla="*/ 458030 w 951279"/>
                <a:gd name="connsiteY31" fmla="*/ 492440 h 494694"/>
                <a:gd name="connsiteX32" fmla="*/ 441660 w 951279"/>
                <a:gd name="connsiteY32" fmla="*/ 491944 h 494694"/>
                <a:gd name="connsiteX33" fmla="*/ 425289 w 951279"/>
                <a:gd name="connsiteY33" fmla="*/ 492936 h 494694"/>
                <a:gd name="connsiteX34" fmla="*/ 408919 w 951279"/>
                <a:gd name="connsiteY34" fmla="*/ 493432 h 494694"/>
                <a:gd name="connsiteX35" fmla="*/ 392548 w 951279"/>
                <a:gd name="connsiteY35" fmla="*/ 492440 h 494694"/>
                <a:gd name="connsiteX36" fmla="*/ 376178 w 951279"/>
                <a:gd name="connsiteY36" fmla="*/ 491448 h 494694"/>
                <a:gd name="connsiteX37" fmla="*/ 359807 w 951279"/>
                <a:gd name="connsiteY37" fmla="*/ 492440 h 494694"/>
                <a:gd name="connsiteX38" fmla="*/ 343436 w 951279"/>
                <a:gd name="connsiteY38" fmla="*/ 492936 h 494694"/>
                <a:gd name="connsiteX39" fmla="*/ 327066 w 951279"/>
                <a:gd name="connsiteY39" fmla="*/ 492936 h 494694"/>
                <a:gd name="connsiteX40" fmla="*/ 310695 w 951279"/>
                <a:gd name="connsiteY40" fmla="*/ 492440 h 494694"/>
                <a:gd name="connsiteX41" fmla="*/ 294325 w 951279"/>
                <a:gd name="connsiteY41" fmla="*/ 491944 h 494694"/>
                <a:gd name="connsiteX42" fmla="*/ 277954 w 951279"/>
                <a:gd name="connsiteY42" fmla="*/ 492440 h 494694"/>
                <a:gd name="connsiteX43" fmla="*/ 261583 w 951279"/>
                <a:gd name="connsiteY43" fmla="*/ 490952 h 494694"/>
                <a:gd name="connsiteX44" fmla="*/ 245213 w 951279"/>
                <a:gd name="connsiteY44" fmla="*/ 493432 h 494694"/>
                <a:gd name="connsiteX45" fmla="*/ 228842 w 951279"/>
                <a:gd name="connsiteY45" fmla="*/ 493432 h 494694"/>
                <a:gd name="connsiteX46" fmla="*/ 212472 w 951279"/>
                <a:gd name="connsiteY46" fmla="*/ 492936 h 494694"/>
                <a:gd name="connsiteX47" fmla="*/ 196101 w 951279"/>
                <a:gd name="connsiteY47" fmla="*/ 491944 h 494694"/>
                <a:gd name="connsiteX48" fmla="*/ 179730 w 951279"/>
                <a:gd name="connsiteY48" fmla="*/ 493432 h 494694"/>
                <a:gd name="connsiteX49" fmla="*/ 163360 w 951279"/>
                <a:gd name="connsiteY49" fmla="*/ 492936 h 494694"/>
                <a:gd name="connsiteX50" fmla="*/ 146989 w 951279"/>
                <a:gd name="connsiteY50" fmla="*/ 492440 h 494694"/>
                <a:gd name="connsiteX51" fmla="*/ 130619 w 951279"/>
                <a:gd name="connsiteY51" fmla="*/ 493432 h 494694"/>
                <a:gd name="connsiteX52" fmla="*/ 114248 w 951279"/>
                <a:gd name="connsiteY52" fmla="*/ 491448 h 494694"/>
                <a:gd name="connsiteX53" fmla="*/ 97877 w 951279"/>
                <a:gd name="connsiteY53" fmla="*/ 491448 h 494694"/>
                <a:gd name="connsiteX54" fmla="*/ 81507 w 951279"/>
                <a:gd name="connsiteY54" fmla="*/ 492936 h 494694"/>
                <a:gd name="connsiteX55" fmla="*/ 65136 w 951279"/>
                <a:gd name="connsiteY55" fmla="*/ 492440 h 494694"/>
                <a:gd name="connsiteX56" fmla="*/ 48766 w 951279"/>
                <a:gd name="connsiteY56" fmla="*/ 492440 h 494694"/>
                <a:gd name="connsiteX57" fmla="*/ 32395 w 951279"/>
                <a:gd name="connsiteY57" fmla="*/ 492936 h 494694"/>
                <a:gd name="connsiteX58" fmla="*/ 16025 w 951279"/>
                <a:gd name="connsiteY58" fmla="*/ 492440 h 494694"/>
                <a:gd name="connsiteX59" fmla="*/ 646 w 951279"/>
                <a:gd name="connsiteY59" fmla="*/ 490952 h 494694"/>
                <a:gd name="connsiteX60" fmla="*/ 11560 w 951279"/>
                <a:gd name="connsiteY60" fmla="*/ 480038 h 494694"/>
                <a:gd name="connsiteX61" fmla="*/ 22474 w 951279"/>
                <a:gd name="connsiteY61" fmla="*/ 468133 h 494694"/>
                <a:gd name="connsiteX62" fmla="*/ 33884 w 951279"/>
                <a:gd name="connsiteY62" fmla="*/ 456723 h 494694"/>
                <a:gd name="connsiteX63" fmla="*/ 46286 w 951279"/>
                <a:gd name="connsiteY63" fmla="*/ 446305 h 494694"/>
                <a:gd name="connsiteX64" fmla="*/ 57695 w 951279"/>
                <a:gd name="connsiteY64" fmla="*/ 434895 h 494694"/>
                <a:gd name="connsiteX65" fmla="*/ 68113 w 951279"/>
                <a:gd name="connsiteY65" fmla="*/ 422493 h 494694"/>
                <a:gd name="connsiteX66" fmla="*/ 80019 w 951279"/>
                <a:gd name="connsiteY66" fmla="*/ 411580 h 494694"/>
                <a:gd name="connsiteX67" fmla="*/ 90436 w 951279"/>
                <a:gd name="connsiteY67" fmla="*/ 399178 h 494694"/>
                <a:gd name="connsiteX68" fmla="*/ 101846 w 951279"/>
                <a:gd name="connsiteY68" fmla="*/ 387768 h 494694"/>
                <a:gd name="connsiteX69" fmla="*/ 113256 w 951279"/>
                <a:gd name="connsiteY69" fmla="*/ 376358 h 494694"/>
                <a:gd name="connsiteX70" fmla="*/ 125658 w 951279"/>
                <a:gd name="connsiteY70" fmla="*/ 365940 h 494694"/>
                <a:gd name="connsiteX71" fmla="*/ 136572 w 951279"/>
                <a:gd name="connsiteY71" fmla="*/ 354035 h 494694"/>
                <a:gd name="connsiteX72" fmla="*/ 147485 w 951279"/>
                <a:gd name="connsiteY72" fmla="*/ 342129 h 494694"/>
                <a:gd name="connsiteX73" fmla="*/ 158399 w 951279"/>
                <a:gd name="connsiteY73" fmla="*/ 330223 h 494694"/>
                <a:gd name="connsiteX74" fmla="*/ 170801 w 951279"/>
                <a:gd name="connsiteY74" fmla="*/ 320301 h 494694"/>
                <a:gd name="connsiteX75" fmla="*/ 181715 w 951279"/>
                <a:gd name="connsiteY75" fmla="*/ 308395 h 494694"/>
                <a:gd name="connsiteX76" fmla="*/ 193621 w 951279"/>
                <a:gd name="connsiteY76" fmla="*/ 297482 h 494694"/>
                <a:gd name="connsiteX77" fmla="*/ 204534 w 951279"/>
                <a:gd name="connsiteY77" fmla="*/ 285576 h 494694"/>
                <a:gd name="connsiteX78" fmla="*/ 215944 w 951279"/>
                <a:gd name="connsiteY78" fmla="*/ 274166 h 494694"/>
                <a:gd name="connsiteX79" fmla="*/ 226858 w 951279"/>
                <a:gd name="connsiteY79" fmla="*/ 262260 h 494694"/>
                <a:gd name="connsiteX80" fmla="*/ 239260 w 951279"/>
                <a:gd name="connsiteY80" fmla="*/ 251842 h 494694"/>
                <a:gd name="connsiteX81" fmla="*/ 249181 w 951279"/>
                <a:gd name="connsiteY81" fmla="*/ 239440 h 494694"/>
                <a:gd name="connsiteX82" fmla="*/ 261087 w 951279"/>
                <a:gd name="connsiteY82" fmla="*/ 229023 h 494694"/>
                <a:gd name="connsiteX83" fmla="*/ 272993 w 951279"/>
                <a:gd name="connsiteY83" fmla="*/ 218109 h 494694"/>
                <a:gd name="connsiteX84" fmla="*/ 283411 w 951279"/>
                <a:gd name="connsiteY84" fmla="*/ 205707 h 494694"/>
                <a:gd name="connsiteX85" fmla="*/ 295317 w 951279"/>
                <a:gd name="connsiteY85" fmla="*/ 194793 h 494694"/>
                <a:gd name="connsiteX86" fmla="*/ 307223 w 951279"/>
                <a:gd name="connsiteY86" fmla="*/ 183880 h 494694"/>
                <a:gd name="connsiteX87" fmla="*/ 318632 w 951279"/>
                <a:gd name="connsiteY87" fmla="*/ 172470 h 494694"/>
                <a:gd name="connsiteX88" fmla="*/ 329546 w 951279"/>
                <a:gd name="connsiteY88" fmla="*/ 161060 h 494694"/>
                <a:gd name="connsiteX89" fmla="*/ 340460 w 951279"/>
                <a:gd name="connsiteY89" fmla="*/ 149155 h 494694"/>
                <a:gd name="connsiteX90" fmla="*/ 352366 w 951279"/>
                <a:gd name="connsiteY90" fmla="*/ 138241 h 494694"/>
                <a:gd name="connsiteX91" fmla="*/ 363279 w 951279"/>
                <a:gd name="connsiteY91" fmla="*/ 126335 h 494694"/>
                <a:gd name="connsiteX92" fmla="*/ 375185 w 951279"/>
                <a:gd name="connsiteY92" fmla="*/ 115421 h 494694"/>
                <a:gd name="connsiteX93" fmla="*/ 385603 w 951279"/>
                <a:gd name="connsiteY93" fmla="*/ 103019 h 494694"/>
                <a:gd name="connsiteX94" fmla="*/ 398005 w 951279"/>
                <a:gd name="connsiteY94" fmla="*/ 92602 h 494694"/>
                <a:gd name="connsiteX95" fmla="*/ 408423 w 951279"/>
                <a:gd name="connsiteY95" fmla="*/ 80200 h 494694"/>
                <a:gd name="connsiteX96" fmla="*/ 420328 w 951279"/>
                <a:gd name="connsiteY96" fmla="*/ 69782 h 494694"/>
                <a:gd name="connsiteX97" fmla="*/ 430746 w 951279"/>
                <a:gd name="connsiteY97" fmla="*/ 57876 h 494694"/>
                <a:gd name="connsiteX98" fmla="*/ 443148 w 951279"/>
                <a:gd name="connsiteY98" fmla="*/ 47459 h 494694"/>
                <a:gd name="connsiteX99" fmla="*/ 454062 w 951279"/>
                <a:gd name="connsiteY99" fmla="*/ 35553 h 494694"/>
                <a:gd name="connsiteX100" fmla="*/ 466464 w 951279"/>
                <a:gd name="connsiteY100" fmla="*/ 25135 h 494694"/>
                <a:gd name="connsiteX101" fmla="*/ 477377 w 951279"/>
                <a:gd name="connsiteY101" fmla="*/ 13229 h 494694"/>
                <a:gd name="connsiteX102" fmla="*/ 488291 w 951279"/>
                <a:gd name="connsiteY102" fmla="*/ 1323 h 494694"/>
                <a:gd name="connsiteX103" fmla="*/ 496290 w 951279"/>
                <a:gd name="connsiteY103" fmla="*/ 207 h 494694"/>
                <a:gd name="connsiteX104" fmla="*/ 504661 w 951279"/>
                <a:gd name="connsiteY104" fmla="*/ 1323 h 494694"/>
                <a:gd name="connsiteX105" fmla="*/ 521032 w 951279"/>
                <a:gd name="connsiteY105" fmla="*/ 1323 h 494694"/>
                <a:gd name="connsiteX106" fmla="*/ 537403 w 951279"/>
                <a:gd name="connsiteY106" fmla="*/ 1819 h 494694"/>
                <a:gd name="connsiteX107" fmla="*/ 553773 w 951279"/>
                <a:gd name="connsiteY107" fmla="*/ 1819 h 494694"/>
                <a:gd name="connsiteX108" fmla="*/ 570144 w 951279"/>
                <a:gd name="connsiteY108" fmla="*/ 2812 h 494694"/>
                <a:gd name="connsiteX109" fmla="*/ 586514 w 951279"/>
                <a:gd name="connsiteY109" fmla="*/ 1819 h 494694"/>
                <a:gd name="connsiteX110" fmla="*/ 602885 w 951279"/>
                <a:gd name="connsiteY110" fmla="*/ 2812 h 494694"/>
                <a:gd name="connsiteX111" fmla="*/ 619256 w 951279"/>
                <a:gd name="connsiteY111" fmla="*/ 1819 h 494694"/>
                <a:gd name="connsiteX112" fmla="*/ 635626 w 951279"/>
                <a:gd name="connsiteY112" fmla="*/ 1323 h 494694"/>
                <a:gd name="connsiteX113" fmla="*/ 651997 w 951279"/>
                <a:gd name="connsiteY113" fmla="*/ 1819 h 494694"/>
                <a:gd name="connsiteX114" fmla="*/ 668367 w 951279"/>
                <a:gd name="connsiteY114" fmla="*/ 2315 h 494694"/>
                <a:gd name="connsiteX115" fmla="*/ 684738 w 951279"/>
                <a:gd name="connsiteY115" fmla="*/ 2812 h 494694"/>
                <a:gd name="connsiteX116" fmla="*/ 701109 w 951279"/>
                <a:gd name="connsiteY116" fmla="*/ 1323 h 494694"/>
                <a:gd name="connsiteX117" fmla="*/ 717479 w 951279"/>
                <a:gd name="connsiteY117" fmla="*/ 2315 h 494694"/>
                <a:gd name="connsiteX118" fmla="*/ 733850 w 951279"/>
                <a:gd name="connsiteY118" fmla="*/ 3308 h 494694"/>
                <a:gd name="connsiteX119" fmla="*/ 750220 w 951279"/>
                <a:gd name="connsiteY119" fmla="*/ 3308 h 494694"/>
                <a:gd name="connsiteX120" fmla="*/ 766591 w 951279"/>
                <a:gd name="connsiteY120" fmla="*/ 2315 h 494694"/>
                <a:gd name="connsiteX121" fmla="*/ 782962 w 951279"/>
                <a:gd name="connsiteY121" fmla="*/ 2315 h 494694"/>
                <a:gd name="connsiteX122" fmla="*/ 799332 w 951279"/>
                <a:gd name="connsiteY122" fmla="*/ 2812 h 494694"/>
                <a:gd name="connsiteX123" fmla="*/ 815703 w 951279"/>
                <a:gd name="connsiteY123" fmla="*/ 2812 h 494694"/>
                <a:gd name="connsiteX124" fmla="*/ 832073 w 951279"/>
                <a:gd name="connsiteY124" fmla="*/ 2315 h 494694"/>
                <a:gd name="connsiteX125" fmla="*/ 848444 w 951279"/>
                <a:gd name="connsiteY125" fmla="*/ 2812 h 494694"/>
                <a:gd name="connsiteX126" fmla="*/ 864814 w 951279"/>
                <a:gd name="connsiteY126" fmla="*/ 1323 h 494694"/>
                <a:gd name="connsiteX127" fmla="*/ 881185 w 951279"/>
                <a:gd name="connsiteY127" fmla="*/ 2315 h 494694"/>
                <a:gd name="connsiteX128" fmla="*/ 897555 w 951279"/>
                <a:gd name="connsiteY128" fmla="*/ 1323 h 494694"/>
                <a:gd name="connsiteX129" fmla="*/ 913926 w 951279"/>
                <a:gd name="connsiteY129" fmla="*/ 827 h 494694"/>
                <a:gd name="connsiteX130" fmla="*/ 930296 w 951279"/>
                <a:gd name="connsiteY130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16406 w 951279"/>
                <a:gd name="connsiteY2" fmla="*/ 490456 h 494694"/>
                <a:gd name="connsiteX3" fmla="*/ 900036 w 951279"/>
                <a:gd name="connsiteY3" fmla="*/ 490456 h 494694"/>
                <a:gd name="connsiteX4" fmla="*/ 883665 w 951279"/>
                <a:gd name="connsiteY4" fmla="*/ 491944 h 494694"/>
                <a:gd name="connsiteX5" fmla="*/ 867295 w 951279"/>
                <a:gd name="connsiteY5" fmla="*/ 490456 h 494694"/>
                <a:gd name="connsiteX6" fmla="*/ 850924 w 951279"/>
                <a:gd name="connsiteY6" fmla="*/ 490952 h 494694"/>
                <a:gd name="connsiteX7" fmla="*/ 834553 w 951279"/>
                <a:gd name="connsiteY7" fmla="*/ 491448 h 494694"/>
                <a:gd name="connsiteX8" fmla="*/ 818183 w 951279"/>
                <a:gd name="connsiteY8" fmla="*/ 491944 h 494694"/>
                <a:gd name="connsiteX9" fmla="*/ 801812 w 951279"/>
                <a:gd name="connsiteY9" fmla="*/ 491944 h 494694"/>
                <a:gd name="connsiteX10" fmla="*/ 785442 w 951279"/>
                <a:gd name="connsiteY10" fmla="*/ 491944 h 494694"/>
                <a:gd name="connsiteX11" fmla="*/ 769071 w 951279"/>
                <a:gd name="connsiteY11" fmla="*/ 489960 h 494694"/>
                <a:gd name="connsiteX12" fmla="*/ 752700 w 951279"/>
                <a:gd name="connsiteY12" fmla="*/ 490952 h 494694"/>
                <a:gd name="connsiteX13" fmla="*/ 736330 w 951279"/>
                <a:gd name="connsiteY13" fmla="*/ 491944 h 494694"/>
                <a:gd name="connsiteX14" fmla="*/ 719959 w 951279"/>
                <a:gd name="connsiteY14" fmla="*/ 490456 h 494694"/>
                <a:gd name="connsiteX15" fmla="*/ 703589 w 951279"/>
                <a:gd name="connsiteY15" fmla="*/ 491944 h 494694"/>
                <a:gd name="connsiteX16" fmla="*/ 687218 w 951279"/>
                <a:gd name="connsiteY16" fmla="*/ 491944 h 494694"/>
                <a:gd name="connsiteX17" fmla="*/ 670847 w 951279"/>
                <a:gd name="connsiteY17" fmla="*/ 491944 h 494694"/>
                <a:gd name="connsiteX18" fmla="*/ 654477 w 951279"/>
                <a:gd name="connsiteY18" fmla="*/ 492440 h 494694"/>
                <a:gd name="connsiteX19" fmla="*/ 638106 w 951279"/>
                <a:gd name="connsiteY19" fmla="*/ 490952 h 494694"/>
                <a:gd name="connsiteX20" fmla="*/ 621736 w 951279"/>
                <a:gd name="connsiteY20" fmla="*/ 490952 h 494694"/>
                <a:gd name="connsiteX21" fmla="*/ 605365 w 951279"/>
                <a:gd name="connsiteY21" fmla="*/ 492936 h 494694"/>
                <a:gd name="connsiteX22" fmla="*/ 588995 w 951279"/>
                <a:gd name="connsiteY22" fmla="*/ 491944 h 494694"/>
                <a:gd name="connsiteX23" fmla="*/ 572624 w 951279"/>
                <a:gd name="connsiteY23" fmla="*/ 492936 h 494694"/>
                <a:gd name="connsiteX24" fmla="*/ 556254 w 951279"/>
                <a:gd name="connsiteY24" fmla="*/ 491944 h 494694"/>
                <a:gd name="connsiteX25" fmla="*/ 539883 w 951279"/>
                <a:gd name="connsiteY25" fmla="*/ 490952 h 494694"/>
                <a:gd name="connsiteX26" fmla="*/ 523513 w 951279"/>
                <a:gd name="connsiteY26" fmla="*/ 491944 h 494694"/>
                <a:gd name="connsiteX27" fmla="*/ 507142 w 951279"/>
                <a:gd name="connsiteY27" fmla="*/ 492936 h 494694"/>
                <a:gd name="connsiteX28" fmla="*/ 490771 w 951279"/>
                <a:gd name="connsiteY28" fmla="*/ 492440 h 494694"/>
                <a:gd name="connsiteX29" fmla="*/ 474401 w 951279"/>
                <a:gd name="connsiteY29" fmla="*/ 491448 h 494694"/>
                <a:gd name="connsiteX30" fmla="*/ 458030 w 951279"/>
                <a:gd name="connsiteY30" fmla="*/ 492440 h 494694"/>
                <a:gd name="connsiteX31" fmla="*/ 441660 w 951279"/>
                <a:gd name="connsiteY31" fmla="*/ 491944 h 494694"/>
                <a:gd name="connsiteX32" fmla="*/ 425289 w 951279"/>
                <a:gd name="connsiteY32" fmla="*/ 492936 h 494694"/>
                <a:gd name="connsiteX33" fmla="*/ 408919 w 951279"/>
                <a:gd name="connsiteY33" fmla="*/ 493432 h 494694"/>
                <a:gd name="connsiteX34" fmla="*/ 392548 w 951279"/>
                <a:gd name="connsiteY34" fmla="*/ 492440 h 494694"/>
                <a:gd name="connsiteX35" fmla="*/ 376178 w 951279"/>
                <a:gd name="connsiteY35" fmla="*/ 491448 h 494694"/>
                <a:gd name="connsiteX36" fmla="*/ 359807 w 951279"/>
                <a:gd name="connsiteY36" fmla="*/ 492440 h 494694"/>
                <a:gd name="connsiteX37" fmla="*/ 343436 w 951279"/>
                <a:gd name="connsiteY37" fmla="*/ 492936 h 494694"/>
                <a:gd name="connsiteX38" fmla="*/ 327066 w 951279"/>
                <a:gd name="connsiteY38" fmla="*/ 492936 h 494694"/>
                <a:gd name="connsiteX39" fmla="*/ 310695 w 951279"/>
                <a:gd name="connsiteY39" fmla="*/ 492440 h 494694"/>
                <a:gd name="connsiteX40" fmla="*/ 294325 w 951279"/>
                <a:gd name="connsiteY40" fmla="*/ 491944 h 494694"/>
                <a:gd name="connsiteX41" fmla="*/ 277954 w 951279"/>
                <a:gd name="connsiteY41" fmla="*/ 492440 h 494694"/>
                <a:gd name="connsiteX42" fmla="*/ 261583 w 951279"/>
                <a:gd name="connsiteY42" fmla="*/ 490952 h 494694"/>
                <a:gd name="connsiteX43" fmla="*/ 245213 w 951279"/>
                <a:gd name="connsiteY43" fmla="*/ 493432 h 494694"/>
                <a:gd name="connsiteX44" fmla="*/ 228842 w 951279"/>
                <a:gd name="connsiteY44" fmla="*/ 493432 h 494694"/>
                <a:gd name="connsiteX45" fmla="*/ 212472 w 951279"/>
                <a:gd name="connsiteY45" fmla="*/ 492936 h 494694"/>
                <a:gd name="connsiteX46" fmla="*/ 196101 w 951279"/>
                <a:gd name="connsiteY46" fmla="*/ 491944 h 494694"/>
                <a:gd name="connsiteX47" fmla="*/ 179730 w 951279"/>
                <a:gd name="connsiteY47" fmla="*/ 493432 h 494694"/>
                <a:gd name="connsiteX48" fmla="*/ 163360 w 951279"/>
                <a:gd name="connsiteY48" fmla="*/ 492936 h 494694"/>
                <a:gd name="connsiteX49" fmla="*/ 146989 w 951279"/>
                <a:gd name="connsiteY49" fmla="*/ 492440 h 494694"/>
                <a:gd name="connsiteX50" fmla="*/ 130619 w 951279"/>
                <a:gd name="connsiteY50" fmla="*/ 493432 h 494694"/>
                <a:gd name="connsiteX51" fmla="*/ 114248 w 951279"/>
                <a:gd name="connsiteY51" fmla="*/ 491448 h 494694"/>
                <a:gd name="connsiteX52" fmla="*/ 97877 w 951279"/>
                <a:gd name="connsiteY52" fmla="*/ 491448 h 494694"/>
                <a:gd name="connsiteX53" fmla="*/ 81507 w 951279"/>
                <a:gd name="connsiteY53" fmla="*/ 492936 h 494694"/>
                <a:gd name="connsiteX54" fmla="*/ 65136 w 951279"/>
                <a:gd name="connsiteY54" fmla="*/ 492440 h 494694"/>
                <a:gd name="connsiteX55" fmla="*/ 48766 w 951279"/>
                <a:gd name="connsiteY55" fmla="*/ 492440 h 494694"/>
                <a:gd name="connsiteX56" fmla="*/ 32395 w 951279"/>
                <a:gd name="connsiteY56" fmla="*/ 492936 h 494694"/>
                <a:gd name="connsiteX57" fmla="*/ 16025 w 951279"/>
                <a:gd name="connsiteY57" fmla="*/ 492440 h 494694"/>
                <a:gd name="connsiteX58" fmla="*/ 646 w 951279"/>
                <a:gd name="connsiteY58" fmla="*/ 490952 h 494694"/>
                <a:gd name="connsiteX59" fmla="*/ 11560 w 951279"/>
                <a:gd name="connsiteY59" fmla="*/ 480038 h 494694"/>
                <a:gd name="connsiteX60" fmla="*/ 22474 w 951279"/>
                <a:gd name="connsiteY60" fmla="*/ 468133 h 494694"/>
                <a:gd name="connsiteX61" fmla="*/ 33884 w 951279"/>
                <a:gd name="connsiteY61" fmla="*/ 456723 h 494694"/>
                <a:gd name="connsiteX62" fmla="*/ 46286 w 951279"/>
                <a:gd name="connsiteY62" fmla="*/ 446305 h 494694"/>
                <a:gd name="connsiteX63" fmla="*/ 57695 w 951279"/>
                <a:gd name="connsiteY63" fmla="*/ 434895 h 494694"/>
                <a:gd name="connsiteX64" fmla="*/ 68113 w 951279"/>
                <a:gd name="connsiteY64" fmla="*/ 422493 h 494694"/>
                <a:gd name="connsiteX65" fmla="*/ 80019 w 951279"/>
                <a:gd name="connsiteY65" fmla="*/ 411580 h 494694"/>
                <a:gd name="connsiteX66" fmla="*/ 90436 w 951279"/>
                <a:gd name="connsiteY66" fmla="*/ 399178 h 494694"/>
                <a:gd name="connsiteX67" fmla="*/ 101846 w 951279"/>
                <a:gd name="connsiteY67" fmla="*/ 387768 h 494694"/>
                <a:gd name="connsiteX68" fmla="*/ 113256 w 951279"/>
                <a:gd name="connsiteY68" fmla="*/ 376358 h 494694"/>
                <a:gd name="connsiteX69" fmla="*/ 125658 w 951279"/>
                <a:gd name="connsiteY69" fmla="*/ 365940 h 494694"/>
                <a:gd name="connsiteX70" fmla="*/ 136572 w 951279"/>
                <a:gd name="connsiteY70" fmla="*/ 354035 h 494694"/>
                <a:gd name="connsiteX71" fmla="*/ 147485 w 951279"/>
                <a:gd name="connsiteY71" fmla="*/ 342129 h 494694"/>
                <a:gd name="connsiteX72" fmla="*/ 158399 w 951279"/>
                <a:gd name="connsiteY72" fmla="*/ 330223 h 494694"/>
                <a:gd name="connsiteX73" fmla="*/ 170801 w 951279"/>
                <a:gd name="connsiteY73" fmla="*/ 320301 h 494694"/>
                <a:gd name="connsiteX74" fmla="*/ 181715 w 951279"/>
                <a:gd name="connsiteY74" fmla="*/ 308395 h 494694"/>
                <a:gd name="connsiteX75" fmla="*/ 193621 w 951279"/>
                <a:gd name="connsiteY75" fmla="*/ 297482 h 494694"/>
                <a:gd name="connsiteX76" fmla="*/ 204534 w 951279"/>
                <a:gd name="connsiteY76" fmla="*/ 285576 h 494694"/>
                <a:gd name="connsiteX77" fmla="*/ 215944 w 951279"/>
                <a:gd name="connsiteY77" fmla="*/ 274166 h 494694"/>
                <a:gd name="connsiteX78" fmla="*/ 226858 w 951279"/>
                <a:gd name="connsiteY78" fmla="*/ 262260 h 494694"/>
                <a:gd name="connsiteX79" fmla="*/ 239260 w 951279"/>
                <a:gd name="connsiteY79" fmla="*/ 251842 h 494694"/>
                <a:gd name="connsiteX80" fmla="*/ 249181 w 951279"/>
                <a:gd name="connsiteY80" fmla="*/ 239440 h 494694"/>
                <a:gd name="connsiteX81" fmla="*/ 261087 w 951279"/>
                <a:gd name="connsiteY81" fmla="*/ 229023 h 494694"/>
                <a:gd name="connsiteX82" fmla="*/ 272993 w 951279"/>
                <a:gd name="connsiteY82" fmla="*/ 218109 h 494694"/>
                <a:gd name="connsiteX83" fmla="*/ 283411 w 951279"/>
                <a:gd name="connsiteY83" fmla="*/ 205707 h 494694"/>
                <a:gd name="connsiteX84" fmla="*/ 295317 w 951279"/>
                <a:gd name="connsiteY84" fmla="*/ 194793 h 494694"/>
                <a:gd name="connsiteX85" fmla="*/ 307223 w 951279"/>
                <a:gd name="connsiteY85" fmla="*/ 183880 h 494694"/>
                <a:gd name="connsiteX86" fmla="*/ 318632 w 951279"/>
                <a:gd name="connsiteY86" fmla="*/ 172470 h 494694"/>
                <a:gd name="connsiteX87" fmla="*/ 329546 w 951279"/>
                <a:gd name="connsiteY87" fmla="*/ 161060 h 494694"/>
                <a:gd name="connsiteX88" fmla="*/ 340460 w 951279"/>
                <a:gd name="connsiteY88" fmla="*/ 149155 h 494694"/>
                <a:gd name="connsiteX89" fmla="*/ 352366 w 951279"/>
                <a:gd name="connsiteY89" fmla="*/ 138241 h 494694"/>
                <a:gd name="connsiteX90" fmla="*/ 363279 w 951279"/>
                <a:gd name="connsiteY90" fmla="*/ 126335 h 494694"/>
                <a:gd name="connsiteX91" fmla="*/ 375185 w 951279"/>
                <a:gd name="connsiteY91" fmla="*/ 115421 h 494694"/>
                <a:gd name="connsiteX92" fmla="*/ 385603 w 951279"/>
                <a:gd name="connsiteY92" fmla="*/ 103019 h 494694"/>
                <a:gd name="connsiteX93" fmla="*/ 398005 w 951279"/>
                <a:gd name="connsiteY93" fmla="*/ 92602 h 494694"/>
                <a:gd name="connsiteX94" fmla="*/ 408423 w 951279"/>
                <a:gd name="connsiteY94" fmla="*/ 80200 h 494694"/>
                <a:gd name="connsiteX95" fmla="*/ 420328 w 951279"/>
                <a:gd name="connsiteY95" fmla="*/ 69782 h 494694"/>
                <a:gd name="connsiteX96" fmla="*/ 430746 w 951279"/>
                <a:gd name="connsiteY96" fmla="*/ 57876 h 494694"/>
                <a:gd name="connsiteX97" fmla="*/ 443148 w 951279"/>
                <a:gd name="connsiteY97" fmla="*/ 47459 h 494694"/>
                <a:gd name="connsiteX98" fmla="*/ 454062 w 951279"/>
                <a:gd name="connsiteY98" fmla="*/ 35553 h 494694"/>
                <a:gd name="connsiteX99" fmla="*/ 466464 w 951279"/>
                <a:gd name="connsiteY99" fmla="*/ 25135 h 494694"/>
                <a:gd name="connsiteX100" fmla="*/ 477377 w 951279"/>
                <a:gd name="connsiteY100" fmla="*/ 13229 h 494694"/>
                <a:gd name="connsiteX101" fmla="*/ 488291 w 951279"/>
                <a:gd name="connsiteY101" fmla="*/ 1323 h 494694"/>
                <a:gd name="connsiteX102" fmla="*/ 496290 w 951279"/>
                <a:gd name="connsiteY102" fmla="*/ 207 h 494694"/>
                <a:gd name="connsiteX103" fmla="*/ 504661 w 951279"/>
                <a:gd name="connsiteY103" fmla="*/ 1323 h 494694"/>
                <a:gd name="connsiteX104" fmla="*/ 521032 w 951279"/>
                <a:gd name="connsiteY104" fmla="*/ 1323 h 494694"/>
                <a:gd name="connsiteX105" fmla="*/ 537403 w 951279"/>
                <a:gd name="connsiteY105" fmla="*/ 1819 h 494694"/>
                <a:gd name="connsiteX106" fmla="*/ 553773 w 951279"/>
                <a:gd name="connsiteY106" fmla="*/ 1819 h 494694"/>
                <a:gd name="connsiteX107" fmla="*/ 570144 w 951279"/>
                <a:gd name="connsiteY107" fmla="*/ 2812 h 494694"/>
                <a:gd name="connsiteX108" fmla="*/ 586514 w 951279"/>
                <a:gd name="connsiteY108" fmla="*/ 1819 h 494694"/>
                <a:gd name="connsiteX109" fmla="*/ 602885 w 951279"/>
                <a:gd name="connsiteY109" fmla="*/ 2812 h 494694"/>
                <a:gd name="connsiteX110" fmla="*/ 619256 w 951279"/>
                <a:gd name="connsiteY110" fmla="*/ 1819 h 494694"/>
                <a:gd name="connsiteX111" fmla="*/ 635626 w 951279"/>
                <a:gd name="connsiteY111" fmla="*/ 1323 h 494694"/>
                <a:gd name="connsiteX112" fmla="*/ 651997 w 951279"/>
                <a:gd name="connsiteY112" fmla="*/ 1819 h 494694"/>
                <a:gd name="connsiteX113" fmla="*/ 668367 w 951279"/>
                <a:gd name="connsiteY113" fmla="*/ 2315 h 494694"/>
                <a:gd name="connsiteX114" fmla="*/ 684738 w 951279"/>
                <a:gd name="connsiteY114" fmla="*/ 2812 h 494694"/>
                <a:gd name="connsiteX115" fmla="*/ 701109 w 951279"/>
                <a:gd name="connsiteY115" fmla="*/ 1323 h 494694"/>
                <a:gd name="connsiteX116" fmla="*/ 717479 w 951279"/>
                <a:gd name="connsiteY116" fmla="*/ 2315 h 494694"/>
                <a:gd name="connsiteX117" fmla="*/ 733850 w 951279"/>
                <a:gd name="connsiteY117" fmla="*/ 3308 h 494694"/>
                <a:gd name="connsiteX118" fmla="*/ 750220 w 951279"/>
                <a:gd name="connsiteY118" fmla="*/ 3308 h 494694"/>
                <a:gd name="connsiteX119" fmla="*/ 766591 w 951279"/>
                <a:gd name="connsiteY119" fmla="*/ 2315 h 494694"/>
                <a:gd name="connsiteX120" fmla="*/ 782962 w 951279"/>
                <a:gd name="connsiteY120" fmla="*/ 2315 h 494694"/>
                <a:gd name="connsiteX121" fmla="*/ 799332 w 951279"/>
                <a:gd name="connsiteY121" fmla="*/ 2812 h 494694"/>
                <a:gd name="connsiteX122" fmla="*/ 815703 w 951279"/>
                <a:gd name="connsiteY122" fmla="*/ 2812 h 494694"/>
                <a:gd name="connsiteX123" fmla="*/ 832073 w 951279"/>
                <a:gd name="connsiteY123" fmla="*/ 2315 h 494694"/>
                <a:gd name="connsiteX124" fmla="*/ 848444 w 951279"/>
                <a:gd name="connsiteY124" fmla="*/ 2812 h 494694"/>
                <a:gd name="connsiteX125" fmla="*/ 864814 w 951279"/>
                <a:gd name="connsiteY125" fmla="*/ 1323 h 494694"/>
                <a:gd name="connsiteX126" fmla="*/ 881185 w 951279"/>
                <a:gd name="connsiteY126" fmla="*/ 2315 h 494694"/>
                <a:gd name="connsiteX127" fmla="*/ 897555 w 951279"/>
                <a:gd name="connsiteY127" fmla="*/ 1323 h 494694"/>
                <a:gd name="connsiteX128" fmla="*/ 913926 w 951279"/>
                <a:gd name="connsiteY128" fmla="*/ 827 h 494694"/>
                <a:gd name="connsiteX129" fmla="*/ 930296 w 951279"/>
                <a:gd name="connsiteY129" fmla="*/ 2315 h 494694"/>
                <a:gd name="connsiteX0" fmla="*/ 951279 w 951279"/>
                <a:gd name="connsiteY0" fmla="*/ 491448 h 494694"/>
                <a:gd name="connsiteX1" fmla="*/ 916406 w 951279"/>
                <a:gd name="connsiteY1" fmla="*/ 490456 h 494694"/>
                <a:gd name="connsiteX2" fmla="*/ 900036 w 951279"/>
                <a:gd name="connsiteY2" fmla="*/ 490456 h 494694"/>
                <a:gd name="connsiteX3" fmla="*/ 883665 w 951279"/>
                <a:gd name="connsiteY3" fmla="*/ 491944 h 494694"/>
                <a:gd name="connsiteX4" fmla="*/ 867295 w 951279"/>
                <a:gd name="connsiteY4" fmla="*/ 490456 h 494694"/>
                <a:gd name="connsiteX5" fmla="*/ 850924 w 951279"/>
                <a:gd name="connsiteY5" fmla="*/ 490952 h 494694"/>
                <a:gd name="connsiteX6" fmla="*/ 834553 w 951279"/>
                <a:gd name="connsiteY6" fmla="*/ 491448 h 494694"/>
                <a:gd name="connsiteX7" fmla="*/ 818183 w 951279"/>
                <a:gd name="connsiteY7" fmla="*/ 491944 h 494694"/>
                <a:gd name="connsiteX8" fmla="*/ 801812 w 951279"/>
                <a:gd name="connsiteY8" fmla="*/ 491944 h 494694"/>
                <a:gd name="connsiteX9" fmla="*/ 785442 w 951279"/>
                <a:gd name="connsiteY9" fmla="*/ 491944 h 494694"/>
                <a:gd name="connsiteX10" fmla="*/ 769071 w 951279"/>
                <a:gd name="connsiteY10" fmla="*/ 489960 h 494694"/>
                <a:gd name="connsiteX11" fmla="*/ 752700 w 951279"/>
                <a:gd name="connsiteY11" fmla="*/ 490952 h 494694"/>
                <a:gd name="connsiteX12" fmla="*/ 736330 w 951279"/>
                <a:gd name="connsiteY12" fmla="*/ 491944 h 494694"/>
                <a:gd name="connsiteX13" fmla="*/ 719959 w 951279"/>
                <a:gd name="connsiteY13" fmla="*/ 490456 h 494694"/>
                <a:gd name="connsiteX14" fmla="*/ 703589 w 951279"/>
                <a:gd name="connsiteY14" fmla="*/ 491944 h 494694"/>
                <a:gd name="connsiteX15" fmla="*/ 687218 w 951279"/>
                <a:gd name="connsiteY15" fmla="*/ 491944 h 494694"/>
                <a:gd name="connsiteX16" fmla="*/ 670847 w 951279"/>
                <a:gd name="connsiteY16" fmla="*/ 491944 h 494694"/>
                <a:gd name="connsiteX17" fmla="*/ 654477 w 951279"/>
                <a:gd name="connsiteY17" fmla="*/ 492440 h 494694"/>
                <a:gd name="connsiteX18" fmla="*/ 638106 w 951279"/>
                <a:gd name="connsiteY18" fmla="*/ 490952 h 494694"/>
                <a:gd name="connsiteX19" fmla="*/ 621736 w 951279"/>
                <a:gd name="connsiteY19" fmla="*/ 490952 h 494694"/>
                <a:gd name="connsiteX20" fmla="*/ 605365 w 951279"/>
                <a:gd name="connsiteY20" fmla="*/ 492936 h 494694"/>
                <a:gd name="connsiteX21" fmla="*/ 588995 w 951279"/>
                <a:gd name="connsiteY21" fmla="*/ 491944 h 494694"/>
                <a:gd name="connsiteX22" fmla="*/ 572624 w 951279"/>
                <a:gd name="connsiteY22" fmla="*/ 492936 h 494694"/>
                <a:gd name="connsiteX23" fmla="*/ 556254 w 951279"/>
                <a:gd name="connsiteY23" fmla="*/ 491944 h 494694"/>
                <a:gd name="connsiteX24" fmla="*/ 539883 w 951279"/>
                <a:gd name="connsiteY24" fmla="*/ 490952 h 494694"/>
                <a:gd name="connsiteX25" fmla="*/ 523513 w 951279"/>
                <a:gd name="connsiteY25" fmla="*/ 491944 h 494694"/>
                <a:gd name="connsiteX26" fmla="*/ 507142 w 951279"/>
                <a:gd name="connsiteY26" fmla="*/ 492936 h 494694"/>
                <a:gd name="connsiteX27" fmla="*/ 490771 w 951279"/>
                <a:gd name="connsiteY27" fmla="*/ 492440 h 494694"/>
                <a:gd name="connsiteX28" fmla="*/ 474401 w 951279"/>
                <a:gd name="connsiteY28" fmla="*/ 491448 h 494694"/>
                <a:gd name="connsiteX29" fmla="*/ 458030 w 951279"/>
                <a:gd name="connsiteY29" fmla="*/ 492440 h 494694"/>
                <a:gd name="connsiteX30" fmla="*/ 441660 w 951279"/>
                <a:gd name="connsiteY30" fmla="*/ 491944 h 494694"/>
                <a:gd name="connsiteX31" fmla="*/ 425289 w 951279"/>
                <a:gd name="connsiteY31" fmla="*/ 492936 h 494694"/>
                <a:gd name="connsiteX32" fmla="*/ 408919 w 951279"/>
                <a:gd name="connsiteY32" fmla="*/ 493432 h 494694"/>
                <a:gd name="connsiteX33" fmla="*/ 392548 w 951279"/>
                <a:gd name="connsiteY33" fmla="*/ 492440 h 494694"/>
                <a:gd name="connsiteX34" fmla="*/ 376178 w 951279"/>
                <a:gd name="connsiteY34" fmla="*/ 491448 h 494694"/>
                <a:gd name="connsiteX35" fmla="*/ 359807 w 951279"/>
                <a:gd name="connsiteY35" fmla="*/ 492440 h 494694"/>
                <a:gd name="connsiteX36" fmla="*/ 343436 w 951279"/>
                <a:gd name="connsiteY36" fmla="*/ 492936 h 494694"/>
                <a:gd name="connsiteX37" fmla="*/ 327066 w 951279"/>
                <a:gd name="connsiteY37" fmla="*/ 492936 h 494694"/>
                <a:gd name="connsiteX38" fmla="*/ 310695 w 951279"/>
                <a:gd name="connsiteY38" fmla="*/ 492440 h 494694"/>
                <a:gd name="connsiteX39" fmla="*/ 294325 w 951279"/>
                <a:gd name="connsiteY39" fmla="*/ 491944 h 494694"/>
                <a:gd name="connsiteX40" fmla="*/ 277954 w 951279"/>
                <a:gd name="connsiteY40" fmla="*/ 492440 h 494694"/>
                <a:gd name="connsiteX41" fmla="*/ 261583 w 951279"/>
                <a:gd name="connsiteY41" fmla="*/ 490952 h 494694"/>
                <a:gd name="connsiteX42" fmla="*/ 245213 w 951279"/>
                <a:gd name="connsiteY42" fmla="*/ 493432 h 494694"/>
                <a:gd name="connsiteX43" fmla="*/ 228842 w 951279"/>
                <a:gd name="connsiteY43" fmla="*/ 493432 h 494694"/>
                <a:gd name="connsiteX44" fmla="*/ 212472 w 951279"/>
                <a:gd name="connsiteY44" fmla="*/ 492936 h 494694"/>
                <a:gd name="connsiteX45" fmla="*/ 196101 w 951279"/>
                <a:gd name="connsiteY45" fmla="*/ 491944 h 494694"/>
                <a:gd name="connsiteX46" fmla="*/ 179730 w 951279"/>
                <a:gd name="connsiteY46" fmla="*/ 493432 h 494694"/>
                <a:gd name="connsiteX47" fmla="*/ 163360 w 951279"/>
                <a:gd name="connsiteY47" fmla="*/ 492936 h 494694"/>
                <a:gd name="connsiteX48" fmla="*/ 146989 w 951279"/>
                <a:gd name="connsiteY48" fmla="*/ 492440 h 494694"/>
                <a:gd name="connsiteX49" fmla="*/ 130619 w 951279"/>
                <a:gd name="connsiteY49" fmla="*/ 493432 h 494694"/>
                <a:gd name="connsiteX50" fmla="*/ 114248 w 951279"/>
                <a:gd name="connsiteY50" fmla="*/ 491448 h 494694"/>
                <a:gd name="connsiteX51" fmla="*/ 97877 w 951279"/>
                <a:gd name="connsiteY51" fmla="*/ 491448 h 494694"/>
                <a:gd name="connsiteX52" fmla="*/ 81507 w 951279"/>
                <a:gd name="connsiteY52" fmla="*/ 492936 h 494694"/>
                <a:gd name="connsiteX53" fmla="*/ 65136 w 951279"/>
                <a:gd name="connsiteY53" fmla="*/ 492440 h 494694"/>
                <a:gd name="connsiteX54" fmla="*/ 48766 w 951279"/>
                <a:gd name="connsiteY54" fmla="*/ 492440 h 494694"/>
                <a:gd name="connsiteX55" fmla="*/ 32395 w 951279"/>
                <a:gd name="connsiteY55" fmla="*/ 492936 h 494694"/>
                <a:gd name="connsiteX56" fmla="*/ 16025 w 951279"/>
                <a:gd name="connsiteY56" fmla="*/ 492440 h 494694"/>
                <a:gd name="connsiteX57" fmla="*/ 646 w 951279"/>
                <a:gd name="connsiteY57" fmla="*/ 490952 h 494694"/>
                <a:gd name="connsiteX58" fmla="*/ 11560 w 951279"/>
                <a:gd name="connsiteY58" fmla="*/ 480038 h 494694"/>
                <a:gd name="connsiteX59" fmla="*/ 22474 w 951279"/>
                <a:gd name="connsiteY59" fmla="*/ 468133 h 494694"/>
                <a:gd name="connsiteX60" fmla="*/ 33884 w 951279"/>
                <a:gd name="connsiteY60" fmla="*/ 456723 h 494694"/>
                <a:gd name="connsiteX61" fmla="*/ 46286 w 951279"/>
                <a:gd name="connsiteY61" fmla="*/ 446305 h 494694"/>
                <a:gd name="connsiteX62" fmla="*/ 57695 w 951279"/>
                <a:gd name="connsiteY62" fmla="*/ 434895 h 494694"/>
                <a:gd name="connsiteX63" fmla="*/ 68113 w 951279"/>
                <a:gd name="connsiteY63" fmla="*/ 422493 h 494694"/>
                <a:gd name="connsiteX64" fmla="*/ 80019 w 951279"/>
                <a:gd name="connsiteY64" fmla="*/ 411580 h 494694"/>
                <a:gd name="connsiteX65" fmla="*/ 90436 w 951279"/>
                <a:gd name="connsiteY65" fmla="*/ 399178 h 494694"/>
                <a:gd name="connsiteX66" fmla="*/ 101846 w 951279"/>
                <a:gd name="connsiteY66" fmla="*/ 387768 h 494694"/>
                <a:gd name="connsiteX67" fmla="*/ 113256 w 951279"/>
                <a:gd name="connsiteY67" fmla="*/ 376358 h 494694"/>
                <a:gd name="connsiteX68" fmla="*/ 125658 w 951279"/>
                <a:gd name="connsiteY68" fmla="*/ 365940 h 494694"/>
                <a:gd name="connsiteX69" fmla="*/ 136572 w 951279"/>
                <a:gd name="connsiteY69" fmla="*/ 354035 h 494694"/>
                <a:gd name="connsiteX70" fmla="*/ 147485 w 951279"/>
                <a:gd name="connsiteY70" fmla="*/ 342129 h 494694"/>
                <a:gd name="connsiteX71" fmla="*/ 158399 w 951279"/>
                <a:gd name="connsiteY71" fmla="*/ 330223 h 494694"/>
                <a:gd name="connsiteX72" fmla="*/ 170801 w 951279"/>
                <a:gd name="connsiteY72" fmla="*/ 320301 h 494694"/>
                <a:gd name="connsiteX73" fmla="*/ 181715 w 951279"/>
                <a:gd name="connsiteY73" fmla="*/ 308395 h 494694"/>
                <a:gd name="connsiteX74" fmla="*/ 193621 w 951279"/>
                <a:gd name="connsiteY74" fmla="*/ 297482 h 494694"/>
                <a:gd name="connsiteX75" fmla="*/ 204534 w 951279"/>
                <a:gd name="connsiteY75" fmla="*/ 285576 h 494694"/>
                <a:gd name="connsiteX76" fmla="*/ 215944 w 951279"/>
                <a:gd name="connsiteY76" fmla="*/ 274166 h 494694"/>
                <a:gd name="connsiteX77" fmla="*/ 226858 w 951279"/>
                <a:gd name="connsiteY77" fmla="*/ 262260 h 494694"/>
                <a:gd name="connsiteX78" fmla="*/ 239260 w 951279"/>
                <a:gd name="connsiteY78" fmla="*/ 251842 h 494694"/>
                <a:gd name="connsiteX79" fmla="*/ 249181 w 951279"/>
                <a:gd name="connsiteY79" fmla="*/ 239440 h 494694"/>
                <a:gd name="connsiteX80" fmla="*/ 261087 w 951279"/>
                <a:gd name="connsiteY80" fmla="*/ 229023 h 494694"/>
                <a:gd name="connsiteX81" fmla="*/ 272993 w 951279"/>
                <a:gd name="connsiteY81" fmla="*/ 218109 h 494694"/>
                <a:gd name="connsiteX82" fmla="*/ 283411 w 951279"/>
                <a:gd name="connsiteY82" fmla="*/ 205707 h 494694"/>
                <a:gd name="connsiteX83" fmla="*/ 295317 w 951279"/>
                <a:gd name="connsiteY83" fmla="*/ 194793 h 494694"/>
                <a:gd name="connsiteX84" fmla="*/ 307223 w 951279"/>
                <a:gd name="connsiteY84" fmla="*/ 183880 h 494694"/>
                <a:gd name="connsiteX85" fmla="*/ 318632 w 951279"/>
                <a:gd name="connsiteY85" fmla="*/ 172470 h 494694"/>
                <a:gd name="connsiteX86" fmla="*/ 329546 w 951279"/>
                <a:gd name="connsiteY86" fmla="*/ 161060 h 494694"/>
                <a:gd name="connsiteX87" fmla="*/ 340460 w 951279"/>
                <a:gd name="connsiteY87" fmla="*/ 149155 h 494694"/>
                <a:gd name="connsiteX88" fmla="*/ 352366 w 951279"/>
                <a:gd name="connsiteY88" fmla="*/ 138241 h 494694"/>
                <a:gd name="connsiteX89" fmla="*/ 363279 w 951279"/>
                <a:gd name="connsiteY89" fmla="*/ 126335 h 494694"/>
                <a:gd name="connsiteX90" fmla="*/ 375185 w 951279"/>
                <a:gd name="connsiteY90" fmla="*/ 115421 h 494694"/>
                <a:gd name="connsiteX91" fmla="*/ 385603 w 951279"/>
                <a:gd name="connsiteY91" fmla="*/ 103019 h 494694"/>
                <a:gd name="connsiteX92" fmla="*/ 398005 w 951279"/>
                <a:gd name="connsiteY92" fmla="*/ 92602 h 494694"/>
                <a:gd name="connsiteX93" fmla="*/ 408423 w 951279"/>
                <a:gd name="connsiteY93" fmla="*/ 80200 h 494694"/>
                <a:gd name="connsiteX94" fmla="*/ 420328 w 951279"/>
                <a:gd name="connsiteY94" fmla="*/ 69782 h 494694"/>
                <a:gd name="connsiteX95" fmla="*/ 430746 w 951279"/>
                <a:gd name="connsiteY95" fmla="*/ 57876 h 494694"/>
                <a:gd name="connsiteX96" fmla="*/ 443148 w 951279"/>
                <a:gd name="connsiteY96" fmla="*/ 47459 h 494694"/>
                <a:gd name="connsiteX97" fmla="*/ 454062 w 951279"/>
                <a:gd name="connsiteY97" fmla="*/ 35553 h 494694"/>
                <a:gd name="connsiteX98" fmla="*/ 466464 w 951279"/>
                <a:gd name="connsiteY98" fmla="*/ 25135 h 494694"/>
                <a:gd name="connsiteX99" fmla="*/ 477377 w 951279"/>
                <a:gd name="connsiteY99" fmla="*/ 13229 h 494694"/>
                <a:gd name="connsiteX100" fmla="*/ 488291 w 951279"/>
                <a:gd name="connsiteY100" fmla="*/ 1323 h 494694"/>
                <a:gd name="connsiteX101" fmla="*/ 496290 w 951279"/>
                <a:gd name="connsiteY101" fmla="*/ 207 h 494694"/>
                <a:gd name="connsiteX102" fmla="*/ 504661 w 951279"/>
                <a:gd name="connsiteY102" fmla="*/ 1323 h 494694"/>
                <a:gd name="connsiteX103" fmla="*/ 521032 w 951279"/>
                <a:gd name="connsiteY103" fmla="*/ 1323 h 494694"/>
                <a:gd name="connsiteX104" fmla="*/ 537403 w 951279"/>
                <a:gd name="connsiteY104" fmla="*/ 1819 h 494694"/>
                <a:gd name="connsiteX105" fmla="*/ 553773 w 951279"/>
                <a:gd name="connsiteY105" fmla="*/ 1819 h 494694"/>
                <a:gd name="connsiteX106" fmla="*/ 570144 w 951279"/>
                <a:gd name="connsiteY106" fmla="*/ 2812 h 494694"/>
                <a:gd name="connsiteX107" fmla="*/ 586514 w 951279"/>
                <a:gd name="connsiteY107" fmla="*/ 1819 h 494694"/>
                <a:gd name="connsiteX108" fmla="*/ 602885 w 951279"/>
                <a:gd name="connsiteY108" fmla="*/ 2812 h 494694"/>
                <a:gd name="connsiteX109" fmla="*/ 619256 w 951279"/>
                <a:gd name="connsiteY109" fmla="*/ 1819 h 494694"/>
                <a:gd name="connsiteX110" fmla="*/ 635626 w 951279"/>
                <a:gd name="connsiteY110" fmla="*/ 1323 h 494694"/>
                <a:gd name="connsiteX111" fmla="*/ 651997 w 951279"/>
                <a:gd name="connsiteY111" fmla="*/ 1819 h 494694"/>
                <a:gd name="connsiteX112" fmla="*/ 668367 w 951279"/>
                <a:gd name="connsiteY112" fmla="*/ 2315 h 494694"/>
                <a:gd name="connsiteX113" fmla="*/ 684738 w 951279"/>
                <a:gd name="connsiteY113" fmla="*/ 2812 h 494694"/>
                <a:gd name="connsiteX114" fmla="*/ 701109 w 951279"/>
                <a:gd name="connsiteY114" fmla="*/ 1323 h 494694"/>
                <a:gd name="connsiteX115" fmla="*/ 717479 w 951279"/>
                <a:gd name="connsiteY115" fmla="*/ 2315 h 494694"/>
                <a:gd name="connsiteX116" fmla="*/ 733850 w 951279"/>
                <a:gd name="connsiteY116" fmla="*/ 3308 h 494694"/>
                <a:gd name="connsiteX117" fmla="*/ 750220 w 951279"/>
                <a:gd name="connsiteY117" fmla="*/ 3308 h 494694"/>
                <a:gd name="connsiteX118" fmla="*/ 766591 w 951279"/>
                <a:gd name="connsiteY118" fmla="*/ 2315 h 494694"/>
                <a:gd name="connsiteX119" fmla="*/ 782962 w 951279"/>
                <a:gd name="connsiteY119" fmla="*/ 2315 h 494694"/>
                <a:gd name="connsiteX120" fmla="*/ 799332 w 951279"/>
                <a:gd name="connsiteY120" fmla="*/ 2812 h 494694"/>
                <a:gd name="connsiteX121" fmla="*/ 815703 w 951279"/>
                <a:gd name="connsiteY121" fmla="*/ 2812 h 494694"/>
                <a:gd name="connsiteX122" fmla="*/ 832073 w 951279"/>
                <a:gd name="connsiteY122" fmla="*/ 2315 h 494694"/>
                <a:gd name="connsiteX123" fmla="*/ 848444 w 951279"/>
                <a:gd name="connsiteY123" fmla="*/ 2812 h 494694"/>
                <a:gd name="connsiteX124" fmla="*/ 864814 w 951279"/>
                <a:gd name="connsiteY124" fmla="*/ 1323 h 494694"/>
                <a:gd name="connsiteX125" fmla="*/ 881185 w 951279"/>
                <a:gd name="connsiteY125" fmla="*/ 2315 h 494694"/>
                <a:gd name="connsiteX126" fmla="*/ 897555 w 951279"/>
                <a:gd name="connsiteY126" fmla="*/ 1323 h 494694"/>
                <a:gd name="connsiteX127" fmla="*/ 913926 w 951279"/>
                <a:gd name="connsiteY127" fmla="*/ 827 h 494694"/>
                <a:gd name="connsiteX128" fmla="*/ 930296 w 951279"/>
                <a:gd name="connsiteY128" fmla="*/ 2315 h 494694"/>
                <a:gd name="connsiteX0" fmla="*/ 916406 w 930296"/>
                <a:gd name="connsiteY0" fmla="*/ 490456 h 494694"/>
                <a:gd name="connsiteX1" fmla="*/ 900036 w 930296"/>
                <a:gd name="connsiteY1" fmla="*/ 490456 h 494694"/>
                <a:gd name="connsiteX2" fmla="*/ 883665 w 930296"/>
                <a:gd name="connsiteY2" fmla="*/ 491944 h 494694"/>
                <a:gd name="connsiteX3" fmla="*/ 867295 w 930296"/>
                <a:gd name="connsiteY3" fmla="*/ 490456 h 494694"/>
                <a:gd name="connsiteX4" fmla="*/ 850924 w 930296"/>
                <a:gd name="connsiteY4" fmla="*/ 490952 h 494694"/>
                <a:gd name="connsiteX5" fmla="*/ 834553 w 930296"/>
                <a:gd name="connsiteY5" fmla="*/ 491448 h 494694"/>
                <a:gd name="connsiteX6" fmla="*/ 818183 w 930296"/>
                <a:gd name="connsiteY6" fmla="*/ 491944 h 494694"/>
                <a:gd name="connsiteX7" fmla="*/ 801812 w 930296"/>
                <a:gd name="connsiteY7" fmla="*/ 491944 h 494694"/>
                <a:gd name="connsiteX8" fmla="*/ 785442 w 930296"/>
                <a:gd name="connsiteY8" fmla="*/ 491944 h 494694"/>
                <a:gd name="connsiteX9" fmla="*/ 769071 w 930296"/>
                <a:gd name="connsiteY9" fmla="*/ 489960 h 494694"/>
                <a:gd name="connsiteX10" fmla="*/ 752700 w 930296"/>
                <a:gd name="connsiteY10" fmla="*/ 490952 h 494694"/>
                <a:gd name="connsiteX11" fmla="*/ 736330 w 930296"/>
                <a:gd name="connsiteY11" fmla="*/ 491944 h 494694"/>
                <a:gd name="connsiteX12" fmla="*/ 719959 w 930296"/>
                <a:gd name="connsiteY12" fmla="*/ 490456 h 494694"/>
                <a:gd name="connsiteX13" fmla="*/ 703589 w 930296"/>
                <a:gd name="connsiteY13" fmla="*/ 491944 h 494694"/>
                <a:gd name="connsiteX14" fmla="*/ 687218 w 930296"/>
                <a:gd name="connsiteY14" fmla="*/ 491944 h 494694"/>
                <a:gd name="connsiteX15" fmla="*/ 670847 w 930296"/>
                <a:gd name="connsiteY15" fmla="*/ 491944 h 494694"/>
                <a:gd name="connsiteX16" fmla="*/ 654477 w 930296"/>
                <a:gd name="connsiteY16" fmla="*/ 492440 h 494694"/>
                <a:gd name="connsiteX17" fmla="*/ 638106 w 930296"/>
                <a:gd name="connsiteY17" fmla="*/ 490952 h 494694"/>
                <a:gd name="connsiteX18" fmla="*/ 621736 w 930296"/>
                <a:gd name="connsiteY18" fmla="*/ 490952 h 494694"/>
                <a:gd name="connsiteX19" fmla="*/ 605365 w 930296"/>
                <a:gd name="connsiteY19" fmla="*/ 492936 h 494694"/>
                <a:gd name="connsiteX20" fmla="*/ 588995 w 930296"/>
                <a:gd name="connsiteY20" fmla="*/ 491944 h 494694"/>
                <a:gd name="connsiteX21" fmla="*/ 572624 w 930296"/>
                <a:gd name="connsiteY21" fmla="*/ 492936 h 494694"/>
                <a:gd name="connsiteX22" fmla="*/ 556254 w 930296"/>
                <a:gd name="connsiteY22" fmla="*/ 491944 h 494694"/>
                <a:gd name="connsiteX23" fmla="*/ 539883 w 930296"/>
                <a:gd name="connsiteY23" fmla="*/ 490952 h 494694"/>
                <a:gd name="connsiteX24" fmla="*/ 523513 w 930296"/>
                <a:gd name="connsiteY24" fmla="*/ 491944 h 494694"/>
                <a:gd name="connsiteX25" fmla="*/ 507142 w 930296"/>
                <a:gd name="connsiteY25" fmla="*/ 492936 h 494694"/>
                <a:gd name="connsiteX26" fmla="*/ 490771 w 930296"/>
                <a:gd name="connsiteY26" fmla="*/ 492440 h 494694"/>
                <a:gd name="connsiteX27" fmla="*/ 474401 w 930296"/>
                <a:gd name="connsiteY27" fmla="*/ 491448 h 494694"/>
                <a:gd name="connsiteX28" fmla="*/ 458030 w 930296"/>
                <a:gd name="connsiteY28" fmla="*/ 492440 h 494694"/>
                <a:gd name="connsiteX29" fmla="*/ 441660 w 930296"/>
                <a:gd name="connsiteY29" fmla="*/ 491944 h 494694"/>
                <a:gd name="connsiteX30" fmla="*/ 425289 w 930296"/>
                <a:gd name="connsiteY30" fmla="*/ 492936 h 494694"/>
                <a:gd name="connsiteX31" fmla="*/ 408919 w 930296"/>
                <a:gd name="connsiteY31" fmla="*/ 493432 h 494694"/>
                <a:gd name="connsiteX32" fmla="*/ 392548 w 930296"/>
                <a:gd name="connsiteY32" fmla="*/ 492440 h 494694"/>
                <a:gd name="connsiteX33" fmla="*/ 376178 w 930296"/>
                <a:gd name="connsiteY33" fmla="*/ 491448 h 494694"/>
                <a:gd name="connsiteX34" fmla="*/ 359807 w 930296"/>
                <a:gd name="connsiteY34" fmla="*/ 492440 h 494694"/>
                <a:gd name="connsiteX35" fmla="*/ 343436 w 930296"/>
                <a:gd name="connsiteY35" fmla="*/ 492936 h 494694"/>
                <a:gd name="connsiteX36" fmla="*/ 327066 w 930296"/>
                <a:gd name="connsiteY36" fmla="*/ 492936 h 494694"/>
                <a:gd name="connsiteX37" fmla="*/ 310695 w 930296"/>
                <a:gd name="connsiteY37" fmla="*/ 492440 h 494694"/>
                <a:gd name="connsiteX38" fmla="*/ 294325 w 930296"/>
                <a:gd name="connsiteY38" fmla="*/ 491944 h 494694"/>
                <a:gd name="connsiteX39" fmla="*/ 277954 w 930296"/>
                <a:gd name="connsiteY39" fmla="*/ 492440 h 494694"/>
                <a:gd name="connsiteX40" fmla="*/ 261583 w 930296"/>
                <a:gd name="connsiteY40" fmla="*/ 490952 h 494694"/>
                <a:gd name="connsiteX41" fmla="*/ 245213 w 930296"/>
                <a:gd name="connsiteY41" fmla="*/ 493432 h 494694"/>
                <a:gd name="connsiteX42" fmla="*/ 228842 w 930296"/>
                <a:gd name="connsiteY42" fmla="*/ 493432 h 494694"/>
                <a:gd name="connsiteX43" fmla="*/ 212472 w 930296"/>
                <a:gd name="connsiteY43" fmla="*/ 492936 h 494694"/>
                <a:gd name="connsiteX44" fmla="*/ 196101 w 930296"/>
                <a:gd name="connsiteY44" fmla="*/ 491944 h 494694"/>
                <a:gd name="connsiteX45" fmla="*/ 179730 w 930296"/>
                <a:gd name="connsiteY45" fmla="*/ 493432 h 494694"/>
                <a:gd name="connsiteX46" fmla="*/ 163360 w 930296"/>
                <a:gd name="connsiteY46" fmla="*/ 492936 h 494694"/>
                <a:gd name="connsiteX47" fmla="*/ 146989 w 930296"/>
                <a:gd name="connsiteY47" fmla="*/ 492440 h 494694"/>
                <a:gd name="connsiteX48" fmla="*/ 130619 w 930296"/>
                <a:gd name="connsiteY48" fmla="*/ 493432 h 494694"/>
                <a:gd name="connsiteX49" fmla="*/ 114248 w 930296"/>
                <a:gd name="connsiteY49" fmla="*/ 491448 h 494694"/>
                <a:gd name="connsiteX50" fmla="*/ 97877 w 930296"/>
                <a:gd name="connsiteY50" fmla="*/ 491448 h 494694"/>
                <a:gd name="connsiteX51" fmla="*/ 81507 w 930296"/>
                <a:gd name="connsiteY51" fmla="*/ 492936 h 494694"/>
                <a:gd name="connsiteX52" fmla="*/ 65136 w 930296"/>
                <a:gd name="connsiteY52" fmla="*/ 492440 h 494694"/>
                <a:gd name="connsiteX53" fmla="*/ 48766 w 930296"/>
                <a:gd name="connsiteY53" fmla="*/ 492440 h 494694"/>
                <a:gd name="connsiteX54" fmla="*/ 32395 w 930296"/>
                <a:gd name="connsiteY54" fmla="*/ 492936 h 494694"/>
                <a:gd name="connsiteX55" fmla="*/ 16025 w 930296"/>
                <a:gd name="connsiteY55" fmla="*/ 492440 h 494694"/>
                <a:gd name="connsiteX56" fmla="*/ 646 w 930296"/>
                <a:gd name="connsiteY56" fmla="*/ 490952 h 494694"/>
                <a:gd name="connsiteX57" fmla="*/ 11560 w 930296"/>
                <a:gd name="connsiteY57" fmla="*/ 480038 h 494694"/>
                <a:gd name="connsiteX58" fmla="*/ 22474 w 930296"/>
                <a:gd name="connsiteY58" fmla="*/ 468133 h 494694"/>
                <a:gd name="connsiteX59" fmla="*/ 33884 w 930296"/>
                <a:gd name="connsiteY59" fmla="*/ 456723 h 494694"/>
                <a:gd name="connsiteX60" fmla="*/ 46286 w 930296"/>
                <a:gd name="connsiteY60" fmla="*/ 446305 h 494694"/>
                <a:gd name="connsiteX61" fmla="*/ 57695 w 930296"/>
                <a:gd name="connsiteY61" fmla="*/ 434895 h 494694"/>
                <a:gd name="connsiteX62" fmla="*/ 68113 w 930296"/>
                <a:gd name="connsiteY62" fmla="*/ 422493 h 494694"/>
                <a:gd name="connsiteX63" fmla="*/ 80019 w 930296"/>
                <a:gd name="connsiteY63" fmla="*/ 411580 h 494694"/>
                <a:gd name="connsiteX64" fmla="*/ 90436 w 930296"/>
                <a:gd name="connsiteY64" fmla="*/ 399178 h 494694"/>
                <a:gd name="connsiteX65" fmla="*/ 101846 w 930296"/>
                <a:gd name="connsiteY65" fmla="*/ 387768 h 494694"/>
                <a:gd name="connsiteX66" fmla="*/ 113256 w 930296"/>
                <a:gd name="connsiteY66" fmla="*/ 376358 h 494694"/>
                <a:gd name="connsiteX67" fmla="*/ 125658 w 930296"/>
                <a:gd name="connsiteY67" fmla="*/ 365940 h 494694"/>
                <a:gd name="connsiteX68" fmla="*/ 136572 w 930296"/>
                <a:gd name="connsiteY68" fmla="*/ 354035 h 494694"/>
                <a:gd name="connsiteX69" fmla="*/ 147485 w 930296"/>
                <a:gd name="connsiteY69" fmla="*/ 342129 h 494694"/>
                <a:gd name="connsiteX70" fmla="*/ 158399 w 930296"/>
                <a:gd name="connsiteY70" fmla="*/ 330223 h 494694"/>
                <a:gd name="connsiteX71" fmla="*/ 170801 w 930296"/>
                <a:gd name="connsiteY71" fmla="*/ 320301 h 494694"/>
                <a:gd name="connsiteX72" fmla="*/ 181715 w 930296"/>
                <a:gd name="connsiteY72" fmla="*/ 308395 h 494694"/>
                <a:gd name="connsiteX73" fmla="*/ 193621 w 930296"/>
                <a:gd name="connsiteY73" fmla="*/ 297482 h 494694"/>
                <a:gd name="connsiteX74" fmla="*/ 204534 w 930296"/>
                <a:gd name="connsiteY74" fmla="*/ 285576 h 494694"/>
                <a:gd name="connsiteX75" fmla="*/ 215944 w 930296"/>
                <a:gd name="connsiteY75" fmla="*/ 274166 h 494694"/>
                <a:gd name="connsiteX76" fmla="*/ 226858 w 930296"/>
                <a:gd name="connsiteY76" fmla="*/ 262260 h 494694"/>
                <a:gd name="connsiteX77" fmla="*/ 239260 w 930296"/>
                <a:gd name="connsiteY77" fmla="*/ 251842 h 494694"/>
                <a:gd name="connsiteX78" fmla="*/ 249181 w 930296"/>
                <a:gd name="connsiteY78" fmla="*/ 239440 h 494694"/>
                <a:gd name="connsiteX79" fmla="*/ 261087 w 930296"/>
                <a:gd name="connsiteY79" fmla="*/ 229023 h 494694"/>
                <a:gd name="connsiteX80" fmla="*/ 272993 w 930296"/>
                <a:gd name="connsiteY80" fmla="*/ 218109 h 494694"/>
                <a:gd name="connsiteX81" fmla="*/ 283411 w 930296"/>
                <a:gd name="connsiteY81" fmla="*/ 205707 h 494694"/>
                <a:gd name="connsiteX82" fmla="*/ 295317 w 930296"/>
                <a:gd name="connsiteY82" fmla="*/ 194793 h 494694"/>
                <a:gd name="connsiteX83" fmla="*/ 307223 w 930296"/>
                <a:gd name="connsiteY83" fmla="*/ 183880 h 494694"/>
                <a:gd name="connsiteX84" fmla="*/ 318632 w 930296"/>
                <a:gd name="connsiteY84" fmla="*/ 172470 h 494694"/>
                <a:gd name="connsiteX85" fmla="*/ 329546 w 930296"/>
                <a:gd name="connsiteY85" fmla="*/ 161060 h 494694"/>
                <a:gd name="connsiteX86" fmla="*/ 340460 w 930296"/>
                <a:gd name="connsiteY86" fmla="*/ 149155 h 494694"/>
                <a:gd name="connsiteX87" fmla="*/ 352366 w 930296"/>
                <a:gd name="connsiteY87" fmla="*/ 138241 h 494694"/>
                <a:gd name="connsiteX88" fmla="*/ 363279 w 930296"/>
                <a:gd name="connsiteY88" fmla="*/ 126335 h 494694"/>
                <a:gd name="connsiteX89" fmla="*/ 375185 w 930296"/>
                <a:gd name="connsiteY89" fmla="*/ 115421 h 494694"/>
                <a:gd name="connsiteX90" fmla="*/ 385603 w 930296"/>
                <a:gd name="connsiteY90" fmla="*/ 103019 h 494694"/>
                <a:gd name="connsiteX91" fmla="*/ 398005 w 930296"/>
                <a:gd name="connsiteY91" fmla="*/ 92602 h 494694"/>
                <a:gd name="connsiteX92" fmla="*/ 408423 w 930296"/>
                <a:gd name="connsiteY92" fmla="*/ 80200 h 494694"/>
                <a:gd name="connsiteX93" fmla="*/ 420328 w 930296"/>
                <a:gd name="connsiteY93" fmla="*/ 69782 h 494694"/>
                <a:gd name="connsiteX94" fmla="*/ 430746 w 930296"/>
                <a:gd name="connsiteY94" fmla="*/ 57876 h 494694"/>
                <a:gd name="connsiteX95" fmla="*/ 443148 w 930296"/>
                <a:gd name="connsiteY95" fmla="*/ 47459 h 494694"/>
                <a:gd name="connsiteX96" fmla="*/ 454062 w 930296"/>
                <a:gd name="connsiteY96" fmla="*/ 35553 h 494694"/>
                <a:gd name="connsiteX97" fmla="*/ 466464 w 930296"/>
                <a:gd name="connsiteY97" fmla="*/ 25135 h 494694"/>
                <a:gd name="connsiteX98" fmla="*/ 477377 w 930296"/>
                <a:gd name="connsiteY98" fmla="*/ 13229 h 494694"/>
                <a:gd name="connsiteX99" fmla="*/ 488291 w 930296"/>
                <a:gd name="connsiteY99" fmla="*/ 1323 h 494694"/>
                <a:gd name="connsiteX100" fmla="*/ 496290 w 930296"/>
                <a:gd name="connsiteY100" fmla="*/ 207 h 494694"/>
                <a:gd name="connsiteX101" fmla="*/ 504661 w 930296"/>
                <a:gd name="connsiteY101" fmla="*/ 1323 h 494694"/>
                <a:gd name="connsiteX102" fmla="*/ 521032 w 930296"/>
                <a:gd name="connsiteY102" fmla="*/ 1323 h 494694"/>
                <a:gd name="connsiteX103" fmla="*/ 537403 w 930296"/>
                <a:gd name="connsiteY103" fmla="*/ 1819 h 494694"/>
                <a:gd name="connsiteX104" fmla="*/ 553773 w 930296"/>
                <a:gd name="connsiteY104" fmla="*/ 1819 h 494694"/>
                <a:gd name="connsiteX105" fmla="*/ 570144 w 930296"/>
                <a:gd name="connsiteY105" fmla="*/ 2812 h 494694"/>
                <a:gd name="connsiteX106" fmla="*/ 586514 w 930296"/>
                <a:gd name="connsiteY106" fmla="*/ 1819 h 494694"/>
                <a:gd name="connsiteX107" fmla="*/ 602885 w 930296"/>
                <a:gd name="connsiteY107" fmla="*/ 2812 h 494694"/>
                <a:gd name="connsiteX108" fmla="*/ 619256 w 930296"/>
                <a:gd name="connsiteY108" fmla="*/ 1819 h 494694"/>
                <a:gd name="connsiteX109" fmla="*/ 635626 w 930296"/>
                <a:gd name="connsiteY109" fmla="*/ 1323 h 494694"/>
                <a:gd name="connsiteX110" fmla="*/ 651997 w 930296"/>
                <a:gd name="connsiteY110" fmla="*/ 1819 h 494694"/>
                <a:gd name="connsiteX111" fmla="*/ 668367 w 930296"/>
                <a:gd name="connsiteY111" fmla="*/ 2315 h 494694"/>
                <a:gd name="connsiteX112" fmla="*/ 684738 w 930296"/>
                <a:gd name="connsiteY112" fmla="*/ 2812 h 494694"/>
                <a:gd name="connsiteX113" fmla="*/ 701109 w 930296"/>
                <a:gd name="connsiteY113" fmla="*/ 1323 h 494694"/>
                <a:gd name="connsiteX114" fmla="*/ 717479 w 930296"/>
                <a:gd name="connsiteY114" fmla="*/ 2315 h 494694"/>
                <a:gd name="connsiteX115" fmla="*/ 733850 w 930296"/>
                <a:gd name="connsiteY115" fmla="*/ 3308 h 494694"/>
                <a:gd name="connsiteX116" fmla="*/ 750220 w 930296"/>
                <a:gd name="connsiteY116" fmla="*/ 3308 h 494694"/>
                <a:gd name="connsiteX117" fmla="*/ 766591 w 930296"/>
                <a:gd name="connsiteY117" fmla="*/ 2315 h 494694"/>
                <a:gd name="connsiteX118" fmla="*/ 782962 w 930296"/>
                <a:gd name="connsiteY118" fmla="*/ 2315 h 494694"/>
                <a:gd name="connsiteX119" fmla="*/ 799332 w 930296"/>
                <a:gd name="connsiteY119" fmla="*/ 2812 h 494694"/>
                <a:gd name="connsiteX120" fmla="*/ 815703 w 930296"/>
                <a:gd name="connsiteY120" fmla="*/ 2812 h 494694"/>
                <a:gd name="connsiteX121" fmla="*/ 832073 w 930296"/>
                <a:gd name="connsiteY121" fmla="*/ 2315 h 494694"/>
                <a:gd name="connsiteX122" fmla="*/ 848444 w 930296"/>
                <a:gd name="connsiteY122" fmla="*/ 2812 h 494694"/>
                <a:gd name="connsiteX123" fmla="*/ 864814 w 930296"/>
                <a:gd name="connsiteY123" fmla="*/ 1323 h 494694"/>
                <a:gd name="connsiteX124" fmla="*/ 881185 w 930296"/>
                <a:gd name="connsiteY124" fmla="*/ 2315 h 494694"/>
                <a:gd name="connsiteX125" fmla="*/ 897555 w 930296"/>
                <a:gd name="connsiteY125" fmla="*/ 1323 h 494694"/>
                <a:gd name="connsiteX126" fmla="*/ 913926 w 930296"/>
                <a:gd name="connsiteY126" fmla="*/ 827 h 494694"/>
                <a:gd name="connsiteX127" fmla="*/ 930296 w 930296"/>
                <a:gd name="connsiteY127" fmla="*/ 2315 h 49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930296" h="494694">
                  <a:moveTo>
                    <a:pt x="916406" y="490456"/>
                  </a:moveTo>
                  <a:lnTo>
                    <a:pt x="900036" y="490456"/>
                  </a:lnTo>
                  <a:cubicBezTo>
                    <a:pt x="891602" y="490456"/>
                    <a:pt x="891602" y="491944"/>
                    <a:pt x="883665" y="491944"/>
                  </a:cubicBezTo>
                  <a:cubicBezTo>
                    <a:pt x="875232" y="491944"/>
                    <a:pt x="875232" y="490456"/>
                    <a:pt x="867295" y="490456"/>
                  </a:cubicBezTo>
                  <a:cubicBezTo>
                    <a:pt x="858861" y="490456"/>
                    <a:pt x="858861" y="490952"/>
                    <a:pt x="850924" y="490952"/>
                  </a:cubicBezTo>
                  <a:cubicBezTo>
                    <a:pt x="842491" y="490952"/>
                    <a:pt x="842491" y="491448"/>
                    <a:pt x="834553" y="491448"/>
                  </a:cubicBezTo>
                  <a:cubicBezTo>
                    <a:pt x="826120" y="491448"/>
                    <a:pt x="826616" y="491944"/>
                    <a:pt x="818183" y="491944"/>
                  </a:cubicBezTo>
                  <a:lnTo>
                    <a:pt x="801812" y="491944"/>
                  </a:lnTo>
                  <a:lnTo>
                    <a:pt x="785442" y="491944"/>
                  </a:lnTo>
                  <a:cubicBezTo>
                    <a:pt x="777008" y="491944"/>
                    <a:pt x="777008" y="489960"/>
                    <a:pt x="769071" y="489960"/>
                  </a:cubicBezTo>
                  <a:cubicBezTo>
                    <a:pt x="760638" y="489960"/>
                    <a:pt x="760638" y="490952"/>
                    <a:pt x="752700" y="490952"/>
                  </a:cubicBezTo>
                  <a:cubicBezTo>
                    <a:pt x="744267" y="490952"/>
                    <a:pt x="744267" y="491944"/>
                    <a:pt x="736330" y="491944"/>
                  </a:cubicBezTo>
                  <a:cubicBezTo>
                    <a:pt x="727896" y="491944"/>
                    <a:pt x="727896" y="490456"/>
                    <a:pt x="719959" y="490456"/>
                  </a:cubicBezTo>
                  <a:cubicBezTo>
                    <a:pt x="711526" y="490456"/>
                    <a:pt x="711526" y="491944"/>
                    <a:pt x="703589" y="491944"/>
                  </a:cubicBezTo>
                  <a:lnTo>
                    <a:pt x="687218" y="491944"/>
                  </a:lnTo>
                  <a:lnTo>
                    <a:pt x="670847" y="491944"/>
                  </a:lnTo>
                  <a:cubicBezTo>
                    <a:pt x="662414" y="491944"/>
                    <a:pt x="662414" y="492440"/>
                    <a:pt x="654477" y="492440"/>
                  </a:cubicBezTo>
                  <a:cubicBezTo>
                    <a:pt x="646044" y="492440"/>
                    <a:pt x="646044" y="490952"/>
                    <a:pt x="638106" y="490952"/>
                  </a:cubicBezTo>
                  <a:lnTo>
                    <a:pt x="621736" y="490952"/>
                  </a:lnTo>
                  <a:cubicBezTo>
                    <a:pt x="613303" y="490952"/>
                    <a:pt x="613303" y="492936"/>
                    <a:pt x="605365" y="492936"/>
                  </a:cubicBezTo>
                  <a:cubicBezTo>
                    <a:pt x="596932" y="492936"/>
                    <a:pt x="596932" y="491944"/>
                    <a:pt x="588995" y="491944"/>
                  </a:cubicBezTo>
                  <a:cubicBezTo>
                    <a:pt x="580561" y="491944"/>
                    <a:pt x="580561" y="492936"/>
                    <a:pt x="572624" y="492936"/>
                  </a:cubicBezTo>
                  <a:cubicBezTo>
                    <a:pt x="564191" y="492936"/>
                    <a:pt x="564191" y="491944"/>
                    <a:pt x="556254" y="491944"/>
                  </a:cubicBezTo>
                  <a:cubicBezTo>
                    <a:pt x="547820" y="491944"/>
                    <a:pt x="548316" y="490952"/>
                    <a:pt x="539883" y="490952"/>
                  </a:cubicBezTo>
                  <a:cubicBezTo>
                    <a:pt x="531450" y="490952"/>
                    <a:pt x="531450" y="491944"/>
                    <a:pt x="523513" y="491944"/>
                  </a:cubicBezTo>
                  <a:cubicBezTo>
                    <a:pt x="515079" y="491944"/>
                    <a:pt x="515079" y="492936"/>
                    <a:pt x="507142" y="492936"/>
                  </a:cubicBezTo>
                  <a:cubicBezTo>
                    <a:pt x="498709" y="492936"/>
                    <a:pt x="498709" y="492440"/>
                    <a:pt x="490771" y="492440"/>
                  </a:cubicBezTo>
                  <a:cubicBezTo>
                    <a:pt x="482338" y="492440"/>
                    <a:pt x="482338" y="491448"/>
                    <a:pt x="474401" y="491448"/>
                  </a:cubicBezTo>
                  <a:cubicBezTo>
                    <a:pt x="465968" y="491448"/>
                    <a:pt x="465968" y="492440"/>
                    <a:pt x="458030" y="492440"/>
                  </a:cubicBezTo>
                  <a:cubicBezTo>
                    <a:pt x="449597" y="492440"/>
                    <a:pt x="449597" y="491944"/>
                    <a:pt x="441660" y="491944"/>
                  </a:cubicBezTo>
                  <a:cubicBezTo>
                    <a:pt x="433227" y="491944"/>
                    <a:pt x="433227" y="492936"/>
                    <a:pt x="425289" y="492936"/>
                  </a:cubicBezTo>
                  <a:cubicBezTo>
                    <a:pt x="416856" y="492936"/>
                    <a:pt x="416856" y="493432"/>
                    <a:pt x="408919" y="493432"/>
                  </a:cubicBezTo>
                  <a:cubicBezTo>
                    <a:pt x="400485" y="493432"/>
                    <a:pt x="400485" y="492440"/>
                    <a:pt x="392548" y="492440"/>
                  </a:cubicBezTo>
                  <a:cubicBezTo>
                    <a:pt x="384115" y="492440"/>
                    <a:pt x="384115" y="491448"/>
                    <a:pt x="376178" y="491448"/>
                  </a:cubicBezTo>
                  <a:cubicBezTo>
                    <a:pt x="367744" y="491448"/>
                    <a:pt x="368240" y="492440"/>
                    <a:pt x="359807" y="492440"/>
                  </a:cubicBezTo>
                  <a:cubicBezTo>
                    <a:pt x="351374" y="492440"/>
                    <a:pt x="351374" y="492936"/>
                    <a:pt x="343436" y="492936"/>
                  </a:cubicBezTo>
                  <a:lnTo>
                    <a:pt x="327066" y="492936"/>
                  </a:lnTo>
                  <a:cubicBezTo>
                    <a:pt x="318632" y="492936"/>
                    <a:pt x="318632" y="492440"/>
                    <a:pt x="310695" y="492440"/>
                  </a:cubicBezTo>
                  <a:cubicBezTo>
                    <a:pt x="302262" y="492440"/>
                    <a:pt x="302262" y="491944"/>
                    <a:pt x="294325" y="491944"/>
                  </a:cubicBezTo>
                  <a:cubicBezTo>
                    <a:pt x="285891" y="491944"/>
                    <a:pt x="285891" y="492440"/>
                    <a:pt x="277954" y="492440"/>
                  </a:cubicBezTo>
                  <a:cubicBezTo>
                    <a:pt x="269521" y="492440"/>
                    <a:pt x="269521" y="490952"/>
                    <a:pt x="261583" y="490952"/>
                  </a:cubicBezTo>
                  <a:cubicBezTo>
                    <a:pt x="253150" y="490952"/>
                    <a:pt x="253150" y="493432"/>
                    <a:pt x="245213" y="493432"/>
                  </a:cubicBezTo>
                  <a:lnTo>
                    <a:pt x="228842" y="493432"/>
                  </a:lnTo>
                  <a:cubicBezTo>
                    <a:pt x="220409" y="493432"/>
                    <a:pt x="220409" y="492936"/>
                    <a:pt x="212472" y="492936"/>
                  </a:cubicBezTo>
                  <a:cubicBezTo>
                    <a:pt x="204038" y="492936"/>
                    <a:pt x="204038" y="491944"/>
                    <a:pt x="196101" y="491944"/>
                  </a:cubicBezTo>
                  <a:cubicBezTo>
                    <a:pt x="187668" y="491944"/>
                    <a:pt x="187668" y="493432"/>
                    <a:pt x="179730" y="493432"/>
                  </a:cubicBezTo>
                  <a:cubicBezTo>
                    <a:pt x="171297" y="493432"/>
                    <a:pt x="171297" y="492936"/>
                    <a:pt x="163360" y="492936"/>
                  </a:cubicBezTo>
                  <a:cubicBezTo>
                    <a:pt x="154926" y="492936"/>
                    <a:pt x="154926" y="492440"/>
                    <a:pt x="146989" y="492440"/>
                  </a:cubicBezTo>
                  <a:cubicBezTo>
                    <a:pt x="138556" y="492440"/>
                    <a:pt x="139052" y="493432"/>
                    <a:pt x="130619" y="493432"/>
                  </a:cubicBezTo>
                  <a:cubicBezTo>
                    <a:pt x="122185" y="493432"/>
                    <a:pt x="122185" y="491448"/>
                    <a:pt x="114248" y="491448"/>
                  </a:cubicBezTo>
                  <a:lnTo>
                    <a:pt x="97877" y="491448"/>
                  </a:lnTo>
                  <a:cubicBezTo>
                    <a:pt x="89444" y="491448"/>
                    <a:pt x="89444" y="492936"/>
                    <a:pt x="81507" y="492936"/>
                  </a:cubicBezTo>
                  <a:cubicBezTo>
                    <a:pt x="73073" y="492936"/>
                    <a:pt x="73073" y="492440"/>
                    <a:pt x="65136" y="492440"/>
                  </a:cubicBezTo>
                  <a:lnTo>
                    <a:pt x="48766" y="492440"/>
                  </a:lnTo>
                  <a:cubicBezTo>
                    <a:pt x="40332" y="492440"/>
                    <a:pt x="40332" y="492936"/>
                    <a:pt x="32395" y="492936"/>
                  </a:cubicBezTo>
                  <a:cubicBezTo>
                    <a:pt x="23962" y="492936"/>
                    <a:pt x="23962" y="492440"/>
                    <a:pt x="16025" y="492440"/>
                  </a:cubicBezTo>
                  <a:cubicBezTo>
                    <a:pt x="8087" y="492440"/>
                    <a:pt x="3623" y="498393"/>
                    <a:pt x="646" y="490952"/>
                  </a:cubicBezTo>
                  <a:cubicBezTo>
                    <a:pt x="-2330" y="483511"/>
                    <a:pt x="5607" y="485991"/>
                    <a:pt x="11560" y="480038"/>
                  </a:cubicBezTo>
                  <a:cubicBezTo>
                    <a:pt x="17017" y="474582"/>
                    <a:pt x="16521" y="474086"/>
                    <a:pt x="22474" y="468133"/>
                  </a:cubicBezTo>
                  <a:cubicBezTo>
                    <a:pt x="27931" y="462180"/>
                    <a:pt x="28426" y="462180"/>
                    <a:pt x="33884" y="456723"/>
                  </a:cubicBezTo>
                  <a:cubicBezTo>
                    <a:pt x="39837" y="451266"/>
                    <a:pt x="40828" y="451762"/>
                    <a:pt x="46286" y="446305"/>
                  </a:cubicBezTo>
                  <a:cubicBezTo>
                    <a:pt x="52238" y="440848"/>
                    <a:pt x="52238" y="440352"/>
                    <a:pt x="57695" y="434895"/>
                  </a:cubicBezTo>
                  <a:cubicBezTo>
                    <a:pt x="63152" y="428942"/>
                    <a:pt x="62656" y="427950"/>
                    <a:pt x="68113" y="422493"/>
                  </a:cubicBezTo>
                  <a:cubicBezTo>
                    <a:pt x="73570" y="416540"/>
                    <a:pt x="74562" y="417037"/>
                    <a:pt x="80019" y="411580"/>
                  </a:cubicBezTo>
                  <a:cubicBezTo>
                    <a:pt x="85475" y="405627"/>
                    <a:pt x="84979" y="404635"/>
                    <a:pt x="90436" y="399178"/>
                  </a:cubicBezTo>
                  <a:cubicBezTo>
                    <a:pt x="95894" y="393225"/>
                    <a:pt x="96390" y="393225"/>
                    <a:pt x="101846" y="387768"/>
                  </a:cubicBezTo>
                  <a:cubicBezTo>
                    <a:pt x="107799" y="382311"/>
                    <a:pt x="107799" y="381815"/>
                    <a:pt x="113256" y="376358"/>
                  </a:cubicBezTo>
                  <a:cubicBezTo>
                    <a:pt x="118713" y="370405"/>
                    <a:pt x="120201" y="371397"/>
                    <a:pt x="125658" y="365940"/>
                  </a:cubicBezTo>
                  <a:cubicBezTo>
                    <a:pt x="131611" y="360484"/>
                    <a:pt x="131115" y="359491"/>
                    <a:pt x="136572" y="354035"/>
                  </a:cubicBezTo>
                  <a:cubicBezTo>
                    <a:pt x="142028" y="348082"/>
                    <a:pt x="142028" y="347586"/>
                    <a:pt x="147485" y="342129"/>
                  </a:cubicBezTo>
                  <a:cubicBezTo>
                    <a:pt x="152943" y="336176"/>
                    <a:pt x="152943" y="335680"/>
                    <a:pt x="158399" y="330223"/>
                  </a:cubicBezTo>
                  <a:cubicBezTo>
                    <a:pt x="163856" y="324766"/>
                    <a:pt x="165344" y="325758"/>
                    <a:pt x="170801" y="320301"/>
                  </a:cubicBezTo>
                  <a:cubicBezTo>
                    <a:pt x="176258" y="314348"/>
                    <a:pt x="176258" y="313852"/>
                    <a:pt x="181715" y="308395"/>
                  </a:cubicBezTo>
                  <a:cubicBezTo>
                    <a:pt x="187668" y="302939"/>
                    <a:pt x="188164" y="302939"/>
                    <a:pt x="193621" y="297482"/>
                  </a:cubicBezTo>
                  <a:cubicBezTo>
                    <a:pt x="199573" y="292025"/>
                    <a:pt x="199077" y="291033"/>
                    <a:pt x="204534" y="285576"/>
                  </a:cubicBezTo>
                  <a:cubicBezTo>
                    <a:pt x="209991" y="279623"/>
                    <a:pt x="210487" y="279623"/>
                    <a:pt x="215944" y="274166"/>
                  </a:cubicBezTo>
                  <a:cubicBezTo>
                    <a:pt x="221897" y="268709"/>
                    <a:pt x="221401" y="267717"/>
                    <a:pt x="226858" y="262260"/>
                  </a:cubicBezTo>
                  <a:cubicBezTo>
                    <a:pt x="232315" y="256307"/>
                    <a:pt x="233803" y="257299"/>
                    <a:pt x="239260" y="251842"/>
                  </a:cubicBezTo>
                  <a:cubicBezTo>
                    <a:pt x="244717" y="246386"/>
                    <a:pt x="243724" y="244898"/>
                    <a:pt x="249181" y="239440"/>
                  </a:cubicBezTo>
                  <a:cubicBezTo>
                    <a:pt x="254638" y="233984"/>
                    <a:pt x="255630" y="234480"/>
                    <a:pt x="261087" y="229023"/>
                  </a:cubicBezTo>
                  <a:cubicBezTo>
                    <a:pt x="267040" y="223070"/>
                    <a:pt x="267536" y="223566"/>
                    <a:pt x="272993" y="218109"/>
                  </a:cubicBezTo>
                  <a:cubicBezTo>
                    <a:pt x="278450" y="212156"/>
                    <a:pt x="277954" y="211164"/>
                    <a:pt x="283411" y="205707"/>
                  </a:cubicBezTo>
                  <a:cubicBezTo>
                    <a:pt x="288867" y="199754"/>
                    <a:pt x="289860" y="200251"/>
                    <a:pt x="295317" y="194793"/>
                  </a:cubicBezTo>
                  <a:cubicBezTo>
                    <a:pt x="300773" y="188841"/>
                    <a:pt x="301766" y="189337"/>
                    <a:pt x="307223" y="183880"/>
                  </a:cubicBezTo>
                  <a:cubicBezTo>
                    <a:pt x="313175" y="178423"/>
                    <a:pt x="313175" y="177927"/>
                    <a:pt x="318632" y="172470"/>
                  </a:cubicBezTo>
                  <a:cubicBezTo>
                    <a:pt x="324089" y="167013"/>
                    <a:pt x="324089" y="166517"/>
                    <a:pt x="329546" y="161060"/>
                  </a:cubicBezTo>
                  <a:cubicBezTo>
                    <a:pt x="335003" y="155107"/>
                    <a:pt x="335003" y="154611"/>
                    <a:pt x="340460" y="149155"/>
                  </a:cubicBezTo>
                  <a:cubicBezTo>
                    <a:pt x="346413" y="143697"/>
                    <a:pt x="346909" y="143697"/>
                    <a:pt x="352366" y="138241"/>
                  </a:cubicBezTo>
                  <a:cubicBezTo>
                    <a:pt x="358318" y="132784"/>
                    <a:pt x="357822" y="131792"/>
                    <a:pt x="363279" y="126335"/>
                  </a:cubicBezTo>
                  <a:cubicBezTo>
                    <a:pt x="368736" y="120382"/>
                    <a:pt x="369728" y="120878"/>
                    <a:pt x="375185" y="115421"/>
                  </a:cubicBezTo>
                  <a:cubicBezTo>
                    <a:pt x="380642" y="109468"/>
                    <a:pt x="380146" y="108476"/>
                    <a:pt x="385603" y="103019"/>
                  </a:cubicBezTo>
                  <a:cubicBezTo>
                    <a:pt x="391556" y="97066"/>
                    <a:pt x="392548" y="98058"/>
                    <a:pt x="398005" y="92602"/>
                  </a:cubicBezTo>
                  <a:cubicBezTo>
                    <a:pt x="403462" y="86649"/>
                    <a:pt x="402965" y="85656"/>
                    <a:pt x="408423" y="80200"/>
                  </a:cubicBezTo>
                  <a:cubicBezTo>
                    <a:pt x="413879" y="74743"/>
                    <a:pt x="414871" y="75239"/>
                    <a:pt x="420328" y="69782"/>
                  </a:cubicBezTo>
                  <a:cubicBezTo>
                    <a:pt x="425785" y="64325"/>
                    <a:pt x="425289" y="63333"/>
                    <a:pt x="430746" y="57876"/>
                  </a:cubicBezTo>
                  <a:cubicBezTo>
                    <a:pt x="436699" y="52419"/>
                    <a:pt x="437691" y="52915"/>
                    <a:pt x="443148" y="47459"/>
                  </a:cubicBezTo>
                  <a:cubicBezTo>
                    <a:pt x="449101" y="42002"/>
                    <a:pt x="448605" y="41009"/>
                    <a:pt x="454062" y="35553"/>
                  </a:cubicBezTo>
                  <a:cubicBezTo>
                    <a:pt x="460014" y="30096"/>
                    <a:pt x="461007" y="30592"/>
                    <a:pt x="466464" y="25135"/>
                  </a:cubicBezTo>
                  <a:cubicBezTo>
                    <a:pt x="471920" y="19182"/>
                    <a:pt x="471920" y="18686"/>
                    <a:pt x="477377" y="13229"/>
                  </a:cubicBezTo>
                  <a:cubicBezTo>
                    <a:pt x="482834" y="7772"/>
                    <a:pt x="480850" y="4300"/>
                    <a:pt x="488291" y="1323"/>
                  </a:cubicBezTo>
                  <a:cubicBezTo>
                    <a:pt x="492012" y="-165"/>
                    <a:pt x="494120" y="-165"/>
                    <a:pt x="496290" y="207"/>
                  </a:cubicBezTo>
                  <a:cubicBezTo>
                    <a:pt x="498461" y="579"/>
                    <a:pt x="500693" y="1323"/>
                    <a:pt x="504661" y="1323"/>
                  </a:cubicBezTo>
                  <a:lnTo>
                    <a:pt x="521032" y="1323"/>
                  </a:lnTo>
                  <a:cubicBezTo>
                    <a:pt x="529465" y="1323"/>
                    <a:pt x="529465" y="1819"/>
                    <a:pt x="537403" y="1819"/>
                  </a:cubicBezTo>
                  <a:lnTo>
                    <a:pt x="553773" y="1819"/>
                  </a:lnTo>
                  <a:cubicBezTo>
                    <a:pt x="562207" y="1819"/>
                    <a:pt x="562207" y="2812"/>
                    <a:pt x="570144" y="2812"/>
                  </a:cubicBezTo>
                  <a:cubicBezTo>
                    <a:pt x="578577" y="2812"/>
                    <a:pt x="578577" y="1819"/>
                    <a:pt x="586514" y="1819"/>
                  </a:cubicBezTo>
                  <a:cubicBezTo>
                    <a:pt x="594948" y="1819"/>
                    <a:pt x="594452" y="2812"/>
                    <a:pt x="602885" y="2812"/>
                  </a:cubicBezTo>
                  <a:cubicBezTo>
                    <a:pt x="611318" y="2812"/>
                    <a:pt x="611318" y="1819"/>
                    <a:pt x="619256" y="1819"/>
                  </a:cubicBezTo>
                  <a:cubicBezTo>
                    <a:pt x="627689" y="1819"/>
                    <a:pt x="627689" y="1323"/>
                    <a:pt x="635626" y="1323"/>
                  </a:cubicBezTo>
                  <a:cubicBezTo>
                    <a:pt x="644060" y="1323"/>
                    <a:pt x="644060" y="1819"/>
                    <a:pt x="651997" y="1819"/>
                  </a:cubicBezTo>
                  <a:cubicBezTo>
                    <a:pt x="660430" y="1819"/>
                    <a:pt x="660430" y="2315"/>
                    <a:pt x="668367" y="2315"/>
                  </a:cubicBezTo>
                  <a:cubicBezTo>
                    <a:pt x="676801" y="2315"/>
                    <a:pt x="676801" y="2812"/>
                    <a:pt x="684738" y="2812"/>
                  </a:cubicBezTo>
                  <a:cubicBezTo>
                    <a:pt x="693171" y="2812"/>
                    <a:pt x="693171" y="1323"/>
                    <a:pt x="701109" y="1323"/>
                  </a:cubicBezTo>
                  <a:cubicBezTo>
                    <a:pt x="709542" y="1323"/>
                    <a:pt x="709542" y="2315"/>
                    <a:pt x="717479" y="2315"/>
                  </a:cubicBezTo>
                  <a:cubicBezTo>
                    <a:pt x="725913" y="2315"/>
                    <a:pt x="725913" y="3308"/>
                    <a:pt x="733850" y="3308"/>
                  </a:cubicBezTo>
                  <a:lnTo>
                    <a:pt x="750220" y="3308"/>
                  </a:lnTo>
                  <a:cubicBezTo>
                    <a:pt x="758654" y="3308"/>
                    <a:pt x="758654" y="2315"/>
                    <a:pt x="766591" y="2315"/>
                  </a:cubicBezTo>
                  <a:lnTo>
                    <a:pt x="782962" y="2315"/>
                  </a:lnTo>
                  <a:cubicBezTo>
                    <a:pt x="791395" y="2315"/>
                    <a:pt x="791395" y="2812"/>
                    <a:pt x="799332" y="2812"/>
                  </a:cubicBezTo>
                  <a:lnTo>
                    <a:pt x="815703" y="2812"/>
                  </a:lnTo>
                  <a:cubicBezTo>
                    <a:pt x="824136" y="2812"/>
                    <a:pt x="824136" y="2315"/>
                    <a:pt x="832073" y="2315"/>
                  </a:cubicBezTo>
                  <a:cubicBezTo>
                    <a:pt x="840506" y="2315"/>
                    <a:pt x="840506" y="2812"/>
                    <a:pt x="848444" y="2812"/>
                  </a:cubicBezTo>
                  <a:cubicBezTo>
                    <a:pt x="856877" y="2812"/>
                    <a:pt x="856877" y="1323"/>
                    <a:pt x="864814" y="1323"/>
                  </a:cubicBezTo>
                  <a:cubicBezTo>
                    <a:pt x="873247" y="1323"/>
                    <a:pt x="873247" y="2315"/>
                    <a:pt x="881185" y="2315"/>
                  </a:cubicBezTo>
                  <a:cubicBezTo>
                    <a:pt x="889618" y="2315"/>
                    <a:pt x="889618" y="1323"/>
                    <a:pt x="897555" y="1323"/>
                  </a:cubicBezTo>
                  <a:cubicBezTo>
                    <a:pt x="905988" y="1323"/>
                    <a:pt x="905988" y="827"/>
                    <a:pt x="913926" y="827"/>
                  </a:cubicBezTo>
                  <a:cubicBezTo>
                    <a:pt x="922359" y="827"/>
                    <a:pt x="922359" y="2315"/>
                    <a:pt x="930296" y="231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92" name="Graphic 10">
              <a:extLst>
                <a:ext uri="{FF2B5EF4-FFF2-40B4-BE49-F238E27FC236}">
                  <a16:creationId xmlns:a16="http://schemas.microsoft.com/office/drawing/2014/main" id="{E3F78421-5179-76A5-66C9-6C48DCA39450}"/>
                </a:ext>
              </a:extLst>
            </p:cNvPr>
            <p:cNvGrpSpPr/>
            <p:nvPr/>
          </p:nvGrpSpPr>
          <p:grpSpPr>
            <a:xfrm>
              <a:off x="6270245" y="4755229"/>
              <a:ext cx="340359" cy="500716"/>
              <a:chOff x="6270245" y="4755229"/>
              <a:chExt cx="340359" cy="500716"/>
            </a:xfrm>
            <a:noFill/>
          </p:grpSpPr>
          <p:sp>
            <p:nvSpPr>
              <p:cNvPr id="1634" name="Freeform: Shape 1633">
                <a:extLst>
                  <a:ext uri="{FF2B5EF4-FFF2-40B4-BE49-F238E27FC236}">
                    <a16:creationId xmlns:a16="http://schemas.microsoft.com/office/drawing/2014/main" id="{B618F6E5-3459-B715-AC7E-6E8C282E8034}"/>
                  </a:ext>
                </a:extLst>
              </p:cNvPr>
              <p:cNvSpPr/>
              <p:nvPr/>
            </p:nvSpPr>
            <p:spPr>
              <a:xfrm>
                <a:off x="6393221" y="4838247"/>
                <a:ext cx="153885" cy="199251"/>
              </a:xfrm>
              <a:custGeom>
                <a:avLst/>
                <a:gdLst>
                  <a:gd name="connsiteX0" fmla="*/ 152397 w 153885"/>
                  <a:gd name="connsiteY0" fmla="*/ 100704 h 199251"/>
                  <a:gd name="connsiteX1" fmla="*/ 152397 w 153885"/>
                  <a:gd name="connsiteY1" fmla="*/ 116082 h 199251"/>
                  <a:gd name="connsiteX2" fmla="*/ 148925 w 153885"/>
                  <a:gd name="connsiteY2" fmla="*/ 130965 h 199251"/>
                  <a:gd name="connsiteX3" fmla="*/ 145452 w 153885"/>
                  <a:gd name="connsiteY3" fmla="*/ 146343 h 199251"/>
                  <a:gd name="connsiteX4" fmla="*/ 138507 w 153885"/>
                  <a:gd name="connsiteY4" fmla="*/ 160233 h 199251"/>
                  <a:gd name="connsiteX5" fmla="*/ 129577 w 153885"/>
                  <a:gd name="connsiteY5" fmla="*/ 172635 h 199251"/>
                  <a:gd name="connsiteX6" fmla="*/ 118664 w 153885"/>
                  <a:gd name="connsiteY6" fmla="*/ 183549 h 199251"/>
                  <a:gd name="connsiteX7" fmla="*/ 106262 w 153885"/>
                  <a:gd name="connsiteY7" fmla="*/ 192974 h 199251"/>
                  <a:gd name="connsiteX8" fmla="*/ 91876 w 153885"/>
                  <a:gd name="connsiteY8" fmla="*/ 198431 h 199251"/>
                  <a:gd name="connsiteX9" fmla="*/ 76497 w 153885"/>
                  <a:gd name="connsiteY9" fmla="*/ 198927 h 199251"/>
                  <a:gd name="connsiteX10" fmla="*/ 61119 w 153885"/>
                  <a:gd name="connsiteY10" fmla="*/ 197439 h 199251"/>
                  <a:gd name="connsiteX11" fmla="*/ 46237 w 153885"/>
                  <a:gd name="connsiteY11" fmla="*/ 192478 h 199251"/>
                  <a:gd name="connsiteX12" fmla="*/ 33835 w 153885"/>
                  <a:gd name="connsiteY12" fmla="*/ 183053 h 199251"/>
                  <a:gd name="connsiteX13" fmla="*/ 22921 w 153885"/>
                  <a:gd name="connsiteY13" fmla="*/ 172139 h 199251"/>
                  <a:gd name="connsiteX14" fmla="*/ 14984 w 153885"/>
                  <a:gd name="connsiteY14" fmla="*/ 158745 h 199251"/>
                  <a:gd name="connsiteX15" fmla="*/ 8535 w 153885"/>
                  <a:gd name="connsiteY15" fmla="*/ 144855 h 199251"/>
                  <a:gd name="connsiteX16" fmla="*/ 2582 w 153885"/>
                  <a:gd name="connsiteY16" fmla="*/ 130468 h 199251"/>
                  <a:gd name="connsiteX17" fmla="*/ 101 w 153885"/>
                  <a:gd name="connsiteY17" fmla="*/ 115090 h 199251"/>
                  <a:gd name="connsiteX18" fmla="*/ 1094 w 153885"/>
                  <a:gd name="connsiteY18" fmla="*/ 99712 h 199251"/>
                  <a:gd name="connsiteX19" fmla="*/ 597 w 153885"/>
                  <a:gd name="connsiteY19" fmla="*/ 84333 h 199251"/>
                  <a:gd name="connsiteX20" fmla="*/ 4566 w 153885"/>
                  <a:gd name="connsiteY20" fmla="*/ 69451 h 199251"/>
                  <a:gd name="connsiteX21" fmla="*/ 9527 w 153885"/>
                  <a:gd name="connsiteY21" fmla="*/ 55065 h 199251"/>
                  <a:gd name="connsiteX22" fmla="*/ 15479 w 153885"/>
                  <a:gd name="connsiteY22" fmla="*/ 41174 h 199251"/>
                  <a:gd name="connsiteX23" fmla="*/ 23913 w 153885"/>
                  <a:gd name="connsiteY23" fmla="*/ 28277 h 199251"/>
                  <a:gd name="connsiteX24" fmla="*/ 34827 w 153885"/>
                  <a:gd name="connsiteY24" fmla="*/ 17363 h 199251"/>
                  <a:gd name="connsiteX25" fmla="*/ 47725 w 153885"/>
                  <a:gd name="connsiteY25" fmla="*/ 8929 h 199251"/>
                  <a:gd name="connsiteX26" fmla="*/ 61615 w 153885"/>
                  <a:gd name="connsiteY26" fmla="*/ 2480 h 199251"/>
                  <a:gd name="connsiteX27" fmla="*/ 76993 w 153885"/>
                  <a:gd name="connsiteY27" fmla="*/ 0 h 199251"/>
                  <a:gd name="connsiteX28" fmla="*/ 92372 w 153885"/>
                  <a:gd name="connsiteY28" fmla="*/ 3473 h 199251"/>
                  <a:gd name="connsiteX29" fmla="*/ 106758 w 153885"/>
                  <a:gd name="connsiteY29" fmla="*/ 8929 h 199251"/>
                  <a:gd name="connsiteX30" fmla="*/ 120152 w 153885"/>
                  <a:gd name="connsiteY30" fmla="*/ 17363 h 199251"/>
                  <a:gd name="connsiteX31" fmla="*/ 131066 w 153885"/>
                  <a:gd name="connsiteY31" fmla="*/ 28277 h 199251"/>
                  <a:gd name="connsiteX32" fmla="*/ 139996 w 153885"/>
                  <a:gd name="connsiteY32" fmla="*/ 41174 h 199251"/>
                  <a:gd name="connsiteX33" fmla="*/ 144956 w 153885"/>
                  <a:gd name="connsiteY33" fmla="*/ 56057 h 199251"/>
                  <a:gd name="connsiteX34" fmla="*/ 150413 w 153885"/>
                  <a:gd name="connsiteY34" fmla="*/ 70443 h 199251"/>
                  <a:gd name="connsiteX35" fmla="*/ 153885 w 153885"/>
                  <a:gd name="connsiteY35" fmla="*/ 85325 h 199251"/>
                  <a:gd name="connsiteX36" fmla="*/ 152397 w 153885"/>
                  <a:gd name="connsiteY36" fmla="*/ 100704 h 1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53885" h="199251">
                    <a:moveTo>
                      <a:pt x="152397" y="100704"/>
                    </a:moveTo>
                    <a:cubicBezTo>
                      <a:pt x="152397" y="106161"/>
                      <a:pt x="152893" y="111122"/>
                      <a:pt x="152397" y="116082"/>
                    </a:cubicBezTo>
                    <a:cubicBezTo>
                      <a:pt x="151901" y="121539"/>
                      <a:pt x="149917" y="126500"/>
                      <a:pt x="148925" y="130965"/>
                    </a:cubicBezTo>
                    <a:cubicBezTo>
                      <a:pt x="147437" y="135925"/>
                      <a:pt x="147437" y="141382"/>
                      <a:pt x="145452" y="146343"/>
                    </a:cubicBezTo>
                    <a:cubicBezTo>
                      <a:pt x="143468" y="151304"/>
                      <a:pt x="140987" y="155769"/>
                      <a:pt x="138507" y="160233"/>
                    </a:cubicBezTo>
                    <a:cubicBezTo>
                      <a:pt x="136027" y="164698"/>
                      <a:pt x="132554" y="169163"/>
                      <a:pt x="129577" y="172635"/>
                    </a:cubicBezTo>
                    <a:cubicBezTo>
                      <a:pt x="126105" y="176604"/>
                      <a:pt x="122633" y="180572"/>
                      <a:pt x="118664" y="183549"/>
                    </a:cubicBezTo>
                    <a:cubicBezTo>
                      <a:pt x="114695" y="187021"/>
                      <a:pt x="110727" y="190494"/>
                      <a:pt x="106262" y="192974"/>
                    </a:cubicBezTo>
                    <a:cubicBezTo>
                      <a:pt x="101797" y="195455"/>
                      <a:pt x="96836" y="196943"/>
                      <a:pt x="91876" y="198431"/>
                    </a:cubicBezTo>
                    <a:cubicBezTo>
                      <a:pt x="86915" y="199919"/>
                      <a:pt x="81458" y="198927"/>
                      <a:pt x="76497" y="198927"/>
                    </a:cubicBezTo>
                    <a:cubicBezTo>
                      <a:pt x="71041" y="198927"/>
                      <a:pt x="66080" y="198927"/>
                      <a:pt x="61119" y="197439"/>
                    </a:cubicBezTo>
                    <a:cubicBezTo>
                      <a:pt x="56158" y="195951"/>
                      <a:pt x="51197" y="194959"/>
                      <a:pt x="46237" y="192478"/>
                    </a:cubicBezTo>
                    <a:cubicBezTo>
                      <a:pt x="41772" y="189998"/>
                      <a:pt x="37803" y="186525"/>
                      <a:pt x="33835" y="183053"/>
                    </a:cubicBezTo>
                    <a:cubicBezTo>
                      <a:pt x="29866" y="179580"/>
                      <a:pt x="25898" y="176604"/>
                      <a:pt x="22921" y="172139"/>
                    </a:cubicBezTo>
                    <a:cubicBezTo>
                      <a:pt x="19944" y="168171"/>
                      <a:pt x="17464" y="163706"/>
                      <a:pt x="14984" y="158745"/>
                    </a:cubicBezTo>
                    <a:cubicBezTo>
                      <a:pt x="12503" y="154280"/>
                      <a:pt x="10519" y="149816"/>
                      <a:pt x="8535" y="144855"/>
                    </a:cubicBezTo>
                    <a:cubicBezTo>
                      <a:pt x="6550" y="140390"/>
                      <a:pt x="4070" y="135429"/>
                      <a:pt x="2582" y="130468"/>
                    </a:cubicBezTo>
                    <a:cubicBezTo>
                      <a:pt x="1590" y="125508"/>
                      <a:pt x="597" y="120547"/>
                      <a:pt x="101" y="115090"/>
                    </a:cubicBezTo>
                    <a:cubicBezTo>
                      <a:pt x="-395" y="110129"/>
                      <a:pt x="1094" y="104673"/>
                      <a:pt x="1094" y="99712"/>
                    </a:cubicBezTo>
                    <a:cubicBezTo>
                      <a:pt x="1094" y="94255"/>
                      <a:pt x="-395" y="89294"/>
                      <a:pt x="597" y="84333"/>
                    </a:cubicBezTo>
                    <a:cubicBezTo>
                      <a:pt x="1094" y="78877"/>
                      <a:pt x="3574" y="74412"/>
                      <a:pt x="4566" y="69451"/>
                    </a:cubicBezTo>
                    <a:cubicBezTo>
                      <a:pt x="6054" y="64490"/>
                      <a:pt x="7542" y="59529"/>
                      <a:pt x="9527" y="55065"/>
                    </a:cubicBezTo>
                    <a:cubicBezTo>
                      <a:pt x="11511" y="50104"/>
                      <a:pt x="12999" y="45143"/>
                      <a:pt x="15479" y="41174"/>
                    </a:cubicBezTo>
                    <a:cubicBezTo>
                      <a:pt x="17960" y="36710"/>
                      <a:pt x="20440" y="32245"/>
                      <a:pt x="23913" y="28277"/>
                    </a:cubicBezTo>
                    <a:cubicBezTo>
                      <a:pt x="27385" y="24308"/>
                      <a:pt x="30858" y="20835"/>
                      <a:pt x="34827" y="17363"/>
                    </a:cubicBezTo>
                    <a:cubicBezTo>
                      <a:pt x="38796" y="13890"/>
                      <a:pt x="43260" y="11410"/>
                      <a:pt x="47725" y="8929"/>
                    </a:cubicBezTo>
                    <a:cubicBezTo>
                      <a:pt x="52189" y="6449"/>
                      <a:pt x="56654" y="3473"/>
                      <a:pt x="61615" y="2480"/>
                    </a:cubicBezTo>
                    <a:cubicBezTo>
                      <a:pt x="66576" y="992"/>
                      <a:pt x="71537" y="0"/>
                      <a:pt x="76993" y="0"/>
                    </a:cubicBezTo>
                    <a:cubicBezTo>
                      <a:pt x="82450" y="0"/>
                      <a:pt x="87411" y="1984"/>
                      <a:pt x="92372" y="3473"/>
                    </a:cubicBezTo>
                    <a:cubicBezTo>
                      <a:pt x="97332" y="4961"/>
                      <a:pt x="102293" y="6449"/>
                      <a:pt x="106758" y="8929"/>
                    </a:cubicBezTo>
                    <a:cubicBezTo>
                      <a:pt x="111223" y="11410"/>
                      <a:pt x="116184" y="13890"/>
                      <a:pt x="120152" y="17363"/>
                    </a:cubicBezTo>
                    <a:cubicBezTo>
                      <a:pt x="124121" y="20835"/>
                      <a:pt x="127594" y="24308"/>
                      <a:pt x="131066" y="28277"/>
                    </a:cubicBezTo>
                    <a:cubicBezTo>
                      <a:pt x="134042" y="32245"/>
                      <a:pt x="137515" y="36710"/>
                      <a:pt x="139996" y="41174"/>
                    </a:cubicBezTo>
                    <a:cubicBezTo>
                      <a:pt x="142476" y="45639"/>
                      <a:pt x="142972" y="51096"/>
                      <a:pt x="144956" y="56057"/>
                    </a:cubicBezTo>
                    <a:cubicBezTo>
                      <a:pt x="146940" y="60522"/>
                      <a:pt x="148925" y="65482"/>
                      <a:pt x="150413" y="70443"/>
                    </a:cubicBezTo>
                    <a:cubicBezTo>
                      <a:pt x="151405" y="75404"/>
                      <a:pt x="153389" y="80365"/>
                      <a:pt x="153885" y="85325"/>
                    </a:cubicBezTo>
                    <a:cubicBezTo>
                      <a:pt x="152893" y="90286"/>
                      <a:pt x="152397" y="95247"/>
                      <a:pt x="152397" y="10070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5" name="Freeform: Shape 1634">
                <a:extLst>
                  <a:ext uri="{FF2B5EF4-FFF2-40B4-BE49-F238E27FC236}">
                    <a16:creationId xmlns:a16="http://schemas.microsoft.com/office/drawing/2014/main" id="{446E3E66-CD90-33A5-20D3-362A94F35009}"/>
                  </a:ext>
                </a:extLst>
              </p:cNvPr>
              <p:cNvSpPr/>
              <p:nvPr/>
            </p:nvSpPr>
            <p:spPr>
              <a:xfrm>
                <a:off x="6433087" y="4943912"/>
                <a:ext cx="112531" cy="93573"/>
              </a:xfrm>
              <a:custGeom>
                <a:avLst/>
                <a:gdLst>
                  <a:gd name="connsiteX0" fmla="*/ 1906 w 112531"/>
                  <a:gd name="connsiteY0" fmla="*/ 23316 h 93573"/>
                  <a:gd name="connsiteX1" fmla="*/ 17284 w 112531"/>
                  <a:gd name="connsiteY1" fmla="*/ 21332 h 93573"/>
                  <a:gd name="connsiteX2" fmla="*/ 33655 w 112531"/>
                  <a:gd name="connsiteY2" fmla="*/ 20835 h 93573"/>
                  <a:gd name="connsiteX3" fmla="*/ 50025 w 112531"/>
                  <a:gd name="connsiteY3" fmla="*/ 20339 h 93573"/>
                  <a:gd name="connsiteX4" fmla="*/ 65900 w 112531"/>
                  <a:gd name="connsiteY4" fmla="*/ 15875 h 93573"/>
                  <a:gd name="connsiteX5" fmla="*/ 82270 w 112531"/>
                  <a:gd name="connsiteY5" fmla="*/ 13394 h 93573"/>
                  <a:gd name="connsiteX6" fmla="*/ 97649 w 112531"/>
                  <a:gd name="connsiteY6" fmla="*/ 6945 h 93573"/>
                  <a:gd name="connsiteX7" fmla="*/ 112531 w 112531"/>
                  <a:gd name="connsiteY7" fmla="*/ 0 h 93573"/>
                  <a:gd name="connsiteX8" fmla="*/ 109554 w 112531"/>
                  <a:gd name="connsiteY8" fmla="*/ 15875 h 93573"/>
                  <a:gd name="connsiteX9" fmla="*/ 104593 w 112531"/>
                  <a:gd name="connsiteY9" fmla="*/ 31253 h 93573"/>
                  <a:gd name="connsiteX10" fmla="*/ 99633 w 112531"/>
                  <a:gd name="connsiteY10" fmla="*/ 46631 h 93573"/>
                  <a:gd name="connsiteX11" fmla="*/ 93184 w 112531"/>
                  <a:gd name="connsiteY11" fmla="*/ 61018 h 93573"/>
                  <a:gd name="connsiteX12" fmla="*/ 83262 w 112531"/>
                  <a:gd name="connsiteY12" fmla="*/ 73420 h 93573"/>
                  <a:gd name="connsiteX13" fmla="*/ 71852 w 112531"/>
                  <a:gd name="connsiteY13" fmla="*/ 84333 h 93573"/>
                  <a:gd name="connsiteX14" fmla="*/ 56970 w 112531"/>
                  <a:gd name="connsiteY14" fmla="*/ 90286 h 93573"/>
                  <a:gd name="connsiteX15" fmla="*/ 40600 w 112531"/>
                  <a:gd name="connsiteY15" fmla="*/ 93263 h 93573"/>
                  <a:gd name="connsiteX16" fmla="*/ 26213 w 112531"/>
                  <a:gd name="connsiteY16" fmla="*/ 84333 h 93573"/>
                  <a:gd name="connsiteX17" fmla="*/ 17284 w 112531"/>
                  <a:gd name="connsiteY17" fmla="*/ 69947 h 93573"/>
                  <a:gd name="connsiteX18" fmla="*/ 9843 w 112531"/>
                  <a:gd name="connsiteY18" fmla="*/ 54569 h 93573"/>
                  <a:gd name="connsiteX19" fmla="*/ 5874 w 112531"/>
                  <a:gd name="connsiteY19" fmla="*/ 38198 h 93573"/>
                  <a:gd name="connsiteX20" fmla="*/ 1906 w 112531"/>
                  <a:gd name="connsiteY20" fmla="*/ 23316 h 9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2531" h="93573">
                    <a:moveTo>
                      <a:pt x="1906" y="23316"/>
                    </a:moveTo>
                    <a:cubicBezTo>
                      <a:pt x="6866" y="16867"/>
                      <a:pt x="7362" y="21828"/>
                      <a:pt x="17284" y="21332"/>
                    </a:cubicBezTo>
                    <a:cubicBezTo>
                      <a:pt x="22245" y="21332"/>
                      <a:pt x="27701" y="21332"/>
                      <a:pt x="33655" y="20835"/>
                    </a:cubicBezTo>
                    <a:cubicBezTo>
                      <a:pt x="38615" y="20339"/>
                      <a:pt x="44568" y="21332"/>
                      <a:pt x="50025" y="20339"/>
                    </a:cubicBezTo>
                    <a:cubicBezTo>
                      <a:pt x="55482" y="19843"/>
                      <a:pt x="60443" y="16867"/>
                      <a:pt x="65900" y="15875"/>
                    </a:cubicBezTo>
                    <a:cubicBezTo>
                      <a:pt x="71356" y="14882"/>
                      <a:pt x="76813" y="14386"/>
                      <a:pt x="82270" y="13394"/>
                    </a:cubicBezTo>
                    <a:cubicBezTo>
                      <a:pt x="87727" y="11906"/>
                      <a:pt x="92688" y="8930"/>
                      <a:pt x="97649" y="6945"/>
                    </a:cubicBezTo>
                    <a:cubicBezTo>
                      <a:pt x="103106" y="4961"/>
                      <a:pt x="108562" y="2977"/>
                      <a:pt x="112531" y="0"/>
                    </a:cubicBezTo>
                    <a:cubicBezTo>
                      <a:pt x="111043" y="5457"/>
                      <a:pt x="110547" y="10914"/>
                      <a:pt x="109554" y="15875"/>
                    </a:cubicBezTo>
                    <a:cubicBezTo>
                      <a:pt x="108066" y="21332"/>
                      <a:pt x="105586" y="26292"/>
                      <a:pt x="104593" y="31253"/>
                    </a:cubicBezTo>
                    <a:cubicBezTo>
                      <a:pt x="103106" y="36710"/>
                      <a:pt x="101617" y="41671"/>
                      <a:pt x="99633" y="46631"/>
                    </a:cubicBezTo>
                    <a:cubicBezTo>
                      <a:pt x="97649" y="52088"/>
                      <a:pt x="96160" y="56553"/>
                      <a:pt x="93184" y="61018"/>
                    </a:cubicBezTo>
                    <a:cubicBezTo>
                      <a:pt x="90704" y="65482"/>
                      <a:pt x="87231" y="69451"/>
                      <a:pt x="83262" y="73420"/>
                    </a:cubicBezTo>
                    <a:cubicBezTo>
                      <a:pt x="79790" y="76892"/>
                      <a:pt x="76317" y="81357"/>
                      <a:pt x="71852" y="84333"/>
                    </a:cubicBezTo>
                    <a:cubicBezTo>
                      <a:pt x="67884" y="86814"/>
                      <a:pt x="61931" y="87806"/>
                      <a:pt x="56970" y="90286"/>
                    </a:cubicBezTo>
                    <a:cubicBezTo>
                      <a:pt x="51017" y="92767"/>
                      <a:pt x="45561" y="94255"/>
                      <a:pt x="40600" y="93263"/>
                    </a:cubicBezTo>
                    <a:cubicBezTo>
                      <a:pt x="35142" y="91774"/>
                      <a:pt x="30182" y="88798"/>
                      <a:pt x="26213" y="84333"/>
                    </a:cubicBezTo>
                    <a:cubicBezTo>
                      <a:pt x="22741" y="80365"/>
                      <a:pt x="20260" y="74908"/>
                      <a:pt x="17284" y="69947"/>
                    </a:cubicBezTo>
                    <a:cubicBezTo>
                      <a:pt x="14803" y="64986"/>
                      <a:pt x="11827" y="60026"/>
                      <a:pt x="9843" y="54569"/>
                    </a:cubicBezTo>
                    <a:cubicBezTo>
                      <a:pt x="7858" y="49112"/>
                      <a:pt x="6866" y="43159"/>
                      <a:pt x="5874" y="38198"/>
                    </a:cubicBezTo>
                    <a:cubicBezTo>
                      <a:pt x="2897" y="29269"/>
                      <a:pt x="-3055" y="29765"/>
                      <a:pt x="1906" y="23316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6" name="Freeform: Shape 1635">
                <a:extLst>
                  <a:ext uri="{FF2B5EF4-FFF2-40B4-BE49-F238E27FC236}">
                    <a16:creationId xmlns:a16="http://schemas.microsoft.com/office/drawing/2014/main" id="{1B732EC4-6BBC-66F2-2042-B797888C1538}"/>
                  </a:ext>
                </a:extLst>
              </p:cNvPr>
              <p:cNvSpPr/>
              <p:nvPr/>
            </p:nvSpPr>
            <p:spPr>
              <a:xfrm>
                <a:off x="6461285" y="4891328"/>
                <a:ext cx="1983" cy="22323"/>
              </a:xfrm>
              <a:custGeom>
                <a:avLst/>
                <a:gdLst>
                  <a:gd name="connsiteX0" fmla="*/ 1984 w 1983"/>
                  <a:gd name="connsiteY0" fmla="*/ 0 h 22323"/>
                  <a:gd name="connsiteX1" fmla="*/ 0 w 1983"/>
                  <a:gd name="connsiteY1" fmla="*/ 22324 h 22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" h="22323">
                    <a:moveTo>
                      <a:pt x="1984" y="0"/>
                    </a:moveTo>
                    <a:cubicBezTo>
                      <a:pt x="1984" y="10914"/>
                      <a:pt x="0" y="10914"/>
                      <a:pt x="0" y="2232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7" name="Freeform: Shape 1636">
                <a:extLst>
                  <a:ext uri="{FF2B5EF4-FFF2-40B4-BE49-F238E27FC236}">
                    <a16:creationId xmlns:a16="http://schemas.microsoft.com/office/drawing/2014/main" id="{319D8E57-3266-76AB-2C37-70DD015B2B1F}"/>
                  </a:ext>
                </a:extLst>
              </p:cNvPr>
              <p:cNvSpPr/>
              <p:nvPr/>
            </p:nvSpPr>
            <p:spPr>
              <a:xfrm>
                <a:off x="6496506" y="4891328"/>
                <a:ext cx="991" cy="19843"/>
              </a:xfrm>
              <a:custGeom>
                <a:avLst/>
                <a:gdLst>
                  <a:gd name="connsiteX0" fmla="*/ 992 w 991"/>
                  <a:gd name="connsiteY0" fmla="*/ 0 h 19843"/>
                  <a:gd name="connsiteX1" fmla="*/ 0 w 991"/>
                  <a:gd name="connsiteY1" fmla="*/ 19843 h 1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1" h="19843">
                    <a:moveTo>
                      <a:pt x="992" y="0"/>
                    </a:moveTo>
                    <a:cubicBezTo>
                      <a:pt x="992" y="9922"/>
                      <a:pt x="0" y="9922"/>
                      <a:pt x="0" y="1984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8" name="Freeform: Shape 1637">
                <a:extLst>
                  <a:ext uri="{FF2B5EF4-FFF2-40B4-BE49-F238E27FC236}">
                    <a16:creationId xmlns:a16="http://schemas.microsoft.com/office/drawing/2014/main" id="{658ADABF-DCD2-91AF-3C79-3989D618346E}"/>
                  </a:ext>
                </a:extLst>
              </p:cNvPr>
              <p:cNvSpPr/>
              <p:nvPr/>
            </p:nvSpPr>
            <p:spPr>
              <a:xfrm>
                <a:off x="6395802" y="4857098"/>
                <a:ext cx="120051" cy="51096"/>
              </a:xfrm>
              <a:custGeom>
                <a:avLst/>
                <a:gdLst>
                  <a:gd name="connsiteX0" fmla="*/ 0 w 120051"/>
                  <a:gd name="connsiteY0" fmla="*/ 51096 h 51096"/>
                  <a:gd name="connsiteX1" fmla="*/ 12898 w 120051"/>
                  <a:gd name="connsiteY1" fmla="*/ 40182 h 51096"/>
                  <a:gd name="connsiteX2" fmla="*/ 25796 w 120051"/>
                  <a:gd name="connsiteY2" fmla="*/ 29269 h 51096"/>
                  <a:gd name="connsiteX3" fmla="*/ 40182 w 120051"/>
                  <a:gd name="connsiteY3" fmla="*/ 20835 h 51096"/>
                  <a:gd name="connsiteX4" fmla="*/ 55065 w 120051"/>
                  <a:gd name="connsiteY4" fmla="*/ 12898 h 51096"/>
                  <a:gd name="connsiteX5" fmla="*/ 70939 w 120051"/>
                  <a:gd name="connsiteY5" fmla="*/ 7441 h 51096"/>
                  <a:gd name="connsiteX6" fmla="*/ 86814 w 120051"/>
                  <a:gd name="connsiteY6" fmla="*/ 2977 h 51096"/>
                  <a:gd name="connsiteX7" fmla="*/ 103184 w 120051"/>
                  <a:gd name="connsiteY7" fmla="*/ 0 h 51096"/>
                  <a:gd name="connsiteX8" fmla="*/ 120051 w 120051"/>
                  <a:gd name="connsiteY8" fmla="*/ 2480 h 5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051" h="51096">
                    <a:moveTo>
                      <a:pt x="0" y="51096"/>
                    </a:moveTo>
                    <a:cubicBezTo>
                      <a:pt x="5953" y="45143"/>
                      <a:pt x="4961" y="46631"/>
                      <a:pt x="12898" y="40182"/>
                    </a:cubicBezTo>
                    <a:cubicBezTo>
                      <a:pt x="16867" y="37206"/>
                      <a:pt x="20836" y="33237"/>
                      <a:pt x="25796" y="29269"/>
                    </a:cubicBezTo>
                    <a:cubicBezTo>
                      <a:pt x="30261" y="26292"/>
                      <a:pt x="35221" y="23812"/>
                      <a:pt x="40182" y="20835"/>
                    </a:cubicBezTo>
                    <a:cubicBezTo>
                      <a:pt x="44647" y="17859"/>
                      <a:pt x="49608" y="15379"/>
                      <a:pt x="55065" y="12898"/>
                    </a:cubicBezTo>
                    <a:cubicBezTo>
                      <a:pt x="60025" y="10418"/>
                      <a:pt x="65483" y="9426"/>
                      <a:pt x="70939" y="7441"/>
                    </a:cubicBezTo>
                    <a:cubicBezTo>
                      <a:pt x="76396" y="5457"/>
                      <a:pt x="81357" y="3969"/>
                      <a:pt x="86814" y="2977"/>
                    </a:cubicBezTo>
                    <a:cubicBezTo>
                      <a:pt x="92270" y="1984"/>
                      <a:pt x="97728" y="0"/>
                      <a:pt x="103184" y="0"/>
                    </a:cubicBezTo>
                    <a:cubicBezTo>
                      <a:pt x="108641" y="0"/>
                      <a:pt x="114098" y="992"/>
                      <a:pt x="120051" y="24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9" name="Freeform: Shape 1638">
                <a:extLst>
                  <a:ext uri="{FF2B5EF4-FFF2-40B4-BE49-F238E27FC236}">
                    <a16:creationId xmlns:a16="http://schemas.microsoft.com/office/drawing/2014/main" id="{811838D0-6772-66DE-C246-47316C97C7E5}"/>
                  </a:ext>
                </a:extLst>
              </p:cNvPr>
              <p:cNvSpPr/>
              <p:nvPr/>
            </p:nvSpPr>
            <p:spPr>
              <a:xfrm>
                <a:off x="6353886" y="4868926"/>
                <a:ext cx="32952" cy="43236"/>
              </a:xfrm>
              <a:custGeom>
                <a:avLst/>
                <a:gdLst>
                  <a:gd name="connsiteX0" fmla="*/ 8184 w 32952"/>
                  <a:gd name="connsiteY0" fmla="*/ 41749 h 43236"/>
                  <a:gd name="connsiteX1" fmla="*/ 7687 w 32952"/>
                  <a:gd name="connsiteY1" fmla="*/ 43237 h 43236"/>
                  <a:gd name="connsiteX2" fmla="*/ 1238 w 32952"/>
                  <a:gd name="connsiteY2" fmla="*/ 24882 h 43236"/>
                  <a:gd name="connsiteX3" fmla="*/ 7687 w 32952"/>
                  <a:gd name="connsiteY3" fmla="*/ 8511 h 43236"/>
                  <a:gd name="connsiteX4" fmla="*/ 26042 w 32952"/>
                  <a:gd name="connsiteY4" fmla="*/ 1070 h 43236"/>
                  <a:gd name="connsiteX5" fmla="*/ 26042 w 32952"/>
                  <a:gd name="connsiteY5" fmla="*/ 1070 h 43236"/>
                  <a:gd name="connsiteX6" fmla="*/ 31499 w 32952"/>
                  <a:gd name="connsiteY6" fmla="*/ 18929 h 43236"/>
                  <a:gd name="connsiteX7" fmla="*/ 25546 w 32952"/>
                  <a:gd name="connsiteY7" fmla="*/ 35299 h 43236"/>
                  <a:gd name="connsiteX8" fmla="*/ 8184 w 32952"/>
                  <a:gd name="connsiteY8" fmla="*/ 41749 h 43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52" h="43236">
                    <a:moveTo>
                      <a:pt x="8184" y="41749"/>
                    </a:moveTo>
                    <a:cubicBezTo>
                      <a:pt x="8184" y="41749"/>
                      <a:pt x="7687" y="43237"/>
                      <a:pt x="7687" y="43237"/>
                    </a:cubicBezTo>
                    <a:cubicBezTo>
                      <a:pt x="743" y="40260"/>
                      <a:pt x="-1738" y="31827"/>
                      <a:pt x="1238" y="24882"/>
                    </a:cubicBezTo>
                    <a:cubicBezTo>
                      <a:pt x="4711" y="16945"/>
                      <a:pt x="4215" y="16945"/>
                      <a:pt x="7687" y="8511"/>
                    </a:cubicBezTo>
                    <a:cubicBezTo>
                      <a:pt x="10664" y="1566"/>
                      <a:pt x="19593" y="-1906"/>
                      <a:pt x="26042" y="1070"/>
                    </a:cubicBezTo>
                    <a:cubicBezTo>
                      <a:pt x="26042" y="1070"/>
                      <a:pt x="26042" y="1070"/>
                      <a:pt x="26042" y="1070"/>
                    </a:cubicBezTo>
                    <a:cubicBezTo>
                      <a:pt x="32988" y="4047"/>
                      <a:pt x="34475" y="12480"/>
                      <a:pt x="31499" y="18929"/>
                    </a:cubicBezTo>
                    <a:cubicBezTo>
                      <a:pt x="28027" y="26866"/>
                      <a:pt x="29019" y="27362"/>
                      <a:pt x="25546" y="35299"/>
                    </a:cubicBezTo>
                    <a:cubicBezTo>
                      <a:pt x="22569" y="42741"/>
                      <a:pt x="15128" y="44725"/>
                      <a:pt x="8184" y="41749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0" name="Freeform: Shape 1639">
                <a:extLst>
                  <a:ext uri="{FF2B5EF4-FFF2-40B4-BE49-F238E27FC236}">
                    <a16:creationId xmlns:a16="http://schemas.microsoft.com/office/drawing/2014/main" id="{55D98AF9-064C-24D9-5CEA-46E43C5C1F3E}"/>
                  </a:ext>
                </a:extLst>
              </p:cNvPr>
              <p:cNvSpPr/>
              <p:nvPr/>
            </p:nvSpPr>
            <p:spPr>
              <a:xfrm>
                <a:off x="6285705" y="4814277"/>
                <a:ext cx="66148" cy="55388"/>
              </a:xfrm>
              <a:custGeom>
                <a:avLst/>
                <a:gdLst>
                  <a:gd name="connsiteX0" fmla="*/ 64954 w 66148"/>
                  <a:gd name="connsiteY0" fmla="*/ 53735 h 55388"/>
                  <a:gd name="connsiteX1" fmla="*/ 59002 w 66148"/>
                  <a:gd name="connsiteY1" fmla="*/ 38853 h 55388"/>
                  <a:gd name="connsiteX2" fmla="*/ 54041 w 66148"/>
                  <a:gd name="connsiteY2" fmla="*/ 24467 h 55388"/>
                  <a:gd name="connsiteX3" fmla="*/ 44119 w 66148"/>
                  <a:gd name="connsiteY3" fmla="*/ 13057 h 55388"/>
                  <a:gd name="connsiteX4" fmla="*/ 32213 w 66148"/>
                  <a:gd name="connsiteY4" fmla="*/ 4127 h 55388"/>
                  <a:gd name="connsiteX5" fmla="*/ 17827 w 66148"/>
                  <a:gd name="connsiteY5" fmla="*/ 159 h 55388"/>
                  <a:gd name="connsiteX6" fmla="*/ 2945 w 66148"/>
                  <a:gd name="connsiteY6" fmla="*/ 4127 h 55388"/>
                  <a:gd name="connsiteX7" fmla="*/ 464 w 66148"/>
                  <a:gd name="connsiteY7" fmla="*/ 20002 h 55388"/>
                  <a:gd name="connsiteX8" fmla="*/ 6913 w 66148"/>
                  <a:gd name="connsiteY8" fmla="*/ 34388 h 55388"/>
                  <a:gd name="connsiteX9" fmla="*/ 17331 w 66148"/>
                  <a:gd name="connsiteY9" fmla="*/ 46790 h 55388"/>
                  <a:gd name="connsiteX10" fmla="*/ 31717 w 66148"/>
                  <a:gd name="connsiteY10" fmla="*/ 54727 h 55388"/>
                  <a:gd name="connsiteX11" fmla="*/ 48088 w 66148"/>
                  <a:gd name="connsiteY11" fmla="*/ 54727 h 55388"/>
                  <a:gd name="connsiteX12" fmla="*/ 64954 w 66148"/>
                  <a:gd name="connsiteY12" fmla="*/ 53735 h 5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148" h="55388">
                    <a:moveTo>
                      <a:pt x="64954" y="53735"/>
                    </a:moveTo>
                    <a:cubicBezTo>
                      <a:pt x="68923" y="47286"/>
                      <a:pt x="61978" y="47286"/>
                      <a:pt x="59002" y="38853"/>
                    </a:cubicBezTo>
                    <a:cubicBezTo>
                      <a:pt x="57513" y="34388"/>
                      <a:pt x="56521" y="29427"/>
                      <a:pt x="54041" y="24467"/>
                    </a:cubicBezTo>
                    <a:cubicBezTo>
                      <a:pt x="51561" y="20002"/>
                      <a:pt x="47592" y="16529"/>
                      <a:pt x="44119" y="13057"/>
                    </a:cubicBezTo>
                    <a:cubicBezTo>
                      <a:pt x="40646" y="9584"/>
                      <a:pt x="36678" y="6608"/>
                      <a:pt x="32213" y="4127"/>
                    </a:cubicBezTo>
                    <a:cubicBezTo>
                      <a:pt x="27749" y="2143"/>
                      <a:pt x="23284" y="655"/>
                      <a:pt x="17827" y="159"/>
                    </a:cubicBezTo>
                    <a:cubicBezTo>
                      <a:pt x="10882" y="-337"/>
                      <a:pt x="5921" y="159"/>
                      <a:pt x="2945" y="4127"/>
                    </a:cubicBezTo>
                    <a:cubicBezTo>
                      <a:pt x="-32" y="8096"/>
                      <a:pt x="-528" y="14049"/>
                      <a:pt x="464" y="20002"/>
                    </a:cubicBezTo>
                    <a:cubicBezTo>
                      <a:pt x="1456" y="24963"/>
                      <a:pt x="3441" y="29923"/>
                      <a:pt x="6913" y="34388"/>
                    </a:cubicBezTo>
                    <a:cubicBezTo>
                      <a:pt x="9890" y="38853"/>
                      <a:pt x="12866" y="43318"/>
                      <a:pt x="17331" y="46790"/>
                    </a:cubicBezTo>
                    <a:cubicBezTo>
                      <a:pt x="21299" y="49766"/>
                      <a:pt x="26260" y="53239"/>
                      <a:pt x="31717" y="54727"/>
                    </a:cubicBezTo>
                    <a:cubicBezTo>
                      <a:pt x="36678" y="56215"/>
                      <a:pt x="42135" y="54727"/>
                      <a:pt x="48088" y="54727"/>
                    </a:cubicBezTo>
                    <a:cubicBezTo>
                      <a:pt x="52552" y="54231"/>
                      <a:pt x="59002" y="55223"/>
                      <a:pt x="64954" y="5373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1" name="Freeform: Shape 1640">
                <a:extLst>
                  <a:ext uri="{FF2B5EF4-FFF2-40B4-BE49-F238E27FC236}">
                    <a16:creationId xmlns:a16="http://schemas.microsoft.com/office/drawing/2014/main" id="{C07BD190-96C7-C153-D44C-BEE0B1A9488D}"/>
                  </a:ext>
                </a:extLst>
              </p:cNvPr>
              <p:cNvSpPr/>
              <p:nvPr/>
            </p:nvSpPr>
            <p:spPr>
              <a:xfrm>
                <a:off x="6455998" y="4755229"/>
                <a:ext cx="47453" cy="74496"/>
              </a:xfrm>
              <a:custGeom>
                <a:avLst/>
                <a:gdLst>
                  <a:gd name="connsiteX0" fmla="*/ 41500 w 47453"/>
                  <a:gd name="connsiteY0" fmla="*/ 73593 h 74496"/>
                  <a:gd name="connsiteX1" fmla="*/ 28106 w 47453"/>
                  <a:gd name="connsiteY1" fmla="*/ 67144 h 74496"/>
                  <a:gd name="connsiteX2" fmla="*/ 16200 w 47453"/>
                  <a:gd name="connsiteY2" fmla="*/ 58711 h 74496"/>
                  <a:gd name="connsiteX3" fmla="*/ 6279 w 47453"/>
                  <a:gd name="connsiteY3" fmla="*/ 47301 h 74496"/>
                  <a:gd name="connsiteX4" fmla="*/ 822 w 47453"/>
                  <a:gd name="connsiteY4" fmla="*/ 33411 h 74496"/>
                  <a:gd name="connsiteX5" fmla="*/ 326 w 47453"/>
                  <a:gd name="connsiteY5" fmla="*/ 18528 h 74496"/>
                  <a:gd name="connsiteX6" fmla="*/ 7271 w 47453"/>
                  <a:gd name="connsiteY6" fmla="*/ 3646 h 74496"/>
                  <a:gd name="connsiteX7" fmla="*/ 23146 w 47453"/>
                  <a:gd name="connsiteY7" fmla="*/ 670 h 74496"/>
                  <a:gd name="connsiteX8" fmla="*/ 37532 w 47453"/>
                  <a:gd name="connsiteY8" fmla="*/ 9103 h 74496"/>
                  <a:gd name="connsiteX9" fmla="*/ 45965 w 47453"/>
                  <a:gd name="connsiteY9" fmla="*/ 23985 h 74496"/>
                  <a:gd name="connsiteX10" fmla="*/ 47454 w 47453"/>
                  <a:gd name="connsiteY10" fmla="*/ 40852 h 74496"/>
                  <a:gd name="connsiteX11" fmla="*/ 44973 w 47453"/>
                  <a:gd name="connsiteY11" fmla="*/ 57222 h 74496"/>
                  <a:gd name="connsiteX12" fmla="*/ 41500 w 47453"/>
                  <a:gd name="connsiteY12" fmla="*/ 73593 h 7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453" h="74496">
                    <a:moveTo>
                      <a:pt x="41500" y="73593"/>
                    </a:moveTo>
                    <a:cubicBezTo>
                      <a:pt x="34555" y="76570"/>
                      <a:pt x="35548" y="71609"/>
                      <a:pt x="28106" y="67144"/>
                    </a:cubicBezTo>
                    <a:cubicBezTo>
                      <a:pt x="24138" y="64664"/>
                      <a:pt x="20169" y="62183"/>
                      <a:pt x="16200" y="58711"/>
                    </a:cubicBezTo>
                    <a:cubicBezTo>
                      <a:pt x="12728" y="55734"/>
                      <a:pt x="9255" y="51766"/>
                      <a:pt x="6279" y="47301"/>
                    </a:cubicBezTo>
                    <a:cubicBezTo>
                      <a:pt x="3799" y="43332"/>
                      <a:pt x="1814" y="38868"/>
                      <a:pt x="822" y="33411"/>
                    </a:cubicBezTo>
                    <a:cubicBezTo>
                      <a:pt x="-170" y="28946"/>
                      <a:pt x="-170" y="23985"/>
                      <a:pt x="326" y="18528"/>
                    </a:cubicBezTo>
                    <a:cubicBezTo>
                      <a:pt x="1318" y="11583"/>
                      <a:pt x="3799" y="6623"/>
                      <a:pt x="7271" y="3646"/>
                    </a:cubicBezTo>
                    <a:cubicBezTo>
                      <a:pt x="11736" y="173"/>
                      <a:pt x="17689" y="-818"/>
                      <a:pt x="23146" y="670"/>
                    </a:cubicBezTo>
                    <a:cubicBezTo>
                      <a:pt x="28106" y="2158"/>
                      <a:pt x="33563" y="4638"/>
                      <a:pt x="37532" y="9103"/>
                    </a:cubicBezTo>
                    <a:cubicBezTo>
                      <a:pt x="41004" y="13072"/>
                      <a:pt x="43981" y="18032"/>
                      <a:pt x="45965" y="23985"/>
                    </a:cubicBezTo>
                    <a:cubicBezTo>
                      <a:pt x="47454" y="28946"/>
                      <a:pt x="47454" y="34403"/>
                      <a:pt x="47454" y="40852"/>
                    </a:cubicBezTo>
                    <a:cubicBezTo>
                      <a:pt x="47454" y="45813"/>
                      <a:pt x="46461" y="51270"/>
                      <a:pt x="44973" y="57222"/>
                    </a:cubicBezTo>
                    <a:cubicBezTo>
                      <a:pt x="43981" y="62183"/>
                      <a:pt x="43485" y="67640"/>
                      <a:pt x="41500" y="7359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2" name="Freeform: Shape 1641">
                <a:extLst>
                  <a:ext uri="{FF2B5EF4-FFF2-40B4-BE49-F238E27FC236}">
                    <a16:creationId xmlns:a16="http://schemas.microsoft.com/office/drawing/2014/main" id="{9B0BE456-542F-DE9F-C8A8-E6EBD6235279}"/>
                  </a:ext>
                </a:extLst>
              </p:cNvPr>
              <p:cNvSpPr/>
              <p:nvPr/>
            </p:nvSpPr>
            <p:spPr>
              <a:xfrm>
                <a:off x="6483112" y="5034694"/>
                <a:ext cx="5953" cy="39686"/>
              </a:xfrm>
              <a:custGeom>
                <a:avLst/>
                <a:gdLst>
                  <a:gd name="connsiteX0" fmla="*/ 0 w 5953"/>
                  <a:gd name="connsiteY0" fmla="*/ 39686 h 39686"/>
                  <a:gd name="connsiteX1" fmla="*/ 2977 w 5953"/>
                  <a:gd name="connsiteY1" fmla="*/ 19843 h 39686"/>
                  <a:gd name="connsiteX2" fmla="*/ 5953 w 5953"/>
                  <a:gd name="connsiteY2" fmla="*/ 0 h 39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53" h="39686">
                    <a:moveTo>
                      <a:pt x="0" y="39686"/>
                    </a:moveTo>
                    <a:cubicBezTo>
                      <a:pt x="1488" y="29765"/>
                      <a:pt x="1488" y="29765"/>
                      <a:pt x="2977" y="19843"/>
                    </a:cubicBezTo>
                    <a:cubicBezTo>
                      <a:pt x="4465" y="9922"/>
                      <a:pt x="4465" y="9922"/>
                      <a:pt x="5953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3" name="Freeform: Shape 1642">
                <a:extLst>
                  <a:ext uri="{FF2B5EF4-FFF2-40B4-BE49-F238E27FC236}">
                    <a16:creationId xmlns:a16="http://schemas.microsoft.com/office/drawing/2014/main" id="{A11E99A9-389E-CD69-DC9B-34DC573EA281}"/>
                  </a:ext>
                </a:extLst>
              </p:cNvPr>
              <p:cNvSpPr/>
              <p:nvPr/>
            </p:nvSpPr>
            <p:spPr>
              <a:xfrm>
                <a:off x="6355619" y="5006418"/>
                <a:ext cx="124516" cy="166944"/>
              </a:xfrm>
              <a:custGeom>
                <a:avLst/>
                <a:gdLst>
                  <a:gd name="connsiteX0" fmla="*/ 57546 w 124516"/>
                  <a:gd name="connsiteY0" fmla="*/ 0 h 166944"/>
                  <a:gd name="connsiteX1" fmla="*/ 49608 w 124516"/>
                  <a:gd name="connsiteY1" fmla="*/ 14386 h 166944"/>
                  <a:gd name="connsiteX2" fmla="*/ 42663 w 124516"/>
                  <a:gd name="connsiteY2" fmla="*/ 29268 h 166944"/>
                  <a:gd name="connsiteX3" fmla="*/ 35222 w 124516"/>
                  <a:gd name="connsiteY3" fmla="*/ 43655 h 166944"/>
                  <a:gd name="connsiteX4" fmla="*/ 29269 w 124516"/>
                  <a:gd name="connsiteY4" fmla="*/ 59033 h 166944"/>
                  <a:gd name="connsiteX5" fmla="*/ 21332 w 124516"/>
                  <a:gd name="connsiteY5" fmla="*/ 73419 h 166944"/>
                  <a:gd name="connsiteX6" fmla="*/ 15379 w 124516"/>
                  <a:gd name="connsiteY6" fmla="*/ 88798 h 166944"/>
                  <a:gd name="connsiteX7" fmla="*/ 8930 w 124516"/>
                  <a:gd name="connsiteY7" fmla="*/ 104176 h 166944"/>
                  <a:gd name="connsiteX8" fmla="*/ 497 w 124516"/>
                  <a:gd name="connsiteY8" fmla="*/ 119058 h 166944"/>
                  <a:gd name="connsiteX9" fmla="*/ 15875 w 124516"/>
                  <a:gd name="connsiteY9" fmla="*/ 123523 h 166944"/>
                  <a:gd name="connsiteX10" fmla="*/ 29269 w 124516"/>
                  <a:gd name="connsiteY10" fmla="*/ 130964 h 166944"/>
                  <a:gd name="connsiteX11" fmla="*/ 43656 w 124516"/>
                  <a:gd name="connsiteY11" fmla="*/ 135429 h 166944"/>
                  <a:gd name="connsiteX12" fmla="*/ 57050 w 124516"/>
                  <a:gd name="connsiteY12" fmla="*/ 142870 h 166944"/>
                  <a:gd name="connsiteX13" fmla="*/ 71436 w 124516"/>
                  <a:gd name="connsiteY13" fmla="*/ 148327 h 166944"/>
                  <a:gd name="connsiteX14" fmla="*/ 85822 w 124516"/>
                  <a:gd name="connsiteY14" fmla="*/ 153784 h 166944"/>
                  <a:gd name="connsiteX15" fmla="*/ 99712 w 124516"/>
                  <a:gd name="connsiteY15" fmla="*/ 160233 h 166944"/>
                  <a:gd name="connsiteX16" fmla="*/ 114099 w 124516"/>
                  <a:gd name="connsiteY16" fmla="*/ 165690 h 166944"/>
                  <a:gd name="connsiteX17" fmla="*/ 116083 w 124516"/>
                  <a:gd name="connsiteY17" fmla="*/ 150312 h 166944"/>
                  <a:gd name="connsiteX18" fmla="*/ 117571 w 124516"/>
                  <a:gd name="connsiteY18" fmla="*/ 134933 h 166944"/>
                  <a:gd name="connsiteX19" fmla="*/ 121044 w 124516"/>
                  <a:gd name="connsiteY19" fmla="*/ 119555 h 166944"/>
                  <a:gd name="connsiteX20" fmla="*/ 124516 w 124516"/>
                  <a:gd name="connsiteY20" fmla="*/ 104176 h 166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4516" h="166944">
                    <a:moveTo>
                      <a:pt x="57546" y="0"/>
                    </a:moveTo>
                    <a:cubicBezTo>
                      <a:pt x="54073" y="7441"/>
                      <a:pt x="53081" y="6945"/>
                      <a:pt x="49608" y="14386"/>
                    </a:cubicBezTo>
                    <a:cubicBezTo>
                      <a:pt x="46136" y="21827"/>
                      <a:pt x="46136" y="21827"/>
                      <a:pt x="42663" y="29268"/>
                    </a:cubicBezTo>
                    <a:cubicBezTo>
                      <a:pt x="39191" y="36710"/>
                      <a:pt x="38695" y="36214"/>
                      <a:pt x="35222" y="43655"/>
                    </a:cubicBezTo>
                    <a:cubicBezTo>
                      <a:pt x="31750" y="51096"/>
                      <a:pt x="32742" y="51592"/>
                      <a:pt x="29269" y="59033"/>
                    </a:cubicBezTo>
                    <a:cubicBezTo>
                      <a:pt x="25796" y="66474"/>
                      <a:pt x="24804" y="65978"/>
                      <a:pt x="21332" y="73419"/>
                    </a:cubicBezTo>
                    <a:cubicBezTo>
                      <a:pt x="17859" y="80861"/>
                      <a:pt x="18852" y="81357"/>
                      <a:pt x="15379" y="88798"/>
                    </a:cubicBezTo>
                    <a:cubicBezTo>
                      <a:pt x="11907" y="96239"/>
                      <a:pt x="12403" y="96239"/>
                      <a:pt x="8930" y="104176"/>
                    </a:cubicBezTo>
                    <a:cubicBezTo>
                      <a:pt x="5457" y="112114"/>
                      <a:pt x="-1984" y="111121"/>
                      <a:pt x="497" y="119058"/>
                    </a:cubicBezTo>
                    <a:cubicBezTo>
                      <a:pt x="2977" y="126500"/>
                      <a:pt x="8434" y="120547"/>
                      <a:pt x="15875" y="123523"/>
                    </a:cubicBezTo>
                    <a:cubicBezTo>
                      <a:pt x="23316" y="126500"/>
                      <a:pt x="22324" y="127988"/>
                      <a:pt x="29269" y="130964"/>
                    </a:cubicBezTo>
                    <a:cubicBezTo>
                      <a:pt x="36215" y="133941"/>
                      <a:pt x="36710" y="132949"/>
                      <a:pt x="43656" y="135429"/>
                    </a:cubicBezTo>
                    <a:cubicBezTo>
                      <a:pt x="50600" y="138406"/>
                      <a:pt x="50104" y="139894"/>
                      <a:pt x="57050" y="142870"/>
                    </a:cubicBezTo>
                    <a:cubicBezTo>
                      <a:pt x="63995" y="145847"/>
                      <a:pt x="64491" y="145351"/>
                      <a:pt x="71436" y="148327"/>
                    </a:cubicBezTo>
                    <a:cubicBezTo>
                      <a:pt x="78381" y="151303"/>
                      <a:pt x="78877" y="150808"/>
                      <a:pt x="85822" y="153784"/>
                    </a:cubicBezTo>
                    <a:cubicBezTo>
                      <a:pt x="92767" y="156761"/>
                      <a:pt x="92767" y="157257"/>
                      <a:pt x="99712" y="160233"/>
                    </a:cubicBezTo>
                    <a:cubicBezTo>
                      <a:pt x="106657" y="163209"/>
                      <a:pt x="107649" y="169659"/>
                      <a:pt x="114099" y="165690"/>
                    </a:cubicBezTo>
                    <a:cubicBezTo>
                      <a:pt x="121044" y="161722"/>
                      <a:pt x="115090" y="157753"/>
                      <a:pt x="116083" y="150312"/>
                    </a:cubicBezTo>
                    <a:cubicBezTo>
                      <a:pt x="117075" y="142870"/>
                      <a:pt x="116579" y="142374"/>
                      <a:pt x="117571" y="134933"/>
                    </a:cubicBezTo>
                    <a:cubicBezTo>
                      <a:pt x="118563" y="127492"/>
                      <a:pt x="119555" y="127492"/>
                      <a:pt x="121044" y="119555"/>
                    </a:cubicBezTo>
                    <a:cubicBezTo>
                      <a:pt x="122532" y="111617"/>
                      <a:pt x="123524" y="112114"/>
                      <a:pt x="124516" y="10417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4" name="Freeform: Shape 1643">
                <a:extLst>
                  <a:ext uri="{FF2B5EF4-FFF2-40B4-BE49-F238E27FC236}">
                    <a16:creationId xmlns:a16="http://schemas.microsoft.com/office/drawing/2014/main" id="{472FF063-43D4-F290-811C-4383D162E271}"/>
                  </a:ext>
                </a:extLst>
              </p:cNvPr>
              <p:cNvSpPr/>
              <p:nvPr/>
            </p:nvSpPr>
            <p:spPr>
              <a:xfrm>
                <a:off x="6379989" y="5135805"/>
                <a:ext cx="99650" cy="120139"/>
              </a:xfrm>
              <a:custGeom>
                <a:avLst/>
                <a:gdLst>
                  <a:gd name="connsiteX0" fmla="*/ 99650 w 99650"/>
                  <a:gd name="connsiteY0" fmla="*/ 120140 h 120139"/>
                  <a:gd name="connsiteX1" fmla="*/ 90225 w 99650"/>
                  <a:gd name="connsiteY1" fmla="*/ 105754 h 120139"/>
                  <a:gd name="connsiteX2" fmla="*/ 78319 w 99650"/>
                  <a:gd name="connsiteY2" fmla="*/ 93352 h 120139"/>
                  <a:gd name="connsiteX3" fmla="*/ 67901 w 99650"/>
                  <a:gd name="connsiteY3" fmla="*/ 79958 h 120139"/>
                  <a:gd name="connsiteX4" fmla="*/ 56492 w 99650"/>
                  <a:gd name="connsiteY4" fmla="*/ 67060 h 120139"/>
                  <a:gd name="connsiteX5" fmla="*/ 47066 w 99650"/>
                  <a:gd name="connsiteY5" fmla="*/ 52673 h 120139"/>
                  <a:gd name="connsiteX6" fmla="*/ 34664 w 99650"/>
                  <a:gd name="connsiteY6" fmla="*/ 40767 h 120139"/>
                  <a:gd name="connsiteX7" fmla="*/ 23750 w 99650"/>
                  <a:gd name="connsiteY7" fmla="*/ 27870 h 120139"/>
                  <a:gd name="connsiteX8" fmla="*/ 12837 w 99650"/>
                  <a:gd name="connsiteY8" fmla="*/ 14475 h 120139"/>
                  <a:gd name="connsiteX9" fmla="*/ 2915 w 99650"/>
                  <a:gd name="connsiteY9" fmla="*/ 89 h 120139"/>
                  <a:gd name="connsiteX10" fmla="*/ 16806 w 99650"/>
                  <a:gd name="connsiteY10" fmla="*/ 7530 h 120139"/>
                  <a:gd name="connsiteX11" fmla="*/ 31688 w 99650"/>
                  <a:gd name="connsiteY11" fmla="*/ 12491 h 120139"/>
                  <a:gd name="connsiteX12" fmla="*/ 46074 w 99650"/>
                  <a:gd name="connsiteY12" fmla="*/ 18940 h 120139"/>
                  <a:gd name="connsiteX13" fmla="*/ 60956 w 99650"/>
                  <a:gd name="connsiteY13" fmla="*/ 23901 h 120139"/>
                  <a:gd name="connsiteX14" fmla="*/ 74351 w 99650"/>
                  <a:gd name="connsiteY14" fmla="*/ 31838 h 120139"/>
                  <a:gd name="connsiteX15" fmla="*/ 89729 w 99650"/>
                  <a:gd name="connsiteY15" fmla="*/ 36799 h 120139"/>
                  <a:gd name="connsiteX16" fmla="*/ 91713 w 99650"/>
                  <a:gd name="connsiteY16" fmla="*/ 53665 h 120139"/>
                  <a:gd name="connsiteX17" fmla="*/ 92209 w 99650"/>
                  <a:gd name="connsiteY17" fmla="*/ 70532 h 120139"/>
                  <a:gd name="connsiteX18" fmla="*/ 94194 w 99650"/>
                  <a:gd name="connsiteY18" fmla="*/ 87399 h 120139"/>
                  <a:gd name="connsiteX19" fmla="*/ 97666 w 99650"/>
                  <a:gd name="connsiteY19" fmla="*/ 103769 h 120139"/>
                  <a:gd name="connsiteX20" fmla="*/ 99650 w 99650"/>
                  <a:gd name="connsiteY20" fmla="*/ 120140 h 12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9650" h="120139">
                    <a:moveTo>
                      <a:pt x="99650" y="120140"/>
                    </a:moveTo>
                    <a:cubicBezTo>
                      <a:pt x="99650" y="119644"/>
                      <a:pt x="96674" y="113691"/>
                      <a:pt x="90225" y="105754"/>
                    </a:cubicBezTo>
                    <a:cubicBezTo>
                      <a:pt x="87248" y="101785"/>
                      <a:pt x="82288" y="98312"/>
                      <a:pt x="78319" y="93352"/>
                    </a:cubicBezTo>
                    <a:cubicBezTo>
                      <a:pt x="74847" y="89383"/>
                      <a:pt x="71374" y="84423"/>
                      <a:pt x="67901" y="79958"/>
                    </a:cubicBezTo>
                    <a:cubicBezTo>
                      <a:pt x="64429" y="75493"/>
                      <a:pt x="60460" y="71524"/>
                      <a:pt x="56492" y="67060"/>
                    </a:cubicBezTo>
                    <a:cubicBezTo>
                      <a:pt x="53019" y="62595"/>
                      <a:pt x="51035" y="57138"/>
                      <a:pt x="47066" y="52673"/>
                    </a:cubicBezTo>
                    <a:cubicBezTo>
                      <a:pt x="43593" y="48209"/>
                      <a:pt x="38137" y="44736"/>
                      <a:pt x="34664" y="40767"/>
                    </a:cubicBezTo>
                    <a:cubicBezTo>
                      <a:pt x="30695" y="36303"/>
                      <a:pt x="27223" y="31838"/>
                      <a:pt x="23750" y="27870"/>
                    </a:cubicBezTo>
                    <a:cubicBezTo>
                      <a:pt x="19782" y="22909"/>
                      <a:pt x="16309" y="18444"/>
                      <a:pt x="12837" y="14475"/>
                    </a:cubicBezTo>
                    <a:cubicBezTo>
                      <a:pt x="6388" y="6538"/>
                      <a:pt x="-5518" y="-903"/>
                      <a:pt x="2915" y="89"/>
                    </a:cubicBezTo>
                    <a:cubicBezTo>
                      <a:pt x="10852" y="585"/>
                      <a:pt x="9860" y="4554"/>
                      <a:pt x="16806" y="7530"/>
                    </a:cubicBezTo>
                    <a:cubicBezTo>
                      <a:pt x="23750" y="10507"/>
                      <a:pt x="24247" y="9514"/>
                      <a:pt x="31688" y="12491"/>
                    </a:cubicBezTo>
                    <a:cubicBezTo>
                      <a:pt x="38633" y="15468"/>
                      <a:pt x="38633" y="15964"/>
                      <a:pt x="46074" y="18940"/>
                    </a:cubicBezTo>
                    <a:cubicBezTo>
                      <a:pt x="53019" y="21916"/>
                      <a:pt x="53515" y="20924"/>
                      <a:pt x="60956" y="23901"/>
                    </a:cubicBezTo>
                    <a:cubicBezTo>
                      <a:pt x="67901" y="26877"/>
                      <a:pt x="67405" y="28861"/>
                      <a:pt x="74351" y="31838"/>
                    </a:cubicBezTo>
                    <a:cubicBezTo>
                      <a:pt x="81296" y="34815"/>
                      <a:pt x="85264" y="30350"/>
                      <a:pt x="89729" y="36799"/>
                    </a:cubicBezTo>
                    <a:cubicBezTo>
                      <a:pt x="94690" y="43744"/>
                      <a:pt x="90721" y="45728"/>
                      <a:pt x="91713" y="53665"/>
                    </a:cubicBezTo>
                    <a:cubicBezTo>
                      <a:pt x="92705" y="62099"/>
                      <a:pt x="91217" y="62099"/>
                      <a:pt x="92209" y="70532"/>
                    </a:cubicBezTo>
                    <a:cubicBezTo>
                      <a:pt x="93201" y="78965"/>
                      <a:pt x="93201" y="78965"/>
                      <a:pt x="94194" y="87399"/>
                    </a:cubicBezTo>
                    <a:cubicBezTo>
                      <a:pt x="95186" y="95832"/>
                      <a:pt x="96674" y="95832"/>
                      <a:pt x="97666" y="103769"/>
                    </a:cubicBezTo>
                    <a:cubicBezTo>
                      <a:pt x="98659" y="111707"/>
                      <a:pt x="98659" y="112203"/>
                      <a:pt x="99650" y="12014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5" name="Freeform: Shape 1644">
                <a:extLst>
                  <a:ext uri="{FF2B5EF4-FFF2-40B4-BE49-F238E27FC236}">
                    <a16:creationId xmlns:a16="http://schemas.microsoft.com/office/drawing/2014/main" id="{2EB156F1-CCCE-D651-F786-DEB1BFE3C4CD}"/>
                  </a:ext>
                </a:extLst>
              </p:cNvPr>
              <p:cNvSpPr/>
              <p:nvPr/>
            </p:nvSpPr>
            <p:spPr>
              <a:xfrm>
                <a:off x="6270245" y="5125434"/>
                <a:ext cx="138765" cy="59043"/>
              </a:xfrm>
              <a:custGeom>
                <a:avLst/>
                <a:gdLst>
                  <a:gd name="connsiteX0" fmla="*/ 2034 w 138765"/>
                  <a:gd name="connsiteY0" fmla="*/ 47170 h 59043"/>
                  <a:gd name="connsiteX1" fmla="*/ 15429 w 138765"/>
                  <a:gd name="connsiteY1" fmla="*/ 38737 h 59043"/>
                  <a:gd name="connsiteX2" fmla="*/ 29318 w 138765"/>
                  <a:gd name="connsiteY2" fmla="*/ 30799 h 59043"/>
                  <a:gd name="connsiteX3" fmla="*/ 43209 w 138765"/>
                  <a:gd name="connsiteY3" fmla="*/ 22862 h 59043"/>
                  <a:gd name="connsiteX4" fmla="*/ 57099 w 138765"/>
                  <a:gd name="connsiteY4" fmla="*/ 14429 h 59043"/>
                  <a:gd name="connsiteX5" fmla="*/ 71982 w 138765"/>
                  <a:gd name="connsiteY5" fmla="*/ 7980 h 59043"/>
                  <a:gd name="connsiteX6" fmla="*/ 85871 w 138765"/>
                  <a:gd name="connsiteY6" fmla="*/ 42 h 59043"/>
                  <a:gd name="connsiteX7" fmla="*/ 99266 w 138765"/>
                  <a:gd name="connsiteY7" fmla="*/ 6492 h 59043"/>
                  <a:gd name="connsiteX8" fmla="*/ 113156 w 138765"/>
                  <a:gd name="connsiteY8" fmla="*/ 11452 h 59043"/>
                  <a:gd name="connsiteX9" fmla="*/ 126054 w 138765"/>
                  <a:gd name="connsiteY9" fmla="*/ 26335 h 59043"/>
                  <a:gd name="connsiteX10" fmla="*/ 138456 w 138765"/>
                  <a:gd name="connsiteY10" fmla="*/ 41713 h 59043"/>
                  <a:gd name="connsiteX11" fmla="*/ 122085 w 138765"/>
                  <a:gd name="connsiteY11" fmla="*/ 43201 h 59043"/>
                  <a:gd name="connsiteX12" fmla="*/ 105714 w 138765"/>
                  <a:gd name="connsiteY12" fmla="*/ 46178 h 59043"/>
                  <a:gd name="connsiteX13" fmla="*/ 89344 w 138765"/>
                  <a:gd name="connsiteY13" fmla="*/ 49154 h 59043"/>
                  <a:gd name="connsiteX14" fmla="*/ 72477 w 138765"/>
                  <a:gd name="connsiteY14" fmla="*/ 49650 h 59043"/>
                  <a:gd name="connsiteX15" fmla="*/ 55611 w 138765"/>
                  <a:gd name="connsiteY15" fmla="*/ 51635 h 59043"/>
                  <a:gd name="connsiteX16" fmla="*/ 38744 w 138765"/>
                  <a:gd name="connsiteY16" fmla="*/ 53619 h 59043"/>
                  <a:gd name="connsiteX17" fmla="*/ 22374 w 138765"/>
                  <a:gd name="connsiteY17" fmla="*/ 56595 h 59043"/>
                  <a:gd name="connsiteX18" fmla="*/ 6003 w 138765"/>
                  <a:gd name="connsiteY18" fmla="*/ 58580 h 59043"/>
                  <a:gd name="connsiteX19" fmla="*/ 2034 w 138765"/>
                  <a:gd name="connsiteY19" fmla="*/ 47170 h 5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8765" h="59043">
                    <a:moveTo>
                      <a:pt x="2034" y="47170"/>
                    </a:moveTo>
                    <a:cubicBezTo>
                      <a:pt x="5507" y="40225"/>
                      <a:pt x="8483" y="42705"/>
                      <a:pt x="15429" y="38737"/>
                    </a:cubicBezTo>
                    <a:cubicBezTo>
                      <a:pt x="22374" y="34768"/>
                      <a:pt x="22374" y="34768"/>
                      <a:pt x="29318" y="30799"/>
                    </a:cubicBezTo>
                    <a:cubicBezTo>
                      <a:pt x="36264" y="26831"/>
                      <a:pt x="36264" y="26335"/>
                      <a:pt x="43209" y="22862"/>
                    </a:cubicBezTo>
                    <a:cubicBezTo>
                      <a:pt x="50154" y="18894"/>
                      <a:pt x="49658" y="18398"/>
                      <a:pt x="57099" y="14429"/>
                    </a:cubicBezTo>
                    <a:cubicBezTo>
                      <a:pt x="64044" y="10460"/>
                      <a:pt x="65036" y="11948"/>
                      <a:pt x="71982" y="7980"/>
                    </a:cubicBezTo>
                    <a:cubicBezTo>
                      <a:pt x="78926" y="4011"/>
                      <a:pt x="77934" y="539"/>
                      <a:pt x="85871" y="42"/>
                    </a:cubicBezTo>
                    <a:cubicBezTo>
                      <a:pt x="93313" y="-454"/>
                      <a:pt x="92321" y="3515"/>
                      <a:pt x="99266" y="6492"/>
                    </a:cubicBezTo>
                    <a:cubicBezTo>
                      <a:pt x="106210" y="9468"/>
                      <a:pt x="107203" y="6988"/>
                      <a:pt x="113156" y="11452"/>
                    </a:cubicBezTo>
                    <a:cubicBezTo>
                      <a:pt x="121093" y="17902"/>
                      <a:pt x="119605" y="18894"/>
                      <a:pt x="126054" y="26335"/>
                    </a:cubicBezTo>
                    <a:cubicBezTo>
                      <a:pt x="132503" y="33776"/>
                      <a:pt x="140440" y="31791"/>
                      <a:pt x="138456" y="41713"/>
                    </a:cubicBezTo>
                    <a:cubicBezTo>
                      <a:pt x="136472" y="49650"/>
                      <a:pt x="130518" y="42209"/>
                      <a:pt x="122085" y="43201"/>
                    </a:cubicBezTo>
                    <a:cubicBezTo>
                      <a:pt x="113652" y="44193"/>
                      <a:pt x="114148" y="45186"/>
                      <a:pt x="105714" y="46178"/>
                    </a:cubicBezTo>
                    <a:cubicBezTo>
                      <a:pt x="97281" y="47170"/>
                      <a:pt x="97281" y="48162"/>
                      <a:pt x="89344" y="49154"/>
                    </a:cubicBezTo>
                    <a:cubicBezTo>
                      <a:pt x="80911" y="50147"/>
                      <a:pt x="80911" y="48162"/>
                      <a:pt x="72477" y="49650"/>
                    </a:cubicBezTo>
                    <a:cubicBezTo>
                      <a:pt x="64044" y="50643"/>
                      <a:pt x="64044" y="50643"/>
                      <a:pt x="55611" y="51635"/>
                    </a:cubicBezTo>
                    <a:cubicBezTo>
                      <a:pt x="47178" y="52627"/>
                      <a:pt x="47178" y="52627"/>
                      <a:pt x="38744" y="53619"/>
                    </a:cubicBezTo>
                    <a:cubicBezTo>
                      <a:pt x="30311" y="54611"/>
                      <a:pt x="30311" y="55107"/>
                      <a:pt x="22374" y="56595"/>
                    </a:cubicBezTo>
                    <a:cubicBezTo>
                      <a:pt x="13940" y="57588"/>
                      <a:pt x="14436" y="60068"/>
                      <a:pt x="6003" y="58580"/>
                    </a:cubicBezTo>
                    <a:cubicBezTo>
                      <a:pt x="-1438" y="57588"/>
                      <a:pt x="-942" y="53123"/>
                      <a:pt x="2034" y="4717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6" name="Freeform: Shape 1645">
                <a:extLst>
                  <a:ext uri="{FF2B5EF4-FFF2-40B4-BE49-F238E27FC236}">
                    <a16:creationId xmlns:a16="http://schemas.microsoft.com/office/drawing/2014/main" id="{AA76A9F7-2960-EF49-ECB3-C95679A7B116}"/>
                  </a:ext>
                </a:extLst>
              </p:cNvPr>
              <p:cNvSpPr/>
              <p:nvPr/>
            </p:nvSpPr>
            <p:spPr>
              <a:xfrm>
                <a:off x="6456324" y="5052553"/>
                <a:ext cx="103405" cy="110416"/>
              </a:xfrm>
              <a:custGeom>
                <a:avLst/>
                <a:gdLst>
                  <a:gd name="connsiteX0" fmla="*/ 0 w 103405"/>
                  <a:gd name="connsiteY0" fmla="*/ 44151 h 110416"/>
                  <a:gd name="connsiteX1" fmla="*/ 12898 w 103405"/>
                  <a:gd name="connsiteY1" fmla="*/ 52088 h 110416"/>
                  <a:gd name="connsiteX2" fmla="*/ 25796 w 103405"/>
                  <a:gd name="connsiteY2" fmla="*/ 60025 h 110416"/>
                  <a:gd name="connsiteX3" fmla="*/ 38694 w 103405"/>
                  <a:gd name="connsiteY3" fmla="*/ 68459 h 110416"/>
                  <a:gd name="connsiteX4" fmla="*/ 51592 w 103405"/>
                  <a:gd name="connsiteY4" fmla="*/ 76396 h 110416"/>
                  <a:gd name="connsiteX5" fmla="*/ 64986 w 103405"/>
                  <a:gd name="connsiteY5" fmla="*/ 83837 h 110416"/>
                  <a:gd name="connsiteX6" fmla="*/ 76892 w 103405"/>
                  <a:gd name="connsiteY6" fmla="*/ 93263 h 110416"/>
                  <a:gd name="connsiteX7" fmla="*/ 89790 w 103405"/>
                  <a:gd name="connsiteY7" fmla="*/ 101696 h 110416"/>
                  <a:gd name="connsiteX8" fmla="*/ 102192 w 103405"/>
                  <a:gd name="connsiteY8" fmla="*/ 108145 h 110416"/>
                  <a:gd name="connsiteX9" fmla="*/ 92766 w 103405"/>
                  <a:gd name="connsiteY9" fmla="*/ 96735 h 110416"/>
                  <a:gd name="connsiteX10" fmla="*/ 82349 w 103405"/>
                  <a:gd name="connsiteY10" fmla="*/ 84829 h 110416"/>
                  <a:gd name="connsiteX11" fmla="*/ 72427 w 103405"/>
                  <a:gd name="connsiteY11" fmla="*/ 72427 h 110416"/>
                  <a:gd name="connsiteX12" fmla="*/ 62010 w 103405"/>
                  <a:gd name="connsiteY12" fmla="*/ 60521 h 110416"/>
                  <a:gd name="connsiteX13" fmla="*/ 52584 w 103405"/>
                  <a:gd name="connsiteY13" fmla="*/ 47623 h 110416"/>
                  <a:gd name="connsiteX14" fmla="*/ 41174 w 103405"/>
                  <a:gd name="connsiteY14" fmla="*/ 36214 h 110416"/>
                  <a:gd name="connsiteX15" fmla="*/ 31253 w 103405"/>
                  <a:gd name="connsiteY15" fmla="*/ 23812 h 110416"/>
                  <a:gd name="connsiteX16" fmla="*/ 21331 w 103405"/>
                  <a:gd name="connsiteY16" fmla="*/ 11410 h 110416"/>
                  <a:gd name="connsiteX17" fmla="*/ 10418 w 103405"/>
                  <a:gd name="connsiteY17" fmla="*/ 0 h 11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3405" h="110416">
                    <a:moveTo>
                      <a:pt x="0" y="44151"/>
                    </a:moveTo>
                    <a:cubicBezTo>
                      <a:pt x="6449" y="48119"/>
                      <a:pt x="6449" y="48119"/>
                      <a:pt x="12898" y="52088"/>
                    </a:cubicBezTo>
                    <a:cubicBezTo>
                      <a:pt x="19347" y="56057"/>
                      <a:pt x="19347" y="56057"/>
                      <a:pt x="25796" y="60025"/>
                    </a:cubicBezTo>
                    <a:cubicBezTo>
                      <a:pt x="32245" y="63994"/>
                      <a:pt x="32245" y="64490"/>
                      <a:pt x="38694" y="68459"/>
                    </a:cubicBezTo>
                    <a:cubicBezTo>
                      <a:pt x="45143" y="72427"/>
                      <a:pt x="45143" y="72427"/>
                      <a:pt x="51592" y="76396"/>
                    </a:cubicBezTo>
                    <a:cubicBezTo>
                      <a:pt x="58041" y="80364"/>
                      <a:pt x="58537" y="79868"/>
                      <a:pt x="64986" y="83837"/>
                    </a:cubicBezTo>
                    <a:cubicBezTo>
                      <a:pt x="71435" y="87806"/>
                      <a:pt x="70443" y="89294"/>
                      <a:pt x="76892" y="93263"/>
                    </a:cubicBezTo>
                    <a:cubicBezTo>
                      <a:pt x="83341" y="97231"/>
                      <a:pt x="83341" y="97727"/>
                      <a:pt x="89790" y="101696"/>
                    </a:cubicBezTo>
                    <a:cubicBezTo>
                      <a:pt x="96239" y="105665"/>
                      <a:pt x="98223" y="114594"/>
                      <a:pt x="102192" y="108145"/>
                    </a:cubicBezTo>
                    <a:cubicBezTo>
                      <a:pt x="106657" y="101696"/>
                      <a:pt x="97727" y="102688"/>
                      <a:pt x="92766" y="96735"/>
                    </a:cubicBezTo>
                    <a:cubicBezTo>
                      <a:pt x="87806" y="90783"/>
                      <a:pt x="87310" y="90783"/>
                      <a:pt x="82349" y="84829"/>
                    </a:cubicBezTo>
                    <a:cubicBezTo>
                      <a:pt x="77388" y="78877"/>
                      <a:pt x="77388" y="78381"/>
                      <a:pt x="72427" y="72427"/>
                    </a:cubicBezTo>
                    <a:cubicBezTo>
                      <a:pt x="67466" y="66475"/>
                      <a:pt x="66971" y="66475"/>
                      <a:pt x="62010" y="60521"/>
                    </a:cubicBezTo>
                    <a:cubicBezTo>
                      <a:pt x="57049" y="54569"/>
                      <a:pt x="58041" y="53577"/>
                      <a:pt x="52584" y="47623"/>
                    </a:cubicBezTo>
                    <a:cubicBezTo>
                      <a:pt x="47623" y="41671"/>
                      <a:pt x="46631" y="42663"/>
                      <a:pt x="41174" y="36214"/>
                    </a:cubicBezTo>
                    <a:cubicBezTo>
                      <a:pt x="36213" y="30261"/>
                      <a:pt x="36213" y="29765"/>
                      <a:pt x="31253" y="23812"/>
                    </a:cubicBezTo>
                    <a:cubicBezTo>
                      <a:pt x="26292" y="17859"/>
                      <a:pt x="26292" y="17363"/>
                      <a:pt x="21331" y="11410"/>
                    </a:cubicBezTo>
                    <a:cubicBezTo>
                      <a:pt x="16370" y="5457"/>
                      <a:pt x="15378" y="5953"/>
                      <a:pt x="1041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7" name="Freeform: Shape 1646">
                <a:extLst>
                  <a:ext uri="{FF2B5EF4-FFF2-40B4-BE49-F238E27FC236}">
                    <a16:creationId xmlns:a16="http://schemas.microsoft.com/office/drawing/2014/main" id="{BA9C0309-618A-B0A4-3176-509C151EBDC7}"/>
                  </a:ext>
                </a:extLst>
              </p:cNvPr>
              <p:cNvSpPr/>
              <p:nvPr/>
            </p:nvSpPr>
            <p:spPr>
              <a:xfrm>
                <a:off x="6511885" y="5039655"/>
                <a:ext cx="98719" cy="75899"/>
              </a:xfrm>
              <a:custGeom>
                <a:avLst/>
                <a:gdLst>
                  <a:gd name="connsiteX0" fmla="*/ 12898 w 98719"/>
                  <a:gd name="connsiteY0" fmla="*/ 0 h 75899"/>
                  <a:gd name="connsiteX1" fmla="*/ 26292 w 98719"/>
                  <a:gd name="connsiteY1" fmla="*/ 9922 h 75899"/>
                  <a:gd name="connsiteX2" fmla="*/ 38198 w 98719"/>
                  <a:gd name="connsiteY2" fmla="*/ 20835 h 75899"/>
                  <a:gd name="connsiteX3" fmla="*/ 50104 w 98719"/>
                  <a:gd name="connsiteY3" fmla="*/ 31749 h 75899"/>
                  <a:gd name="connsiteX4" fmla="*/ 62010 w 98719"/>
                  <a:gd name="connsiteY4" fmla="*/ 43159 h 75899"/>
                  <a:gd name="connsiteX5" fmla="*/ 74412 w 98719"/>
                  <a:gd name="connsiteY5" fmla="*/ 53576 h 75899"/>
                  <a:gd name="connsiteX6" fmla="*/ 87310 w 98719"/>
                  <a:gd name="connsiteY6" fmla="*/ 63994 h 75899"/>
                  <a:gd name="connsiteX7" fmla="*/ 98720 w 98719"/>
                  <a:gd name="connsiteY7" fmla="*/ 75900 h 75899"/>
                  <a:gd name="connsiteX8" fmla="*/ 82349 w 98719"/>
                  <a:gd name="connsiteY8" fmla="*/ 69947 h 75899"/>
                  <a:gd name="connsiteX9" fmla="*/ 65979 w 98719"/>
                  <a:gd name="connsiteY9" fmla="*/ 63994 h 75899"/>
                  <a:gd name="connsiteX10" fmla="*/ 49112 w 98719"/>
                  <a:gd name="connsiteY10" fmla="*/ 59529 h 75899"/>
                  <a:gd name="connsiteX11" fmla="*/ 32741 w 98719"/>
                  <a:gd name="connsiteY11" fmla="*/ 53080 h 75899"/>
                  <a:gd name="connsiteX12" fmla="*/ 16371 w 98719"/>
                  <a:gd name="connsiteY12" fmla="*/ 46135 h 75899"/>
                  <a:gd name="connsiteX13" fmla="*/ 0 w 98719"/>
                  <a:gd name="connsiteY13" fmla="*/ 40182 h 75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719" h="75899">
                    <a:moveTo>
                      <a:pt x="12898" y="0"/>
                    </a:moveTo>
                    <a:cubicBezTo>
                      <a:pt x="18851" y="5457"/>
                      <a:pt x="18851" y="2976"/>
                      <a:pt x="26292" y="9922"/>
                    </a:cubicBezTo>
                    <a:cubicBezTo>
                      <a:pt x="29765" y="12898"/>
                      <a:pt x="33734" y="16866"/>
                      <a:pt x="38198" y="20835"/>
                    </a:cubicBezTo>
                    <a:cubicBezTo>
                      <a:pt x="42167" y="24308"/>
                      <a:pt x="46135" y="28276"/>
                      <a:pt x="50104" y="31749"/>
                    </a:cubicBezTo>
                    <a:cubicBezTo>
                      <a:pt x="54073" y="35221"/>
                      <a:pt x="58041" y="39686"/>
                      <a:pt x="62010" y="43159"/>
                    </a:cubicBezTo>
                    <a:cubicBezTo>
                      <a:pt x="65979" y="47127"/>
                      <a:pt x="70939" y="50104"/>
                      <a:pt x="74412" y="53576"/>
                    </a:cubicBezTo>
                    <a:cubicBezTo>
                      <a:pt x="78877" y="57545"/>
                      <a:pt x="83837" y="60521"/>
                      <a:pt x="87310" y="63994"/>
                    </a:cubicBezTo>
                    <a:cubicBezTo>
                      <a:pt x="94751" y="70939"/>
                      <a:pt x="98720" y="75900"/>
                      <a:pt x="98720" y="75900"/>
                    </a:cubicBezTo>
                    <a:cubicBezTo>
                      <a:pt x="98224" y="75900"/>
                      <a:pt x="91774" y="72923"/>
                      <a:pt x="82349" y="69947"/>
                    </a:cubicBezTo>
                    <a:cubicBezTo>
                      <a:pt x="77388" y="68458"/>
                      <a:pt x="71931" y="65978"/>
                      <a:pt x="65979" y="63994"/>
                    </a:cubicBezTo>
                    <a:cubicBezTo>
                      <a:pt x="60521" y="62010"/>
                      <a:pt x="54569" y="61514"/>
                      <a:pt x="49112" y="59529"/>
                    </a:cubicBezTo>
                    <a:cubicBezTo>
                      <a:pt x="43655" y="57545"/>
                      <a:pt x="38198" y="55065"/>
                      <a:pt x="32741" y="53080"/>
                    </a:cubicBezTo>
                    <a:cubicBezTo>
                      <a:pt x="26788" y="51096"/>
                      <a:pt x="21332" y="48119"/>
                      <a:pt x="16371" y="46135"/>
                    </a:cubicBezTo>
                    <a:cubicBezTo>
                      <a:pt x="6449" y="42663"/>
                      <a:pt x="8433" y="43159"/>
                      <a:pt x="0" y="401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93" name="Graphic 10">
              <a:extLst>
                <a:ext uri="{FF2B5EF4-FFF2-40B4-BE49-F238E27FC236}">
                  <a16:creationId xmlns:a16="http://schemas.microsoft.com/office/drawing/2014/main" id="{9AFF9592-5811-C6B4-38A8-A7369305B6EC}"/>
                </a:ext>
              </a:extLst>
            </p:cNvPr>
            <p:cNvGrpSpPr/>
            <p:nvPr/>
          </p:nvGrpSpPr>
          <p:grpSpPr>
            <a:xfrm>
              <a:off x="4501146" y="2464561"/>
              <a:ext cx="363478" cy="393122"/>
              <a:chOff x="4501146" y="2464561"/>
              <a:chExt cx="363478" cy="393122"/>
            </a:xfrm>
            <a:noFill/>
          </p:grpSpPr>
          <p:sp>
            <p:nvSpPr>
              <p:cNvPr id="1627" name="Freeform: Shape 1626">
                <a:extLst>
                  <a:ext uri="{FF2B5EF4-FFF2-40B4-BE49-F238E27FC236}">
                    <a16:creationId xmlns:a16="http://schemas.microsoft.com/office/drawing/2014/main" id="{CA3FE3F1-FEC1-59E1-DF6B-2D6521F39078}"/>
                  </a:ext>
                </a:extLst>
              </p:cNvPr>
              <p:cNvSpPr/>
              <p:nvPr/>
            </p:nvSpPr>
            <p:spPr>
              <a:xfrm>
                <a:off x="4516359" y="2464561"/>
                <a:ext cx="334983" cy="333547"/>
              </a:xfrm>
              <a:custGeom>
                <a:avLst/>
                <a:gdLst>
                  <a:gd name="connsiteX0" fmla="*/ 331680 w 334983"/>
                  <a:gd name="connsiteY0" fmla="*/ 331333 h 333547"/>
                  <a:gd name="connsiteX1" fmla="*/ 314318 w 334983"/>
                  <a:gd name="connsiteY1" fmla="*/ 329349 h 333547"/>
                  <a:gd name="connsiteX2" fmla="*/ 297947 w 334983"/>
                  <a:gd name="connsiteY2" fmla="*/ 329845 h 333547"/>
                  <a:gd name="connsiteX3" fmla="*/ 281577 w 334983"/>
                  <a:gd name="connsiteY3" fmla="*/ 330341 h 333547"/>
                  <a:gd name="connsiteX4" fmla="*/ 265206 w 334983"/>
                  <a:gd name="connsiteY4" fmla="*/ 329845 h 333547"/>
                  <a:gd name="connsiteX5" fmla="*/ 248836 w 334983"/>
                  <a:gd name="connsiteY5" fmla="*/ 330341 h 333547"/>
                  <a:gd name="connsiteX6" fmla="*/ 232465 w 334983"/>
                  <a:gd name="connsiteY6" fmla="*/ 330341 h 333547"/>
                  <a:gd name="connsiteX7" fmla="*/ 216094 w 334983"/>
                  <a:gd name="connsiteY7" fmla="*/ 330837 h 333547"/>
                  <a:gd name="connsiteX8" fmla="*/ 199724 w 334983"/>
                  <a:gd name="connsiteY8" fmla="*/ 330837 h 333547"/>
                  <a:gd name="connsiteX9" fmla="*/ 183353 w 334983"/>
                  <a:gd name="connsiteY9" fmla="*/ 331333 h 333547"/>
                  <a:gd name="connsiteX10" fmla="*/ 166983 w 334983"/>
                  <a:gd name="connsiteY10" fmla="*/ 331333 h 333547"/>
                  <a:gd name="connsiteX11" fmla="*/ 150612 w 334983"/>
                  <a:gd name="connsiteY11" fmla="*/ 331333 h 333547"/>
                  <a:gd name="connsiteX12" fmla="*/ 134241 w 334983"/>
                  <a:gd name="connsiteY12" fmla="*/ 331830 h 333547"/>
                  <a:gd name="connsiteX13" fmla="*/ 117871 w 334983"/>
                  <a:gd name="connsiteY13" fmla="*/ 330341 h 333547"/>
                  <a:gd name="connsiteX14" fmla="*/ 101500 w 334983"/>
                  <a:gd name="connsiteY14" fmla="*/ 330341 h 333547"/>
                  <a:gd name="connsiteX15" fmla="*/ 85130 w 334983"/>
                  <a:gd name="connsiteY15" fmla="*/ 329845 h 333547"/>
                  <a:gd name="connsiteX16" fmla="*/ 68759 w 334983"/>
                  <a:gd name="connsiteY16" fmla="*/ 330837 h 333547"/>
                  <a:gd name="connsiteX17" fmla="*/ 52389 w 334983"/>
                  <a:gd name="connsiteY17" fmla="*/ 331333 h 333547"/>
                  <a:gd name="connsiteX18" fmla="*/ 36018 w 334983"/>
                  <a:gd name="connsiteY18" fmla="*/ 329349 h 333547"/>
                  <a:gd name="connsiteX19" fmla="*/ 19648 w 334983"/>
                  <a:gd name="connsiteY19" fmla="*/ 329845 h 333547"/>
                  <a:gd name="connsiteX20" fmla="*/ 3773 w 334983"/>
                  <a:gd name="connsiteY20" fmla="*/ 329845 h 333547"/>
                  <a:gd name="connsiteX21" fmla="*/ 2781 w 334983"/>
                  <a:gd name="connsiteY21" fmla="*/ 313971 h 333547"/>
                  <a:gd name="connsiteX22" fmla="*/ 2285 w 334983"/>
                  <a:gd name="connsiteY22" fmla="*/ 297600 h 333547"/>
                  <a:gd name="connsiteX23" fmla="*/ 1789 w 334983"/>
                  <a:gd name="connsiteY23" fmla="*/ 281230 h 333547"/>
                  <a:gd name="connsiteX24" fmla="*/ 3277 w 334983"/>
                  <a:gd name="connsiteY24" fmla="*/ 264859 h 333547"/>
                  <a:gd name="connsiteX25" fmla="*/ 3277 w 334983"/>
                  <a:gd name="connsiteY25" fmla="*/ 248489 h 333547"/>
                  <a:gd name="connsiteX26" fmla="*/ 2285 w 334983"/>
                  <a:gd name="connsiteY26" fmla="*/ 232118 h 333547"/>
                  <a:gd name="connsiteX27" fmla="*/ 4269 w 334983"/>
                  <a:gd name="connsiteY27" fmla="*/ 215747 h 333547"/>
                  <a:gd name="connsiteX28" fmla="*/ 4269 w 334983"/>
                  <a:gd name="connsiteY28" fmla="*/ 199377 h 333547"/>
                  <a:gd name="connsiteX29" fmla="*/ 3277 w 334983"/>
                  <a:gd name="connsiteY29" fmla="*/ 183006 h 333547"/>
                  <a:gd name="connsiteX30" fmla="*/ 2285 w 334983"/>
                  <a:gd name="connsiteY30" fmla="*/ 166636 h 333547"/>
                  <a:gd name="connsiteX31" fmla="*/ 4269 w 334983"/>
                  <a:gd name="connsiteY31" fmla="*/ 150265 h 333547"/>
                  <a:gd name="connsiteX32" fmla="*/ 1789 w 334983"/>
                  <a:gd name="connsiteY32" fmla="*/ 133894 h 333547"/>
                  <a:gd name="connsiteX33" fmla="*/ 2781 w 334983"/>
                  <a:gd name="connsiteY33" fmla="*/ 117524 h 333547"/>
                  <a:gd name="connsiteX34" fmla="*/ 2781 w 334983"/>
                  <a:gd name="connsiteY34" fmla="*/ 101153 h 333547"/>
                  <a:gd name="connsiteX35" fmla="*/ 3277 w 334983"/>
                  <a:gd name="connsiteY35" fmla="*/ 84783 h 333547"/>
                  <a:gd name="connsiteX36" fmla="*/ 3773 w 334983"/>
                  <a:gd name="connsiteY36" fmla="*/ 68412 h 333547"/>
                  <a:gd name="connsiteX37" fmla="*/ 1789 w 334983"/>
                  <a:gd name="connsiteY37" fmla="*/ 52042 h 333547"/>
                  <a:gd name="connsiteX38" fmla="*/ 3773 w 334983"/>
                  <a:gd name="connsiteY38" fmla="*/ 35671 h 333547"/>
                  <a:gd name="connsiteX39" fmla="*/ 2285 w 334983"/>
                  <a:gd name="connsiteY39" fmla="*/ 19301 h 333547"/>
                  <a:gd name="connsiteX40" fmla="*/ 2781 w 334983"/>
                  <a:gd name="connsiteY40" fmla="*/ 2930 h 333547"/>
                  <a:gd name="connsiteX41" fmla="*/ 19151 w 334983"/>
                  <a:gd name="connsiteY41" fmla="*/ 1938 h 333547"/>
                  <a:gd name="connsiteX42" fmla="*/ 35522 w 334983"/>
                  <a:gd name="connsiteY42" fmla="*/ 2434 h 333547"/>
                  <a:gd name="connsiteX43" fmla="*/ 51893 w 334983"/>
                  <a:gd name="connsiteY43" fmla="*/ 1938 h 333547"/>
                  <a:gd name="connsiteX44" fmla="*/ 68263 w 334983"/>
                  <a:gd name="connsiteY44" fmla="*/ 1938 h 333547"/>
                  <a:gd name="connsiteX45" fmla="*/ 84634 w 334983"/>
                  <a:gd name="connsiteY45" fmla="*/ 2930 h 333547"/>
                  <a:gd name="connsiteX46" fmla="*/ 101004 w 334983"/>
                  <a:gd name="connsiteY46" fmla="*/ 2434 h 333547"/>
                  <a:gd name="connsiteX47" fmla="*/ 117375 w 334983"/>
                  <a:gd name="connsiteY47" fmla="*/ 2930 h 333547"/>
                  <a:gd name="connsiteX48" fmla="*/ 133745 w 334983"/>
                  <a:gd name="connsiteY48" fmla="*/ 2434 h 333547"/>
                  <a:gd name="connsiteX49" fmla="*/ 150116 w 334983"/>
                  <a:gd name="connsiteY49" fmla="*/ 4418 h 333547"/>
                  <a:gd name="connsiteX50" fmla="*/ 166486 w 334983"/>
                  <a:gd name="connsiteY50" fmla="*/ 3426 h 333547"/>
                  <a:gd name="connsiteX51" fmla="*/ 182857 w 334983"/>
                  <a:gd name="connsiteY51" fmla="*/ 3426 h 333547"/>
                  <a:gd name="connsiteX52" fmla="*/ 199228 w 334983"/>
                  <a:gd name="connsiteY52" fmla="*/ 2434 h 333547"/>
                  <a:gd name="connsiteX53" fmla="*/ 215598 w 334983"/>
                  <a:gd name="connsiteY53" fmla="*/ 2434 h 333547"/>
                  <a:gd name="connsiteX54" fmla="*/ 231969 w 334983"/>
                  <a:gd name="connsiteY54" fmla="*/ 3922 h 333547"/>
                  <a:gd name="connsiteX55" fmla="*/ 248339 w 334983"/>
                  <a:gd name="connsiteY55" fmla="*/ 3922 h 333547"/>
                  <a:gd name="connsiteX56" fmla="*/ 264710 w 334983"/>
                  <a:gd name="connsiteY56" fmla="*/ 3922 h 333547"/>
                  <a:gd name="connsiteX57" fmla="*/ 281081 w 334983"/>
                  <a:gd name="connsiteY57" fmla="*/ 2930 h 333547"/>
                  <a:gd name="connsiteX58" fmla="*/ 297451 w 334983"/>
                  <a:gd name="connsiteY58" fmla="*/ 4418 h 333547"/>
                  <a:gd name="connsiteX59" fmla="*/ 313822 w 334983"/>
                  <a:gd name="connsiteY59" fmla="*/ 2930 h 333547"/>
                  <a:gd name="connsiteX60" fmla="*/ 330688 w 334983"/>
                  <a:gd name="connsiteY60" fmla="*/ 2930 h 333547"/>
                  <a:gd name="connsiteX61" fmla="*/ 330688 w 334983"/>
                  <a:gd name="connsiteY61" fmla="*/ 19797 h 333547"/>
                  <a:gd name="connsiteX62" fmla="*/ 331680 w 334983"/>
                  <a:gd name="connsiteY62" fmla="*/ 36167 h 333547"/>
                  <a:gd name="connsiteX63" fmla="*/ 331184 w 334983"/>
                  <a:gd name="connsiteY63" fmla="*/ 52538 h 333547"/>
                  <a:gd name="connsiteX64" fmla="*/ 329696 w 334983"/>
                  <a:gd name="connsiteY64" fmla="*/ 68908 h 333547"/>
                  <a:gd name="connsiteX65" fmla="*/ 329696 w 334983"/>
                  <a:gd name="connsiteY65" fmla="*/ 85279 h 333547"/>
                  <a:gd name="connsiteX66" fmla="*/ 329696 w 334983"/>
                  <a:gd name="connsiteY66" fmla="*/ 101649 h 333547"/>
                  <a:gd name="connsiteX67" fmla="*/ 331184 w 334983"/>
                  <a:gd name="connsiteY67" fmla="*/ 118020 h 333547"/>
                  <a:gd name="connsiteX68" fmla="*/ 329200 w 334983"/>
                  <a:gd name="connsiteY68" fmla="*/ 134391 h 333547"/>
                  <a:gd name="connsiteX69" fmla="*/ 330192 w 334983"/>
                  <a:gd name="connsiteY69" fmla="*/ 150761 h 333547"/>
                  <a:gd name="connsiteX70" fmla="*/ 328704 w 334983"/>
                  <a:gd name="connsiteY70" fmla="*/ 167132 h 333547"/>
                  <a:gd name="connsiteX71" fmla="*/ 328704 w 334983"/>
                  <a:gd name="connsiteY71" fmla="*/ 183502 h 333547"/>
                  <a:gd name="connsiteX72" fmla="*/ 328704 w 334983"/>
                  <a:gd name="connsiteY72" fmla="*/ 199873 h 333547"/>
                  <a:gd name="connsiteX73" fmla="*/ 329696 w 334983"/>
                  <a:gd name="connsiteY73" fmla="*/ 216244 h 333547"/>
                  <a:gd name="connsiteX74" fmla="*/ 330192 w 334983"/>
                  <a:gd name="connsiteY74" fmla="*/ 232614 h 333547"/>
                  <a:gd name="connsiteX75" fmla="*/ 328704 w 334983"/>
                  <a:gd name="connsiteY75" fmla="*/ 248985 h 333547"/>
                  <a:gd name="connsiteX76" fmla="*/ 328208 w 334983"/>
                  <a:gd name="connsiteY76" fmla="*/ 265355 h 333547"/>
                  <a:gd name="connsiteX77" fmla="*/ 329200 w 334983"/>
                  <a:gd name="connsiteY77" fmla="*/ 281726 h 333547"/>
                  <a:gd name="connsiteX78" fmla="*/ 328704 w 334983"/>
                  <a:gd name="connsiteY78" fmla="*/ 298096 h 333547"/>
                  <a:gd name="connsiteX79" fmla="*/ 329696 w 334983"/>
                  <a:gd name="connsiteY79" fmla="*/ 314467 h 333547"/>
                  <a:gd name="connsiteX80" fmla="*/ 331680 w 334983"/>
                  <a:gd name="connsiteY80" fmla="*/ 331333 h 3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983" h="333547">
                    <a:moveTo>
                      <a:pt x="331680" y="331333"/>
                    </a:moveTo>
                    <a:cubicBezTo>
                      <a:pt x="325728" y="337286"/>
                      <a:pt x="322751" y="329349"/>
                      <a:pt x="314318" y="329349"/>
                    </a:cubicBezTo>
                    <a:cubicBezTo>
                      <a:pt x="305885" y="329349"/>
                      <a:pt x="305885" y="329845"/>
                      <a:pt x="297947" y="329845"/>
                    </a:cubicBezTo>
                    <a:cubicBezTo>
                      <a:pt x="289514" y="329845"/>
                      <a:pt x="289514" y="330341"/>
                      <a:pt x="281577" y="330341"/>
                    </a:cubicBezTo>
                    <a:cubicBezTo>
                      <a:pt x="273143" y="330341"/>
                      <a:pt x="273143" y="329845"/>
                      <a:pt x="265206" y="329845"/>
                    </a:cubicBezTo>
                    <a:cubicBezTo>
                      <a:pt x="256773" y="329845"/>
                      <a:pt x="256773" y="330341"/>
                      <a:pt x="248836" y="330341"/>
                    </a:cubicBezTo>
                    <a:cubicBezTo>
                      <a:pt x="240402" y="330341"/>
                      <a:pt x="240402" y="330341"/>
                      <a:pt x="232465" y="330341"/>
                    </a:cubicBezTo>
                    <a:cubicBezTo>
                      <a:pt x="224032" y="330341"/>
                      <a:pt x="224032" y="330837"/>
                      <a:pt x="216094" y="330837"/>
                    </a:cubicBezTo>
                    <a:cubicBezTo>
                      <a:pt x="207661" y="330837"/>
                      <a:pt x="207661" y="330837"/>
                      <a:pt x="199724" y="330837"/>
                    </a:cubicBezTo>
                    <a:cubicBezTo>
                      <a:pt x="191290" y="330837"/>
                      <a:pt x="191290" y="331333"/>
                      <a:pt x="183353" y="331333"/>
                    </a:cubicBezTo>
                    <a:cubicBezTo>
                      <a:pt x="174920" y="331333"/>
                      <a:pt x="174920" y="331333"/>
                      <a:pt x="166983" y="331333"/>
                    </a:cubicBezTo>
                    <a:cubicBezTo>
                      <a:pt x="158549" y="331333"/>
                      <a:pt x="158549" y="331333"/>
                      <a:pt x="150612" y="331333"/>
                    </a:cubicBezTo>
                    <a:cubicBezTo>
                      <a:pt x="142179" y="331333"/>
                      <a:pt x="142179" y="331830"/>
                      <a:pt x="134241" y="331830"/>
                    </a:cubicBezTo>
                    <a:cubicBezTo>
                      <a:pt x="125808" y="331830"/>
                      <a:pt x="125808" y="330341"/>
                      <a:pt x="117871" y="330341"/>
                    </a:cubicBezTo>
                    <a:cubicBezTo>
                      <a:pt x="109934" y="330341"/>
                      <a:pt x="109438" y="330341"/>
                      <a:pt x="101500" y="330341"/>
                    </a:cubicBezTo>
                    <a:cubicBezTo>
                      <a:pt x="93067" y="330341"/>
                      <a:pt x="93067" y="329845"/>
                      <a:pt x="85130" y="329845"/>
                    </a:cubicBezTo>
                    <a:cubicBezTo>
                      <a:pt x="76697" y="329845"/>
                      <a:pt x="76697" y="330837"/>
                      <a:pt x="68759" y="330837"/>
                    </a:cubicBezTo>
                    <a:cubicBezTo>
                      <a:pt x="60326" y="330837"/>
                      <a:pt x="60326" y="331333"/>
                      <a:pt x="52389" y="331333"/>
                    </a:cubicBezTo>
                    <a:cubicBezTo>
                      <a:pt x="43955" y="331333"/>
                      <a:pt x="43955" y="329349"/>
                      <a:pt x="36018" y="329349"/>
                    </a:cubicBezTo>
                    <a:cubicBezTo>
                      <a:pt x="27585" y="329349"/>
                      <a:pt x="27585" y="329845"/>
                      <a:pt x="19648" y="329845"/>
                    </a:cubicBezTo>
                    <a:cubicBezTo>
                      <a:pt x="11214" y="329845"/>
                      <a:pt x="9726" y="335302"/>
                      <a:pt x="3773" y="329845"/>
                    </a:cubicBezTo>
                    <a:cubicBezTo>
                      <a:pt x="-2180" y="323892"/>
                      <a:pt x="2781" y="322404"/>
                      <a:pt x="2781" y="313971"/>
                    </a:cubicBezTo>
                    <a:cubicBezTo>
                      <a:pt x="2781" y="305538"/>
                      <a:pt x="2285" y="305538"/>
                      <a:pt x="2285" y="297600"/>
                    </a:cubicBezTo>
                    <a:cubicBezTo>
                      <a:pt x="2285" y="289167"/>
                      <a:pt x="1789" y="289167"/>
                      <a:pt x="1789" y="281230"/>
                    </a:cubicBezTo>
                    <a:cubicBezTo>
                      <a:pt x="1789" y="272796"/>
                      <a:pt x="3277" y="272796"/>
                      <a:pt x="3277" y="264859"/>
                    </a:cubicBezTo>
                    <a:cubicBezTo>
                      <a:pt x="3277" y="256426"/>
                      <a:pt x="3277" y="256426"/>
                      <a:pt x="3277" y="248489"/>
                    </a:cubicBezTo>
                    <a:cubicBezTo>
                      <a:pt x="3277" y="240055"/>
                      <a:pt x="2285" y="240055"/>
                      <a:pt x="2285" y="232118"/>
                    </a:cubicBezTo>
                    <a:cubicBezTo>
                      <a:pt x="2285" y="223685"/>
                      <a:pt x="4269" y="223685"/>
                      <a:pt x="4269" y="215747"/>
                    </a:cubicBezTo>
                    <a:cubicBezTo>
                      <a:pt x="4269" y="207314"/>
                      <a:pt x="4269" y="207314"/>
                      <a:pt x="4269" y="199377"/>
                    </a:cubicBezTo>
                    <a:cubicBezTo>
                      <a:pt x="4269" y="190943"/>
                      <a:pt x="3277" y="190943"/>
                      <a:pt x="3277" y="183006"/>
                    </a:cubicBezTo>
                    <a:cubicBezTo>
                      <a:pt x="3277" y="174573"/>
                      <a:pt x="2285" y="174573"/>
                      <a:pt x="2285" y="166636"/>
                    </a:cubicBezTo>
                    <a:cubicBezTo>
                      <a:pt x="2285" y="158202"/>
                      <a:pt x="4269" y="158202"/>
                      <a:pt x="4269" y="150265"/>
                    </a:cubicBezTo>
                    <a:cubicBezTo>
                      <a:pt x="4269" y="141832"/>
                      <a:pt x="1789" y="141832"/>
                      <a:pt x="1789" y="133894"/>
                    </a:cubicBezTo>
                    <a:cubicBezTo>
                      <a:pt x="1789" y="125461"/>
                      <a:pt x="2781" y="125461"/>
                      <a:pt x="2781" y="117524"/>
                    </a:cubicBezTo>
                    <a:cubicBezTo>
                      <a:pt x="2781" y="109587"/>
                      <a:pt x="2781" y="109091"/>
                      <a:pt x="2781" y="101153"/>
                    </a:cubicBezTo>
                    <a:cubicBezTo>
                      <a:pt x="2781" y="92720"/>
                      <a:pt x="3277" y="92720"/>
                      <a:pt x="3277" y="84783"/>
                    </a:cubicBezTo>
                    <a:cubicBezTo>
                      <a:pt x="3277" y="76350"/>
                      <a:pt x="3773" y="76350"/>
                      <a:pt x="3773" y="68412"/>
                    </a:cubicBezTo>
                    <a:cubicBezTo>
                      <a:pt x="3773" y="59979"/>
                      <a:pt x="1789" y="59979"/>
                      <a:pt x="1789" y="52042"/>
                    </a:cubicBezTo>
                    <a:cubicBezTo>
                      <a:pt x="1789" y="43608"/>
                      <a:pt x="3773" y="43608"/>
                      <a:pt x="3773" y="35671"/>
                    </a:cubicBezTo>
                    <a:cubicBezTo>
                      <a:pt x="3773" y="27238"/>
                      <a:pt x="2285" y="27238"/>
                      <a:pt x="2285" y="19301"/>
                    </a:cubicBezTo>
                    <a:cubicBezTo>
                      <a:pt x="2285" y="11363"/>
                      <a:pt x="-3172" y="8883"/>
                      <a:pt x="2781" y="2930"/>
                    </a:cubicBezTo>
                    <a:cubicBezTo>
                      <a:pt x="8734" y="-3023"/>
                      <a:pt x="10718" y="1938"/>
                      <a:pt x="19151" y="1938"/>
                    </a:cubicBezTo>
                    <a:cubicBezTo>
                      <a:pt x="27585" y="1938"/>
                      <a:pt x="27585" y="2434"/>
                      <a:pt x="35522" y="2434"/>
                    </a:cubicBezTo>
                    <a:cubicBezTo>
                      <a:pt x="43955" y="2434"/>
                      <a:pt x="43955" y="1938"/>
                      <a:pt x="51893" y="1938"/>
                    </a:cubicBezTo>
                    <a:cubicBezTo>
                      <a:pt x="60326" y="1938"/>
                      <a:pt x="60326" y="1938"/>
                      <a:pt x="68263" y="1938"/>
                    </a:cubicBezTo>
                    <a:cubicBezTo>
                      <a:pt x="76697" y="1938"/>
                      <a:pt x="76697" y="2930"/>
                      <a:pt x="84634" y="2930"/>
                    </a:cubicBezTo>
                    <a:cubicBezTo>
                      <a:pt x="93067" y="2930"/>
                      <a:pt x="93067" y="2434"/>
                      <a:pt x="101004" y="2434"/>
                    </a:cubicBezTo>
                    <a:cubicBezTo>
                      <a:pt x="109438" y="2434"/>
                      <a:pt x="109438" y="2930"/>
                      <a:pt x="117375" y="2930"/>
                    </a:cubicBezTo>
                    <a:cubicBezTo>
                      <a:pt x="125808" y="2930"/>
                      <a:pt x="125808" y="2434"/>
                      <a:pt x="133745" y="2434"/>
                    </a:cubicBezTo>
                    <a:cubicBezTo>
                      <a:pt x="142179" y="2434"/>
                      <a:pt x="142179" y="4418"/>
                      <a:pt x="150116" y="4418"/>
                    </a:cubicBezTo>
                    <a:cubicBezTo>
                      <a:pt x="158549" y="4418"/>
                      <a:pt x="158549" y="3426"/>
                      <a:pt x="166486" y="3426"/>
                    </a:cubicBezTo>
                    <a:cubicBezTo>
                      <a:pt x="174920" y="3426"/>
                      <a:pt x="174920" y="3426"/>
                      <a:pt x="182857" y="3426"/>
                    </a:cubicBezTo>
                    <a:cubicBezTo>
                      <a:pt x="191290" y="3426"/>
                      <a:pt x="191290" y="2434"/>
                      <a:pt x="199228" y="2434"/>
                    </a:cubicBezTo>
                    <a:cubicBezTo>
                      <a:pt x="207661" y="2434"/>
                      <a:pt x="207661" y="2434"/>
                      <a:pt x="215598" y="2434"/>
                    </a:cubicBezTo>
                    <a:cubicBezTo>
                      <a:pt x="223535" y="2434"/>
                      <a:pt x="224032" y="3922"/>
                      <a:pt x="231969" y="3922"/>
                    </a:cubicBezTo>
                    <a:cubicBezTo>
                      <a:pt x="240402" y="3922"/>
                      <a:pt x="240402" y="3922"/>
                      <a:pt x="248339" y="3922"/>
                    </a:cubicBezTo>
                    <a:cubicBezTo>
                      <a:pt x="256773" y="3922"/>
                      <a:pt x="256773" y="3922"/>
                      <a:pt x="264710" y="3922"/>
                    </a:cubicBezTo>
                    <a:cubicBezTo>
                      <a:pt x="273143" y="3922"/>
                      <a:pt x="273143" y="2930"/>
                      <a:pt x="281081" y="2930"/>
                    </a:cubicBezTo>
                    <a:cubicBezTo>
                      <a:pt x="289514" y="2930"/>
                      <a:pt x="289514" y="4418"/>
                      <a:pt x="297451" y="4418"/>
                    </a:cubicBezTo>
                    <a:cubicBezTo>
                      <a:pt x="305885" y="4418"/>
                      <a:pt x="305885" y="2930"/>
                      <a:pt x="313822" y="2930"/>
                    </a:cubicBezTo>
                    <a:cubicBezTo>
                      <a:pt x="322255" y="2930"/>
                      <a:pt x="324735" y="-3023"/>
                      <a:pt x="330688" y="2930"/>
                    </a:cubicBezTo>
                    <a:cubicBezTo>
                      <a:pt x="336641" y="8883"/>
                      <a:pt x="330688" y="11363"/>
                      <a:pt x="330688" y="19797"/>
                    </a:cubicBezTo>
                    <a:cubicBezTo>
                      <a:pt x="330688" y="28230"/>
                      <a:pt x="331680" y="28230"/>
                      <a:pt x="331680" y="36167"/>
                    </a:cubicBezTo>
                    <a:cubicBezTo>
                      <a:pt x="331680" y="44600"/>
                      <a:pt x="331184" y="44600"/>
                      <a:pt x="331184" y="52538"/>
                    </a:cubicBezTo>
                    <a:cubicBezTo>
                      <a:pt x="331184" y="60971"/>
                      <a:pt x="329696" y="60971"/>
                      <a:pt x="329696" y="68908"/>
                    </a:cubicBezTo>
                    <a:cubicBezTo>
                      <a:pt x="329696" y="77342"/>
                      <a:pt x="329696" y="77342"/>
                      <a:pt x="329696" y="85279"/>
                    </a:cubicBezTo>
                    <a:cubicBezTo>
                      <a:pt x="329696" y="93712"/>
                      <a:pt x="329696" y="93712"/>
                      <a:pt x="329696" y="101649"/>
                    </a:cubicBezTo>
                    <a:cubicBezTo>
                      <a:pt x="329696" y="110083"/>
                      <a:pt x="331184" y="110083"/>
                      <a:pt x="331184" y="118020"/>
                    </a:cubicBezTo>
                    <a:cubicBezTo>
                      <a:pt x="331184" y="126453"/>
                      <a:pt x="329200" y="126453"/>
                      <a:pt x="329200" y="134391"/>
                    </a:cubicBezTo>
                    <a:cubicBezTo>
                      <a:pt x="329200" y="142824"/>
                      <a:pt x="330192" y="142824"/>
                      <a:pt x="330192" y="150761"/>
                    </a:cubicBezTo>
                    <a:cubicBezTo>
                      <a:pt x="330192" y="159195"/>
                      <a:pt x="328704" y="159195"/>
                      <a:pt x="328704" y="167132"/>
                    </a:cubicBezTo>
                    <a:cubicBezTo>
                      <a:pt x="328704" y="175565"/>
                      <a:pt x="328704" y="175565"/>
                      <a:pt x="328704" y="183502"/>
                    </a:cubicBezTo>
                    <a:cubicBezTo>
                      <a:pt x="328704" y="191936"/>
                      <a:pt x="328704" y="191936"/>
                      <a:pt x="328704" y="199873"/>
                    </a:cubicBezTo>
                    <a:cubicBezTo>
                      <a:pt x="328704" y="208306"/>
                      <a:pt x="329696" y="208306"/>
                      <a:pt x="329696" y="216244"/>
                    </a:cubicBezTo>
                    <a:cubicBezTo>
                      <a:pt x="329696" y="224181"/>
                      <a:pt x="330192" y="224677"/>
                      <a:pt x="330192" y="232614"/>
                    </a:cubicBezTo>
                    <a:cubicBezTo>
                      <a:pt x="330192" y="241047"/>
                      <a:pt x="328704" y="241047"/>
                      <a:pt x="328704" y="248985"/>
                    </a:cubicBezTo>
                    <a:cubicBezTo>
                      <a:pt x="328704" y="257418"/>
                      <a:pt x="328208" y="257418"/>
                      <a:pt x="328208" y="265355"/>
                    </a:cubicBezTo>
                    <a:cubicBezTo>
                      <a:pt x="328208" y="273788"/>
                      <a:pt x="329200" y="273788"/>
                      <a:pt x="329200" y="281726"/>
                    </a:cubicBezTo>
                    <a:cubicBezTo>
                      <a:pt x="329200" y="290159"/>
                      <a:pt x="328704" y="290159"/>
                      <a:pt x="328704" y="298096"/>
                    </a:cubicBezTo>
                    <a:cubicBezTo>
                      <a:pt x="328704" y="306530"/>
                      <a:pt x="328208" y="306530"/>
                      <a:pt x="329696" y="314467"/>
                    </a:cubicBezTo>
                    <a:cubicBezTo>
                      <a:pt x="334657" y="322900"/>
                      <a:pt x="337633" y="325381"/>
                      <a:pt x="331680" y="33133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8" name="Freeform: Shape 1627">
                <a:extLst>
                  <a:ext uri="{FF2B5EF4-FFF2-40B4-BE49-F238E27FC236}">
                    <a16:creationId xmlns:a16="http://schemas.microsoft.com/office/drawing/2014/main" id="{7E6BE64F-10FC-EDF4-716E-09A9C2A60024}"/>
                  </a:ext>
                </a:extLst>
              </p:cNvPr>
              <p:cNvSpPr/>
              <p:nvPr/>
            </p:nvSpPr>
            <p:spPr>
              <a:xfrm>
                <a:off x="4713602" y="2633677"/>
                <a:ext cx="41670" cy="1488"/>
              </a:xfrm>
              <a:custGeom>
                <a:avLst/>
                <a:gdLst>
                  <a:gd name="connsiteX0" fmla="*/ 41671 w 41670"/>
                  <a:gd name="connsiteY0" fmla="*/ 0 h 1488"/>
                  <a:gd name="connsiteX1" fmla="*/ 27780 w 41670"/>
                  <a:gd name="connsiteY1" fmla="*/ 1488 h 1488"/>
                  <a:gd name="connsiteX2" fmla="*/ 13890 w 41670"/>
                  <a:gd name="connsiteY2" fmla="*/ 496 h 1488"/>
                  <a:gd name="connsiteX3" fmla="*/ 0 w 41670"/>
                  <a:gd name="connsiteY3" fmla="*/ 0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70" h="1488">
                    <a:moveTo>
                      <a:pt x="41671" y="0"/>
                    </a:moveTo>
                    <a:cubicBezTo>
                      <a:pt x="34725" y="0"/>
                      <a:pt x="34725" y="1488"/>
                      <a:pt x="27780" y="1488"/>
                    </a:cubicBezTo>
                    <a:cubicBezTo>
                      <a:pt x="20835" y="1488"/>
                      <a:pt x="20835" y="496"/>
                      <a:pt x="13890" y="496"/>
                    </a:cubicBezTo>
                    <a:cubicBezTo>
                      <a:pt x="6945" y="496"/>
                      <a:pt x="6945" y="0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9" name="Freeform: Shape 1628">
                <a:extLst>
                  <a:ext uri="{FF2B5EF4-FFF2-40B4-BE49-F238E27FC236}">
                    <a16:creationId xmlns:a16="http://schemas.microsoft.com/office/drawing/2014/main" id="{0D052EA2-8442-4100-726E-DAE849A02AF2}"/>
                  </a:ext>
                </a:extLst>
              </p:cNvPr>
              <p:cNvSpPr/>
              <p:nvPr/>
            </p:nvSpPr>
            <p:spPr>
              <a:xfrm>
                <a:off x="4724516" y="2598456"/>
                <a:ext cx="104176" cy="1984"/>
              </a:xfrm>
              <a:custGeom>
                <a:avLst/>
                <a:gdLst>
                  <a:gd name="connsiteX0" fmla="*/ 0 w 104176"/>
                  <a:gd name="connsiteY0" fmla="*/ 992 h 1984"/>
                  <a:gd name="connsiteX1" fmla="*/ 17363 w 104176"/>
                  <a:gd name="connsiteY1" fmla="*/ 1488 h 1984"/>
                  <a:gd name="connsiteX2" fmla="*/ 34725 w 104176"/>
                  <a:gd name="connsiteY2" fmla="*/ 992 h 1984"/>
                  <a:gd name="connsiteX3" fmla="*/ 52088 w 104176"/>
                  <a:gd name="connsiteY3" fmla="*/ 0 h 1984"/>
                  <a:gd name="connsiteX4" fmla="*/ 69451 w 104176"/>
                  <a:gd name="connsiteY4" fmla="*/ 1984 h 1984"/>
                  <a:gd name="connsiteX5" fmla="*/ 86814 w 104176"/>
                  <a:gd name="connsiteY5" fmla="*/ 1488 h 1984"/>
                  <a:gd name="connsiteX6" fmla="*/ 104176 w 104176"/>
                  <a:gd name="connsiteY6" fmla="*/ 1488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176" h="1984">
                    <a:moveTo>
                      <a:pt x="0" y="992"/>
                    </a:moveTo>
                    <a:cubicBezTo>
                      <a:pt x="8433" y="992"/>
                      <a:pt x="8433" y="1488"/>
                      <a:pt x="17363" y="1488"/>
                    </a:cubicBezTo>
                    <a:cubicBezTo>
                      <a:pt x="25796" y="1488"/>
                      <a:pt x="25796" y="992"/>
                      <a:pt x="34725" y="992"/>
                    </a:cubicBezTo>
                    <a:cubicBezTo>
                      <a:pt x="43159" y="992"/>
                      <a:pt x="43159" y="0"/>
                      <a:pt x="52088" y="0"/>
                    </a:cubicBezTo>
                    <a:cubicBezTo>
                      <a:pt x="60522" y="0"/>
                      <a:pt x="60522" y="1984"/>
                      <a:pt x="69451" y="1984"/>
                    </a:cubicBezTo>
                    <a:cubicBezTo>
                      <a:pt x="77884" y="1984"/>
                      <a:pt x="77884" y="1488"/>
                      <a:pt x="86814" y="1488"/>
                    </a:cubicBezTo>
                    <a:cubicBezTo>
                      <a:pt x="95743" y="1488"/>
                      <a:pt x="95247" y="1488"/>
                      <a:pt x="104176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0" name="Freeform: Shape 1629">
                <a:extLst>
                  <a:ext uri="{FF2B5EF4-FFF2-40B4-BE49-F238E27FC236}">
                    <a16:creationId xmlns:a16="http://schemas.microsoft.com/office/drawing/2014/main" id="{D308FF8E-A02C-7AE9-9F3C-3C8F8D87F3B6}"/>
                  </a:ext>
                </a:extLst>
              </p:cNvPr>
              <p:cNvSpPr/>
              <p:nvPr/>
            </p:nvSpPr>
            <p:spPr>
              <a:xfrm>
                <a:off x="4533526" y="2598456"/>
                <a:ext cx="56552" cy="2480"/>
              </a:xfrm>
              <a:custGeom>
                <a:avLst/>
                <a:gdLst>
                  <a:gd name="connsiteX0" fmla="*/ 0 w 56552"/>
                  <a:gd name="connsiteY0" fmla="*/ 0 h 2480"/>
                  <a:gd name="connsiteX1" fmla="*/ 18851 w 56552"/>
                  <a:gd name="connsiteY1" fmla="*/ 2480 h 2480"/>
                  <a:gd name="connsiteX2" fmla="*/ 37702 w 56552"/>
                  <a:gd name="connsiteY2" fmla="*/ 496 h 2480"/>
                  <a:gd name="connsiteX3" fmla="*/ 56553 w 56552"/>
                  <a:gd name="connsiteY3" fmla="*/ 1984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52" h="2480">
                    <a:moveTo>
                      <a:pt x="0" y="0"/>
                    </a:moveTo>
                    <a:cubicBezTo>
                      <a:pt x="9425" y="0"/>
                      <a:pt x="9425" y="2480"/>
                      <a:pt x="18851" y="2480"/>
                    </a:cubicBezTo>
                    <a:cubicBezTo>
                      <a:pt x="28277" y="2480"/>
                      <a:pt x="28277" y="496"/>
                      <a:pt x="37702" y="496"/>
                    </a:cubicBezTo>
                    <a:cubicBezTo>
                      <a:pt x="47127" y="496"/>
                      <a:pt x="47127" y="1984"/>
                      <a:pt x="56553" y="198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1" name="Freeform: Shape 1630">
                <a:extLst>
                  <a:ext uri="{FF2B5EF4-FFF2-40B4-BE49-F238E27FC236}">
                    <a16:creationId xmlns:a16="http://schemas.microsoft.com/office/drawing/2014/main" id="{9B46960F-E07F-DD8B-B203-96538126512E}"/>
                  </a:ext>
                </a:extLst>
              </p:cNvPr>
              <p:cNvSpPr/>
              <p:nvPr/>
            </p:nvSpPr>
            <p:spPr>
              <a:xfrm>
                <a:off x="4533526" y="2634173"/>
                <a:ext cx="67466" cy="1488"/>
              </a:xfrm>
              <a:custGeom>
                <a:avLst/>
                <a:gdLst>
                  <a:gd name="connsiteX0" fmla="*/ 67466 w 67466"/>
                  <a:gd name="connsiteY0" fmla="*/ 1488 h 1488"/>
                  <a:gd name="connsiteX1" fmla="*/ 50600 w 67466"/>
                  <a:gd name="connsiteY1" fmla="*/ 496 h 1488"/>
                  <a:gd name="connsiteX2" fmla="*/ 33733 w 67466"/>
                  <a:gd name="connsiteY2" fmla="*/ 0 h 1488"/>
                  <a:gd name="connsiteX3" fmla="*/ 16866 w 67466"/>
                  <a:gd name="connsiteY3" fmla="*/ 0 h 1488"/>
                  <a:gd name="connsiteX4" fmla="*/ 0 w 67466"/>
                  <a:gd name="connsiteY4" fmla="*/ 496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66" h="1488">
                    <a:moveTo>
                      <a:pt x="67466" y="1488"/>
                    </a:moveTo>
                    <a:cubicBezTo>
                      <a:pt x="59033" y="1488"/>
                      <a:pt x="59033" y="496"/>
                      <a:pt x="50600" y="496"/>
                    </a:cubicBezTo>
                    <a:cubicBezTo>
                      <a:pt x="42167" y="496"/>
                      <a:pt x="42167" y="0"/>
                      <a:pt x="33733" y="0"/>
                    </a:cubicBezTo>
                    <a:cubicBezTo>
                      <a:pt x="25300" y="0"/>
                      <a:pt x="25300" y="0"/>
                      <a:pt x="16866" y="0"/>
                    </a:cubicBezTo>
                    <a:cubicBezTo>
                      <a:pt x="8433" y="0"/>
                      <a:pt x="8433" y="496"/>
                      <a:pt x="0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2" name="Freeform: Shape 1631">
                <a:extLst>
                  <a:ext uri="{FF2B5EF4-FFF2-40B4-BE49-F238E27FC236}">
                    <a16:creationId xmlns:a16="http://schemas.microsoft.com/office/drawing/2014/main" id="{B7C3E6B8-A2B2-995E-5C50-290C08D52448}"/>
                  </a:ext>
                </a:extLst>
              </p:cNvPr>
              <p:cNvSpPr/>
              <p:nvPr/>
            </p:nvSpPr>
            <p:spPr>
              <a:xfrm>
                <a:off x="4529888" y="2490010"/>
                <a:ext cx="300907" cy="305388"/>
              </a:xfrm>
              <a:custGeom>
                <a:avLst/>
                <a:gdLst>
                  <a:gd name="connsiteX0" fmla="*/ 4134 w 300907"/>
                  <a:gd name="connsiteY0" fmla="*/ 305388 h 305388"/>
                  <a:gd name="connsiteX1" fmla="*/ 4134 w 300907"/>
                  <a:gd name="connsiteY1" fmla="*/ 289514 h 305388"/>
                  <a:gd name="connsiteX2" fmla="*/ 2646 w 300907"/>
                  <a:gd name="connsiteY2" fmla="*/ 273639 h 305388"/>
                  <a:gd name="connsiteX3" fmla="*/ 2150 w 300907"/>
                  <a:gd name="connsiteY3" fmla="*/ 257765 h 305388"/>
                  <a:gd name="connsiteX4" fmla="*/ 4134 w 300907"/>
                  <a:gd name="connsiteY4" fmla="*/ 241890 h 305388"/>
                  <a:gd name="connsiteX5" fmla="*/ 4134 w 300907"/>
                  <a:gd name="connsiteY5" fmla="*/ 226016 h 305388"/>
                  <a:gd name="connsiteX6" fmla="*/ 2646 w 300907"/>
                  <a:gd name="connsiteY6" fmla="*/ 210141 h 305388"/>
                  <a:gd name="connsiteX7" fmla="*/ 3142 w 300907"/>
                  <a:gd name="connsiteY7" fmla="*/ 194267 h 305388"/>
                  <a:gd name="connsiteX8" fmla="*/ 3638 w 300907"/>
                  <a:gd name="connsiteY8" fmla="*/ 178393 h 305388"/>
                  <a:gd name="connsiteX9" fmla="*/ 1654 w 300907"/>
                  <a:gd name="connsiteY9" fmla="*/ 162518 h 305388"/>
                  <a:gd name="connsiteX10" fmla="*/ 1654 w 300907"/>
                  <a:gd name="connsiteY10" fmla="*/ 146643 h 305388"/>
                  <a:gd name="connsiteX11" fmla="*/ 2150 w 300907"/>
                  <a:gd name="connsiteY11" fmla="*/ 130769 h 305388"/>
                  <a:gd name="connsiteX12" fmla="*/ 1654 w 300907"/>
                  <a:gd name="connsiteY12" fmla="*/ 114894 h 305388"/>
                  <a:gd name="connsiteX13" fmla="*/ 3638 w 300907"/>
                  <a:gd name="connsiteY13" fmla="*/ 99020 h 305388"/>
                  <a:gd name="connsiteX14" fmla="*/ 4134 w 300907"/>
                  <a:gd name="connsiteY14" fmla="*/ 83146 h 305388"/>
                  <a:gd name="connsiteX15" fmla="*/ 4134 w 300907"/>
                  <a:gd name="connsiteY15" fmla="*/ 67271 h 305388"/>
                  <a:gd name="connsiteX16" fmla="*/ 2646 w 300907"/>
                  <a:gd name="connsiteY16" fmla="*/ 51396 h 305388"/>
                  <a:gd name="connsiteX17" fmla="*/ 2646 w 300907"/>
                  <a:gd name="connsiteY17" fmla="*/ 35522 h 305388"/>
                  <a:gd name="connsiteX18" fmla="*/ 2646 w 300907"/>
                  <a:gd name="connsiteY18" fmla="*/ 19647 h 305388"/>
                  <a:gd name="connsiteX19" fmla="*/ 2646 w 300907"/>
                  <a:gd name="connsiteY19" fmla="*/ 2781 h 305388"/>
                  <a:gd name="connsiteX20" fmla="*/ 20009 w 300907"/>
                  <a:gd name="connsiteY20" fmla="*/ 2285 h 305388"/>
                  <a:gd name="connsiteX21" fmla="*/ 36379 w 300907"/>
                  <a:gd name="connsiteY21" fmla="*/ 2781 h 305388"/>
                  <a:gd name="connsiteX22" fmla="*/ 52750 w 300907"/>
                  <a:gd name="connsiteY22" fmla="*/ 3277 h 305388"/>
                  <a:gd name="connsiteX23" fmla="*/ 69120 w 300907"/>
                  <a:gd name="connsiteY23" fmla="*/ 2285 h 305388"/>
                  <a:gd name="connsiteX24" fmla="*/ 85491 w 300907"/>
                  <a:gd name="connsiteY24" fmla="*/ 2781 h 305388"/>
                  <a:gd name="connsiteX25" fmla="*/ 101861 w 300907"/>
                  <a:gd name="connsiteY25" fmla="*/ 4765 h 305388"/>
                  <a:gd name="connsiteX26" fmla="*/ 118232 w 300907"/>
                  <a:gd name="connsiteY26" fmla="*/ 2781 h 305388"/>
                  <a:gd name="connsiteX27" fmla="*/ 134602 w 300907"/>
                  <a:gd name="connsiteY27" fmla="*/ 3277 h 305388"/>
                  <a:gd name="connsiteX28" fmla="*/ 150973 w 300907"/>
                  <a:gd name="connsiteY28" fmla="*/ 2285 h 305388"/>
                  <a:gd name="connsiteX29" fmla="*/ 167344 w 300907"/>
                  <a:gd name="connsiteY29" fmla="*/ 2781 h 305388"/>
                  <a:gd name="connsiteX30" fmla="*/ 183714 w 300907"/>
                  <a:gd name="connsiteY30" fmla="*/ 4269 h 305388"/>
                  <a:gd name="connsiteX31" fmla="*/ 200085 w 300907"/>
                  <a:gd name="connsiteY31" fmla="*/ 2285 h 305388"/>
                  <a:gd name="connsiteX32" fmla="*/ 216455 w 300907"/>
                  <a:gd name="connsiteY32" fmla="*/ 3277 h 305388"/>
                  <a:gd name="connsiteX33" fmla="*/ 232826 w 300907"/>
                  <a:gd name="connsiteY33" fmla="*/ 4269 h 305388"/>
                  <a:gd name="connsiteX34" fmla="*/ 249197 w 300907"/>
                  <a:gd name="connsiteY34" fmla="*/ 2781 h 305388"/>
                  <a:gd name="connsiteX35" fmla="*/ 265567 w 300907"/>
                  <a:gd name="connsiteY35" fmla="*/ 2285 h 305388"/>
                  <a:gd name="connsiteX36" fmla="*/ 281938 w 300907"/>
                  <a:gd name="connsiteY36" fmla="*/ 3277 h 305388"/>
                  <a:gd name="connsiteX37" fmla="*/ 297812 w 300907"/>
                  <a:gd name="connsiteY37" fmla="*/ 3773 h 305388"/>
                  <a:gd name="connsiteX38" fmla="*/ 299300 w 300907"/>
                  <a:gd name="connsiteY38" fmla="*/ 19151 h 305388"/>
                  <a:gd name="connsiteX39" fmla="*/ 298804 w 300907"/>
                  <a:gd name="connsiteY39" fmla="*/ 35026 h 305388"/>
                  <a:gd name="connsiteX40" fmla="*/ 299300 w 300907"/>
                  <a:gd name="connsiteY40" fmla="*/ 50900 h 305388"/>
                  <a:gd name="connsiteX41" fmla="*/ 297812 w 300907"/>
                  <a:gd name="connsiteY41" fmla="*/ 66775 h 305388"/>
                  <a:gd name="connsiteX42" fmla="*/ 298804 w 300907"/>
                  <a:gd name="connsiteY42" fmla="*/ 82649 h 305388"/>
                  <a:gd name="connsiteX43" fmla="*/ 298804 w 300907"/>
                  <a:gd name="connsiteY43" fmla="*/ 98524 h 305388"/>
                  <a:gd name="connsiteX44" fmla="*/ 298308 w 300907"/>
                  <a:gd name="connsiteY44" fmla="*/ 114398 h 305388"/>
                  <a:gd name="connsiteX45" fmla="*/ 298804 w 300907"/>
                  <a:gd name="connsiteY45" fmla="*/ 130273 h 305388"/>
                  <a:gd name="connsiteX46" fmla="*/ 298308 w 300907"/>
                  <a:gd name="connsiteY46" fmla="*/ 146147 h 305388"/>
                  <a:gd name="connsiteX47" fmla="*/ 296820 w 300907"/>
                  <a:gd name="connsiteY47" fmla="*/ 162022 h 305388"/>
                  <a:gd name="connsiteX48" fmla="*/ 297316 w 300907"/>
                  <a:gd name="connsiteY48" fmla="*/ 177896 h 305388"/>
                  <a:gd name="connsiteX49" fmla="*/ 298308 w 300907"/>
                  <a:gd name="connsiteY49" fmla="*/ 193771 h 305388"/>
                  <a:gd name="connsiteX50" fmla="*/ 297812 w 300907"/>
                  <a:gd name="connsiteY50" fmla="*/ 209645 h 305388"/>
                  <a:gd name="connsiteX51" fmla="*/ 298804 w 300907"/>
                  <a:gd name="connsiteY51" fmla="*/ 225520 h 305388"/>
                  <a:gd name="connsiteX52" fmla="*/ 297316 w 300907"/>
                  <a:gd name="connsiteY52" fmla="*/ 241394 h 305388"/>
                  <a:gd name="connsiteX53" fmla="*/ 298804 w 300907"/>
                  <a:gd name="connsiteY53" fmla="*/ 257269 h 305388"/>
                  <a:gd name="connsiteX54" fmla="*/ 297812 w 300907"/>
                  <a:gd name="connsiteY54" fmla="*/ 273143 h 305388"/>
                  <a:gd name="connsiteX55" fmla="*/ 299300 w 300907"/>
                  <a:gd name="connsiteY55" fmla="*/ 289018 h 305388"/>
                  <a:gd name="connsiteX56" fmla="*/ 297812 w 300907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907" h="305388">
                    <a:moveTo>
                      <a:pt x="4134" y="305388"/>
                    </a:moveTo>
                    <a:cubicBezTo>
                      <a:pt x="4134" y="297451"/>
                      <a:pt x="4134" y="297451"/>
                      <a:pt x="4134" y="289514"/>
                    </a:cubicBezTo>
                    <a:cubicBezTo>
                      <a:pt x="4134" y="281577"/>
                      <a:pt x="2646" y="281577"/>
                      <a:pt x="2646" y="273639"/>
                    </a:cubicBezTo>
                    <a:cubicBezTo>
                      <a:pt x="2646" y="265702"/>
                      <a:pt x="2150" y="265702"/>
                      <a:pt x="2150" y="257765"/>
                    </a:cubicBezTo>
                    <a:cubicBezTo>
                      <a:pt x="2150" y="249828"/>
                      <a:pt x="4134" y="249828"/>
                      <a:pt x="4134" y="241890"/>
                    </a:cubicBezTo>
                    <a:cubicBezTo>
                      <a:pt x="4134" y="233953"/>
                      <a:pt x="4134" y="233953"/>
                      <a:pt x="4134" y="226016"/>
                    </a:cubicBezTo>
                    <a:cubicBezTo>
                      <a:pt x="4134" y="218079"/>
                      <a:pt x="2646" y="218079"/>
                      <a:pt x="2646" y="210141"/>
                    </a:cubicBezTo>
                    <a:cubicBezTo>
                      <a:pt x="2646" y="202204"/>
                      <a:pt x="3142" y="202204"/>
                      <a:pt x="3142" y="194267"/>
                    </a:cubicBezTo>
                    <a:cubicBezTo>
                      <a:pt x="3142" y="186330"/>
                      <a:pt x="3638" y="186330"/>
                      <a:pt x="3638" y="178393"/>
                    </a:cubicBezTo>
                    <a:cubicBezTo>
                      <a:pt x="3638" y="170455"/>
                      <a:pt x="1654" y="170455"/>
                      <a:pt x="1654" y="162518"/>
                    </a:cubicBezTo>
                    <a:cubicBezTo>
                      <a:pt x="1654" y="154581"/>
                      <a:pt x="1654" y="154581"/>
                      <a:pt x="1654" y="146643"/>
                    </a:cubicBezTo>
                    <a:cubicBezTo>
                      <a:pt x="1654" y="138706"/>
                      <a:pt x="2150" y="138706"/>
                      <a:pt x="2150" y="130769"/>
                    </a:cubicBezTo>
                    <a:cubicBezTo>
                      <a:pt x="2150" y="122832"/>
                      <a:pt x="1654" y="122832"/>
                      <a:pt x="1654" y="114894"/>
                    </a:cubicBezTo>
                    <a:cubicBezTo>
                      <a:pt x="1654" y="106957"/>
                      <a:pt x="3638" y="106957"/>
                      <a:pt x="3638" y="99020"/>
                    </a:cubicBezTo>
                    <a:cubicBezTo>
                      <a:pt x="3638" y="91083"/>
                      <a:pt x="4134" y="91083"/>
                      <a:pt x="4134" y="83146"/>
                    </a:cubicBezTo>
                    <a:cubicBezTo>
                      <a:pt x="4134" y="75208"/>
                      <a:pt x="4134" y="75208"/>
                      <a:pt x="4134" y="67271"/>
                    </a:cubicBezTo>
                    <a:cubicBezTo>
                      <a:pt x="4134" y="59334"/>
                      <a:pt x="2646" y="59334"/>
                      <a:pt x="2646" y="51396"/>
                    </a:cubicBezTo>
                    <a:cubicBezTo>
                      <a:pt x="2646" y="43459"/>
                      <a:pt x="2646" y="43459"/>
                      <a:pt x="2646" y="35522"/>
                    </a:cubicBezTo>
                    <a:cubicBezTo>
                      <a:pt x="2646" y="27585"/>
                      <a:pt x="2646" y="27585"/>
                      <a:pt x="2646" y="19647"/>
                    </a:cubicBezTo>
                    <a:cubicBezTo>
                      <a:pt x="2646" y="11710"/>
                      <a:pt x="-3307" y="8238"/>
                      <a:pt x="2646" y="2781"/>
                    </a:cubicBezTo>
                    <a:cubicBezTo>
                      <a:pt x="8599" y="-3172"/>
                      <a:pt x="11575" y="2285"/>
                      <a:pt x="20009" y="2285"/>
                    </a:cubicBezTo>
                    <a:cubicBezTo>
                      <a:pt x="27946" y="2285"/>
                      <a:pt x="27946" y="2781"/>
                      <a:pt x="36379" y="2781"/>
                    </a:cubicBezTo>
                    <a:cubicBezTo>
                      <a:pt x="44316" y="2781"/>
                      <a:pt x="44316" y="3277"/>
                      <a:pt x="52750" y="3277"/>
                    </a:cubicBezTo>
                    <a:cubicBezTo>
                      <a:pt x="61183" y="3277"/>
                      <a:pt x="61183" y="2285"/>
                      <a:pt x="69120" y="2285"/>
                    </a:cubicBezTo>
                    <a:cubicBezTo>
                      <a:pt x="77057" y="2285"/>
                      <a:pt x="77057" y="2781"/>
                      <a:pt x="85491" y="2781"/>
                    </a:cubicBezTo>
                    <a:cubicBezTo>
                      <a:pt x="93924" y="2781"/>
                      <a:pt x="93924" y="4765"/>
                      <a:pt x="101861" y="4765"/>
                    </a:cubicBezTo>
                    <a:cubicBezTo>
                      <a:pt x="109798" y="4765"/>
                      <a:pt x="109798" y="2781"/>
                      <a:pt x="118232" y="2781"/>
                    </a:cubicBezTo>
                    <a:cubicBezTo>
                      <a:pt x="126665" y="2781"/>
                      <a:pt x="126665" y="3277"/>
                      <a:pt x="134602" y="3277"/>
                    </a:cubicBezTo>
                    <a:cubicBezTo>
                      <a:pt x="143036" y="3277"/>
                      <a:pt x="143036" y="2285"/>
                      <a:pt x="150973" y="2285"/>
                    </a:cubicBezTo>
                    <a:cubicBezTo>
                      <a:pt x="159406" y="2285"/>
                      <a:pt x="159406" y="2781"/>
                      <a:pt x="167344" y="2781"/>
                    </a:cubicBezTo>
                    <a:cubicBezTo>
                      <a:pt x="175777" y="2781"/>
                      <a:pt x="175777" y="4269"/>
                      <a:pt x="183714" y="4269"/>
                    </a:cubicBezTo>
                    <a:cubicBezTo>
                      <a:pt x="192148" y="4269"/>
                      <a:pt x="192148" y="2285"/>
                      <a:pt x="200085" y="2285"/>
                    </a:cubicBezTo>
                    <a:cubicBezTo>
                      <a:pt x="208518" y="2285"/>
                      <a:pt x="208518" y="3277"/>
                      <a:pt x="216455" y="3277"/>
                    </a:cubicBezTo>
                    <a:cubicBezTo>
                      <a:pt x="224889" y="3277"/>
                      <a:pt x="224889" y="4269"/>
                      <a:pt x="232826" y="4269"/>
                    </a:cubicBezTo>
                    <a:cubicBezTo>
                      <a:pt x="241259" y="4269"/>
                      <a:pt x="241259" y="2781"/>
                      <a:pt x="249197" y="2781"/>
                    </a:cubicBezTo>
                    <a:cubicBezTo>
                      <a:pt x="257630" y="2781"/>
                      <a:pt x="257630" y="2285"/>
                      <a:pt x="265567" y="2285"/>
                    </a:cubicBezTo>
                    <a:cubicBezTo>
                      <a:pt x="274000" y="2285"/>
                      <a:pt x="274000" y="3277"/>
                      <a:pt x="281938" y="3277"/>
                    </a:cubicBezTo>
                    <a:cubicBezTo>
                      <a:pt x="289875" y="3277"/>
                      <a:pt x="291859" y="-1684"/>
                      <a:pt x="297812" y="3773"/>
                    </a:cubicBezTo>
                    <a:cubicBezTo>
                      <a:pt x="303765" y="9230"/>
                      <a:pt x="299300" y="11214"/>
                      <a:pt x="299300" y="19151"/>
                    </a:cubicBezTo>
                    <a:cubicBezTo>
                      <a:pt x="299300" y="27089"/>
                      <a:pt x="298804" y="27089"/>
                      <a:pt x="298804" y="35026"/>
                    </a:cubicBezTo>
                    <a:cubicBezTo>
                      <a:pt x="298804" y="42963"/>
                      <a:pt x="299300" y="42963"/>
                      <a:pt x="299300" y="50900"/>
                    </a:cubicBezTo>
                    <a:cubicBezTo>
                      <a:pt x="299300" y="58838"/>
                      <a:pt x="297812" y="58838"/>
                      <a:pt x="297812" y="66775"/>
                    </a:cubicBezTo>
                    <a:cubicBezTo>
                      <a:pt x="297812" y="74712"/>
                      <a:pt x="298804" y="74712"/>
                      <a:pt x="298804" y="82649"/>
                    </a:cubicBezTo>
                    <a:cubicBezTo>
                      <a:pt x="298804" y="90587"/>
                      <a:pt x="298804" y="90587"/>
                      <a:pt x="298804" y="98524"/>
                    </a:cubicBezTo>
                    <a:cubicBezTo>
                      <a:pt x="298804" y="106461"/>
                      <a:pt x="298308" y="106461"/>
                      <a:pt x="298308" y="114398"/>
                    </a:cubicBezTo>
                    <a:cubicBezTo>
                      <a:pt x="298308" y="122335"/>
                      <a:pt x="298804" y="122335"/>
                      <a:pt x="298804" y="130273"/>
                    </a:cubicBezTo>
                    <a:cubicBezTo>
                      <a:pt x="298804" y="138210"/>
                      <a:pt x="298308" y="138210"/>
                      <a:pt x="298308" y="146147"/>
                    </a:cubicBezTo>
                    <a:cubicBezTo>
                      <a:pt x="298308" y="154085"/>
                      <a:pt x="296820" y="154085"/>
                      <a:pt x="296820" y="162022"/>
                    </a:cubicBezTo>
                    <a:cubicBezTo>
                      <a:pt x="296820" y="169959"/>
                      <a:pt x="297316" y="169959"/>
                      <a:pt x="297316" y="177896"/>
                    </a:cubicBezTo>
                    <a:cubicBezTo>
                      <a:pt x="297316" y="185834"/>
                      <a:pt x="298308" y="185834"/>
                      <a:pt x="298308" y="193771"/>
                    </a:cubicBezTo>
                    <a:cubicBezTo>
                      <a:pt x="298308" y="201708"/>
                      <a:pt x="297812" y="201708"/>
                      <a:pt x="297812" y="209645"/>
                    </a:cubicBezTo>
                    <a:cubicBezTo>
                      <a:pt x="297812" y="217583"/>
                      <a:pt x="298804" y="217583"/>
                      <a:pt x="298804" y="225520"/>
                    </a:cubicBezTo>
                    <a:cubicBezTo>
                      <a:pt x="298804" y="233457"/>
                      <a:pt x="297316" y="233457"/>
                      <a:pt x="297316" y="241394"/>
                    </a:cubicBezTo>
                    <a:cubicBezTo>
                      <a:pt x="297316" y="249332"/>
                      <a:pt x="298804" y="249332"/>
                      <a:pt x="298804" y="257269"/>
                    </a:cubicBezTo>
                    <a:cubicBezTo>
                      <a:pt x="298804" y="265206"/>
                      <a:pt x="297812" y="265206"/>
                      <a:pt x="297812" y="273143"/>
                    </a:cubicBezTo>
                    <a:cubicBezTo>
                      <a:pt x="297812" y="281080"/>
                      <a:pt x="299300" y="281080"/>
                      <a:pt x="299300" y="289018"/>
                    </a:cubicBezTo>
                    <a:cubicBezTo>
                      <a:pt x="299300" y="296955"/>
                      <a:pt x="297812" y="296955"/>
                      <a:pt x="297812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3" name="Freeform: Shape 1632">
                <a:extLst>
                  <a:ext uri="{FF2B5EF4-FFF2-40B4-BE49-F238E27FC236}">
                    <a16:creationId xmlns:a16="http://schemas.microsoft.com/office/drawing/2014/main" id="{3EA06BA6-08A4-ED6C-8466-2B85ED3E1659}"/>
                  </a:ext>
                </a:extLst>
              </p:cNvPr>
              <p:cNvSpPr/>
              <p:nvPr/>
            </p:nvSpPr>
            <p:spPr>
              <a:xfrm>
                <a:off x="4501146" y="2792918"/>
                <a:ext cx="363478" cy="64765"/>
              </a:xfrm>
              <a:custGeom>
                <a:avLst/>
                <a:gdLst>
                  <a:gd name="connsiteX0" fmla="*/ 3111 w 363478"/>
                  <a:gd name="connsiteY0" fmla="*/ 3473 h 64765"/>
                  <a:gd name="connsiteX1" fmla="*/ 18489 w 363478"/>
                  <a:gd name="connsiteY1" fmla="*/ 1488 h 64765"/>
                  <a:gd name="connsiteX2" fmla="*/ 34860 w 363478"/>
                  <a:gd name="connsiteY2" fmla="*/ 992 h 64765"/>
                  <a:gd name="connsiteX3" fmla="*/ 51230 w 363478"/>
                  <a:gd name="connsiteY3" fmla="*/ 2976 h 64765"/>
                  <a:gd name="connsiteX4" fmla="*/ 67601 w 363478"/>
                  <a:gd name="connsiteY4" fmla="*/ 2480 h 64765"/>
                  <a:gd name="connsiteX5" fmla="*/ 83971 w 363478"/>
                  <a:gd name="connsiteY5" fmla="*/ 1488 h 64765"/>
                  <a:gd name="connsiteX6" fmla="*/ 99846 w 363478"/>
                  <a:gd name="connsiteY6" fmla="*/ 3473 h 64765"/>
                  <a:gd name="connsiteX7" fmla="*/ 115720 w 363478"/>
                  <a:gd name="connsiteY7" fmla="*/ 1488 h 64765"/>
                  <a:gd name="connsiteX8" fmla="*/ 132091 w 363478"/>
                  <a:gd name="connsiteY8" fmla="*/ 1984 h 64765"/>
                  <a:gd name="connsiteX9" fmla="*/ 147966 w 363478"/>
                  <a:gd name="connsiteY9" fmla="*/ 3473 h 64765"/>
                  <a:gd name="connsiteX10" fmla="*/ 164336 w 363478"/>
                  <a:gd name="connsiteY10" fmla="*/ 2480 h 64765"/>
                  <a:gd name="connsiteX11" fmla="*/ 180707 w 363478"/>
                  <a:gd name="connsiteY11" fmla="*/ 3473 h 64765"/>
                  <a:gd name="connsiteX12" fmla="*/ 197077 w 363478"/>
                  <a:gd name="connsiteY12" fmla="*/ 2480 h 64765"/>
                  <a:gd name="connsiteX13" fmla="*/ 213448 w 363478"/>
                  <a:gd name="connsiteY13" fmla="*/ 3968 h 64765"/>
                  <a:gd name="connsiteX14" fmla="*/ 229818 w 363478"/>
                  <a:gd name="connsiteY14" fmla="*/ 3968 h 64765"/>
                  <a:gd name="connsiteX15" fmla="*/ 246189 w 363478"/>
                  <a:gd name="connsiteY15" fmla="*/ 1984 h 64765"/>
                  <a:gd name="connsiteX16" fmla="*/ 262559 w 363478"/>
                  <a:gd name="connsiteY16" fmla="*/ 2976 h 64765"/>
                  <a:gd name="connsiteX17" fmla="*/ 278930 w 363478"/>
                  <a:gd name="connsiteY17" fmla="*/ 2480 h 64765"/>
                  <a:gd name="connsiteX18" fmla="*/ 295301 w 363478"/>
                  <a:gd name="connsiteY18" fmla="*/ 3968 h 64765"/>
                  <a:gd name="connsiteX19" fmla="*/ 311671 w 363478"/>
                  <a:gd name="connsiteY19" fmla="*/ 3473 h 64765"/>
                  <a:gd name="connsiteX20" fmla="*/ 328042 w 363478"/>
                  <a:gd name="connsiteY20" fmla="*/ 1984 h 64765"/>
                  <a:gd name="connsiteX21" fmla="*/ 344412 w 363478"/>
                  <a:gd name="connsiteY21" fmla="*/ 1984 h 64765"/>
                  <a:gd name="connsiteX22" fmla="*/ 361279 w 363478"/>
                  <a:gd name="connsiteY22" fmla="*/ 1984 h 64765"/>
                  <a:gd name="connsiteX23" fmla="*/ 360783 w 363478"/>
                  <a:gd name="connsiteY23" fmla="*/ 13890 h 64765"/>
                  <a:gd name="connsiteX24" fmla="*/ 352846 w 363478"/>
                  <a:gd name="connsiteY24" fmla="*/ 29765 h 64765"/>
                  <a:gd name="connsiteX25" fmla="*/ 345404 w 363478"/>
                  <a:gd name="connsiteY25" fmla="*/ 46135 h 64765"/>
                  <a:gd name="connsiteX26" fmla="*/ 335979 w 363478"/>
                  <a:gd name="connsiteY26" fmla="*/ 61514 h 64765"/>
                  <a:gd name="connsiteX27" fmla="*/ 320105 w 363478"/>
                  <a:gd name="connsiteY27" fmla="*/ 61017 h 64765"/>
                  <a:gd name="connsiteX28" fmla="*/ 304230 w 363478"/>
                  <a:gd name="connsiteY28" fmla="*/ 61017 h 64765"/>
                  <a:gd name="connsiteX29" fmla="*/ 288356 w 363478"/>
                  <a:gd name="connsiteY29" fmla="*/ 61017 h 64765"/>
                  <a:gd name="connsiteX30" fmla="*/ 272481 w 363478"/>
                  <a:gd name="connsiteY30" fmla="*/ 61017 h 64765"/>
                  <a:gd name="connsiteX31" fmla="*/ 256607 w 363478"/>
                  <a:gd name="connsiteY31" fmla="*/ 61514 h 64765"/>
                  <a:gd name="connsiteX32" fmla="*/ 240732 w 363478"/>
                  <a:gd name="connsiteY32" fmla="*/ 60522 h 64765"/>
                  <a:gd name="connsiteX33" fmla="*/ 224858 w 363478"/>
                  <a:gd name="connsiteY33" fmla="*/ 61514 h 64765"/>
                  <a:gd name="connsiteX34" fmla="*/ 208983 w 363478"/>
                  <a:gd name="connsiteY34" fmla="*/ 63002 h 64765"/>
                  <a:gd name="connsiteX35" fmla="*/ 193108 w 363478"/>
                  <a:gd name="connsiteY35" fmla="*/ 62506 h 64765"/>
                  <a:gd name="connsiteX36" fmla="*/ 177234 w 363478"/>
                  <a:gd name="connsiteY36" fmla="*/ 62506 h 64765"/>
                  <a:gd name="connsiteX37" fmla="*/ 161360 w 363478"/>
                  <a:gd name="connsiteY37" fmla="*/ 62506 h 64765"/>
                  <a:gd name="connsiteX38" fmla="*/ 145485 w 363478"/>
                  <a:gd name="connsiteY38" fmla="*/ 61017 h 64765"/>
                  <a:gd name="connsiteX39" fmla="*/ 129611 w 363478"/>
                  <a:gd name="connsiteY39" fmla="*/ 62506 h 64765"/>
                  <a:gd name="connsiteX40" fmla="*/ 113736 w 363478"/>
                  <a:gd name="connsiteY40" fmla="*/ 61514 h 64765"/>
                  <a:gd name="connsiteX41" fmla="*/ 97862 w 363478"/>
                  <a:gd name="connsiteY41" fmla="*/ 61514 h 64765"/>
                  <a:gd name="connsiteX42" fmla="*/ 81987 w 363478"/>
                  <a:gd name="connsiteY42" fmla="*/ 62010 h 64765"/>
                  <a:gd name="connsiteX43" fmla="*/ 66113 w 363478"/>
                  <a:gd name="connsiteY43" fmla="*/ 62010 h 64765"/>
                  <a:gd name="connsiteX44" fmla="*/ 50238 w 363478"/>
                  <a:gd name="connsiteY44" fmla="*/ 63002 h 64765"/>
                  <a:gd name="connsiteX45" fmla="*/ 33868 w 363478"/>
                  <a:gd name="connsiteY45" fmla="*/ 63002 h 64765"/>
                  <a:gd name="connsiteX46" fmla="*/ 24442 w 363478"/>
                  <a:gd name="connsiteY46" fmla="*/ 46631 h 64765"/>
                  <a:gd name="connsiteX47" fmla="*/ 14024 w 363478"/>
                  <a:gd name="connsiteY47" fmla="*/ 30757 h 64765"/>
                  <a:gd name="connsiteX48" fmla="*/ 3607 w 363478"/>
                  <a:gd name="connsiteY48" fmla="*/ 14882 h 64765"/>
                  <a:gd name="connsiteX49" fmla="*/ 3111 w 363478"/>
                  <a:gd name="connsiteY49" fmla="*/ 3473 h 6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3478" h="64765">
                    <a:moveTo>
                      <a:pt x="3111" y="3473"/>
                    </a:moveTo>
                    <a:cubicBezTo>
                      <a:pt x="9560" y="-992"/>
                      <a:pt x="10552" y="1488"/>
                      <a:pt x="18489" y="1488"/>
                    </a:cubicBezTo>
                    <a:cubicBezTo>
                      <a:pt x="26426" y="1488"/>
                      <a:pt x="26426" y="992"/>
                      <a:pt x="34860" y="992"/>
                    </a:cubicBezTo>
                    <a:cubicBezTo>
                      <a:pt x="42797" y="992"/>
                      <a:pt x="42797" y="2976"/>
                      <a:pt x="51230" y="2976"/>
                    </a:cubicBezTo>
                    <a:cubicBezTo>
                      <a:pt x="59167" y="2976"/>
                      <a:pt x="59167" y="2480"/>
                      <a:pt x="67601" y="2480"/>
                    </a:cubicBezTo>
                    <a:cubicBezTo>
                      <a:pt x="75538" y="2480"/>
                      <a:pt x="75538" y="1488"/>
                      <a:pt x="83971" y="1488"/>
                    </a:cubicBezTo>
                    <a:cubicBezTo>
                      <a:pt x="91909" y="1488"/>
                      <a:pt x="91909" y="3473"/>
                      <a:pt x="99846" y="3473"/>
                    </a:cubicBezTo>
                    <a:cubicBezTo>
                      <a:pt x="107783" y="3473"/>
                      <a:pt x="107783" y="1488"/>
                      <a:pt x="115720" y="1488"/>
                    </a:cubicBezTo>
                    <a:cubicBezTo>
                      <a:pt x="123658" y="1488"/>
                      <a:pt x="123658" y="1984"/>
                      <a:pt x="132091" y="1984"/>
                    </a:cubicBezTo>
                    <a:cubicBezTo>
                      <a:pt x="140028" y="1984"/>
                      <a:pt x="140028" y="3473"/>
                      <a:pt x="147966" y="3473"/>
                    </a:cubicBezTo>
                    <a:cubicBezTo>
                      <a:pt x="155903" y="3473"/>
                      <a:pt x="155903" y="2480"/>
                      <a:pt x="164336" y="2480"/>
                    </a:cubicBezTo>
                    <a:cubicBezTo>
                      <a:pt x="172273" y="2480"/>
                      <a:pt x="172273" y="3473"/>
                      <a:pt x="180707" y="3473"/>
                    </a:cubicBezTo>
                    <a:cubicBezTo>
                      <a:pt x="188644" y="3473"/>
                      <a:pt x="188644" y="2480"/>
                      <a:pt x="197077" y="2480"/>
                    </a:cubicBezTo>
                    <a:cubicBezTo>
                      <a:pt x="205014" y="2480"/>
                      <a:pt x="205014" y="3968"/>
                      <a:pt x="213448" y="3968"/>
                    </a:cubicBezTo>
                    <a:cubicBezTo>
                      <a:pt x="221385" y="3968"/>
                      <a:pt x="221385" y="3968"/>
                      <a:pt x="229818" y="3968"/>
                    </a:cubicBezTo>
                    <a:cubicBezTo>
                      <a:pt x="237755" y="3968"/>
                      <a:pt x="237755" y="1984"/>
                      <a:pt x="246189" y="1984"/>
                    </a:cubicBezTo>
                    <a:cubicBezTo>
                      <a:pt x="254622" y="1984"/>
                      <a:pt x="254126" y="2976"/>
                      <a:pt x="262559" y="2976"/>
                    </a:cubicBezTo>
                    <a:cubicBezTo>
                      <a:pt x="270497" y="2976"/>
                      <a:pt x="270497" y="2480"/>
                      <a:pt x="278930" y="2480"/>
                    </a:cubicBezTo>
                    <a:cubicBezTo>
                      <a:pt x="286867" y="2480"/>
                      <a:pt x="286867" y="3968"/>
                      <a:pt x="295301" y="3968"/>
                    </a:cubicBezTo>
                    <a:cubicBezTo>
                      <a:pt x="303238" y="3968"/>
                      <a:pt x="303238" y="3473"/>
                      <a:pt x="311671" y="3473"/>
                    </a:cubicBezTo>
                    <a:cubicBezTo>
                      <a:pt x="319608" y="3473"/>
                      <a:pt x="319608" y="1984"/>
                      <a:pt x="328042" y="1984"/>
                    </a:cubicBezTo>
                    <a:cubicBezTo>
                      <a:pt x="335979" y="1984"/>
                      <a:pt x="335979" y="1984"/>
                      <a:pt x="344412" y="1984"/>
                    </a:cubicBezTo>
                    <a:cubicBezTo>
                      <a:pt x="352846" y="1984"/>
                      <a:pt x="354334" y="-2480"/>
                      <a:pt x="361279" y="1984"/>
                    </a:cubicBezTo>
                    <a:cubicBezTo>
                      <a:pt x="365744" y="4961"/>
                      <a:pt x="362271" y="8433"/>
                      <a:pt x="360783" y="13890"/>
                    </a:cubicBezTo>
                    <a:cubicBezTo>
                      <a:pt x="358303" y="22323"/>
                      <a:pt x="356814" y="21827"/>
                      <a:pt x="352846" y="29765"/>
                    </a:cubicBezTo>
                    <a:cubicBezTo>
                      <a:pt x="348877" y="37702"/>
                      <a:pt x="349869" y="38198"/>
                      <a:pt x="345404" y="46135"/>
                    </a:cubicBezTo>
                    <a:cubicBezTo>
                      <a:pt x="341436" y="54073"/>
                      <a:pt x="343420" y="56553"/>
                      <a:pt x="335979" y="61514"/>
                    </a:cubicBezTo>
                    <a:cubicBezTo>
                      <a:pt x="329530" y="65978"/>
                      <a:pt x="328042" y="61017"/>
                      <a:pt x="320105" y="61017"/>
                    </a:cubicBezTo>
                    <a:cubicBezTo>
                      <a:pt x="312167" y="61017"/>
                      <a:pt x="312167" y="61017"/>
                      <a:pt x="304230" y="61017"/>
                    </a:cubicBezTo>
                    <a:cubicBezTo>
                      <a:pt x="296293" y="61017"/>
                      <a:pt x="296293" y="61017"/>
                      <a:pt x="288356" y="61017"/>
                    </a:cubicBezTo>
                    <a:cubicBezTo>
                      <a:pt x="280418" y="61017"/>
                      <a:pt x="280418" y="61017"/>
                      <a:pt x="272481" y="61017"/>
                    </a:cubicBezTo>
                    <a:cubicBezTo>
                      <a:pt x="264544" y="61017"/>
                      <a:pt x="264544" y="61514"/>
                      <a:pt x="256607" y="61514"/>
                    </a:cubicBezTo>
                    <a:cubicBezTo>
                      <a:pt x="248669" y="61514"/>
                      <a:pt x="248669" y="60522"/>
                      <a:pt x="240732" y="60522"/>
                    </a:cubicBezTo>
                    <a:cubicBezTo>
                      <a:pt x="232795" y="60522"/>
                      <a:pt x="232795" y="61514"/>
                      <a:pt x="224858" y="61514"/>
                    </a:cubicBezTo>
                    <a:cubicBezTo>
                      <a:pt x="216920" y="61514"/>
                      <a:pt x="216920" y="63002"/>
                      <a:pt x="208983" y="63002"/>
                    </a:cubicBezTo>
                    <a:cubicBezTo>
                      <a:pt x="201046" y="63002"/>
                      <a:pt x="201046" y="62506"/>
                      <a:pt x="193108" y="62506"/>
                    </a:cubicBezTo>
                    <a:cubicBezTo>
                      <a:pt x="185171" y="62506"/>
                      <a:pt x="185171" y="62506"/>
                      <a:pt x="177234" y="62506"/>
                    </a:cubicBezTo>
                    <a:cubicBezTo>
                      <a:pt x="169297" y="62506"/>
                      <a:pt x="169297" y="62506"/>
                      <a:pt x="161360" y="62506"/>
                    </a:cubicBezTo>
                    <a:cubicBezTo>
                      <a:pt x="153422" y="62506"/>
                      <a:pt x="153422" y="61017"/>
                      <a:pt x="145485" y="61017"/>
                    </a:cubicBezTo>
                    <a:cubicBezTo>
                      <a:pt x="137548" y="61017"/>
                      <a:pt x="137548" y="62506"/>
                      <a:pt x="129611" y="62506"/>
                    </a:cubicBezTo>
                    <a:cubicBezTo>
                      <a:pt x="121673" y="62506"/>
                      <a:pt x="121673" y="61514"/>
                      <a:pt x="113736" y="61514"/>
                    </a:cubicBezTo>
                    <a:cubicBezTo>
                      <a:pt x="105799" y="61514"/>
                      <a:pt x="105799" y="61514"/>
                      <a:pt x="97862" y="61514"/>
                    </a:cubicBezTo>
                    <a:cubicBezTo>
                      <a:pt x="89924" y="61514"/>
                      <a:pt x="89924" y="62010"/>
                      <a:pt x="81987" y="62010"/>
                    </a:cubicBezTo>
                    <a:cubicBezTo>
                      <a:pt x="74050" y="62010"/>
                      <a:pt x="74050" y="62010"/>
                      <a:pt x="66113" y="62010"/>
                    </a:cubicBezTo>
                    <a:cubicBezTo>
                      <a:pt x="58176" y="62010"/>
                      <a:pt x="58176" y="63002"/>
                      <a:pt x="50238" y="63002"/>
                    </a:cubicBezTo>
                    <a:cubicBezTo>
                      <a:pt x="42301" y="63002"/>
                      <a:pt x="40813" y="66970"/>
                      <a:pt x="33868" y="63002"/>
                    </a:cubicBezTo>
                    <a:cubicBezTo>
                      <a:pt x="25930" y="58041"/>
                      <a:pt x="29403" y="54569"/>
                      <a:pt x="24442" y="46631"/>
                    </a:cubicBezTo>
                    <a:cubicBezTo>
                      <a:pt x="19481" y="38694"/>
                      <a:pt x="18985" y="38694"/>
                      <a:pt x="14024" y="30757"/>
                    </a:cubicBezTo>
                    <a:cubicBezTo>
                      <a:pt x="9064" y="22819"/>
                      <a:pt x="8568" y="22819"/>
                      <a:pt x="3607" y="14882"/>
                    </a:cubicBezTo>
                    <a:cubicBezTo>
                      <a:pt x="-858" y="8929"/>
                      <a:pt x="-1354" y="6449"/>
                      <a:pt x="3111" y="347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1827CC4B-2493-5FA7-F379-F5BF6698004A}"/>
                </a:ext>
              </a:extLst>
            </p:cNvPr>
            <p:cNvSpPr/>
            <p:nvPr/>
          </p:nvSpPr>
          <p:spPr>
            <a:xfrm>
              <a:off x="4658041" y="2638638"/>
              <a:ext cx="992" cy="8433"/>
            </a:xfrm>
            <a:custGeom>
              <a:avLst/>
              <a:gdLst>
                <a:gd name="connsiteX0" fmla="*/ 0 w 992"/>
                <a:gd name="connsiteY0" fmla="*/ 0 h 8433"/>
                <a:gd name="connsiteX1" fmla="*/ 992 w 992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" h="8433">
                  <a:moveTo>
                    <a:pt x="0" y="0"/>
                  </a:moveTo>
                  <a:cubicBezTo>
                    <a:pt x="0" y="3969"/>
                    <a:pt x="992" y="3969"/>
                    <a:pt x="992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A37FF086-9BF9-24DD-6516-B88E9CD9F239}"/>
                </a:ext>
              </a:extLst>
            </p:cNvPr>
            <p:cNvSpPr/>
            <p:nvPr/>
          </p:nvSpPr>
          <p:spPr>
            <a:xfrm>
              <a:off x="4639686" y="2638638"/>
              <a:ext cx="4960" cy="8433"/>
            </a:xfrm>
            <a:custGeom>
              <a:avLst/>
              <a:gdLst>
                <a:gd name="connsiteX0" fmla="*/ 0 w 4960"/>
                <a:gd name="connsiteY0" fmla="*/ 0 h 8433"/>
                <a:gd name="connsiteX1" fmla="*/ 0 w 4960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60" h="8433">
                  <a:moveTo>
                    <a:pt x="0" y="0"/>
                  </a:moveTo>
                  <a:cubicBezTo>
                    <a:pt x="0" y="3969"/>
                    <a:pt x="0" y="3969"/>
                    <a:pt x="0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3EEB745-7E48-AFD4-20B0-8E0A76191E3A}"/>
                </a:ext>
              </a:extLst>
            </p:cNvPr>
            <p:cNvSpPr/>
            <p:nvPr/>
          </p:nvSpPr>
          <p:spPr>
            <a:xfrm>
              <a:off x="4643655" y="2672867"/>
              <a:ext cx="28772" cy="14386"/>
            </a:xfrm>
            <a:custGeom>
              <a:avLst/>
              <a:gdLst>
                <a:gd name="connsiteX0" fmla="*/ 28772 w 28772"/>
                <a:gd name="connsiteY0" fmla="*/ 0 h 14386"/>
                <a:gd name="connsiteX1" fmla="*/ 14386 w 28772"/>
                <a:gd name="connsiteY1" fmla="*/ 14386 h 14386"/>
                <a:gd name="connsiteX2" fmla="*/ 0 w 28772"/>
                <a:gd name="connsiteY2" fmla="*/ 0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72" h="14386">
                  <a:moveTo>
                    <a:pt x="28772" y="0"/>
                  </a:moveTo>
                  <a:cubicBezTo>
                    <a:pt x="28772" y="7937"/>
                    <a:pt x="21827" y="14386"/>
                    <a:pt x="14386" y="14386"/>
                  </a:cubicBezTo>
                  <a:cubicBezTo>
                    <a:pt x="6449" y="14386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1D215AC-B8F1-D1E9-8783-410B11605C80}"/>
                </a:ext>
              </a:extLst>
            </p:cNvPr>
            <p:cNvSpPr/>
            <p:nvPr/>
          </p:nvSpPr>
          <p:spPr>
            <a:xfrm>
              <a:off x="4614882" y="2657489"/>
              <a:ext cx="28772" cy="29268"/>
            </a:xfrm>
            <a:custGeom>
              <a:avLst/>
              <a:gdLst>
                <a:gd name="connsiteX0" fmla="*/ 28773 w 28772"/>
                <a:gd name="connsiteY0" fmla="*/ 15378 h 29268"/>
                <a:gd name="connsiteX1" fmla="*/ 14882 w 28772"/>
                <a:gd name="connsiteY1" fmla="*/ 29268 h 29268"/>
                <a:gd name="connsiteX2" fmla="*/ 0 w 28772"/>
                <a:gd name="connsiteY2" fmla="*/ 15378 h 29268"/>
                <a:gd name="connsiteX3" fmla="*/ 14882 w 28772"/>
                <a:gd name="connsiteY3" fmla="*/ 0 h 2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72" h="29268">
                  <a:moveTo>
                    <a:pt x="28773" y="15378"/>
                  </a:moveTo>
                  <a:cubicBezTo>
                    <a:pt x="28773" y="23316"/>
                    <a:pt x="22820" y="29268"/>
                    <a:pt x="14882" y="29268"/>
                  </a:cubicBezTo>
                  <a:cubicBezTo>
                    <a:pt x="6945" y="29268"/>
                    <a:pt x="0" y="23316"/>
                    <a:pt x="0" y="15378"/>
                  </a:cubicBezTo>
                  <a:cubicBezTo>
                    <a:pt x="0" y="7441"/>
                    <a:pt x="6945" y="0"/>
                    <a:pt x="148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56CDD98B-BF15-3154-8FED-50DC1CEB50BC}"/>
                </a:ext>
              </a:extLst>
            </p:cNvPr>
            <p:cNvSpPr/>
            <p:nvPr/>
          </p:nvSpPr>
          <p:spPr>
            <a:xfrm>
              <a:off x="4619347" y="2609369"/>
              <a:ext cx="38198" cy="39190"/>
            </a:xfrm>
            <a:custGeom>
              <a:avLst/>
              <a:gdLst>
                <a:gd name="connsiteX0" fmla="*/ 0 w 38198"/>
                <a:gd name="connsiteY0" fmla="*/ 39190 h 39190"/>
                <a:gd name="connsiteX1" fmla="*/ 3473 w 38198"/>
                <a:gd name="connsiteY1" fmla="*/ 24804 h 39190"/>
                <a:gd name="connsiteX2" fmla="*/ 10914 w 38198"/>
                <a:gd name="connsiteY2" fmla="*/ 11906 h 39190"/>
                <a:gd name="connsiteX3" fmla="*/ 23812 w 38198"/>
                <a:gd name="connsiteY3" fmla="*/ 4465 h 39190"/>
                <a:gd name="connsiteX4" fmla="*/ 38198 w 38198"/>
                <a:gd name="connsiteY4" fmla="*/ 0 h 3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98" h="39190">
                  <a:moveTo>
                    <a:pt x="0" y="39190"/>
                  </a:moveTo>
                  <a:cubicBezTo>
                    <a:pt x="0" y="33733"/>
                    <a:pt x="1984" y="29269"/>
                    <a:pt x="3473" y="24804"/>
                  </a:cubicBezTo>
                  <a:cubicBezTo>
                    <a:pt x="5457" y="20339"/>
                    <a:pt x="7441" y="15378"/>
                    <a:pt x="10914" y="11906"/>
                  </a:cubicBezTo>
                  <a:cubicBezTo>
                    <a:pt x="14386" y="8433"/>
                    <a:pt x="19347" y="6449"/>
                    <a:pt x="23812" y="4465"/>
                  </a:cubicBezTo>
                  <a:cubicBezTo>
                    <a:pt x="28277" y="2480"/>
                    <a:pt x="32741" y="0"/>
                    <a:pt x="3819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FA74558C-15FF-87E7-FBCF-2F03ED8553F5}"/>
                </a:ext>
              </a:extLst>
            </p:cNvPr>
            <p:cNvSpPr/>
            <p:nvPr/>
          </p:nvSpPr>
          <p:spPr>
            <a:xfrm>
              <a:off x="4636710" y="2685269"/>
              <a:ext cx="38198" cy="60025"/>
            </a:xfrm>
            <a:custGeom>
              <a:avLst/>
              <a:gdLst>
                <a:gd name="connsiteX0" fmla="*/ 0 w 38198"/>
                <a:gd name="connsiteY0" fmla="*/ 0 h 60025"/>
                <a:gd name="connsiteX1" fmla="*/ 2480 w 38198"/>
                <a:gd name="connsiteY1" fmla="*/ 15379 h 60025"/>
                <a:gd name="connsiteX2" fmla="*/ 5457 w 38198"/>
                <a:gd name="connsiteY2" fmla="*/ 30757 h 60025"/>
                <a:gd name="connsiteX3" fmla="*/ 12402 w 38198"/>
                <a:gd name="connsiteY3" fmla="*/ 44647 h 60025"/>
                <a:gd name="connsiteX4" fmla="*/ 23316 w 38198"/>
                <a:gd name="connsiteY4" fmla="*/ 55561 h 60025"/>
                <a:gd name="connsiteX5" fmla="*/ 38198 w 38198"/>
                <a:gd name="connsiteY5" fmla="*/ 60026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98" h="60025">
                  <a:moveTo>
                    <a:pt x="0" y="0"/>
                  </a:moveTo>
                  <a:cubicBezTo>
                    <a:pt x="0" y="7937"/>
                    <a:pt x="992" y="6449"/>
                    <a:pt x="2480" y="15379"/>
                  </a:cubicBezTo>
                  <a:cubicBezTo>
                    <a:pt x="2976" y="19843"/>
                    <a:pt x="3969" y="25300"/>
                    <a:pt x="5457" y="30757"/>
                  </a:cubicBezTo>
                  <a:cubicBezTo>
                    <a:pt x="6945" y="35718"/>
                    <a:pt x="9426" y="40182"/>
                    <a:pt x="12402" y="44647"/>
                  </a:cubicBezTo>
                  <a:cubicBezTo>
                    <a:pt x="15378" y="49112"/>
                    <a:pt x="18355" y="53080"/>
                    <a:pt x="23316" y="55561"/>
                  </a:cubicBezTo>
                  <a:cubicBezTo>
                    <a:pt x="27284" y="58041"/>
                    <a:pt x="32245" y="60026"/>
                    <a:pt x="38198" y="600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7962EF7D-DB39-DA9D-C0A3-1C95D8927352}"/>
                </a:ext>
              </a:extLst>
            </p:cNvPr>
            <p:cNvSpPr/>
            <p:nvPr/>
          </p:nvSpPr>
          <p:spPr>
            <a:xfrm>
              <a:off x="4657545" y="2596471"/>
              <a:ext cx="27768" cy="32741"/>
            </a:xfrm>
            <a:custGeom>
              <a:avLst/>
              <a:gdLst>
                <a:gd name="connsiteX0" fmla="*/ 0 w 27768"/>
                <a:gd name="connsiteY0" fmla="*/ 21331 h 32741"/>
                <a:gd name="connsiteX1" fmla="*/ 9425 w 27768"/>
                <a:gd name="connsiteY1" fmla="*/ 7441 h 32741"/>
                <a:gd name="connsiteX2" fmla="*/ 23812 w 27768"/>
                <a:gd name="connsiteY2" fmla="*/ 0 h 32741"/>
                <a:gd name="connsiteX3" fmla="*/ 27284 w 27768"/>
                <a:gd name="connsiteY3" fmla="*/ 15874 h 32741"/>
                <a:gd name="connsiteX4" fmla="*/ 24804 w 27768"/>
                <a:gd name="connsiteY4" fmla="*/ 32741 h 3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68" h="32741">
                  <a:moveTo>
                    <a:pt x="0" y="21331"/>
                  </a:moveTo>
                  <a:cubicBezTo>
                    <a:pt x="2480" y="13394"/>
                    <a:pt x="2976" y="13890"/>
                    <a:pt x="9425" y="7441"/>
                  </a:cubicBezTo>
                  <a:cubicBezTo>
                    <a:pt x="12898" y="3969"/>
                    <a:pt x="17363" y="1488"/>
                    <a:pt x="23812" y="0"/>
                  </a:cubicBezTo>
                  <a:cubicBezTo>
                    <a:pt x="26788" y="5953"/>
                    <a:pt x="27284" y="11410"/>
                    <a:pt x="27284" y="15874"/>
                  </a:cubicBezTo>
                  <a:cubicBezTo>
                    <a:pt x="27780" y="25796"/>
                    <a:pt x="28772" y="24804"/>
                    <a:pt x="24804" y="3274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65575C82-30E5-A791-1EDD-21A2908A9817}"/>
                </a:ext>
              </a:extLst>
            </p:cNvPr>
            <p:cNvSpPr/>
            <p:nvPr/>
          </p:nvSpPr>
          <p:spPr>
            <a:xfrm>
              <a:off x="4614164" y="2603825"/>
              <a:ext cx="27010" cy="23403"/>
            </a:xfrm>
            <a:custGeom>
              <a:avLst/>
              <a:gdLst>
                <a:gd name="connsiteX0" fmla="*/ 11632 w 27010"/>
                <a:gd name="connsiteY0" fmla="*/ 23403 h 23403"/>
                <a:gd name="connsiteX1" fmla="*/ 4687 w 27010"/>
                <a:gd name="connsiteY1" fmla="*/ 11994 h 23403"/>
                <a:gd name="connsiteX2" fmla="*/ 222 w 27010"/>
                <a:gd name="connsiteY2" fmla="*/ 584 h 23403"/>
                <a:gd name="connsiteX3" fmla="*/ 13616 w 27010"/>
                <a:gd name="connsiteY3" fmla="*/ 3560 h 23403"/>
                <a:gd name="connsiteX4" fmla="*/ 27011 w 27010"/>
                <a:gd name="connsiteY4" fmla="*/ 10009 h 2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0" h="23403">
                  <a:moveTo>
                    <a:pt x="11632" y="23403"/>
                  </a:moveTo>
                  <a:cubicBezTo>
                    <a:pt x="7663" y="17947"/>
                    <a:pt x="8159" y="17947"/>
                    <a:pt x="4687" y="11994"/>
                  </a:cubicBezTo>
                  <a:cubicBezTo>
                    <a:pt x="1710" y="7033"/>
                    <a:pt x="-770" y="2072"/>
                    <a:pt x="222" y="584"/>
                  </a:cubicBezTo>
                  <a:cubicBezTo>
                    <a:pt x="1710" y="-904"/>
                    <a:pt x="7663" y="584"/>
                    <a:pt x="13616" y="3560"/>
                  </a:cubicBezTo>
                  <a:cubicBezTo>
                    <a:pt x="20561" y="6537"/>
                    <a:pt x="20561" y="6537"/>
                    <a:pt x="27011" y="1000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4D6FB107-B0DF-6AAD-9CA0-CCFDD2289E4D}"/>
                </a:ext>
              </a:extLst>
            </p:cNvPr>
            <p:cNvSpPr/>
            <p:nvPr/>
          </p:nvSpPr>
          <p:spPr>
            <a:xfrm>
              <a:off x="4716578" y="2691718"/>
              <a:ext cx="67434" cy="47623"/>
            </a:xfrm>
            <a:custGeom>
              <a:avLst/>
              <a:gdLst>
                <a:gd name="connsiteX0" fmla="*/ 66971 w 67434"/>
                <a:gd name="connsiteY0" fmla="*/ 47624 h 47623"/>
                <a:gd name="connsiteX1" fmla="*/ 64490 w 67434"/>
                <a:gd name="connsiteY1" fmla="*/ 32245 h 47623"/>
                <a:gd name="connsiteX2" fmla="*/ 55561 w 67434"/>
                <a:gd name="connsiteY2" fmla="*/ 19843 h 47623"/>
                <a:gd name="connsiteX3" fmla="*/ 44151 w 67434"/>
                <a:gd name="connsiteY3" fmla="*/ 10418 h 47623"/>
                <a:gd name="connsiteX4" fmla="*/ 30261 w 67434"/>
                <a:gd name="connsiteY4" fmla="*/ 4961 h 47623"/>
                <a:gd name="connsiteX5" fmla="*/ 15379 w 67434"/>
                <a:gd name="connsiteY5" fmla="*/ 1488 h 47623"/>
                <a:gd name="connsiteX6" fmla="*/ 0 w 67434"/>
                <a:gd name="connsiteY6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34" h="47623">
                  <a:moveTo>
                    <a:pt x="66971" y="47624"/>
                  </a:moveTo>
                  <a:cubicBezTo>
                    <a:pt x="67963" y="40182"/>
                    <a:pt x="67467" y="40678"/>
                    <a:pt x="64490" y="32245"/>
                  </a:cubicBezTo>
                  <a:cubicBezTo>
                    <a:pt x="63002" y="28277"/>
                    <a:pt x="59529" y="24308"/>
                    <a:pt x="55561" y="19843"/>
                  </a:cubicBezTo>
                  <a:cubicBezTo>
                    <a:pt x="52584" y="16371"/>
                    <a:pt x="49112" y="12898"/>
                    <a:pt x="44151" y="10418"/>
                  </a:cubicBezTo>
                  <a:cubicBezTo>
                    <a:pt x="40182" y="8433"/>
                    <a:pt x="35718" y="6449"/>
                    <a:pt x="30261" y="4961"/>
                  </a:cubicBezTo>
                  <a:cubicBezTo>
                    <a:pt x="25796" y="3969"/>
                    <a:pt x="20835" y="1984"/>
                    <a:pt x="15379" y="1488"/>
                  </a:cubicBezTo>
                  <a:cubicBezTo>
                    <a:pt x="10914" y="992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8DF4CBB6-7BBD-5FA6-8297-C03ABB06596C}"/>
                </a:ext>
              </a:extLst>
            </p:cNvPr>
            <p:cNvSpPr/>
            <p:nvPr/>
          </p:nvSpPr>
          <p:spPr>
            <a:xfrm>
              <a:off x="4689790" y="2626236"/>
              <a:ext cx="27780" cy="66474"/>
            </a:xfrm>
            <a:custGeom>
              <a:avLst/>
              <a:gdLst>
                <a:gd name="connsiteX0" fmla="*/ 27780 w 27780"/>
                <a:gd name="connsiteY0" fmla="*/ 66474 h 66474"/>
                <a:gd name="connsiteX1" fmla="*/ 17859 w 27780"/>
                <a:gd name="connsiteY1" fmla="*/ 53080 h 66474"/>
                <a:gd name="connsiteX2" fmla="*/ 10914 w 27780"/>
                <a:gd name="connsiteY2" fmla="*/ 38198 h 66474"/>
                <a:gd name="connsiteX3" fmla="*/ 5457 w 27780"/>
                <a:gd name="connsiteY3" fmla="*/ 22324 h 66474"/>
                <a:gd name="connsiteX4" fmla="*/ 0 w 27780"/>
                <a:gd name="connsiteY4" fmla="*/ 0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80" h="66474">
                  <a:moveTo>
                    <a:pt x="27780" y="66474"/>
                  </a:moveTo>
                  <a:cubicBezTo>
                    <a:pt x="22324" y="60521"/>
                    <a:pt x="23316" y="61018"/>
                    <a:pt x="17859" y="53080"/>
                  </a:cubicBezTo>
                  <a:cubicBezTo>
                    <a:pt x="15378" y="48616"/>
                    <a:pt x="12898" y="43655"/>
                    <a:pt x="10914" y="38198"/>
                  </a:cubicBezTo>
                  <a:cubicBezTo>
                    <a:pt x="8929" y="33237"/>
                    <a:pt x="5953" y="27780"/>
                    <a:pt x="5457" y="22324"/>
                  </a:cubicBezTo>
                  <a:cubicBezTo>
                    <a:pt x="5457" y="16371"/>
                    <a:pt x="4465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269B21CB-9B04-83B9-714F-B53A90438EDF}"/>
                </a:ext>
              </a:extLst>
            </p:cNvPr>
            <p:cNvSpPr/>
            <p:nvPr/>
          </p:nvSpPr>
          <p:spPr>
            <a:xfrm>
              <a:off x="4662372" y="2698663"/>
              <a:ext cx="43293" cy="94264"/>
            </a:xfrm>
            <a:custGeom>
              <a:avLst/>
              <a:gdLst>
                <a:gd name="connsiteX0" fmla="*/ 43293 w 43293"/>
                <a:gd name="connsiteY0" fmla="*/ 5953 h 94264"/>
                <a:gd name="connsiteX1" fmla="*/ 39821 w 43293"/>
                <a:gd name="connsiteY1" fmla="*/ 22819 h 94264"/>
                <a:gd name="connsiteX2" fmla="*/ 37836 w 43293"/>
                <a:gd name="connsiteY2" fmla="*/ 40182 h 94264"/>
                <a:gd name="connsiteX3" fmla="*/ 32876 w 43293"/>
                <a:gd name="connsiteY3" fmla="*/ 56553 h 94264"/>
                <a:gd name="connsiteX4" fmla="*/ 31883 w 43293"/>
                <a:gd name="connsiteY4" fmla="*/ 73916 h 94264"/>
                <a:gd name="connsiteX5" fmla="*/ 26923 w 43293"/>
                <a:gd name="connsiteY5" fmla="*/ 89790 h 94264"/>
                <a:gd name="connsiteX6" fmla="*/ 4599 w 43293"/>
                <a:gd name="connsiteY6" fmla="*/ 91278 h 94264"/>
                <a:gd name="connsiteX7" fmla="*/ 3111 w 43293"/>
                <a:gd name="connsiteY7" fmla="*/ 73916 h 94264"/>
                <a:gd name="connsiteX8" fmla="*/ 17001 w 43293"/>
                <a:gd name="connsiteY8" fmla="*/ 74412 h 94264"/>
                <a:gd name="connsiteX9" fmla="*/ 17001 w 43293"/>
                <a:gd name="connsiteY9" fmla="*/ 59529 h 94264"/>
                <a:gd name="connsiteX10" fmla="*/ 17001 w 43293"/>
                <a:gd name="connsiteY10" fmla="*/ 44647 h 94264"/>
                <a:gd name="connsiteX11" fmla="*/ 15513 w 43293"/>
                <a:gd name="connsiteY11" fmla="*/ 29765 h 94264"/>
                <a:gd name="connsiteX12" fmla="*/ 16505 w 43293"/>
                <a:gd name="connsiteY12" fmla="*/ 14882 h 94264"/>
                <a:gd name="connsiteX13" fmla="*/ 16505 w 43293"/>
                <a:gd name="connsiteY13" fmla="*/ 0 h 94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293" h="94264">
                  <a:moveTo>
                    <a:pt x="43293" y="5953"/>
                  </a:moveTo>
                  <a:cubicBezTo>
                    <a:pt x="41805" y="14386"/>
                    <a:pt x="41309" y="14386"/>
                    <a:pt x="39821" y="22819"/>
                  </a:cubicBezTo>
                  <a:cubicBezTo>
                    <a:pt x="38333" y="31253"/>
                    <a:pt x="39325" y="31749"/>
                    <a:pt x="37836" y="40182"/>
                  </a:cubicBezTo>
                  <a:cubicBezTo>
                    <a:pt x="36348" y="48616"/>
                    <a:pt x="34860" y="48120"/>
                    <a:pt x="32876" y="56553"/>
                  </a:cubicBezTo>
                  <a:cubicBezTo>
                    <a:pt x="31387" y="64986"/>
                    <a:pt x="33372" y="65482"/>
                    <a:pt x="31883" y="73916"/>
                  </a:cubicBezTo>
                  <a:cubicBezTo>
                    <a:pt x="30395" y="82349"/>
                    <a:pt x="33868" y="84829"/>
                    <a:pt x="26923" y="89790"/>
                  </a:cubicBezTo>
                  <a:cubicBezTo>
                    <a:pt x="17497" y="95743"/>
                    <a:pt x="15017" y="95247"/>
                    <a:pt x="4599" y="91278"/>
                  </a:cubicBezTo>
                  <a:cubicBezTo>
                    <a:pt x="-3834" y="87806"/>
                    <a:pt x="1623" y="79868"/>
                    <a:pt x="3111" y="73916"/>
                  </a:cubicBezTo>
                  <a:cubicBezTo>
                    <a:pt x="4103" y="69947"/>
                    <a:pt x="7079" y="67963"/>
                    <a:pt x="17001" y="74412"/>
                  </a:cubicBezTo>
                  <a:cubicBezTo>
                    <a:pt x="22458" y="69451"/>
                    <a:pt x="17001" y="66971"/>
                    <a:pt x="17001" y="59529"/>
                  </a:cubicBezTo>
                  <a:cubicBezTo>
                    <a:pt x="17001" y="52088"/>
                    <a:pt x="17001" y="52088"/>
                    <a:pt x="17001" y="44647"/>
                  </a:cubicBezTo>
                  <a:cubicBezTo>
                    <a:pt x="17001" y="37206"/>
                    <a:pt x="15513" y="37206"/>
                    <a:pt x="15513" y="29765"/>
                  </a:cubicBezTo>
                  <a:cubicBezTo>
                    <a:pt x="15513" y="22324"/>
                    <a:pt x="16505" y="22324"/>
                    <a:pt x="16505" y="14882"/>
                  </a:cubicBezTo>
                  <a:cubicBezTo>
                    <a:pt x="16505" y="7441"/>
                    <a:pt x="17001" y="7441"/>
                    <a:pt x="1650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08550E7F-3196-9A08-DAA0-8CE0706D1AEE}"/>
                </a:ext>
              </a:extLst>
            </p:cNvPr>
            <p:cNvSpPr/>
            <p:nvPr/>
          </p:nvSpPr>
          <p:spPr>
            <a:xfrm>
              <a:off x="4640843" y="2739342"/>
              <a:ext cx="25135" cy="48077"/>
            </a:xfrm>
            <a:custGeom>
              <a:avLst/>
              <a:gdLst>
                <a:gd name="connsiteX0" fmla="*/ 25135 w 25135"/>
                <a:gd name="connsiteY0" fmla="*/ 45143 h 48077"/>
                <a:gd name="connsiteX1" fmla="*/ 4796 w 25135"/>
                <a:gd name="connsiteY1" fmla="*/ 46631 h 48077"/>
                <a:gd name="connsiteX2" fmla="*/ 2316 w 25135"/>
                <a:gd name="connsiteY2" fmla="*/ 29765 h 48077"/>
                <a:gd name="connsiteX3" fmla="*/ 16702 w 25135"/>
                <a:gd name="connsiteY3" fmla="*/ 28277 h 48077"/>
                <a:gd name="connsiteX4" fmla="*/ 16702 w 25135"/>
                <a:gd name="connsiteY4" fmla="*/ 14386 h 48077"/>
                <a:gd name="connsiteX5" fmla="*/ 16702 w 25135"/>
                <a:gd name="connsiteY5" fmla="*/ 0 h 4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35" h="48077">
                  <a:moveTo>
                    <a:pt x="25135" y="45143"/>
                  </a:moveTo>
                  <a:cubicBezTo>
                    <a:pt x="15214" y="45143"/>
                    <a:pt x="14221" y="50600"/>
                    <a:pt x="4796" y="46631"/>
                  </a:cubicBezTo>
                  <a:cubicBezTo>
                    <a:pt x="-3141" y="43159"/>
                    <a:pt x="827" y="35718"/>
                    <a:pt x="2316" y="29765"/>
                  </a:cubicBezTo>
                  <a:cubicBezTo>
                    <a:pt x="3308" y="25796"/>
                    <a:pt x="7276" y="23316"/>
                    <a:pt x="16702" y="28277"/>
                  </a:cubicBezTo>
                  <a:cubicBezTo>
                    <a:pt x="21663" y="23316"/>
                    <a:pt x="16702" y="21331"/>
                    <a:pt x="16702" y="14386"/>
                  </a:cubicBezTo>
                  <a:cubicBezTo>
                    <a:pt x="16702" y="7441"/>
                    <a:pt x="16702" y="7441"/>
                    <a:pt x="1670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FF992F3F-3E4F-F567-E03E-187FBECEF58A}"/>
                </a:ext>
              </a:extLst>
            </p:cNvPr>
            <p:cNvSpPr/>
            <p:nvPr/>
          </p:nvSpPr>
          <p:spPr>
            <a:xfrm>
              <a:off x="4697449" y="2619694"/>
              <a:ext cx="117353" cy="172150"/>
            </a:xfrm>
            <a:custGeom>
              <a:avLst/>
              <a:gdLst>
                <a:gd name="connsiteX0" fmla="*/ 84116 w 117353"/>
                <a:gd name="connsiteY0" fmla="*/ 108734 h 172150"/>
                <a:gd name="connsiteX1" fmla="*/ 95030 w 117353"/>
                <a:gd name="connsiteY1" fmla="*/ 98813 h 172150"/>
                <a:gd name="connsiteX2" fmla="*/ 97014 w 117353"/>
                <a:gd name="connsiteY2" fmla="*/ 84426 h 172150"/>
                <a:gd name="connsiteX3" fmla="*/ 89573 w 117353"/>
                <a:gd name="connsiteY3" fmla="*/ 68056 h 172150"/>
                <a:gd name="connsiteX4" fmla="*/ 76675 w 117353"/>
                <a:gd name="connsiteY4" fmla="*/ 55654 h 172150"/>
                <a:gd name="connsiteX5" fmla="*/ 62785 w 117353"/>
                <a:gd name="connsiteY5" fmla="*/ 44244 h 172150"/>
                <a:gd name="connsiteX6" fmla="*/ 56336 w 117353"/>
                <a:gd name="connsiteY6" fmla="*/ 27377 h 172150"/>
                <a:gd name="connsiteX7" fmla="*/ 62289 w 117353"/>
                <a:gd name="connsiteY7" fmla="*/ 12991 h 172150"/>
                <a:gd name="connsiteX8" fmla="*/ 74195 w 117353"/>
                <a:gd name="connsiteY8" fmla="*/ 3566 h 172150"/>
                <a:gd name="connsiteX9" fmla="*/ 89077 w 117353"/>
                <a:gd name="connsiteY9" fmla="*/ 93 h 172150"/>
                <a:gd name="connsiteX10" fmla="*/ 101975 w 117353"/>
                <a:gd name="connsiteY10" fmla="*/ 4558 h 172150"/>
                <a:gd name="connsiteX11" fmla="*/ 89077 w 117353"/>
                <a:gd name="connsiteY11" fmla="*/ 14975 h 172150"/>
                <a:gd name="connsiteX12" fmla="*/ 78659 w 117353"/>
                <a:gd name="connsiteY12" fmla="*/ 31842 h 172150"/>
                <a:gd name="connsiteX13" fmla="*/ 88085 w 117353"/>
                <a:gd name="connsiteY13" fmla="*/ 45236 h 172150"/>
                <a:gd name="connsiteX14" fmla="*/ 102967 w 117353"/>
                <a:gd name="connsiteY14" fmla="*/ 53173 h 172150"/>
                <a:gd name="connsiteX15" fmla="*/ 111896 w 117353"/>
                <a:gd name="connsiteY15" fmla="*/ 67560 h 172150"/>
                <a:gd name="connsiteX16" fmla="*/ 114873 w 117353"/>
                <a:gd name="connsiteY16" fmla="*/ 83930 h 172150"/>
                <a:gd name="connsiteX17" fmla="*/ 117353 w 117353"/>
                <a:gd name="connsiteY17" fmla="*/ 100301 h 172150"/>
                <a:gd name="connsiteX18" fmla="*/ 114873 w 117353"/>
                <a:gd name="connsiteY18" fmla="*/ 115183 h 172150"/>
                <a:gd name="connsiteX19" fmla="*/ 108920 w 117353"/>
                <a:gd name="connsiteY19" fmla="*/ 129073 h 172150"/>
                <a:gd name="connsiteX20" fmla="*/ 100487 w 117353"/>
                <a:gd name="connsiteY20" fmla="*/ 141475 h 172150"/>
                <a:gd name="connsiteX21" fmla="*/ 90565 w 117353"/>
                <a:gd name="connsiteY21" fmla="*/ 152389 h 172150"/>
                <a:gd name="connsiteX22" fmla="*/ 78659 w 117353"/>
                <a:gd name="connsiteY22" fmla="*/ 161318 h 172150"/>
                <a:gd name="connsiteX23" fmla="*/ 66257 w 117353"/>
                <a:gd name="connsiteY23" fmla="*/ 170744 h 172150"/>
                <a:gd name="connsiteX24" fmla="*/ 50383 w 117353"/>
                <a:gd name="connsiteY24" fmla="*/ 168759 h 172150"/>
                <a:gd name="connsiteX25" fmla="*/ 34508 w 117353"/>
                <a:gd name="connsiteY25" fmla="*/ 170248 h 172150"/>
                <a:gd name="connsiteX26" fmla="*/ 18634 w 117353"/>
                <a:gd name="connsiteY26" fmla="*/ 170744 h 172150"/>
                <a:gd name="connsiteX27" fmla="*/ 2263 w 117353"/>
                <a:gd name="connsiteY27" fmla="*/ 170248 h 172150"/>
                <a:gd name="connsiteX28" fmla="*/ 9208 w 117353"/>
                <a:gd name="connsiteY28" fmla="*/ 156854 h 172150"/>
                <a:gd name="connsiteX29" fmla="*/ 23099 w 117353"/>
                <a:gd name="connsiteY29" fmla="*/ 157350 h 172150"/>
                <a:gd name="connsiteX30" fmla="*/ 37981 w 117353"/>
                <a:gd name="connsiteY30" fmla="*/ 151397 h 172150"/>
                <a:gd name="connsiteX31" fmla="*/ 25579 w 117353"/>
                <a:gd name="connsiteY31" fmla="*/ 147924 h 172150"/>
                <a:gd name="connsiteX32" fmla="*/ 15161 w 117353"/>
                <a:gd name="connsiteY32" fmla="*/ 138499 h 172150"/>
                <a:gd name="connsiteX33" fmla="*/ 11689 w 117353"/>
                <a:gd name="connsiteY33" fmla="*/ 124609 h 172150"/>
                <a:gd name="connsiteX34" fmla="*/ 15657 w 117353"/>
                <a:gd name="connsiteY34" fmla="*/ 111215 h 172150"/>
                <a:gd name="connsiteX35" fmla="*/ 25083 w 117353"/>
                <a:gd name="connsiteY35" fmla="*/ 101293 h 172150"/>
                <a:gd name="connsiteX36" fmla="*/ 38477 w 117353"/>
                <a:gd name="connsiteY36" fmla="*/ 97820 h 172150"/>
                <a:gd name="connsiteX37" fmla="*/ 52367 w 117353"/>
                <a:gd name="connsiteY37" fmla="*/ 102285 h 1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7353" h="172150">
                  <a:moveTo>
                    <a:pt x="84116" y="108734"/>
                  </a:moveTo>
                  <a:cubicBezTo>
                    <a:pt x="91061" y="107742"/>
                    <a:pt x="91061" y="107246"/>
                    <a:pt x="95030" y="98813"/>
                  </a:cubicBezTo>
                  <a:cubicBezTo>
                    <a:pt x="96518" y="95340"/>
                    <a:pt x="97014" y="90379"/>
                    <a:pt x="97014" y="84426"/>
                  </a:cubicBezTo>
                  <a:cubicBezTo>
                    <a:pt x="97014" y="78474"/>
                    <a:pt x="94038" y="73016"/>
                    <a:pt x="89573" y="68056"/>
                  </a:cubicBezTo>
                  <a:cubicBezTo>
                    <a:pt x="85604" y="64087"/>
                    <a:pt x="81636" y="59622"/>
                    <a:pt x="76675" y="55654"/>
                  </a:cubicBezTo>
                  <a:cubicBezTo>
                    <a:pt x="72210" y="51685"/>
                    <a:pt x="66257" y="48709"/>
                    <a:pt x="62785" y="44244"/>
                  </a:cubicBezTo>
                  <a:cubicBezTo>
                    <a:pt x="59312" y="39283"/>
                    <a:pt x="56336" y="33827"/>
                    <a:pt x="56336" y="27377"/>
                  </a:cubicBezTo>
                  <a:cubicBezTo>
                    <a:pt x="56336" y="21921"/>
                    <a:pt x="59312" y="16960"/>
                    <a:pt x="62289" y="12991"/>
                  </a:cubicBezTo>
                  <a:cubicBezTo>
                    <a:pt x="65265" y="9023"/>
                    <a:pt x="69730" y="5550"/>
                    <a:pt x="74195" y="3566"/>
                  </a:cubicBezTo>
                  <a:cubicBezTo>
                    <a:pt x="79155" y="1581"/>
                    <a:pt x="84612" y="589"/>
                    <a:pt x="89077" y="93"/>
                  </a:cubicBezTo>
                  <a:cubicBezTo>
                    <a:pt x="96022" y="-403"/>
                    <a:pt x="100487" y="1085"/>
                    <a:pt x="101975" y="4558"/>
                  </a:cubicBezTo>
                  <a:cubicBezTo>
                    <a:pt x="104952" y="10015"/>
                    <a:pt x="97014" y="10511"/>
                    <a:pt x="89077" y="14975"/>
                  </a:cubicBezTo>
                  <a:cubicBezTo>
                    <a:pt x="83620" y="18448"/>
                    <a:pt x="78659" y="23905"/>
                    <a:pt x="78659" y="31842"/>
                  </a:cubicBezTo>
                  <a:cubicBezTo>
                    <a:pt x="78659" y="37795"/>
                    <a:pt x="82132" y="41764"/>
                    <a:pt x="88085" y="45236"/>
                  </a:cubicBezTo>
                  <a:cubicBezTo>
                    <a:pt x="92053" y="47717"/>
                    <a:pt x="98502" y="48709"/>
                    <a:pt x="102967" y="53173"/>
                  </a:cubicBezTo>
                  <a:cubicBezTo>
                    <a:pt x="106440" y="56646"/>
                    <a:pt x="109416" y="61607"/>
                    <a:pt x="111896" y="67560"/>
                  </a:cubicBezTo>
                  <a:cubicBezTo>
                    <a:pt x="113881" y="72024"/>
                    <a:pt x="114377" y="77481"/>
                    <a:pt x="114873" y="83930"/>
                  </a:cubicBezTo>
                  <a:cubicBezTo>
                    <a:pt x="115369" y="88891"/>
                    <a:pt x="117353" y="94348"/>
                    <a:pt x="117353" y="100301"/>
                  </a:cubicBezTo>
                  <a:cubicBezTo>
                    <a:pt x="117353" y="105262"/>
                    <a:pt x="116361" y="110719"/>
                    <a:pt x="114873" y="115183"/>
                  </a:cubicBezTo>
                  <a:cubicBezTo>
                    <a:pt x="113385" y="120144"/>
                    <a:pt x="111400" y="124609"/>
                    <a:pt x="108920" y="129073"/>
                  </a:cubicBezTo>
                  <a:cubicBezTo>
                    <a:pt x="106440" y="133538"/>
                    <a:pt x="103463" y="137507"/>
                    <a:pt x="100487" y="141475"/>
                  </a:cubicBezTo>
                  <a:cubicBezTo>
                    <a:pt x="97510" y="145444"/>
                    <a:pt x="94038" y="149413"/>
                    <a:pt x="90565" y="152389"/>
                  </a:cubicBezTo>
                  <a:cubicBezTo>
                    <a:pt x="86597" y="156358"/>
                    <a:pt x="82628" y="158838"/>
                    <a:pt x="78659" y="161318"/>
                  </a:cubicBezTo>
                  <a:cubicBezTo>
                    <a:pt x="71218" y="166279"/>
                    <a:pt x="73698" y="169752"/>
                    <a:pt x="66257" y="170744"/>
                  </a:cubicBezTo>
                  <a:cubicBezTo>
                    <a:pt x="58320" y="171736"/>
                    <a:pt x="58320" y="168759"/>
                    <a:pt x="50383" y="168759"/>
                  </a:cubicBezTo>
                  <a:cubicBezTo>
                    <a:pt x="42446" y="168759"/>
                    <a:pt x="42446" y="170248"/>
                    <a:pt x="34508" y="170248"/>
                  </a:cubicBezTo>
                  <a:cubicBezTo>
                    <a:pt x="26571" y="170248"/>
                    <a:pt x="26571" y="170744"/>
                    <a:pt x="18634" y="170744"/>
                  </a:cubicBezTo>
                  <a:cubicBezTo>
                    <a:pt x="10697" y="170744"/>
                    <a:pt x="9208" y="174217"/>
                    <a:pt x="2263" y="170248"/>
                  </a:cubicBezTo>
                  <a:cubicBezTo>
                    <a:pt x="-4186" y="166775"/>
                    <a:pt x="4744" y="161318"/>
                    <a:pt x="9208" y="156854"/>
                  </a:cubicBezTo>
                  <a:cubicBezTo>
                    <a:pt x="12681" y="153877"/>
                    <a:pt x="17146" y="153381"/>
                    <a:pt x="23099" y="157350"/>
                  </a:cubicBezTo>
                  <a:cubicBezTo>
                    <a:pt x="36989" y="167271"/>
                    <a:pt x="39965" y="162311"/>
                    <a:pt x="37981" y="151397"/>
                  </a:cubicBezTo>
                  <a:cubicBezTo>
                    <a:pt x="33020" y="151397"/>
                    <a:pt x="29548" y="149909"/>
                    <a:pt x="25579" y="147924"/>
                  </a:cubicBezTo>
                  <a:cubicBezTo>
                    <a:pt x="21610" y="145444"/>
                    <a:pt x="17642" y="142467"/>
                    <a:pt x="15161" y="138499"/>
                  </a:cubicBezTo>
                  <a:cubicBezTo>
                    <a:pt x="12681" y="134530"/>
                    <a:pt x="11689" y="129569"/>
                    <a:pt x="11689" y="124609"/>
                  </a:cubicBezTo>
                  <a:cubicBezTo>
                    <a:pt x="11689" y="119648"/>
                    <a:pt x="13673" y="115183"/>
                    <a:pt x="15657" y="111215"/>
                  </a:cubicBezTo>
                  <a:cubicBezTo>
                    <a:pt x="18138" y="107246"/>
                    <a:pt x="21114" y="103773"/>
                    <a:pt x="25083" y="101293"/>
                  </a:cubicBezTo>
                  <a:cubicBezTo>
                    <a:pt x="29051" y="98813"/>
                    <a:pt x="33516" y="97820"/>
                    <a:pt x="38477" y="97820"/>
                  </a:cubicBezTo>
                  <a:cubicBezTo>
                    <a:pt x="43438" y="97820"/>
                    <a:pt x="48399" y="99309"/>
                    <a:pt x="52367" y="102285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07" name="Graphic 10">
              <a:extLst>
                <a:ext uri="{FF2B5EF4-FFF2-40B4-BE49-F238E27FC236}">
                  <a16:creationId xmlns:a16="http://schemas.microsoft.com/office/drawing/2014/main" id="{35CEBB01-B1DB-C991-0840-176DBDBE6E7B}"/>
                </a:ext>
              </a:extLst>
            </p:cNvPr>
            <p:cNvGrpSpPr/>
            <p:nvPr/>
          </p:nvGrpSpPr>
          <p:grpSpPr>
            <a:xfrm>
              <a:off x="4799920" y="4613579"/>
              <a:ext cx="391010" cy="778508"/>
              <a:chOff x="4799920" y="4613579"/>
              <a:chExt cx="391010" cy="778508"/>
            </a:xfrm>
            <a:noFill/>
          </p:grpSpPr>
          <p:sp>
            <p:nvSpPr>
              <p:cNvPr id="1615" name="Freeform: Shape 1614">
                <a:extLst>
                  <a:ext uri="{FF2B5EF4-FFF2-40B4-BE49-F238E27FC236}">
                    <a16:creationId xmlns:a16="http://schemas.microsoft.com/office/drawing/2014/main" id="{B7576870-1638-06E6-5487-15F5BB6349CD}"/>
                  </a:ext>
                </a:extLst>
              </p:cNvPr>
              <p:cNvSpPr/>
              <p:nvPr/>
            </p:nvSpPr>
            <p:spPr>
              <a:xfrm>
                <a:off x="4914514" y="4724777"/>
                <a:ext cx="124515" cy="112076"/>
              </a:xfrm>
              <a:custGeom>
                <a:avLst/>
                <a:gdLst>
                  <a:gd name="connsiteX0" fmla="*/ 0 w 124515"/>
                  <a:gd name="connsiteY0" fmla="*/ 364 h 112076"/>
                  <a:gd name="connsiteX1" fmla="*/ 10418 w 124515"/>
                  <a:gd name="connsiteY1" fmla="*/ 11774 h 112076"/>
                  <a:gd name="connsiteX2" fmla="*/ 21331 w 124515"/>
                  <a:gd name="connsiteY2" fmla="*/ 22688 h 112076"/>
                  <a:gd name="connsiteX3" fmla="*/ 33733 w 124515"/>
                  <a:gd name="connsiteY3" fmla="*/ 32609 h 112076"/>
                  <a:gd name="connsiteX4" fmla="*/ 47623 w 124515"/>
                  <a:gd name="connsiteY4" fmla="*/ 39555 h 112076"/>
                  <a:gd name="connsiteX5" fmla="*/ 62010 w 124515"/>
                  <a:gd name="connsiteY5" fmla="*/ 46004 h 112076"/>
                  <a:gd name="connsiteX6" fmla="*/ 77388 w 124515"/>
                  <a:gd name="connsiteY6" fmla="*/ 50468 h 112076"/>
                  <a:gd name="connsiteX7" fmla="*/ 93263 w 124515"/>
                  <a:gd name="connsiteY7" fmla="*/ 50964 h 112076"/>
                  <a:gd name="connsiteX8" fmla="*/ 109137 w 124515"/>
                  <a:gd name="connsiteY8" fmla="*/ 51957 h 112076"/>
                  <a:gd name="connsiteX9" fmla="*/ 124515 w 124515"/>
                  <a:gd name="connsiteY9" fmla="*/ 47492 h 112076"/>
                  <a:gd name="connsiteX10" fmla="*/ 117074 w 124515"/>
                  <a:gd name="connsiteY10" fmla="*/ 62870 h 112076"/>
                  <a:gd name="connsiteX11" fmla="*/ 108641 w 124515"/>
                  <a:gd name="connsiteY11" fmla="*/ 76760 h 112076"/>
                  <a:gd name="connsiteX12" fmla="*/ 97727 w 124515"/>
                  <a:gd name="connsiteY12" fmla="*/ 89162 h 112076"/>
                  <a:gd name="connsiteX13" fmla="*/ 85821 w 124515"/>
                  <a:gd name="connsiteY13" fmla="*/ 100572 h 112076"/>
                  <a:gd name="connsiteX14" fmla="*/ 71435 w 124515"/>
                  <a:gd name="connsiteY14" fmla="*/ 108509 h 112076"/>
                  <a:gd name="connsiteX15" fmla="*/ 56057 w 124515"/>
                  <a:gd name="connsiteY15" fmla="*/ 111982 h 112076"/>
                  <a:gd name="connsiteX16" fmla="*/ 40678 w 124515"/>
                  <a:gd name="connsiteY16" fmla="*/ 106525 h 112076"/>
                  <a:gd name="connsiteX17" fmla="*/ 31749 w 124515"/>
                  <a:gd name="connsiteY17" fmla="*/ 92635 h 112076"/>
                  <a:gd name="connsiteX18" fmla="*/ 21828 w 124515"/>
                  <a:gd name="connsiteY18" fmla="*/ 79241 h 112076"/>
                  <a:gd name="connsiteX19" fmla="*/ 15875 w 124515"/>
                  <a:gd name="connsiteY19" fmla="*/ 63862 h 112076"/>
                  <a:gd name="connsiteX20" fmla="*/ 12402 w 124515"/>
                  <a:gd name="connsiteY20" fmla="*/ 47988 h 112076"/>
                  <a:gd name="connsiteX21" fmla="*/ 7937 w 124515"/>
                  <a:gd name="connsiteY21" fmla="*/ 32113 h 112076"/>
                  <a:gd name="connsiteX22" fmla="*/ 3969 w 124515"/>
                  <a:gd name="connsiteY22" fmla="*/ 16239 h 112076"/>
                  <a:gd name="connsiteX23" fmla="*/ 0 w 124515"/>
                  <a:gd name="connsiteY23" fmla="*/ 364 h 112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515" h="112076">
                    <a:moveTo>
                      <a:pt x="0" y="364"/>
                    </a:moveTo>
                    <a:cubicBezTo>
                      <a:pt x="7441" y="-1620"/>
                      <a:pt x="3473" y="4829"/>
                      <a:pt x="10418" y="11774"/>
                    </a:cubicBezTo>
                    <a:cubicBezTo>
                      <a:pt x="13394" y="15247"/>
                      <a:pt x="16867" y="19215"/>
                      <a:pt x="21331" y="22688"/>
                    </a:cubicBezTo>
                    <a:cubicBezTo>
                      <a:pt x="25300" y="25664"/>
                      <a:pt x="28772" y="29633"/>
                      <a:pt x="33733" y="32609"/>
                    </a:cubicBezTo>
                    <a:cubicBezTo>
                      <a:pt x="37702" y="35090"/>
                      <a:pt x="42663" y="37570"/>
                      <a:pt x="47623" y="39555"/>
                    </a:cubicBezTo>
                    <a:cubicBezTo>
                      <a:pt x="52088" y="41539"/>
                      <a:pt x="57049" y="44515"/>
                      <a:pt x="62010" y="46004"/>
                    </a:cubicBezTo>
                    <a:cubicBezTo>
                      <a:pt x="66971" y="47492"/>
                      <a:pt x="71931" y="49476"/>
                      <a:pt x="77388" y="50468"/>
                    </a:cubicBezTo>
                    <a:cubicBezTo>
                      <a:pt x="82349" y="51460"/>
                      <a:pt x="87806" y="50468"/>
                      <a:pt x="93263" y="50964"/>
                    </a:cubicBezTo>
                    <a:cubicBezTo>
                      <a:pt x="98223" y="50964"/>
                      <a:pt x="103680" y="52453"/>
                      <a:pt x="109137" y="51957"/>
                    </a:cubicBezTo>
                    <a:cubicBezTo>
                      <a:pt x="114098" y="51460"/>
                      <a:pt x="119555" y="48980"/>
                      <a:pt x="124515" y="47492"/>
                    </a:cubicBezTo>
                    <a:cubicBezTo>
                      <a:pt x="124019" y="48980"/>
                      <a:pt x="121539" y="55925"/>
                      <a:pt x="117074" y="62870"/>
                    </a:cubicBezTo>
                    <a:cubicBezTo>
                      <a:pt x="114594" y="66839"/>
                      <a:pt x="112113" y="72296"/>
                      <a:pt x="108641" y="76760"/>
                    </a:cubicBezTo>
                    <a:cubicBezTo>
                      <a:pt x="105665" y="81225"/>
                      <a:pt x="101200" y="85194"/>
                      <a:pt x="97727" y="89162"/>
                    </a:cubicBezTo>
                    <a:cubicBezTo>
                      <a:pt x="94255" y="93131"/>
                      <a:pt x="89790" y="97100"/>
                      <a:pt x="85821" y="100572"/>
                    </a:cubicBezTo>
                    <a:cubicBezTo>
                      <a:pt x="81357" y="104045"/>
                      <a:pt x="76396" y="106525"/>
                      <a:pt x="71435" y="108509"/>
                    </a:cubicBezTo>
                    <a:cubicBezTo>
                      <a:pt x="65978" y="110990"/>
                      <a:pt x="61514" y="112478"/>
                      <a:pt x="56057" y="111982"/>
                    </a:cubicBezTo>
                    <a:cubicBezTo>
                      <a:pt x="51096" y="111486"/>
                      <a:pt x="45639" y="110494"/>
                      <a:pt x="40678" y="106525"/>
                    </a:cubicBezTo>
                    <a:cubicBezTo>
                      <a:pt x="37206" y="103548"/>
                      <a:pt x="35221" y="98092"/>
                      <a:pt x="31749" y="92635"/>
                    </a:cubicBezTo>
                    <a:cubicBezTo>
                      <a:pt x="29269" y="88666"/>
                      <a:pt x="24308" y="84698"/>
                      <a:pt x="21828" y="79241"/>
                    </a:cubicBezTo>
                    <a:cubicBezTo>
                      <a:pt x="19843" y="74776"/>
                      <a:pt x="17859" y="69319"/>
                      <a:pt x="15875" y="63862"/>
                    </a:cubicBezTo>
                    <a:cubicBezTo>
                      <a:pt x="14386" y="58901"/>
                      <a:pt x="13890" y="53445"/>
                      <a:pt x="12402" y="47988"/>
                    </a:cubicBezTo>
                    <a:cubicBezTo>
                      <a:pt x="10914" y="43027"/>
                      <a:pt x="9426" y="37570"/>
                      <a:pt x="7937" y="32113"/>
                    </a:cubicBezTo>
                    <a:cubicBezTo>
                      <a:pt x="6945" y="27153"/>
                      <a:pt x="5457" y="21696"/>
                      <a:pt x="3969" y="16239"/>
                    </a:cubicBezTo>
                    <a:cubicBezTo>
                      <a:pt x="2976" y="10782"/>
                      <a:pt x="992" y="6317"/>
                      <a:pt x="0" y="36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6" name="Freeform: Shape 1615">
                <a:extLst>
                  <a:ext uri="{FF2B5EF4-FFF2-40B4-BE49-F238E27FC236}">
                    <a16:creationId xmlns:a16="http://schemas.microsoft.com/office/drawing/2014/main" id="{66EC77BB-8604-4500-EC00-C07BAB4A059C}"/>
                  </a:ext>
                </a:extLst>
              </p:cNvPr>
              <p:cNvSpPr/>
              <p:nvPr/>
            </p:nvSpPr>
            <p:spPr>
              <a:xfrm>
                <a:off x="4915705" y="4831798"/>
                <a:ext cx="116378" cy="258823"/>
              </a:xfrm>
              <a:custGeom>
                <a:avLst/>
                <a:gdLst>
                  <a:gd name="connsiteX0" fmla="*/ 8730 w 116378"/>
                  <a:gd name="connsiteY0" fmla="*/ 0 h 258823"/>
                  <a:gd name="connsiteX1" fmla="*/ 9226 w 116378"/>
                  <a:gd name="connsiteY1" fmla="*/ 13890 h 258823"/>
                  <a:gd name="connsiteX2" fmla="*/ 9722 w 116378"/>
                  <a:gd name="connsiteY2" fmla="*/ 27780 h 258823"/>
                  <a:gd name="connsiteX3" fmla="*/ 5257 w 116378"/>
                  <a:gd name="connsiteY3" fmla="*/ 37206 h 258823"/>
                  <a:gd name="connsiteX4" fmla="*/ 297 w 116378"/>
                  <a:gd name="connsiteY4" fmla="*/ 54569 h 258823"/>
                  <a:gd name="connsiteX5" fmla="*/ 1289 w 116378"/>
                  <a:gd name="connsiteY5" fmla="*/ 72924 h 258823"/>
                  <a:gd name="connsiteX6" fmla="*/ 8234 w 116378"/>
                  <a:gd name="connsiteY6" fmla="*/ 90286 h 258823"/>
                  <a:gd name="connsiteX7" fmla="*/ 8234 w 116378"/>
                  <a:gd name="connsiteY7" fmla="*/ 89790 h 258823"/>
                  <a:gd name="connsiteX8" fmla="*/ 8234 w 116378"/>
                  <a:gd name="connsiteY8" fmla="*/ 105169 h 258823"/>
                  <a:gd name="connsiteX9" fmla="*/ 8730 w 116378"/>
                  <a:gd name="connsiteY9" fmla="*/ 120547 h 258823"/>
                  <a:gd name="connsiteX10" fmla="*/ 8234 w 116378"/>
                  <a:gd name="connsiteY10" fmla="*/ 135925 h 258823"/>
                  <a:gd name="connsiteX11" fmla="*/ 8234 w 116378"/>
                  <a:gd name="connsiteY11" fmla="*/ 151304 h 258823"/>
                  <a:gd name="connsiteX12" fmla="*/ 8234 w 116378"/>
                  <a:gd name="connsiteY12" fmla="*/ 166682 h 258823"/>
                  <a:gd name="connsiteX13" fmla="*/ 9226 w 116378"/>
                  <a:gd name="connsiteY13" fmla="*/ 182061 h 258823"/>
                  <a:gd name="connsiteX14" fmla="*/ 8730 w 116378"/>
                  <a:gd name="connsiteY14" fmla="*/ 197439 h 258823"/>
                  <a:gd name="connsiteX15" fmla="*/ 8730 w 116378"/>
                  <a:gd name="connsiteY15" fmla="*/ 212818 h 258823"/>
                  <a:gd name="connsiteX16" fmla="*/ 8234 w 116378"/>
                  <a:gd name="connsiteY16" fmla="*/ 228196 h 258823"/>
                  <a:gd name="connsiteX17" fmla="*/ 8234 w 116378"/>
                  <a:gd name="connsiteY17" fmla="*/ 243078 h 258823"/>
                  <a:gd name="connsiteX18" fmla="*/ 22620 w 116378"/>
                  <a:gd name="connsiteY18" fmla="*/ 245559 h 258823"/>
                  <a:gd name="connsiteX19" fmla="*/ 37999 w 116378"/>
                  <a:gd name="connsiteY19" fmla="*/ 246551 h 258823"/>
                  <a:gd name="connsiteX20" fmla="*/ 52881 w 116378"/>
                  <a:gd name="connsiteY20" fmla="*/ 249527 h 258823"/>
                  <a:gd name="connsiteX21" fmla="*/ 67763 w 116378"/>
                  <a:gd name="connsiteY21" fmla="*/ 251015 h 258823"/>
                  <a:gd name="connsiteX22" fmla="*/ 82646 w 116378"/>
                  <a:gd name="connsiteY22" fmla="*/ 254488 h 258823"/>
                  <a:gd name="connsiteX23" fmla="*/ 98520 w 116378"/>
                  <a:gd name="connsiteY23" fmla="*/ 256969 h 258823"/>
                  <a:gd name="connsiteX24" fmla="*/ 100008 w 116378"/>
                  <a:gd name="connsiteY24" fmla="*/ 239606 h 258823"/>
                  <a:gd name="connsiteX25" fmla="*/ 101000 w 116378"/>
                  <a:gd name="connsiteY25" fmla="*/ 222739 h 258823"/>
                  <a:gd name="connsiteX26" fmla="*/ 103481 w 116378"/>
                  <a:gd name="connsiteY26" fmla="*/ 205872 h 258823"/>
                  <a:gd name="connsiteX27" fmla="*/ 106457 w 116378"/>
                  <a:gd name="connsiteY27" fmla="*/ 189502 h 258823"/>
                  <a:gd name="connsiteX28" fmla="*/ 106457 w 116378"/>
                  <a:gd name="connsiteY28" fmla="*/ 172635 h 258823"/>
                  <a:gd name="connsiteX29" fmla="*/ 108442 w 116378"/>
                  <a:gd name="connsiteY29" fmla="*/ 155769 h 258823"/>
                  <a:gd name="connsiteX30" fmla="*/ 111914 w 116378"/>
                  <a:gd name="connsiteY30" fmla="*/ 139398 h 258823"/>
                  <a:gd name="connsiteX31" fmla="*/ 114395 w 116378"/>
                  <a:gd name="connsiteY31" fmla="*/ 122531 h 258823"/>
                  <a:gd name="connsiteX32" fmla="*/ 114395 w 116378"/>
                  <a:gd name="connsiteY32" fmla="*/ 105665 h 258823"/>
                  <a:gd name="connsiteX33" fmla="*/ 116379 w 116378"/>
                  <a:gd name="connsiteY33" fmla="*/ 88798 h 258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6378" h="258823">
                    <a:moveTo>
                      <a:pt x="8730" y="0"/>
                    </a:moveTo>
                    <a:cubicBezTo>
                      <a:pt x="8730" y="6945"/>
                      <a:pt x="9226" y="6945"/>
                      <a:pt x="9226" y="13890"/>
                    </a:cubicBezTo>
                    <a:cubicBezTo>
                      <a:pt x="9226" y="20835"/>
                      <a:pt x="10714" y="20835"/>
                      <a:pt x="9722" y="27780"/>
                    </a:cubicBezTo>
                    <a:cubicBezTo>
                      <a:pt x="8730" y="32741"/>
                      <a:pt x="7738" y="32741"/>
                      <a:pt x="5257" y="37206"/>
                    </a:cubicBezTo>
                    <a:cubicBezTo>
                      <a:pt x="2777" y="42663"/>
                      <a:pt x="793" y="48616"/>
                      <a:pt x="297" y="54569"/>
                    </a:cubicBezTo>
                    <a:cubicBezTo>
                      <a:pt x="-199" y="60522"/>
                      <a:pt x="-199" y="66971"/>
                      <a:pt x="1289" y="72924"/>
                    </a:cubicBezTo>
                    <a:cubicBezTo>
                      <a:pt x="2777" y="78877"/>
                      <a:pt x="4761" y="84829"/>
                      <a:pt x="8234" y="90286"/>
                    </a:cubicBezTo>
                    <a:cubicBezTo>
                      <a:pt x="8234" y="90286"/>
                      <a:pt x="8234" y="89790"/>
                      <a:pt x="8234" y="89790"/>
                    </a:cubicBezTo>
                    <a:cubicBezTo>
                      <a:pt x="8234" y="97727"/>
                      <a:pt x="8234" y="97727"/>
                      <a:pt x="8234" y="105169"/>
                    </a:cubicBezTo>
                    <a:cubicBezTo>
                      <a:pt x="8234" y="113106"/>
                      <a:pt x="8730" y="113106"/>
                      <a:pt x="8730" y="120547"/>
                    </a:cubicBezTo>
                    <a:cubicBezTo>
                      <a:pt x="8730" y="128484"/>
                      <a:pt x="8234" y="128484"/>
                      <a:pt x="8234" y="135925"/>
                    </a:cubicBezTo>
                    <a:cubicBezTo>
                      <a:pt x="8234" y="143367"/>
                      <a:pt x="8234" y="143863"/>
                      <a:pt x="8234" y="151304"/>
                    </a:cubicBezTo>
                    <a:cubicBezTo>
                      <a:pt x="8234" y="159241"/>
                      <a:pt x="8234" y="159241"/>
                      <a:pt x="8234" y="166682"/>
                    </a:cubicBezTo>
                    <a:cubicBezTo>
                      <a:pt x="8234" y="174619"/>
                      <a:pt x="9226" y="174619"/>
                      <a:pt x="9226" y="182061"/>
                    </a:cubicBezTo>
                    <a:cubicBezTo>
                      <a:pt x="9226" y="189998"/>
                      <a:pt x="8730" y="189998"/>
                      <a:pt x="8730" y="197439"/>
                    </a:cubicBezTo>
                    <a:cubicBezTo>
                      <a:pt x="8730" y="205376"/>
                      <a:pt x="8730" y="205376"/>
                      <a:pt x="8730" y="212818"/>
                    </a:cubicBezTo>
                    <a:cubicBezTo>
                      <a:pt x="8730" y="220755"/>
                      <a:pt x="8234" y="220755"/>
                      <a:pt x="8234" y="228196"/>
                    </a:cubicBezTo>
                    <a:cubicBezTo>
                      <a:pt x="8234" y="236133"/>
                      <a:pt x="3273" y="237125"/>
                      <a:pt x="8234" y="243078"/>
                    </a:cubicBezTo>
                    <a:cubicBezTo>
                      <a:pt x="13195" y="249031"/>
                      <a:pt x="15179" y="244566"/>
                      <a:pt x="22620" y="245559"/>
                    </a:cubicBezTo>
                    <a:cubicBezTo>
                      <a:pt x="30061" y="246551"/>
                      <a:pt x="30061" y="245559"/>
                      <a:pt x="37999" y="246551"/>
                    </a:cubicBezTo>
                    <a:cubicBezTo>
                      <a:pt x="45440" y="247543"/>
                      <a:pt x="45440" y="248535"/>
                      <a:pt x="52881" y="249527"/>
                    </a:cubicBezTo>
                    <a:cubicBezTo>
                      <a:pt x="60322" y="250519"/>
                      <a:pt x="60322" y="250023"/>
                      <a:pt x="67763" y="251015"/>
                    </a:cubicBezTo>
                    <a:cubicBezTo>
                      <a:pt x="75205" y="252008"/>
                      <a:pt x="75205" y="253000"/>
                      <a:pt x="82646" y="254488"/>
                    </a:cubicBezTo>
                    <a:cubicBezTo>
                      <a:pt x="90087" y="255480"/>
                      <a:pt x="92567" y="261929"/>
                      <a:pt x="98520" y="256969"/>
                    </a:cubicBezTo>
                    <a:cubicBezTo>
                      <a:pt x="104969" y="251511"/>
                      <a:pt x="99016" y="248039"/>
                      <a:pt x="100008" y="239606"/>
                    </a:cubicBezTo>
                    <a:cubicBezTo>
                      <a:pt x="101000" y="231172"/>
                      <a:pt x="100008" y="231172"/>
                      <a:pt x="101000" y="222739"/>
                    </a:cubicBezTo>
                    <a:cubicBezTo>
                      <a:pt x="101993" y="214306"/>
                      <a:pt x="102489" y="214306"/>
                      <a:pt x="103481" y="205872"/>
                    </a:cubicBezTo>
                    <a:cubicBezTo>
                      <a:pt x="104473" y="197439"/>
                      <a:pt x="105465" y="197439"/>
                      <a:pt x="106457" y="189502"/>
                    </a:cubicBezTo>
                    <a:cubicBezTo>
                      <a:pt x="107450" y="181068"/>
                      <a:pt x="105961" y="181068"/>
                      <a:pt x="106457" y="172635"/>
                    </a:cubicBezTo>
                    <a:cubicBezTo>
                      <a:pt x="107450" y="164202"/>
                      <a:pt x="107450" y="164202"/>
                      <a:pt x="108442" y="155769"/>
                    </a:cubicBezTo>
                    <a:cubicBezTo>
                      <a:pt x="109434" y="147335"/>
                      <a:pt x="110922" y="147335"/>
                      <a:pt x="111914" y="139398"/>
                    </a:cubicBezTo>
                    <a:cubicBezTo>
                      <a:pt x="112906" y="130965"/>
                      <a:pt x="113402" y="130965"/>
                      <a:pt x="114395" y="122531"/>
                    </a:cubicBezTo>
                    <a:cubicBezTo>
                      <a:pt x="115387" y="114098"/>
                      <a:pt x="113402" y="114098"/>
                      <a:pt x="114395" y="105665"/>
                    </a:cubicBezTo>
                    <a:cubicBezTo>
                      <a:pt x="115387" y="97231"/>
                      <a:pt x="115387" y="97231"/>
                      <a:pt x="116379" y="8879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7" name="Freeform: Shape 1616">
                <a:extLst>
                  <a:ext uri="{FF2B5EF4-FFF2-40B4-BE49-F238E27FC236}">
                    <a16:creationId xmlns:a16="http://schemas.microsoft.com/office/drawing/2014/main" id="{26B75471-930A-184D-AA52-ACA25318461D}"/>
                  </a:ext>
                </a:extLst>
              </p:cNvPr>
              <p:cNvSpPr/>
              <p:nvPr/>
            </p:nvSpPr>
            <p:spPr>
              <a:xfrm>
                <a:off x="4920162" y="5075869"/>
                <a:ext cx="137488" cy="316219"/>
              </a:xfrm>
              <a:custGeom>
                <a:avLst/>
                <a:gdLst>
                  <a:gd name="connsiteX0" fmla="*/ 1297 w 137488"/>
                  <a:gd name="connsiteY0" fmla="*/ 0 h 316219"/>
                  <a:gd name="connsiteX1" fmla="*/ 6258 w 137488"/>
                  <a:gd name="connsiteY1" fmla="*/ 15379 h 316219"/>
                  <a:gd name="connsiteX2" fmla="*/ 9234 w 137488"/>
                  <a:gd name="connsiteY2" fmla="*/ 31253 h 316219"/>
                  <a:gd name="connsiteX3" fmla="*/ 12707 w 137488"/>
                  <a:gd name="connsiteY3" fmla="*/ 47127 h 316219"/>
                  <a:gd name="connsiteX4" fmla="*/ 16676 w 137488"/>
                  <a:gd name="connsiteY4" fmla="*/ 62506 h 316219"/>
                  <a:gd name="connsiteX5" fmla="*/ 19156 w 137488"/>
                  <a:gd name="connsiteY5" fmla="*/ 78380 h 316219"/>
                  <a:gd name="connsiteX6" fmla="*/ 24613 w 137488"/>
                  <a:gd name="connsiteY6" fmla="*/ 93759 h 316219"/>
                  <a:gd name="connsiteX7" fmla="*/ 25605 w 137488"/>
                  <a:gd name="connsiteY7" fmla="*/ 110129 h 316219"/>
                  <a:gd name="connsiteX8" fmla="*/ 29078 w 137488"/>
                  <a:gd name="connsiteY8" fmla="*/ 126004 h 316219"/>
                  <a:gd name="connsiteX9" fmla="*/ 33542 w 137488"/>
                  <a:gd name="connsiteY9" fmla="*/ 141382 h 316219"/>
                  <a:gd name="connsiteX10" fmla="*/ 37511 w 137488"/>
                  <a:gd name="connsiteY10" fmla="*/ 156761 h 316219"/>
                  <a:gd name="connsiteX11" fmla="*/ 41976 w 137488"/>
                  <a:gd name="connsiteY11" fmla="*/ 172139 h 316219"/>
                  <a:gd name="connsiteX12" fmla="*/ 43960 w 137488"/>
                  <a:gd name="connsiteY12" fmla="*/ 188013 h 316219"/>
                  <a:gd name="connsiteX13" fmla="*/ 48425 w 137488"/>
                  <a:gd name="connsiteY13" fmla="*/ 203392 h 316219"/>
                  <a:gd name="connsiteX14" fmla="*/ 50409 w 137488"/>
                  <a:gd name="connsiteY14" fmla="*/ 219267 h 316219"/>
                  <a:gd name="connsiteX15" fmla="*/ 55370 w 137488"/>
                  <a:gd name="connsiteY15" fmla="*/ 235141 h 316219"/>
                  <a:gd name="connsiteX16" fmla="*/ 45448 w 137488"/>
                  <a:gd name="connsiteY16" fmla="*/ 248039 h 316219"/>
                  <a:gd name="connsiteX17" fmla="*/ 36519 w 137488"/>
                  <a:gd name="connsiteY17" fmla="*/ 261433 h 316219"/>
                  <a:gd name="connsiteX18" fmla="*/ 27589 w 137488"/>
                  <a:gd name="connsiteY18" fmla="*/ 274827 h 316219"/>
                  <a:gd name="connsiteX19" fmla="*/ 18164 w 137488"/>
                  <a:gd name="connsiteY19" fmla="*/ 287725 h 316219"/>
                  <a:gd name="connsiteX20" fmla="*/ 8242 w 137488"/>
                  <a:gd name="connsiteY20" fmla="*/ 300127 h 316219"/>
                  <a:gd name="connsiteX21" fmla="*/ 801 w 137488"/>
                  <a:gd name="connsiteY21" fmla="*/ 313521 h 316219"/>
                  <a:gd name="connsiteX22" fmla="*/ 13699 w 137488"/>
                  <a:gd name="connsiteY22" fmla="*/ 311537 h 316219"/>
                  <a:gd name="connsiteX23" fmla="*/ 27093 w 137488"/>
                  <a:gd name="connsiteY23" fmla="*/ 308561 h 316219"/>
                  <a:gd name="connsiteX24" fmla="*/ 40984 w 137488"/>
                  <a:gd name="connsiteY24" fmla="*/ 306080 h 316219"/>
                  <a:gd name="connsiteX25" fmla="*/ 47929 w 137488"/>
                  <a:gd name="connsiteY25" fmla="*/ 294174 h 316219"/>
                  <a:gd name="connsiteX26" fmla="*/ 55370 w 137488"/>
                  <a:gd name="connsiteY26" fmla="*/ 283261 h 316219"/>
                  <a:gd name="connsiteX27" fmla="*/ 58842 w 137488"/>
                  <a:gd name="connsiteY27" fmla="*/ 299135 h 316219"/>
                  <a:gd name="connsiteX28" fmla="*/ 58842 w 137488"/>
                  <a:gd name="connsiteY28" fmla="*/ 283757 h 316219"/>
                  <a:gd name="connsiteX29" fmla="*/ 60330 w 137488"/>
                  <a:gd name="connsiteY29" fmla="*/ 268378 h 316219"/>
                  <a:gd name="connsiteX30" fmla="*/ 60330 w 137488"/>
                  <a:gd name="connsiteY30" fmla="*/ 252503 h 316219"/>
                  <a:gd name="connsiteX31" fmla="*/ 62315 w 137488"/>
                  <a:gd name="connsiteY31" fmla="*/ 236133 h 316219"/>
                  <a:gd name="connsiteX32" fmla="*/ 64299 w 137488"/>
                  <a:gd name="connsiteY32" fmla="*/ 252999 h 316219"/>
                  <a:gd name="connsiteX33" fmla="*/ 67772 w 137488"/>
                  <a:gd name="connsiteY33" fmla="*/ 268874 h 316219"/>
                  <a:gd name="connsiteX34" fmla="*/ 69756 w 137488"/>
                  <a:gd name="connsiteY34" fmla="*/ 285245 h 316219"/>
                  <a:gd name="connsiteX35" fmla="*/ 72732 w 137488"/>
                  <a:gd name="connsiteY35" fmla="*/ 302111 h 316219"/>
                  <a:gd name="connsiteX36" fmla="*/ 79678 w 137488"/>
                  <a:gd name="connsiteY36" fmla="*/ 280780 h 316219"/>
                  <a:gd name="connsiteX37" fmla="*/ 88111 w 137488"/>
                  <a:gd name="connsiteY37" fmla="*/ 299135 h 316219"/>
                  <a:gd name="connsiteX38" fmla="*/ 104482 w 137488"/>
                  <a:gd name="connsiteY38" fmla="*/ 303600 h 316219"/>
                  <a:gd name="connsiteX39" fmla="*/ 120852 w 137488"/>
                  <a:gd name="connsiteY39" fmla="*/ 306576 h 316219"/>
                  <a:gd name="connsiteX40" fmla="*/ 136230 w 137488"/>
                  <a:gd name="connsiteY40" fmla="*/ 309552 h 316219"/>
                  <a:gd name="connsiteX41" fmla="*/ 126805 w 137488"/>
                  <a:gd name="connsiteY41" fmla="*/ 296159 h 316219"/>
                  <a:gd name="connsiteX42" fmla="*/ 115891 w 137488"/>
                  <a:gd name="connsiteY42" fmla="*/ 283261 h 316219"/>
                  <a:gd name="connsiteX43" fmla="*/ 103985 w 137488"/>
                  <a:gd name="connsiteY43" fmla="*/ 270859 h 316219"/>
                  <a:gd name="connsiteX44" fmla="*/ 92576 w 137488"/>
                  <a:gd name="connsiteY44" fmla="*/ 257960 h 316219"/>
                  <a:gd name="connsiteX45" fmla="*/ 81166 w 137488"/>
                  <a:gd name="connsiteY45" fmla="*/ 245062 h 316219"/>
                  <a:gd name="connsiteX46" fmla="*/ 69260 w 137488"/>
                  <a:gd name="connsiteY46" fmla="*/ 232164 h 316219"/>
                  <a:gd name="connsiteX47" fmla="*/ 72236 w 137488"/>
                  <a:gd name="connsiteY47" fmla="*/ 216290 h 316219"/>
                  <a:gd name="connsiteX48" fmla="*/ 72236 w 137488"/>
                  <a:gd name="connsiteY48" fmla="*/ 200415 h 316219"/>
                  <a:gd name="connsiteX49" fmla="*/ 75213 w 137488"/>
                  <a:gd name="connsiteY49" fmla="*/ 185037 h 316219"/>
                  <a:gd name="connsiteX50" fmla="*/ 74717 w 137488"/>
                  <a:gd name="connsiteY50" fmla="*/ 169163 h 316219"/>
                  <a:gd name="connsiteX51" fmla="*/ 76205 w 137488"/>
                  <a:gd name="connsiteY51" fmla="*/ 153784 h 316219"/>
                  <a:gd name="connsiteX52" fmla="*/ 77693 w 137488"/>
                  <a:gd name="connsiteY52" fmla="*/ 138406 h 316219"/>
                  <a:gd name="connsiteX53" fmla="*/ 79181 w 137488"/>
                  <a:gd name="connsiteY53" fmla="*/ 123027 h 316219"/>
                  <a:gd name="connsiteX54" fmla="*/ 81662 w 137488"/>
                  <a:gd name="connsiteY54" fmla="*/ 107649 h 316219"/>
                  <a:gd name="connsiteX55" fmla="*/ 82158 w 137488"/>
                  <a:gd name="connsiteY55" fmla="*/ 91774 h 316219"/>
                  <a:gd name="connsiteX56" fmla="*/ 84142 w 137488"/>
                  <a:gd name="connsiteY56" fmla="*/ 76396 h 316219"/>
                  <a:gd name="connsiteX57" fmla="*/ 85631 w 137488"/>
                  <a:gd name="connsiteY57" fmla="*/ 60522 h 316219"/>
                  <a:gd name="connsiteX58" fmla="*/ 86127 w 137488"/>
                  <a:gd name="connsiteY58" fmla="*/ 44647 h 316219"/>
                  <a:gd name="connsiteX59" fmla="*/ 88607 w 137488"/>
                  <a:gd name="connsiteY59" fmla="*/ 29268 h 316219"/>
                  <a:gd name="connsiteX60" fmla="*/ 89599 w 137488"/>
                  <a:gd name="connsiteY60" fmla="*/ 13394 h 31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37488" h="316219">
                    <a:moveTo>
                      <a:pt x="1297" y="0"/>
                    </a:moveTo>
                    <a:cubicBezTo>
                      <a:pt x="3281" y="7937"/>
                      <a:pt x="4770" y="7441"/>
                      <a:pt x="6258" y="15379"/>
                    </a:cubicBezTo>
                    <a:cubicBezTo>
                      <a:pt x="8242" y="23316"/>
                      <a:pt x="7250" y="23316"/>
                      <a:pt x="9234" y="31253"/>
                    </a:cubicBezTo>
                    <a:cubicBezTo>
                      <a:pt x="11219" y="39190"/>
                      <a:pt x="11219" y="39190"/>
                      <a:pt x="12707" y="47127"/>
                    </a:cubicBezTo>
                    <a:cubicBezTo>
                      <a:pt x="14691" y="55065"/>
                      <a:pt x="14691" y="55065"/>
                      <a:pt x="16676" y="62506"/>
                    </a:cubicBezTo>
                    <a:cubicBezTo>
                      <a:pt x="18660" y="70443"/>
                      <a:pt x="17668" y="70443"/>
                      <a:pt x="19156" y="78380"/>
                    </a:cubicBezTo>
                    <a:cubicBezTo>
                      <a:pt x="21140" y="86317"/>
                      <a:pt x="22629" y="85821"/>
                      <a:pt x="24613" y="93759"/>
                    </a:cubicBezTo>
                    <a:cubicBezTo>
                      <a:pt x="26597" y="101696"/>
                      <a:pt x="24117" y="102192"/>
                      <a:pt x="25605" y="110129"/>
                    </a:cubicBezTo>
                    <a:cubicBezTo>
                      <a:pt x="27589" y="118066"/>
                      <a:pt x="27589" y="118066"/>
                      <a:pt x="29078" y="126004"/>
                    </a:cubicBezTo>
                    <a:cubicBezTo>
                      <a:pt x="31062" y="133941"/>
                      <a:pt x="31558" y="133445"/>
                      <a:pt x="33542" y="141382"/>
                    </a:cubicBezTo>
                    <a:cubicBezTo>
                      <a:pt x="35527" y="149320"/>
                      <a:pt x="35527" y="149320"/>
                      <a:pt x="37511" y="156761"/>
                    </a:cubicBezTo>
                    <a:cubicBezTo>
                      <a:pt x="39495" y="164698"/>
                      <a:pt x="40487" y="164202"/>
                      <a:pt x="41976" y="172139"/>
                    </a:cubicBezTo>
                    <a:cubicBezTo>
                      <a:pt x="43960" y="180076"/>
                      <a:pt x="42472" y="180076"/>
                      <a:pt x="43960" y="188013"/>
                    </a:cubicBezTo>
                    <a:cubicBezTo>
                      <a:pt x="45944" y="195950"/>
                      <a:pt x="46936" y="195455"/>
                      <a:pt x="48425" y="203392"/>
                    </a:cubicBezTo>
                    <a:cubicBezTo>
                      <a:pt x="50409" y="211329"/>
                      <a:pt x="48921" y="211825"/>
                      <a:pt x="50409" y="219267"/>
                    </a:cubicBezTo>
                    <a:cubicBezTo>
                      <a:pt x="52393" y="227204"/>
                      <a:pt x="56858" y="227204"/>
                      <a:pt x="55370" y="235141"/>
                    </a:cubicBezTo>
                    <a:cubicBezTo>
                      <a:pt x="53882" y="243078"/>
                      <a:pt x="49913" y="241590"/>
                      <a:pt x="45448" y="248039"/>
                    </a:cubicBezTo>
                    <a:cubicBezTo>
                      <a:pt x="40984" y="254488"/>
                      <a:pt x="40984" y="254488"/>
                      <a:pt x="36519" y="261433"/>
                    </a:cubicBezTo>
                    <a:cubicBezTo>
                      <a:pt x="32054" y="267882"/>
                      <a:pt x="32054" y="268378"/>
                      <a:pt x="27589" y="274827"/>
                    </a:cubicBezTo>
                    <a:cubicBezTo>
                      <a:pt x="23125" y="281276"/>
                      <a:pt x="22629" y="281276"/>
                      <a:pt x="18164" y="287725"/>
                    </a:cubicBezTo>
                    <a:cubicBezTo>
                      <a:pt x="13699" y="294174"/>
                      <a:pt x="12707" y="293678"/>
                      <a:pt x="8242" y="300127"/>
                    </a:cubicBezTo>
                    <a:cubicBezTo>
                      <a:pt x="3778" y="306576"/>
                      <a:pt x="-2175" y="306080"/>
                      <a:pt x="801" y="313521"/>
                    </a:cubicBezTo>
                    <a:cubicBezTo>
                      <a:pt x="3281" y="319970"/>
                      <a:pt x="6754" y="313025"/>
                      <a:pt x="13699" y="311537"/>
                    </a:cubicBezTo>
                    <a:cubicBezTo>
                      <a:pt x="20644" y="310048"/>
                      <a:pt x="20644" y="310048"/>
                      <a:pt x="27093" y="308561"/>
                    </a:cubicBezTo>
                    <a:cubicBezTo>
                      <a:pt x="34038" y="307072"/>
                      <a:pt x="35527" y="310048"/>
                      <a:pt x="40984" y="306080"/>
                    </a:cubicBezTo>
                    <a:cubicBezTo>
                      <a:pt x="46440" y="302111"/>
                      <a:pt x="43960" y="299631"/>
                      <a:pt x="47929" y="294174"/>
                    </a:cubicBezTo>
                    <a:cubicBezTo>
                      <a:pt x="51897" y="288717"/>
                      <a:pt x="49417" y="280284"/>
                      <a:pt x="55370" y="283261"/>
                    </a:cubicBezTo>
                    <a:cubicBezTo>
                      <a:pt x="62811" y="286733"/>
                      <a:pt x="50905" y="298143"/>
                      <a:pt x="58842" y="299135"/>
                    </a:cubicBezTo>
                    <a:cubicBezTo>
                      <a:pt x="66779" y="300127"/>
                      <a:pt x="58346" y="291694"/>
                      <a:pt x="58842" y="283757"/>
                    </a:cubicBezTo>
                    <a:cubicBezTo>
                      <a:pt x="59338" y="275820"/>
                      <a:pt x="59835" y="275820"/>
                      <a:pt x="60330" y="268378"/>
                    </a:cubicBezTo>
                    <a:cubicBezTo>
                      <a:pt x="60827" y="260441"/>
                      <a:pt x="59835" y="260441"/>
                      <a:pt x="60330" y="252503"/>
                    </a:cubicBezTo>
                    <a:cubicBezTo>
                      <a:pt x="60827" y="244566"/>
                      <a:pt x="54377" y="235141"/>
                      <a:pt x="62315" y="236133"/>
                    </a:cubicBezTo>
                    <a:cubicBezTo>
                      <a:pt x="70252" y="237125"/>
                      <a:pt x="62811" y="245062"/>
                      <a:pt x="64299" y="252999"/>
                    </a:cubicBezTo>
                    <a:cubicBezTo>
                      <a:pt x="65787" y="260937"/>
                      <a:pt x="66779" y="260937"/>
                      <a:pt x="67772" y="268874"/>
                    </a:cubicBezTo>
                    <a:cubicBezTo>
                      <a:pt x="69260" y="276811"/>
                      <a:pt x="68764" y="276811"/>
                      <a:pt x="69756" y="285245"/>
                    </a:cubicBezTo>
                    <a:cubicBezTo>
                      <a:pt x="71244" y="293182"/>
                      <a:pt x="65787" y="306080"/>
                      <a:pt x="72732" y="302111"/>
                    </a:cubicBezTo>
                    <a:cubicBezTo>
                      <a:pt x="82654" y="296159"/>
                      <a:pt x="68268" y="282764"/>
                      <a:pt x="79678" y="280780"/>
                    </a:cubicBezTo>
                    <a:cubicBezTo>
                      <a:pt x="90095" y="278796"/>
                      <a:pt x="80174" y="292190"/>
                      <a:pt x="88111" y="299135"/>
                    </a:cubicBezTo>
                    <a:cubicBezTo>
                      <a:pt x="94560" y="304592"/>
                      <a:pt x="96544" y="301615"/>
                      <a:pt x="104482" y="303600"/>
                    </a:cubicBezTo>
                    <a:cubicBezTo>
                      <a:pt x="112419" y="305584"/>
                      <a:pt x="112915" y="304592"/>
                      <a:pt x="120852" y="306576"/>
                    </a:cubicBezTo>
                    <a:cubicBezTo>
                      <a:pt x="128789" y="308561"/>
                      <a:pt x="132262" y="316994"/>
                      <a:pt x="136230" y="309552"/>
                    </a:cubicBezTo>
                    <a:cubicBezTo>
                      <a:pt x="140695" y="302111"/>
                      <a:pt x="132262" y="303104"/>
                      <a:pt x="126805" y="296159"/>
                    </a:cubicBezTo>
                    <a:cubicBezTo>
                      <a:pt x="121348" y="289709"/>
                      <a:pt x="121348" y="289709"/>
                      <a:pt x="115891" y="283261"/>
                    </a:cubicBezTo>
                    <a:cubicBezTo>
                      <a:pt x="110435" y="276811"/>
                      <a:pt x="109938" y="277307"/>
                      <a:pt x="103985" y="270859"/>
                    </a:cubicBezTo>
                    <a:cubicBezTo>
                      <a:pt x="98529" y="264409"/>
                      <a:pt x="98529" y="264409"/>
                      <a:pt x="92576" y="257960"/>
                    </a:cubicBezTo>
                    <a:cubicBezTo>
                      <a:pt x="87119" y="251512"/>
                      <a:pt x="86623" y="251512"/>
                      <a:pt x="81166" y="245062"/>
                    </a:cubicBezTo>
                    <a:cubicBezTo>
                      <a:pt x="75709" y="238614"/>
                      <a:pt x="71740" y="240102"/>
                      <a:pt x="69260" y="232164"/>
                    </a:cubicBezTo>
                    <a:cubicBezTo>
                      <a:pt x="66779" y="224723"/>
                      <a:pt x="71740" y="224227"/>
                      <a:pt x="72236" y="216290"/>
                    </a:cubicBezTo>
                    <a:cubicBezTo>
                      <a:pt x="73229" y="208352"/>
                      <a:pt x="71740" y="208352"/>
                      <a:pt x="72236" y="200415"/>
                    </a:cubicBezTo>
                    <a:cubicBezTo>
                      <a:pt x="73229" y="192478"/>
                      <a:pt x="74717" y="192974"/>
                      <a:pt x="75213" y="185037"/>
                    </a:cubicBezTo>
                    <a:cubicBezTo>
                      <a:pt x="76205" y="177100"/>
                      <a:pt x="74221" y="177100"/>
                      <a:pt x="74717" y="169163"/>
                    </a:cubicBezTo>
                    <a:cubicBezTo>
                      <a:pt x="75709" y="161225"/>
                      <a:pt x="75709" y="161225"/>
                      <a:pt x="76205" y="153784"/>
                    </a:cubicBezTo>
                    <a:cubicBezTo>
                      <a:pt x="77197" y="145847"/>
                      <a:pt x="77197" y="145847"/>
                      <a:pt x="77693" y="138406"/>
                    </a:cubicBezTo>
                    <a:cubicBezTo>
                      <a:pt x="78685" y="130468"/>
                      <a:pt x="78685" y="130468"/>
                      <a:pt x="79181" y="123027"/>
                    </a:cubicBezTo>
                    <a:cubicBezTo>
                      <a:pt x="80174" y="115090"/>
                      <a:pt x="81166" y="115090"/>
                      <a:pt x="81662" y="107649"/>
                    </a:cubicBezTo>
                    <a:cubicBezTo>
                      <a:pt x="82654" y="99712"/>
                      <a:pt x="81166" y="99712"/>
                      <a:pt x="82158" y="91774"/>
                    </a:cubicBezTo>
                    <a:cubicBezTo>
                      <a:pt x="83150" y="83837"/>
                      <a:pt x="83646" y="83837"/>
                      <a:pt x="84142" y="76396"/>
                    </a:cubicBezTo>
                    <a:cubicBezTo>
                      <a:pt x="85134" y="68459"/>
                      <a:pt x="84638" y="68459"/>
                      <a:pt x="85631" y="60522"/>
                    </a:cubicBezTo>
                    <a:cubicBezTo>
                      <a:pt x="86623" y="52584"/>
                      <a:pt x="85631" y="52584"/>
                      <a:pt x="86127" y="44647"/>
                    </a:cubicBezTo>
                    <a:cubicBezTo>
                      <a:pt x="87119" y="36710"/>
                      <a:pt x="88111" y="36710"/>
                      <a:pt x="88607" y="29268"/>
                    </a:cubicBezTo>
                    <a:cubicBezTo>
                      <a:pt x="89599" y="21331"/>
                      <a:pt x="89103" y="21331"/>
                      <a:pt x="89599" y="133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8" name="Freeform: Shape 1617">
                <a:extLst>
                  <a:ext uri="{FF2B5EF4-FFF2-40B4-BE49-F238E27FC236}">
                    <a16:creationId xmlns:a16="http://schemas.microsoft.com/office/drawing/2014/main" id="{6CA703C3-F866-4C12-7117-202E7FE35075}"/>
                  </a:ext>
                </a:extLst>
              </p:cNvPr>
              <p:cNvSpPr/>
              <p:nvPr/>
            </p:nvSpPr>
            <p:spPr>
              <a:xfrm>
                <a:off x="4966602" y="5102161"/>
                <a:ext cx="3472" cy="118066"/>
              </a:xfrm>
              <a:custGeom>
                <a:avLst/>
                <a:gdLst>
                  <a:gd name="connsiteX0" fmla="*/ 0 w 3472"/>
                  <a:gd name="connsiteY0" fmla="*/ 0 h 118066"/>
                  <a:gd name="connsiteX1" fmla="*/ 1488 w 3472"/>
                  <a:gd name="connsiteY1" fmla="*/ 16867 h 118066"/>
                  <a:gd name="connsiteX2" fmla="*/ 992 w 3472"/>
                  <a:gd name="connsiteY2" fmla="*/ 33734 h 118066"/>
                  <a:gd name="connsiteX3" fmla="*/ 2480 w 3472"/>
                  <a:gd name="connsiteY3" fmla="*/ 50600 h 118066"/>
                  <a:gd name="connsiteX4" fmla="*/ 992 w 3472"/>
                  <a:gd name="connsiteY4" fmla="*/ 67466 h 118066"/>
                  <a:gd name="connsiteX5" fmla="*/ 1984 w 3472"/>
                  <a:gd name="connsiteY5" fmla="*/ 84333 h 118066"/>
                  <a:gd name="connsiteX6" fmla="*/ 1984 w 3472"/>
                  <a:gd name="connsiteY6" fmla="*/ 101200 h 118066"/>
                  <a:gd name="connsiteX7" fmla="*/ 3473 w 3472"/>
                  <a:gd name="connsiteY7" fmla="*/ 118067 h 118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2" h="118066">
                    <a:moveTo>
                      <a:pt x="0" y="0"/>
                    </a:moveTo>
                    <a:cubicBezTo>
                      <a:pt x="0" y="8433"/>
                      <a:pt x="1488" y="8433"/>
                      <a:pt x="1488" y="16867"/>
                    </a:cubicBezTo>
                    <a:cubicBezTo>
                      <a:pt x="1488" y="25300"/>
                      <a:pt x="992" y="25300"/>
                      <a:pt x="992" y="33734"/>
                    </a:cubicBezTo>
                    <a:cubicBezTo>
                      <a:pt x="992" y="42167"/>
                      <a:pt x="2480" y="42167"/>
                      <a:pt x="2480" y="50600"/>
                    </a:cubicBezTo>
                    <a:cubicBezTo>
                      <a:pt x="2480" y="59033"/>
                      <a:pt x="496" y="59033"/>
                      <a:pt x="992" y="67466"/>
                    </a:cubicBezTo>
                    <a:cubicBezTo>
                      <a:pt x="992" y="75900"/>
                      <a:pt x="1488" y="75900"/>
                      <a:pt x="1984" y="84333"/>
                    </a:cubicBezTo>
                    <a:cubicBezTo>
                      <a:pt x="1984" y="92766"/>
                      <a:pt x="1984" y="92766"/>
                      <a:pt x="1984" y="101200"/>
                    </a:cubicBezTo>
                    <a:cubicBezTo>
                      <a:pt x="1984" y="109633"/>
                      <a:pt x="3473" y="109633"/>
                      <a:pt x="3473" y="11806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9" name="Freeform: Shape 1618">
                <a:extLst>
                  <a:ext uri="{FF2B5EF4-FFF2-40B4-BE49-F238E27FC236}">
                    <a16:creationId xmlns:a16="http://schemas.microsoft.com/office/drawing/2014/main" id="{B3148D80-9953-D9E7-AD0A-1695500A898D}"/>
                  </a:ext>
                </a:extLst>
              </p:cNvPr>
              <p:cNvSpPr/>
              <p:nvPr/>
            </p:nvSpPr>
            <p:spPr>
              <a:xfrm>
                <a:off x="4933861" y="4674046"/>
                <a:ext cx="6944" cy="21331"/>
              </a:xfrm>
              <a:custGeom>
                <a:avLst/>
                <a:gdLst>
                  <a:gd name="connsiteX0" fmla="*/ 6945 w 6944"/>
                  <a:gd name="connsiteY0" fmla="*/ 0 h 21331"/>
                  <a:gd name="connsiteX1" fmla="*/ 0 w 6944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4" h="21331">
                    <a:moveTo>
                      <a:pt x="6945" y="0"/>
                    </a:moveTo>
                    <a:cubicBezTo>
                      <a:pt x="3969" y="10914"/>
                      <a:pt x="2976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0" name="Freeform: Shape 1619">
                <a:extLst>
                  <a:ext uri="{FF2B5EF4-FFF2-40B4-BE49-F238E27FC236}">
                    <a16:creationId xmlns:a16="http://schemas.microsoft.com/office/drawing/2014/main" id="{C435EF89-08B2-CBD4-7426-1C568394B549}"/>
                  </a:ext>
                </a:extLst>
              </p:cNvPr>
              <p:cNvSpPr/>
              <p:nvPr/>
            </p:nvSpPr>
            <p:spPr>
              <a:xfrm>
                <a:off x="4963129" y="4681487"/>
                <a:ext cx="7441" cy="21331"/>
              </a:xfrm>
              <a:custGeom>
                <a:avLst/>
                <a:gdLst>
                  <a:gd name="connsiteX0" fmla="*/ 7441 w 7441"/>
                  <a:gd name="connsiteY0" fmla="*/ 0 h 21331"/>
                  <a:gd name="connsiteX1" fmla="*/ 0 w 7441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1" h="21331">
                    <a:moveTo>
                      <a:pt x="7441" y="0"/>
                    </a:moveTo>
                    <a:cubicBezTo>
                      <a:pt x="4465" y="10914"/>
                      <a:pt x="3473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1" name="Freeform: Shape 1620">
                <a:extLst>
                  <a:ext uri="{FF2B5EF4-FFF2-40B4-BE49-F238E27FC236}">
                    <a16:creationId xmlns:a16="http://schemas.microsoft.com/office/drawing/2014/main" id="{3CE6424A-59EF-DBA9-3BA4-0C621169EA6B}"/>
                  </a:ext>
                </a:extLst>
              </p:cNvPr>
              <p:cNvSpPr/>
              <p:nvPr/>
            </p:nvSpPr>
            <p:spPr>
              <a:xfrm>
                <a:off x="4952215" y="4620965"/>
                <a:ext cx="126499" cy="111121"/>
              </a:xfrm>
              <a:custGeom>
                <a:avLst/>
                <a:gdLst>
                  <a:gd name="connsiteX0" fmla="*/ 0 w 126499"/>
                  <a:gd name="connsiteY0" fmla="*/ 0 h 111121"/>
                  <a:gd name="connsiteX1" fmla="*/ 10418 w 126499"/>
                  <a:gd name="connsiteY1" fmla="*/ 11906 h 111121"/>
                  <a:gd name="connsiteX2" fmla="*/ 20339 w 126499"/>
                  <a:gd name="connsiteY2" fmla="*/ 23812 h 111121"/>
                  <a:gd name="connsiteX3" fmla="*/ 30757 w 126499"/>
                  <a:gd name="connsiteY3" fmla="*/ 35221 h 111121"/>
                  <a:gd name="connsiteX4" fmla="*/ 40182 w 126499"/>
                  <a:gd name="connsiteY4" fmla="*/ 47623 h 111121"/>
                  <a:gd name="connsiteX5" fmla="*/ 51592 w 126499"/>
                  <a:gd name="connsiteY5" fmla="*/ 58041 h 111121"/>
                  <a:gd name="connsiteX6" fmla="*/ 61514 w 126499"/>
                  <a:gd name="connsiteY6" fmla="*/ 69947 h 111121"/>
                  <a:gd name="connsiteX7" fmla="*/ 73420 w 126499"/>
                  <a:gd name="connsiteY7" fmla="*/ 80365 h 111121"/>
                  <a:gd name="connsiteX8" fmla="*/ 84830 w 126499"/>
                  <a:gd name="connsiteY8" fmla="*/ 91278 h 111121"/>
                  <a:gd name="connsiteX9" fmla="*/ 97727 w 126499"/>
                  <a:gd name="connsiteY9" fmla="*/ 100208 h 111121"/>
                  <a:gd name="connsiteX10" fmla="*/ 112114 w 126499"/>
                  <a:gd name="connsiteY10" fmla="*/ 106657 h 111121"/>
                  <a:gd name="connsiteX11" fmla="*/ 126500 w 126499"/>
                  <a:gd name="connsiteY11" fmla="*/ 111122 h 11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499" h="111121">
                    <a:moveTo>
                      <a:pt x="0" y="0"/>
                    </a:moveTo>
                    <a:cubicBezTo>
                      <a:pt x="4961" y="5953"/>
                      <a:pt x="3969" y="4465"/>
                      <a:pt x="10418" y="11906"/>
                    </a:cubicBezTo>
                    <a:cubicBezTo>
                      <a:pt x="13394" y="15378"/>
                      <a:pt x="16371" y="19347"/>
                      <a:pt x="20339" y="23812"/>
                    </a:cubicBezTo>
                    <a:cubicBezTo>
                      <a:pt x="23316" y="27284"/>
                      <a:pt x="27284" y="31253"/>
                      <a:pt x="30757" y="35221"/>
                    </a:cubicBezTo>
                    <a:cubicBezTo>
                      <a:pt x="34230" y="39190"/>
                      <a:pt x="36710" y="43655"/>
                      <a:pt x="40182" y="47623"/>
                    </a:cubicBezTo>
                    <a:cubicBezTo>
                      <a:pt x="43655" y="51592"/>
                      <a:pt x="48120" y="54073"/>
                      <a:pt x="51592" y="58041"/>
                    </a:cubicBezTo>
                    <a:cubicBezTo>
                      <a:pt x="55065" y="61514"/>
                      <a:pt x="58041" y="66475"/>
                      <a:pt x="61514" y="69947"/>
                    </a:cubicBezTo>
                    <a:cubicBezTo>
                      <a:pt x="65482" y="73419"/>
                      <a:pt x="69451" y="76892"/>
                      <a:pt x="73420" y="80365"/>
                    </a:cubicBezTo>
                    <a:cubicBezTo>
                      <a:pt x="77388" y="83837"/>
                      <a:pt x="80861" y="88302"/>
                      <a:pt x="84830" y="91278"/>
                    </a:cubicBezTo>
                    <a:cubicBezTo>
                      <a:pt x="88798" y="94751"/>
                      <a:pt x="93759" y="97727"/>
                      <a:pt x="97727" y="100208"/>
                    </a:cubicBezTo>
                    <a:cubicBezTo>
                      <a:pt x="102192" y="103184"/>
                      <a:pt x="107649" y="104672"/>
                      <a:pt x="112114" y="106657"/>
                    </a:cubicBezTo>
                    <a:cubicBezTo>
                      <a:pt x="117571" y="109137"/>
                      <a:pt x="122035" y="111122"/>
                      <a:pt x="126500" y="11112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2" name="Freeform: Shape 1621">
                <a:extLst>
                  <a:ext uri="{FF2B5EF4-FFF2-40B4-BE49-F238E27FC236}">
                    <a16:creationId xmlns:a16="http://schemas.microsoft.com/office/drawing/2014/main" id="{3D85417D-24BF-3715-AEDE-139C026E774C}"/>
                  </a:ext>
                </a:extLst>
              </p:cNvPr>
              <p:cNvSpPr/>
              <p:nvPr/>
            </p:nvSpPr>
            <p:spPr>
              <a:xfrm>
                <a:off x="5074747" y="4702818"/>
                <a:ext cx="116183" cy="220555"/>
              </a:xfrm>
              <a:custGeom>
                <a:avLst/>
                <a:gdLst>
                  <a:gd name="connsiteX0" fmla="*/ 992 w 116183"/>
                  <a:gd name="connsiteY0" fmla="*/ 0 h 220555"/>
                  <a:gd name="connsiteX1" fmla="*/ 8929 w 116183"/>
                  <a:gd name="connsiteY1" fmla="*/ 12898 h 220555"/>
                  <a:gd name="connsiteX2" fmla="*/ 15875 w 116183"/>
                  <a:gd name="connsiteY2" fmla="*/ 26788 h 220555"/>
                  <a:gd name="connsiteX3" fmla="*/ 19347 w 116183"/>
                  <a:gd name="connsiteY3" fmla="*/ 41671 h 220555"/>
                  <a:gd name="connsiteX4" fmla="*/ 23316 w 116183"/>
                  <a:gd name="connsiteY4" fmla="*/ 56553 h 220555"/>
                  <a:gd name="connsiteX5" fmla="*/ 23812 w 116183"/>
                  <a:gd name="connsiteY5" fmla="*/ 71931 h 220555"/>
                  <a:gd name="connsiteX6" fmla="*/ 24308 w 116183"/>
                  <a:gd name="connsiteY6" fmla="*/ 87310 h 220555"/>
                  <a:gd name="connsiteX7" fmla="*/ 25300 w 116183"/>
                  <a:gd name="connsiteY7" fmla="*/ 103184 h 220555"/>
                  <a:gd name="connsiteX8" fmla="*/ 31253 w 116183"/>
                  <a:gd name="connsiteY8" fmla="*/ 118066 h 220555"/>
                  <a:gd name="connsiteX9" fmla="*/ 39686 w 116183"/>
                  <a:gd name="connsiteY9" fmla="*/ 131957 h 220555"/>
                  <a:gd name="connsiteX10" fmla="*/ 50600 w 116183"/>
                  <a:gd name="connsiteY10" fmla="*/ 143863 h 220555"/>
                  <a:gd name="connsiteX11" fmla="*/ 63002 w 116183"/>
                  <a:gd name="connsiteY11" fmla="*/ 154776 h 220555"/>
                  <a:gd name="connsiteX12" fmla="*/ 77388 w 116183"/>
                  <a:gd name="connsiteY12" fmla="*/ 163210 h 220555"/>
                  <a:gd name="connsiteX13" fmla="*/ 93759 w 116183"/>
                  <a:gd name="connsiteY13" fmla="*/ 163210 h 220555"/>
                  <a:gd name="connsiteX14" fmla="*/ 107153 w 116183"/>
                  <a:gd name="connsiteY14" fmla="*/ 154776 h 220555"/>
                  <a:gd name="connsiteX15" fmla="*/ 114098 w 116183"/>
                  <a:gd name="connsiteY15" fmla="*/ 139894 h 220555"/>
                  <a:gd name="connsiteX16" fmla="*/ 116082 w 116183"/>
                  <a:gd name="connsiteY16" fmla="*/ 124019 h 220555"/>
                  <a:gd name="connsiteX17" fmla="*/ 115090 w 116183"/>
                  <a:gd name="connsiteY17" fmla="*/ 139894 h 220555"/>
                  <a:gd name="connsiteX18" fmla="*/ 115090 w 116183"/>
                  <a:gd name="connsiteY18" fmla="*/ 156265 h 220555"/>
                  <a:gd name="connsiteX19" fmla="*/ 111122 w 116183"/>
                  <a:gd name="connsiteY19" fmla="*/ 172139 h 220555"/>
                  <a:gd name="connsiteX20" fmla="*/ 106161 w 116183"/>
                  <a:gd name="connsiteY20" fmla="*/ 187517 h 220555"/>
                  <a:gd name="connsiteX21" fmla="*/ 98720 w 116183"/>
                  <a:gd name="connsiteY21" fmla="*/ 201904 h 220555"/>
                  <a:gd name="connsiteX22" fmla="*/ 87806 w 116183"/>
                  <a:gd name="connsiteY22" fmla="*/ 213809 h 220555"/>
                  <a:gd name="connsiteX23" fmla="*/ 72924 w 116183"/>
                  <a:gd name="connsiteY23" fmla="*/ 219267 h 220555"/>
                  <a:gd name="connsiteX24" fmla="*/ 57049 w 116183"/>
                  <a:gd name="connsiteY24" fmla="*/ 220259 h 220555"/>
                  <a:gd name="connsiteX25" fmla="*/ 41174 w 116183"/>
                  <a:gd name="connsiteY25" fmla="*/ 217778 h 220555"/>
                  <a:gd name="connsiteX26" fmla="*/ 26292 w 116183"/>
                  <a:gd name="connsiteY26" fmla="*/ 211329 h 220555"/>
                  <a:gd name="connsiteX27" fmla="*/ 13394 w 116183"/>
                  <a:gd name="connsiteY27" fmla="*/ 201408 h 220555"/>
                  <a:gd name="connsiteX28" fmla="*/ 0 w 116183"/>
                  <a:gd name="connsiteY28" fmla="*/ 191982 h 22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6183" h="220555">
                    <a:moveTo>
                      <a:pt x="992" y="0"/>
                    </a:moveTo>
                    <a:cubicBezTo>
                      <a:pt x="4961" y="6449"/>
                      <a:pt x="4961" y="4465"/>
                      <a:pt x="8929" y="12898"/>
                    </a:cubicBezTo>
                    <a:cubicBezTo>
                      <a:pt x="10914" y="16867"/>
                      <a:pt x="13890" y="21331"/>
                      <a:pt x="15875" y="26788"/>
                    </a:cubicBezTo>
                    <a:cubicBezTo>
                      <a:pt x="17363" y="31253"/>
                      <a:pt x="18355" y="36710"/>
                      <a:pt x="19347" y="41671"/>
                    </a:cubicBezTo>
                    <a:cubicBezTo>
                      <a:pt x="20835" y="46631"/>
                      <a:pt x="22324" y="51592"/>
                      <a:pt x="23316" y="56553"/>
                    </a:cubicBezTo>
                    <a:cubicBezTo>
                      <a:pt x="24308" y="61514"/>
                      <a:pt x="23316" y="66971"/>
                      <a:pt x="23812" y="71931"/>
                    </a:cubicBezTo>
                    <a:cubicBezTo>
                      <a:pt x="23812" y="76892"/>
                      <a:pt x="25300" y="82349"/>
                      <a:pt x="24308" y="87310"/>
                    </a:cubicBezTo>
                    <a:cubicBezTo>
                      <a:pt x="23812" y="92270"/>
                      <a:pt x="23812" y="97727"/>
                      <a:pt x="25300" y="103184"/>
                    </a:cubicBezTo>
                    <a:cubicBezTo>
                      <a:pt x="26788" y="108145"/>
                      <a:pt x="28772" y="113106"/>
                      <a:pt x="31253" y="118066"/>
                    </a:cubicBezTo>
                    <a:cubicBezTo>
                      <a:pt x="33733" y="122531"/>
                      <a:pt x="36214" y="127492"/>
                      <a:pt x="39686" y="131957"/>
                    </a:cubicBezTo>
                    <a:cubicBezTo>
                      <a:pt x="43159" y="136421"/>
                      <a:pt x="46631" y="140390"/>
                      <a:pt x="50600" y="143863"/>
                    </a:cubicBezTo>
                    <a:cubicBezTo>
                      <a:pt x="54569" y="147831"/>
                      <a:pt x="58537" y="151800"/>
                      <a:pt x="63002" y="154776"/>
                    </a:cubicBezTo>
                    <a:cubicBezTo>
                      <a:pt x="67963" y="158249"/>
                      <a:pt x="72428" y="161225"/>
                      <a:pt x="77388" y="163210"/>
                    </a:cubicBezTo>
                    <a:cubicBezTo>
                      <a:pt x="82845" y="165194"/>
                      <a:pt x="88798" y="164202"/>
                      <a:pt x="93759" y="163210"/>
                    </a:cubicBezTo>
                    <a:cubicBezTo>
                      <a:pt x="98720" y="162218"/>
                      <a:pt x="103680" y="159737"/>
                      <a:pt x="107153" y="154776"/>
                    </a:cubicBezTo>
                    <a:cubicBezTo>
                      <a:pt x="109633" y="150808"/>
                      <a:pt x="112114" y="145847"/>
                      <a:pt x="114098" y="139894"/>
                    </a:cubicBezTo>
                    <a:cubicBezTo>
                      <a:pt x="115586" y="135429"/>
                      <a:pt x="115586" y="129972"/>
                      <a:pt x="116082" y="124019"/>
                    </a:cubicBezTo>
                    <a:cubicBezTo>
                      <a:pt x="116578" y="128980"/>
                      <a:pt x="115090" y="134437"/>
                      <a:pt x="115090" y="139894"/>
                    </a:cubicBezTo>
                    <a:cubicBezTo>
                      <a:pt x="115090" y="145351"/>
                      <a:pt x="116082" y="150808"/>
                      <a:pt x="115090" y="156265"/>
                    </a:cubicBezTo>
                    <a:cubicBezTo>
                      <a:pt x="114098" y="161721"/>
                      <a:pt x="112610" y="166682"/>
                      <a:pt x="111122" y="172139"/>
                    </a:cubicBezTo>
                    <a:cubicBezTo>
                      <a:pt x="109633" y="177596"/>
                      <a:pt x="108641" y="182557"/>
                      <a:pt x="106161" y="187517"/>
                    </a:cubicBezTo>
                    <a:cubicBezTo>
                      <a:pt x="104176" y="192478"/>
                      <a:pt x="101696" y="197935"/>
                      <a:pt x="98720" y="201904"/>
                    </a:cubicBezTo>
                    <a:cubicBezTo>
                      <a:pt x="95743" y="206368"/>
                      <a:pt x="91774" y="210833"/>
                      <a:pt x="87806" y="213809"/>
                    </a:cubicBezTo>
                    <a:cubicBezTo>
                      <a:pt x="83341" y="217282"/>
                      <a:pt x="77884" y="218274"/>
                      <a:pt x="72924" y="219267"/>
                    </a:cubicBezTo>
                    <a:cubicBezTo>
                      <a:pt x="67963" y="220755"/>
                      <a:pt x="63002" y="220755"/>
                      <a:pt x="57049" y="220259"/>
                    </a:cubicBezTo>
                    <a:cubicBezTo>
                      <a:pt x="52088" y="219762"/>
                      <a:pt x="46631" y="220259"/>
                      <a:pt x="41174" y="217778"/>
                    </a:cubicBezTo>
                    <a:cubicBezTo>
                      <a:pt x="36710" y="216290"/>
                      <a:pt x="31253" y="214306"/>
                      <a:pt x="26292" y="211329"/>
                    </a:cubicBezTo>
                    <a:cubicBezTo>
                      <a:pt x="21828" y="208849"/>
                      <a:pt x="18355" y="204384"/>
                      <a:pt x="13394" y="201408"/>
                    </a:cubicBezTo>
                    <a:cubicBezTo>
                      <a:pt x="9426" y="198431"/>
                      <a:pt x="4465" y="195951"/>
                      <a:pt x="0" y="1919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3" name="Freeform: Shape 1622">
                <a:extLst>
                  <a:ext uri="{FF2B5EF4-FFF2-40B4-BE49-F238E27FC236}">
                    <a16:creationId xmlns:a16="http://schemas.microsoft.com/office/drawing/2014/main" id="{54C004B5-7001-A606-F832-7020C7F3C6C1}"/>
                  </a:ext>
                </a:extLst>
              </p:cNvPr>
              <p:cNvSpPr/>
              <p:nvPr/>
            </p:nvSpPr>
            <p:spPr>
              <a:xfrm>
                <a:off x="4958665" y="4879422"/>
                <a:ext cx="21331" cy="55064"/>
              </a:xfrm>
              <a:custGeom>
                <a:avLst/>
                <a:gdLst>
                  <a:gd name="connsiteX0" fmla="*/ 21331 w 21331"/>
                  <a:gd name="connsiteY0" fmla="*/ 0 h 55064"/>
                  <a:gd name="connsiteX1" fmla="*/ 12402 w 21331"/>
                  <a:gd name="connsiteY1" fmla="*/ 12898 h 55064"/>
                  <a:gd name="connsiteX2" fmla="*/ 2976 w 21331"/>
                  <a:gd name="connsiteY2" fmla="*/ 25796 h 55064"/>
                  <a:gd name="connsiteX3" fmla="*/ 0 w 21331"/>
                  <a:gd name="connsiteY3" fmla="*/ 41175 h 55064"/>
                  <a:gd name="connsiteX4" fmla="*/ 5953 w 21331"/>
                  <a:gd name="connsiteY4" fmla="*/ 55065 h 55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31" h="55064">
                    <a:moveTo>
                      <a:pt x="21331" y="0"/>
                    </a:moveTo>
                    <a:cubicBezTo>
                      <a:pt x="15874" y="5953"/>
                      <a:pt x="17363" y="5457"/>
                      <a:pt x="12402" y="12898"/>
                    </a:cubicBezTo>
                    <a:cubicBezTo>
                      <a:pt x="9425" y="16867"/>
                      <a:pt x="5457" y="20835"/>
                      <a:pt x="2976" y="25796"/>
                    </a:cubicBezTo>
                    <a:cubicBezTo>
                      <a:pt x="496" y="30757"/>
                      <a:pt x="0" y="36214"/>
                      <a:pt x="0" y="41175"/>
                    </a:cubicBezTo>
                    <a:cubicBezTo>
                      <a:pt x="0" y="46631"/>
                      <a:pt x="992" y="51592"/>
                      <a:pt x="5953" y="5506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4" name="Freeform: Shape 1623">
                <a:extLst>
                  <a:ext uri="{FF2B5EF4-FFF2-40B4-BE49-F238E27FC236}">
                    <a16:creationId xmlns:a16="http://schemas.microsoft.com/office/drawing/2014/main" id="{4E090E1B-DC2E-8E73-C3A1-1EEB065481B8}"/>
                  </a:ext>
                </a:extLst>
              </p:cNvPr>
              <p:cNvSpPr/>
              <p:nvPr/>
            </p:nvSpPr>
            <p:spPr>
              <a:xfrm>
                <a:off x="4799920" y="4743497"/>
                <a:ext cx="124515" cy="167178"/>
              </a:xfrm>
              <a:custGeom>
                <a:avLst/>
                <a:gdLst>
                  <a:gd name="connsiteX0" fmla="*/ 124515 w 124515"/>
                  <a:gd name="connsiteY0" fmla="*/ 110625 h 167178"/>
                  <a:gd name="connsiteX1" fmla="*/ 108145 w 124515"/>
                  <a:gd name="connsiteY1" fmla="*/ 113602 h 167178"/>
                  <a:gd name="connsiteX2" fmla="*/ 92270 w 124515"/>
                  <a:gd name="connsiteY2" fmla="*/ 118066 h 167178"/>
                  <a:gd name="connsiteX3" fmla="*/ 76396 w 124515"/>
                  <a:gd name="connsiteY3" fmla="*/ 123523 h 167178"/>
                  <a:gd name="connsiteX4" fmla="*/ 60521 w 124515"/>
                  <a:gd name="connsiteY4" fmla="*/ 127988 h 167178"/>
                  <a:gd name="connsiteX5" fmla="*/ 51592 w 124515"/>
                  <a:gd name="connsiteY5" fmla="*/ 116082 h 167178"/>
                  <a:gd name="connsiteX6" fmla="*/ 45143 w 124515"/>
                  <a:gd name="connsiteY6" fmla="*/ 101696 h 167178"/>
                  <a:gd name="connsiteX7" fmla="*/ 39190 w 124515"/>
                  <a:gd name="connsiteY7" fmla="*/ 87310 h 167178"/>
                  <a:gd name="connsiteX8" fmla="*/ 32245 w 124515"/>
                  <a:gd name="connsiteY8" fmla="*/ 72924 h 167178"/>
                  <a:gd name="connsiteX9" fmla="*/ 27284 w 124515"/>
                  <a:gd name="connsiteY9" fmla="*/ 58041 h 167178"/>
                  <a:gd name="connsiteX10" fmla="*/ 22819 w 124515"/>
                  <a:gd name="connsiteY10" fmla="*/ 42663 h 167178"/>
                  <a:gd name="connsiteX11" fmla="*/ 15378 w 124515"/>
                  <a:gd name="connsiteY11" fmla="*/ 28772 h 167178"/>
                  <a:gd name="connsiteX12" fmla="*/ 9922 w 124515"/>
                  <a:gd name="connsiteY12" fmla="*/ 13890 h 167178"/>
                  <a:gd name="connsiteX13" fmla="*/ 3472 w 124515"/>
                  <a:gd name="connsiteY13" fmla="*/ 0 h 167178"/>
                  <a:gd name="connsiteX14" fmla="*/ 0 w 124515"/>
                  <a:gd name="connsiteY14" fmla="*/ 15875 h 167178"/>
                  <a:gd name="connsiteX15" fmla="*/ 992 w 124515"/>
                  <a:gd name="connsiteY15" fmla="*/ 32741 h 167178"/>
                  <a:gd name="connsiteX16" fmla="*/ 3472 w 124515"/>
                  <a:gd name="connsiteY16" fmla="*/ 49112 h 167178"/>
                  <a:gd name="connsiteX17" fmla="*/ 6449 w 124515"/>
                  <a:gd name="connsiteY17" fmla="*/ 65482 h 167178"/>
                  <a:gd name="connsiteX18" fmla="*/ 7937 w 124515"/>
                  <a:gd name="connsiteY18" fmla="*/ 82349 h 167178"/>
                  <a:gd name="connsiteX19" fmla="*/ 12402 w 124515"/>
                  <a:gd name="connsiteY19" fmla="*/ 98223 h 167178"/>
                  <a:gd name="connsiteX20" fmla="*/ 16866 w 124515"/>
                  <a:gd name="connsiteY20" fmla="*/ 114098 h 167178"/>
                  <a:gd name="connsiteX21" fmla="*/ 21331 w 124515"/>
                  <a:gd name="connsiteY21" fmla="*/ 129972 h 167178"/>
                  <a:gd name="connsiteX22" fmla="*/ 26292 w 124515"/>
                  <a:gd name="connsiteY22" fmla="*/ 145847 h 167178"/>
                  <a:gd name="connsiteX23" fmla="*/ 33733 w 124515"/>
                  <a:gd name="connsiteY23" fmla="*/ 160729 h 167178"/>
                  <a:gd name="connsiteX24" fmla="*/ 49608 w 124515"/>
                  <a:gd name="connsiteY24" fmla="*/ 164698 h 167178"/>
                  <a:gd name="connsiteX25" fmla="*/ 65978 w 124515"/>
                  <a:gd name="connsiteY25" fmla="*/ 167178 h 167178"/>
                  <a:gd name="connsiteX26" fmla="*/ 82349 w 124515"/>
                  <a:gd name="connsiteY26" fmla="*/ 165194 h 167178"/>
                  <a:gd name="connsiteX27" fmla="*/ 98719 w 124515"/>
                  <a:gd name="connsiteY27" fmla="*/ 162218 h 167178"/>
                  <a:gd name="connsiteX28" fmla="*/ 114594 w 124515"/>
                  <a:gd name="connsiteY28" fmla="*/ 158745 h 167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4515" h="167178">
                    <a:moveTo>
                      <a:pt x="124515" y="110625"/>
                    </a:moveTo>
                    <a:cubicBezTo>
                      <a:pt x="116578" y="112113"/>
                      <a:pt x="117570" y="111618"/>
                      <a:pt x="108145" y="113602"/>
                    </a:cubicBezTo>
                    <a:cubicBezTo>
                      <a:pt x="103184" y="114594"/>
                      <a:pt x="97727" y="116578"/>
                      <a:pt x="92270" y="118066"/>
                    </a:cubicBezTo>
                    <a:cubicBezTo>
                      <a:pt x="86814" y="119555"/>
                      <a:pt x="81357" y="122035"/>
                      <a:pt x="76396" y="123523"/>
                    </a:cubicBezTo>
                    <a:cubicBezTo>
                      <a:pt x="68955" y="125508"/>
                      <a:pt x="62010" y="126500"/>
                      <a:pt x="60521" y="127988"/>
                    </a:cubicBezTo>
                    <a:cubicBezTo>
                      <a:pt x="59033" y="128980"/>
                      <a:pt x="56057" y="125012"/>
                      <a:pt x="51592" y="116082"/>
                    </a:cubicBezTo>
                    <a:cubicBezTo>
                      <a:pt x="49608" y="112113"/>
                      <a:pt x="47623" y="107153"/>
                      <a:pt x="45143" y="101696"/>
                    </a:cubicBezTo>
                    <a:cubicBezTo>
                      <a:pt x="43159" y="97231"/>
                      <a:pt x="41174" y="92270"/>
                      <a:pt x="39190" y="87310"/>
                    </a:cubicBezTo>
                    <a:cubicBezTo>
                      <a:pt x="37206" y="82349"/>
                      <a:pt x="34229" y="77884"/>
                      <a:pt x="32245" y="72924"/>
                    </a:cubicBezTo>
                    <a:cubicBezTo>
                      <a:pt x="30261" y="67963"/>
                      <a:pt x="29268" y="63002"/>
                      <a:pt x="27284" y="58041"/>
                    </a:cubicBezTo>
                    <a:cubicBezTo>
                      <a:pt x="25300" y="53080"/>
                      <a:pt x="24804" y="47623"/>
                      <a:pt x="22819" y="42663"/>
                    </a:cubicBezTo>
                    <a:cubicBezTo>
                      <a:pt x="20835" y="37702"/>
                      <a:pt x="17363" y="33237"/>
                      <a:pt x="15378" y="28772"/>
                    </a:cubicBezTo>
                    <a:cubicBezTo>
                      <a:pt x="13394" y="23316"/>
                      <a:pt x="11410" y="18355"/>
                      <a:pt x="9922" y="13890"/>
                    </a:cubicBezTo>
                    <a:cubicBezTo>
                      <a:pt x="6449" y="5457"/>
                      <a:pt x="4465" y="496"/>
                      <a:pt x="3472" y="0"/>
                    </a:cubicBezTo>
                    <a:cubicBezTo>
                      <a:pt x="1488" y="2480"/>
                      <a:pt x="0" y="7937"/>
                      <a:pt x="0" y="15875"/>
                    </a:cubicBezTo>
                    <a:cubicBezTo>
                      <a:pt x="0" y="20835"/>
                      <a:pt x="0" y="26292"/>
                      <a:pt x="992" y="32741"/>
                    </a:cubicBezTo>
                    <a:cubicBezTo>
                      <a:pt x="1488" y="37702"/>
                      <a:pt x="2976" y="43655"/>
                      <a:pt x="3472" y="49112"/>
                    </a:cubicBezTo>
                    <a:cubicBezTo>
                      <a:pt x="3969" y="54569"/>
                      <a:pt x="5457" y="60025"/>
                      <a:pt x="6449" y="65482"/>
                    </a:cubicBezTo>
                    <a:cubicBezTo>
                      <a:pt x="7441" y="70939"/>
                      <a:pt x="6945" y="76892"/>
                      <a:pt x="7937" y="82349"/>
                    </a:cubicBezTo>
                    <a:cubicBezTo>
                      <a:pt x="8929" y="87806"/>
                      <a:pt x="11410" y="93263"/>
                      <a:pt x="12402" y="98223"/>
                    </a:cubicBezTo>
                    <a:cubicBezTo>
                      <a:pt x="13890" y="103680"/>
                      <a:pt x="15874" y="109137"/>
                      <a:pt x="16866" y="114098"/>
                    </a:cubicBezTo>
                    <a:cubicBezTo>
                      <a:pt x="18355" y="119555"/>
                      <a:pt x="19843" y="125012"/>
                      <a:pt x="21331" y="129972"/>
                    </a:cubicBezTo>
                    <a:cubicBezTo>
                      <a:pt x="23315" y="135925"/>
                      <a:pt x="24308" y="141382"/>
                      <a:pt x="26292" y="145847"/>
                    </a:cubicBezTo>
                    <a:cubicBezTo>
                      <a:pt x="29268" y="152792"/>
                      <a:pt x="31253" y="158249"/>
                      <a:pt x="33733" y="160729"/>
                    </a:cubicBezTo>
                    <a:cubicBezTo>
                      <a:pt x="37206" y="163706"/>
                      <a:pt x="43655" y="163706"/>
                      <a:pt x="49608" y="164698"/>
                    </a:cubicBezTo>
                    <a:cubicBezTo>
                      <a:pt x="54569" y="165690"/>
                      <a:pt x="60025" y="167178"/>
                      <a:pt x="65978" y="167178"/>
                    </a:cubicBezTo>
                    <a:cubicBezTo>
                      <a:pt x="71435" y="167178"/>
                      <a:pt x="76892" y="166186"/>
                      <a:pt x="82349" y="165194"/>
                    </a:cubicBezTo>
                    <a:cubicBezTo>
                      <a:pt x="88302" y="164698"/>
                      <a:pt x="93759" y="163209"/>
                      <a:pt x="98719" y="162218"/>
                    </a:cubicBezTo>
                    <a:cubicBezTo>
                      <a:pt x="108145" y="160233"/>
                      <a:pt x="106657" y="161225"/>
                      <a:pt x="114594" y="15874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5" name="Freeform: Shape 1624">
                <a:extLst>
                  <a:ext uri="{FF2B5EF4-FFF2-40B4-BE49-F238E27FC236}">
                    <a16:creationId xmlns:a16="http://schemas.microsoft.com/office/drawing/2014/main" id="{335D4758-4E9D-15F7-FED0-63F945924C46}"/>
                  </a:ext>
                </a:extLst>
              </p:cNvPr>
              <p:cNvSpPr/>
              <p:nvPr/>
            </p:nvSpPr>
            <p:spPr>
              <a:xfrm>
                <a:off x="5024147" y="4859579"/>
                <a:ext cx="117074" cy="253259"/>
              </a:xfrm>
              <a:custGeom>
                <a:avLst/>
                <a:gdLst>
                  <a:gd name="connsiteX0" fmla="*/ 13890 w 117074"/>
                  <a:gd name="connsiteY0" fmla="*/ 0 h 253259"/>
                  <a:gd name="connsiteX1" fmla="*/ 23812 w 117074"/>
                  <a:gd name="connsiteY1" fmla="*/ 11906 h 253259"/>
                  <a:gd name="connsiteX2" fmla="*/ 33734 w 117074"/>
                  <a:gd name="connsiteY2" fmla="*/ 23812 h 253259"/>
                  <a:gd name="connsiteX3" fmla="*/ 43655 w 117074"/>
                  <a:gd name="connsiteY3" fmla="*/ 35718 h 253259"/>
                  <a:gd name="connsiteX4" fmla="*/ 52088 w 117074"/>
                  <a:gd name="connsiteY4" fmla="*/ 49112 h 253259"/>
                  <a:gd name="connsiteX5" fmla="*/ 62010 w 117074"/>
                  <a:gd name="connsiteY5" fmla="*/ 61018 h 253259"/>
                  <a:gd name="connsiteX6" fmla="*/ 72428 w 117074"/>
                  <a:gd name="connsiteY6" fmla="*/ 72428 h 253259"/>
                  <a:gd name="connsiteX7" fmla="*/ 80861 w 117074"/>
                  <a:gd name="connsiteY7" fmla="*/ 85822 h 253259"/>
                  <a:gd name="connsiteX8" fmla="*/ 90783 w 117074"/>
                  <a:gd name="connsiteY8" fmla="*/ 98224 h 253259"/>
                  <a:gd name="connsiteX9" fmla="*/ 100208 w 117074"/>
                  <a:gd name="connsiteY9" fmla="*/ 110626 h 253259"/>
                  <a:gd name="connsiteX10" fmla="*/ 108641 w 117074"/>
                  <a:gd name="connsiteY10" fmla="*/ 123524 h 253259"/>
                  <a:gd name="connsiteX11" fmla="*/ 117075 w 117074"/>
                  <a:gd name="connsiteY11" fmla="*/ 136421 h 253259"/>
                  <a:gd name="connsiteX12" fmla="*/ 110129 w 117074"/>
                  <a:gd name="connsiteY12" fmla="*/ 152296 h 253259"/>
                  <a:gd name="connsiteX13" fmla="*/ 101696 w 117074"/>
                  <a:gd name="connsiteY13" fmla="*/ 167178 h 253259"/>
                  <a:gd name="connsiteX14" fmla="*/ 93263 w 117074"/>
                  <a:gd name="connsiteY14" fmla="*/ 182061 h 253259"/>
                  <a:gd name="connsiteX15" fmla="*/ 85325 w 117074"/>
                  <a:gd name="connsiteY15" fmla="*/ 197439 h 253259"/>
                  <a:gd name="connsiteX16" fmla="*/ 76396 w 117074"/>
                  <a:gd name="connsiteY16" fmla="*/ 212322 h 253259"/>
                  <a:gd name="connsiteX17" fmla="*/ 66971 w 117074"/>
                  <a:gd name="connsiteY17" fmla="*/ 226708 h 253259"/>
                  <a:gd name="connsiteX18" fmla="*/ 56553 w 117074"/>
                  <a:gd name="connsiteY18" fmla="*/ 240598 h 253259"/>
                  <a:gd name="connsiteX19" fmla="*/ 45143 w 117074"/>
                  <a:gd name="connsiteY19" fmla="*/ 253000 h 253259"/>
                  <a:gd name="connsiteX20" fmla="*/ 46631 w 117074"/>
                  <a:gd name="connsiteY20" fmla="*/ 239606 h 253259"/>
                  <a:gd name="connsiteX21" fmla="*/ 49608 w 117074"/>
                  <a:gd name="connsiteY21" fmla="*/ 223731 h 253259"/>
                  <a:gd name="connsiteX22" fmla="*/ 53577 w 117074"/>
                  <a:gd name="connsiteY22" fmla="*/ 208353 h 253259"/>
                  <a:gd name="connsiteX23" fmla="*/ 56057 w 117074"/>
                  <a:gd name="connsiteY23" fmla="*/ 192478 h 253259"/>
                  <a:gd name="connsiteX24" fmla="*/ 62010 w 117074"/>
                  <a:gd name="connsiteY24" fmla="*/ 177596 h 253259"/>
                  <a:gd name="connsiteX25" fmla="*/ 65979 w 117074"/>
                  <a:gd name="connsiteY25" fmla="*/ 161722 h 253259"/>
                  <a:gd name="connsiteX26" fmla="*/ 70939 w 117074"/>
                  <a:gd name="connsiteY26" fmla="*/ 146343 h 253259"/>
                  <a:gd name="connsiteX27" fmla="*/ 74412 w 117074"/>
                  <a:gd name="connsiteY27" fmla="*/ 130469 h 253259"/>
                  <a:gd name="connsiteX28" fmla="*/ 64490 w 117074"/>
                  <a:gd name="connsiteY28" fmla="*/ 119059 h 253259"/>
                  <a:gd name="connsiteX29" fmla="*/ 54073 w 117074"/>
                  <a:gd name="connsiteY29" fmla="*/ 107649 h 253259"/>
                  <a:gd name="connsiteX30" fmla="*/ 43159 w 117074"/>
                  <a:gd name="connsiteY30" fmla="*/ 96735 h 253259"/>
                  <a:gd name="connsiteX31" fmla="*/ 32245 w 117074"/>
                  <a:gd name="connsiteY31" fmla="*/ 85822 h 253259"/>
                  <a:gd name="connsiteX32" fmla="*/ 20339 w 117074"/>
                  <a:gd name="connsiteY32" fmla="*/ 75900 h 253259"/>
                  <a:gd name="connsiteX33" fmla="*/ 11410 w 117074"/>
                  <a:gd name="connsiteY33" fmla="*/ 63002 h 253259"/>
                  <a:gd name="connsiteX34" fmla="*/ 0 w 117074"/>
                  <a:gd name="connsiteY34" fmla="*/ 53080 h 25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7074" h="253259">
                    <a:moveTo>
                      <a:pt x="13890" y="0"/>
                    </a:moveTo>
                    <a:cubicBezTo>
                      <a:pt x="18851" y="5953"/>
                      <a:pt x="17859" y="4465"/>
                      <a:pt x="23812" y="11906"/>
                    </a:cubicBezTo>
                    <a:cubicBezTo>
                      <a:pt x="26788" y="15379"/>
                      <a:pt x="30261" y="19347"/>
                      <a:pt x="33734" y="23812"/>
                    </a:cubicBezTo>
                    <a:cubicBezTo>
                      <a:pt x="36710" y="27781"/>
                      <a:pt x="40182" y="31253"/>
                      <a:pt x="43655" y="35718"/>
                    </a:cubicBezTo>
                    <a:cubicBezTo>
                      <a:pt x="46631" y="39686"/>
                      <a:pt x="48616" y="44647"/>
                      <a:pt x="52088" y="49112"/>
                    </a:cubicBezTo>
                    <a:cubicBezTo>
                      <a:pt x="55065" y="53080"/>
                      <a:pt x="59033" y="56553"/>
                      <a:pt x="62010" y="61018"/>
                    </a:cubicBezTo>
                    <a:cubicBezTo>
                      <a:pt x="64986" y="64986"/>
                      <a:pt x="69451" y="68459"/>
                      <a:pt x="72428" y="72428"/>
                    </a:cubicBezTo>
                    <a:cubicBezTo>
                      <a:pt x="75404" y="76396"/>
                      <a:pt x="77388" y="81853"/>
                      <a:pt x="80861" y="85822"/>
                    </a:cubicBezTo>
                    <a:cubicBezTo>
                      <a:pt x="84333" y="90286"/>
                      <a:pt x="87310" y="94255"/>
                      <a:pt x="90783" y="98224"/>
                    </a:cubicBezTo>
                    <a:cubicBezTo>
                      <a:pt x="94255" y="102688"/>
                      <a:pt x="97231" y="106657"/>
                      <a:pt x="100208" y="110626"/>
                    </a:cubicBezTo>
                    <a:cubicBezTo>
                      <a:pt x="103680" y="115586"/>
                      <a:pt x="106161" y="120051"/>
                      <a:pt x="108641" y="123524"/>
                    </a:cubicBezTo>
                    <a:cubicBezTo>
                      <a:pt x="113602" y="130469"/>
                      <a:pt x="117075" y="134933"/>
                      <a:pt x="117075" y="136421"/>
                    </a:cubicBezTo>
                    <a:cubicBezTo>
                      <a:pt x="117075" y="137910"/>
                      <a:pt x="114594" y="143863"/>
                      <a:pt x="110129" y="152296"/>
                    </a:cubicBezTo>
                    <a:cubicBezTo>
                      <a:pt x="107649" y="156761"/>
                      <a:pt x="105169" y="161722"/>
                      <a:pt x="101696" y="167178"/>
                    </a:cubicBezTo>
                    <a:cubicBezTo>
                      <a:pt x="99216" y="172139"/>
                      <a:pt x="96239" y="177100"/>
                      <a:pt x="93263" y="182061"/>
                    </a:cubicBezTo>
                    <a:cubicBezTo>
                      <a:pt x="90286" y="187021"/>
                      <a:pt x="88302" y="192478"/>
                      <a:pt x="85325" y="197439"/>
                    </a:cubicBezTo>
                    <a:cubicBezTo>
                      <a:pt x="82349" y="202400"/>
                      <a:pt x="79372" y="207361"/>
                      <a:pt x="76396" y="212322"/>
                    </a:cubicBezTo>
                    <a:cubicBezTo>
                      <a:pt x="73420" y="217282"/>
                      <a:pt x="69947" y="222243"/>
                      <a:pt x="66971" y="226708"/>
                    </a:cubicBezTo>
                    <a:cubicBezTo>
                      <a:pt x="63498" y="232165"/>
                      <a:pt x="59529" y="236630"/>
                      <a:pt x="56553" y="240598"/>
                    </a:cubicBezTo>
                    <a:cubicBezTo>
                      <a:pt x="51592" y="247543"/>
                      <a:pt x="47127" y="251512"/>
                      <a:pt x="45143" y="253000"/>
                    </a:cubicBezTo>
                    <a:cubicBezTo>
                      <a:pt x="42663" y="254488"/>
                      <a:pt x="44647" y="249527"/>
                      <a:pt x="46631" y="239606"/>
                    </a:cubicBezTo>
                    <a:cubicBezTo>
                      <a:pt x="47624" y="235141"/>
                      <a:pt x="48120" y="229684"/>
                      <a:pt x="49608" y="223731"/>
                    </a:cubicBezTo>
                    <a:cubicBezTo>
                      <a:pt x="50600" y="218771"/>
                      <a:pt x="52584" y="213810"/>
                      <a:pt x="53577" y="208353"/>
                    </a:cubicBezTo>
                    <a:cubicBezTo>
                      <a:pt x="55065" y="203392"/>
                      <a:pt x="54569" y="197439"/>
                      <a:pt x="56057" y="192478"/>
                    </a:cubicBezTo>
                    <a:cubicBezTo>
                      <a:pt x="57545" y="187021"/>
                      <a:pt x="60522" y="182557"/>
                      <a:pt x="62010" y="177596"/>
                    </a:cubicBezTo>
                    <a:cubicBezTo>
                      <a:pt x="63498" y="172139"/>
                      <a:pt x="64490" y="166682"/>
                      <a:pt x="65979" y="161722"/>
                    </a:cubicBezTo>
                    <a:cubicBezTo>
                      <a:pt x="67467" y="155769"/>
                      <a:pt x="69451" y="150808"/>
                      <a:pt x="70939" y="146343"/>
                    </a:cubicBezTo>
                    <a:cubicBezTo>
                      <a:pt x="73916" y="136918"/>
                      <a:pt x="78381" y="137910"/>
                      <a:pt x="74412" y="130469"/>
                    </a:cubicBezTo>
                    <a:cubicBezTo>
                      <a:pt x="70939" y="123524"/>
                      <a:pt x="69947" y="124516"/>
                      <a:pt x="64490" y="119059"/>
                    </a:cubicBezTo>
                    <a:cubicBezTo>
                      <a:pt x="59033" y="113602"/>
                      <a:pt x="59529" y="113106"/>
                      <a:pt x="54073" y="107649"/>
                    </a:cubicBezTo>
                    <a:cubicBezTo>
                      <a:pt x="48616" y="102192"/>
                      <a:pt x="48616" y="102192"/>
                      <a:pt x="43159" y="96735"/>
                    </a:cubicBezTo>
                    <a:cubicBezTo>
                      <a:pt x="37702" y="91278"/>
                      <a:pt x="37702" y="91278"/>
                      <a:pt x="32245" y="85822"/>
                    </a:cubicBezTo>
                    <a:cubicBezTo>
                      <a:pt x="26788" y="80365"/>
                      <a:pt x="25796" y="81357"/>
                      <a:pt x="20339" y="75900"/>
                    </a:cubicBezTo>
                    <a:cubicBezTo>
                      <a:pt x="14882" y="70443"/>
                      <a:pt x="16867" y="68955"/>
                      <a:pt x="11410" y="63002"/>
                    </a:cubicBezTo>
                    <a:cubicBezTo>
                      <a:pt x="5953" y="57545"/>
                      <a:pt x="4961" y="58537"/>
                      <a:pt x="0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6" name="Freeform: Shape 1625">
                <a:extLst>
                  <a:ext uri="{FF2B5EF4-FFF2-40B4-BE49-F238E27FC236}">
                    <a16:creationId xmlns:a16="http://schemas.microsoft.com/office/drawing/2014/main" id="{1828534B-8342-DD00-A2B8-0B2CAA71927F}"/>
                  </a:ext>
                </a:extLst>
              </p:cNvPr>
              <p:cNvSpPr/>
              <p:nvPr/>
            </p:nvSpPr>
            <p:spPr>
              <a:xfrm>
                <a:off x="4895561" y="4613579"/>
                <a:ext cx="181824" cy="241614"/>
              </a:xfrm>
              <a:custGeom>
                <a:avLst/>
                <a:gdLst>
                  <a:gd name="connsiteX0" fmla="*/ 181666 w 181824"/>
                  <a:gd name="connsiteY0" fmla="*/ 119500 h 241614"/>
                  <a:gd name="connsiteX1" fmla="*/ 181170 w 181824"/>
                  <a:gd name="connsiteY1" fmla="*/ 136366 h 241614"/>
                  <a:gd name="connsiteX2" fmla="*/ 179185 w 181824"/>
                  <a:gd name="connsiteY2" fmla="*/ 153233 h 241614"/>
                  <a:gd name="connsiteX3" fmla="*/ 174721 w 181824"/>
                  <a:gd name="connsiteY3" fmla="*/ 169604 h 241614"/>
                  <a:gd name="connsiteX4" fmla="*/ 166783 w 181824"/>
                  <a:gd name="connsiteY4" fmla="*/ 184486 h 241614"/>
                  <a:gd name="connsiteX5" fmla="*/ 158846 w 181824"/>
                  <a:gd name="connsiteY5" fmla="*/ 198872 h 241614"/>
                  <a:gd name="connsiteX6" fmla="*/ 149917 w 181824"/>
                  <a:gd name="connsiteY6" fmla="*/ 213258 h 241614"/>
                  <a:gd name="connsiteX7" fmla="*/ 137019 w 181824"/>
                  <a:gd name="connsiteY7" fmla="*/ 223676 h 241614"/>
                  <a:gd name="connsiteX8" fmla="*/ 123129 w 181824"/>
                  <a:gd name="connsiteY8" fmla="*/ 233102 h 241614"/>
                  <a:gd name="connsiteX9" fmla="*/ 107750 w 181824"/>
                  <a:gd name="connsiteY9" fmla="*/ 240543 h 241614"/>
                  <a:gd name="connsiteX10" fmla="*/ 90883 w 181824"/>
                  <a:gd name="connsiteY10" fmla="*/ 241535 h 241614"/>
                  <a:gd name="connsiteX11" fmla="*/ 74513 w 181824"/>
                  <a:gd name="connsiteY11" fmla="*/ 238558 h 241614"/>
                  <a:gd name="connsiteX12" fmla="*/ 59134 w 181824"/>
                  <a:gd name="connsiteY12" fmla="*/ 232606 h 241614"/>
                  <a:gd name="connsiteX13" fmla="*/ 44748 w 181824"/>
                  <a:gd name="connsiteY13" fmla="*/ 224668 h 241614"/>
                  <a:gd name="connsiteX14" fmla="*/ 33339 w 181824"/>
                  <a:gd name="connsiteY14" fmla="*/ 212266 h 241614"/>
                  <a:gd name="connsiteX15" fmla="*/ 22425 w 181824"/>
                  <a:gd name="connsiteY15" fmla="*/ 199864 h 241614"/>
                  <a:gd name="connsiteX16" fmla="*/ 13991 w 181824"/>
                  <a:gd name="connsiteY16" fmla="*/ 185478 h 241614"/>
                  <a:gd name="connsiteX17" fmla="*/ 8038 w 181824"/>
                  <a:gd name="connsiteY17" fmla="*/ 169604 h 241614"/>
                  <a:gd name="connsiteX18" fmla="*/ 3574 w 181824"/>
                  <a:gd name="connsiteY18" fmla="*/ 153729 h 241614"/>
                  <a:gd name="connsiteX19" fmla="*/ 597 w 181824"/>
                  <a:gd name="connsiteY19" fmla="*/ 137359 h 241614"/>
                  <a:gd name="connsiteX20" fmla="*/ 1094 w 181824"/>
                  <a:gd name="connsiteY20" fmla="*/ 120492 h 241614"/>
                  <a:gd name="connsiteX21" fmla="*/ 101 w 181824"/>
                  <a:gd name="connsiteY21" fmla="*/ 103625 h 241614"/>
                  <a:gd name="connsiteX22" fmla="*/ 2582 w 181824"/>
                  <a:gd name="connsiteY22" fmla="*/ 87254 h 241614"/>
                  <a:gd name="connsiteX23" fmla="*/ 8038 w 181824"/>
                  <a:gd name="connsiteY23" fmla="*/ 71380 h 241614"/>
                  <a:gd name="connsiteX24" fmla="*/ 13991 w 181824"/>
                  <a:gd name="connsiteY24" fmla="*/ 56002 h 241614"/>
                  <a:gd name="connsiteX25" fmla="*/ 22425 w 181824"/>
                  <a:gd name="connsiteY25" fmla="*/ 41616 h 241614"/>
                  <a:gd name="connsiteX26" fmla="*/ 32346 w 181824"/>
                  <a:gd name="connsiteY26" fmla="*/ 28221 h 241614"/>
                  <a:gd name="connsiteX27" fmla="*/ 44252 w 181824"/>
                  <a:gd name="connsiteY27" fmla="*/ 16812 h 241614"/>
                  <a:gd name="connsiteX28" fmla="*/ 57646 w 181824"/>
                  <a:gd name="connsiteY28" fmla="*/ 6890 h 241614"/>
                  <a:gd name="connsiteX29" fmla="*/ 73521 w 181824"/>
                  <a:gd name="connsiteY29" fmla="*/ 1929 h 241614"/>
                  <a:gd name="connsiteX30" fmla="*/ 89891 w 181824"/>
                  <a:gd name="connsiteY30" fmla="*/ 441 h 241614"/>
                  <a:gd name="connsiteX31" fmla="*/ 106758 w 181824"/>
                  <a:gd name="connsiteY31" fmla="*/ 441 h 241614"/>
                  <a:gd name="connsiteX32" fmla="*/ 122136 w 181824"/>
                  <a:gd name="connsiteY32" fmla="*/ 6890 h 241614"/>
                  <a:gd name="connsiteX33" fmla="*/ 136026 w 181824"/>
                  <a:gd name="connsiteY33" fmla="*/ 15819 h 241614"/>
                  <a:gd name="connsiteX34" fmla="*/ 147932 w 181824"/>
                  <a:gd name="connsiteY34" fmla="*/ 27229 h 241614"/>
                  <a:gd name="connsiteX35" fmla="*/ 158846 w 181824"/>
                  <a:gd name="connsiteY35" fmla="*/ 40127 h 241614"/>
                  <a:gd name="connsiteX36" fmla="*/ 165791 w 181824"/>
                  <a:gd name="connsiteY36" fmla="*/ 55506 h 241614"/>
                  <a:gd name="connsiteX37" fmla="*/ 172240 w 181824"/>
                  <a:gd name="connsiteY37" fmla="*/ 70884 h 241614"/>
                  <a:gd name="connsiteX38" fmla="*/ 177201 w 181824"/>
                  <a:gd name="connsiteY38" fmla="*/ 86759 h 241614"/>
                  <a:gd name="connsiteX39" fmla="*/ 179682 w 181824"/>
                  <a:gd name="connsiteY39" fmla="*/ 103129 h 241614"/>
                  <a:gd name="connsiteX40" fmla="*/ 181666 w 181824"/>
                  <a:gd name="connsiteY40" fmla="*/ 119500 h 241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81824" h="241614">
                    <a:moveTo>
                      <a:pt x="181666" y="119500"/>
                    </a:moveTo>
                    <a:cubicBezTo>
                      <a:pt x="181666" y="124957"/>
                      <a:pt x="181666" y="130910"/>
                      <a:pt x="181170" y="136366"/>
                    </a:cubicBezTo>
                    <a:cubicBezTo>
                      <a:pt x="180673" y="141823"/>
                      <a:pt x="180178" y="147776"/>
                      <a:pt x="179185" y="153233"/>
                    </a:cubicBezTo>
                    <a:cubicBezTo>
                      <a:pt x="178193" y="158690"/>
                      <a:pt x="176705" y="164147"/>
                      <a:pt x="174721" y="169604"/>
                    </a:cubicBezTo>
                    <a:cubicBezTo>
                      <a:pt x="172736" y="175060"/>
                      <a:pt x="169264" y="179525"/>
                      <a:pt x="166783" y="184486"/>
                    </a:cubicBezTo>
                    <a:cubicBezTo>
                      <a:pt x="164303" y="189447"/>
                      <a:pt x="161823" y="194408"/>
                      <a:pt x="158846" y="198872"/>
                    </a:cubicBezTo>
                    <a:cubicBezTo>
                      <a:pt x="155870" y="203833"/>
                      <a:pt x="153885" y="209290"/>
                      <a:pt x="149917" y="213258"/>
                    </a:cubicBezTo>
                    <a:cubicBezTo>
                      <a:pt x="145948" y="217723"/>
                      <a:pt x="140987" y="220204"/>
                      <a:pt x="137019" y="223676"/>
                    </a:cubicBezTo>
                    <a:cubicBezTo>
                      <a:pt x="132554" y="227149"/>
                      <a:pt x="128089" y="230621"/>
                      <a:pt x="123129" y="233102"/>
                    </a:cubicBezTo>
                    <a:cubicBezTo>
                      <a:pt x="118168" y="235582"/>
                      <a:pt x="113207" y="239055"/>
                      <a:pt x="107750" y="240543"/>
                    </a:cubicBezTo>
                    <a:cubicBezTo>
                      <a:pt x="102293" y="242031"/>
                      <a:pt x="96340" y="241535"/>
                      <a:pt x="90883" y="241535"/>
                    </a:cubicBezTo>
                    <a:cubicBezTo>
                      <a:pt x="85427" y="241535"/>
                      <a:pt x="79970" y="239550"/>
                      <a:pt x="74513" y="238558"/>
                    </a:cubicBezTo>
                    <a:cubicBezTo>
                      <a:pt x="69056" y="237070"/>
                      <a:pt x="64095" y="235086"/>
                      <a:pt x="59134" y="232606"/>
                    </a:cubicBezTo>
                    <a:cubicBezTo>
                      <a:pt x="54174" y="230125"/>
                      <a:pt x="49213" y="228141"/>
                      <a:pt x="44748" y="224668"/>
                    </a:cubicBezTo>
                    <a:cubicBezTo>
                      <a:pt x="40283" y="221196"/>
                      <a:pt x="37307" y="216731"/>
                      <a:pt x="33339" y="212266"/>
                    </a:cubicBezTo>
                    <a:cubicBezTo>
                      <a:pt x="29866" y="208298"/>
                      <a:pt x="25401" y="204329"/>
                      <a:pt x="22425" y="199864"/>
                    </a:cubicBezTo>
                    <a:cubicBezTo>
                      <a:pt x="19448" y="195400"/>
                      <a:pt x="16472" y="190439"/>
                      <a:pt x="13991" y="185478"/>
                    </a:cubicBezTo>
                    <a:cubicBezTo>
                      <a:pt x="11511" y="180517"/>
                      <a:pt x="10023" y="175060"/>
                      <a:pt x="8038" y="169604"/>
                    </a:cubicBezTo>
                    <a:cubicBezTo>
                      <a:pt x="6550" y="164643"/>
                      <a:pt x="4566" y="159186"/>
                      <a:pt x="3574" y="153729"/>
                    </a:cubicBezTo>
                    <a:cubicBezTo>
                      <a:pt x="2582" y="148272"/>
                      <a:pt x="1094" y="142815"/>
                      <a:pt x="597" y="137359"/>
                    </a:cubicBezTo>
                    <a:cubicBezTo>
                      <a:pt x="101" y="131902"/>
                      <a:pt x="1094" y="126445"/>
                      <a:pt x="1094" y="120492"/>
                    </a:cubicBezTo>
                    <a:cubicBezTo>
                      <a:pt x="1094" y="115035"/>
                      <a:pt x="-395" y="109082"/>
                      <a:pt x="101" y="103625"/>
                    </a:cubicBezTo>
                    <a:cubicBezTo>
                      <a:pt x="597" y="98168"/>
                      <a:pt x="1589" y="92215"/>
                      <a:pt x="2582" y="87254"/>
                    </a:cubicBezTo>
                    <a:cubicBezTo>
                      <a:pt x="3574" y="81798"/>
                      <a:pt x="6550" y="76837"/>
                      <a:pt x="8038" y="71380"/>
                    </a:cubicBezTo>
                    <a:cubicBezTo>
                      <a:pt x="10023" y="65923"/>
                      <a:pt x="11511" y="60962"/>
                      <a:pt x="13991" y="56002"/>
                    </a:cubicBezTo>
                    <a:cubicBezTo>
                      <a:pt x="16472" y="51041"/>
                      <a:pt x="19448" y="46080"/>
                      <a:pt x="22425" y="41616"/>
                    </a:cubicBezTo>
                    <a:cubicBezTo>
                      <a:pt x="25401" y="36655"/>
                      <a:pt x="28874" y="32190"/>
                      <a:pt x="32346" y="28221"/>
                    </a:cubicBezTo>
                    <a:cubicBezTo>
                      <a:pt x="36315" y="23757"/>
                      <a:pt x="40283" y="20284"/>
                      <a:pt x="44252" y="16812"/>
                    </a:cubicBezTo>
                    <a:cubicBezTo>
                      <a:pt x="48717" y="13339"/>
                      <a:pt x="53182" y="9370"/>
                      <a:pt x="57646" y="6890"/>
                    </a:cubicBezTo>
                    <a:cubicBezTo>
                      <a:pt x="62607" y="4410"/>
                      <a:pt x="68064" y="3417"/>
                      <a:pt x="73521" y="1929"/>
                    </a:cubicBezTo>
                    <a:cubicBezTo>
                      <a:pt x="78978" y="441"/>
                      <a:pt x="84435" y="441"/>
                      <a:pt x="89891" y="441"/>
                    </a:cubicBezTo>
                    <a:cubicBezTo>
                      <a:pt x="95348" y="441"/>
                      <a:pt x="101301" y="-551"/>
                      <a:pt x="106758" y="441"/>
                    </a:cubicBezTo>
                    <a:cubicBezTo>
                      <a:pt x="112215" y="1929"/>
                      <a:pt x="117176" y="4410"/>
                      <a:pt x="122136" y="6890"/>
                    </a:cubicBezTo>
                    <a:cubicBezTo>
                      <a:pt x="127097" y="9370"/>
                      <a:pt x="131562" y="12347"/>
                      <a:pt x="136026" y="15819"/>
                    </a:cubicBezTo>
                    <a:cubicBezTo>
                      <a:pt x="140491" y="19292"/>
                      <a:pt x="144460" y="23261"/>
                      <a:pt x="147932" y="27229"/>
                    </a:cubicBezTo>
                    <a:cubicBezTo>
                      <a:pt x="151405" y="31198"/>
                      <a:pt x="155870" y="35166"/>
                      <a:pt x="158846" y="40127"/>
                    </a:cubicBezTo>
                    <a:cubicBezTo>
                      <a:pt x="161823" y="44592"/>
                      <a:pt x="163311" y="50049"/>
                      <a:pt x="165791" y="55506"/>
                    </a:cubicBezTo>
                    <a:cubicBezTo>
                      <a:pt x="168272" y="60466"/>
                      <a:pt x="170752" y="65427"/>
                      <a:pt x="172240" y="70884"/>
                    </a:cubicBezTo>
                    <a:cubicBezTo>
                      <a:pt x="173729" y="75845"/>
                      <a:pt x="176209" y="81302"/>
                      <a:pt x="177201" y="86759"/>
                    </a:cubicBezTo>
                    <a:cubicBezTo>
                      <a:pt x="178193" y="92215"/>
                      <a:pt x="179185" y="97672"/>
                      <a:pt x="179682" y="103129"/>
                    </a:cubicBezTo>
                    <a:cubicBezTo>
                      <a:pt x="182658" y="108090"/>
                      <a:pt x="181666" y="113547"/>
                      <a:pt x="181666" y="11950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2087E3D7-50B4-F866-2992-C7D14AA1C780}"/>
                </a:ext>
              </a:extLst>
            </p:cNvPr>
            <p:cNvSpPr/>
            <p:nvPr/>
          </p:nvSpPr>
          <p:spPr>
            <a:xfrm>
              <a:off x="3885152" y="5363782"/>
              <a:ext cx="1023904" cy="25773"/>
            </a:xfrm>
            <a:custGeom>
              <a:avLst/>
              <a:gdLst>
                <a:gd name="connsiteX0" fmla="*/ 1023905 w 1023904"/>
                <a:gd name="connsiteY0" fmla="*/ 22632 h 25773"/>
                <a:gd name="connsiteX1" fmla="*/ 1007534 w 1023904"/>
                <a:gd name="connsiteY1" fmla="*/ 23128 h 25773"/>
                <a:gd name="connsiteX2" fmla="*/ 991164 w 1023904"/>
                <a:gd name="connsiteY2" fmla="*/ 21639 h 25773"/>
                <a:gd name="connsiteX3" fmla="*/ 974793 w 1023904"/>
                <a:gd name="connsiteY3" fmla="*/ 23128 h 25773"/>
                <a:gd name="connsiteX4" fmla="*/ 958423 w 1023904"/>
                <a:gd name="connsiteY4" fmla="*/ 22632 h 25773"/>
                <a:gd name="connsiteX5" fmla="*/ 942052 w 1023904"/>
                <a:gd name="connsiteY5" fmla="*/ 22632 h 25773"/>
                <a:gd name="connsiteX6" fmla="*/ 925681 w 1023904"/>
                <a:gd name="connsiteY6" fmla="*/ 22135 h 25773"/>
                <a:gd name="connsiteX7" fmla="*/ 909311 w 1023904"/>
                <a:gd name="connsiteY7" fmla="*/ 24120 h 25773"/>
                <a:gd name="connsiteX8" fmla="*/ 892940 w 1023904"/>
                <a:gd name="connsiteY8" fmla="*/ 22632 h 25773"/>
                <a:gd name="connsiteX9" fmla="*/ 876570 w 1023904"/>
                <a:gd name="connsiteY9" fmla="*/ 23128 h 25773"/>
                <a:gd name="connsiteX10" fmla="*/ 860199 w 1023904"/>
                <a:gd name="connsiteY10" fmla="*/ 23128 h 25773"/>
                <a:gd name="connsiteX11" fmla="*/ 843828 w 1023904"/>
                <a:gd name="connsiteY11" fmla="*/ 23128 h 25773"/>
                <a:gd name="connsiteX12" fmla="*/ 827458 w 1023904"/>
                <a:gd name="connsiteY12" fmla="*/ 23128 h 25773"/>
                <a:gd name="connsiteX13" fmla="*/ 811087 w 1023904"/>
                <a:gd name="connsiteY13" fmla="*/ 23128 h 25773"/>
                <a:gd name="connsiteX14" fmla="*/ 794717 w 1023904"/>
                <a:gd name="connsiteY14" fmla="*/ 22632 h 25773"/>
                <a:gd name="connsiteX15" fmla="*/ 778346 w 1023904"/>
                <a:gd name="connsiteY15" fmla="*/ 24120 h 25773"/>
                <a:gd name="connsiteX16" fmla="*/ 761976 w 1023904"/>
                <a:gd name="connsiteY16" fmla="*/ 22135 h 25773"/>
                <a:gd name="connsiteX17" fmla="*/ 745605 w 1023904"/>
                <a:gd name="connsiteY17" fmla="*/ 22135 h 25773"/>
                <a:gd name="connsiteX18" fmla="*/ 729235 w 1023904"/>
                <a:gd name="connsiteY18" fmla="*/ 23624 h 25773"/>
                <a:gd name="connsiteX19" fmla="*/ 712864 w 1023904"/>
                <a:gd name="connsiteY19" fmla="*/ 24120 h 25773"/>
                <a:gd name="connsiteX20" fmla="*/ 696494 w 1023904"/>
                <a:gd name="connsiteY20" fmla="*/ 22135 h 25773"/>
                <a:gd name="connsiteX21" fmla="*/ 680123 w 1023904"/>
                <a:gd name="connsiteY21" fmla="*/ 23128 h 25773"/>
                <a:gd name="connsiteX22" fmla="*/ 663752 w 1023904"/>
                <a:gd name="connsiteY22" fmla="*/ 24616 h 25773"/>
                <a:gd name="connsiteX23" fmla="*/ 647382 w 1023904"/>
                <a:gd name="connsiteY23" fmla="*/ 22135 h 25773"/>
                <a:gd name="connsiteX24" fmla="*/ 631011 w 1023904"/>
                <a:gd name="connsiteY24" fmla="*/ 22632 h 25773"/>
                <a:gd name="connsiteX25" fmla="*/ 614641 w 1023904"/>
                <a:gd name="connsiteY25" fmla="*/ 23128 h 25773"/>
                <a:gd name="connsiteX26" fmla="*/ 598270 w 1023904"/>
                <a:gd name="connsiteY26" fmla="*/ 22632 h 25773"/>
                <a:gd name="connsiteX27" fmla="*/ 581899 w 1023904"/>
                <a:gd name="connsiteY27" fmla="*/ 23624 h 25773"/>
                <a:gd name="connsiteX28" fmla="*/ 565529 w 1023904"/>
                <a:gd name="connsiteY28" fmla="*/ 22632 h 25773"/>
                <a:gd name="connsiteX29" fmla="*/ 549158 w 1023904"/>
                <a:gd name="connsiteY29" fmla="*/ 23128 h 25773"/>
                <a:gd name="connsiteX30" fmla="*/ 532788 w 1023904"/>
                <a:gd name="connsiteY30" fmla="*/ 22135 h 25773"/>
                <a:gd name="connsiteX31" fmla="*/ 516417 w 1023904"/>
                <a:gd name="connsiteY31" fmla="*/ 22632 h 25773"/>
                <a:gd name="connsiteX32" fmla="*/ 500047 w 1023904"/>
                <a:gd name="connsiteY32" fmla="*/ 23624 h 25773"/>
                <a:gd name="connsiteX33" fmla="*/ 483676 w 1023904"/>
                <a:gd name="connsiteY33" fmla="*/ 23624 h 25773"/>
                <a:gd name="connsiteX34" fmla="*/ 467305 w 1023904"/>
                <a:gd name="connsiteY34" fmla="*/ 23128 h 25773"/>
                <a:gd name="connsiteX35" fmla="*/ 450935 w 1023904"/>
                <a:gd name="connsiteY35" fmla="*/ 22135 h 25773"/>
                <a:gd name="connsiteX36" fmla="*/ 434564 w 1023904"/>
                <a:gd name="connsiteY36" fmla="*/ 22632 h 25773"/>
                <a:gd name="connsiteX37" fmla="*/ 418194 w 1023904"/>
                <a:gd name="connsiteY37" fmla="*/ 23128 h 25773"/>
                <a:gd name="connsiteX38" fmla="*/ 401823 w 1023904"/>
                <a:gd name="connsiteY38" fmla="*/ 23128 h 25773"/>
                <a:gd name="connsiteX39" fmla="*/ 385453 w 1023904"/>
                <a:gd name="connsiteY39" fmla="*/ 22135 h 25773"/>
                <a:gd name="connsiteX40" fmla="*/ 369082 w 1023904"/>
                <a:gd name="connsiteY40" fmla="*/ 21639 h 25773"/>
                <a:gd name="connsiteX41" fmla="*/ 352711 w 1023904"/>
                <a:gd name="connsiteY41" fmla="*/ 23624 h 25773"/>
                <a:gd name="connsiteX42" fmla="*/ 336341 w 1023904"/>
                <a:gd name="connsiteY42" fmla="*/ 22632 h 25773"/>
                <a:gd name="connsiteX43" fmla="*/ 319970 w 1023904"/>
                <a:gd name="connsiteY43" fmla="*/ 23624 h 25773"/>
                <a:gd name="connsiteX44" fmla="*/ 307072 w 1023904"/>
                <a:gd name="connsiteY44" fmla="*/ 17175 h 25773"/>
                <a:gd name="connsiteX45" fmla="*/ 293678 w 1023904"/>
                <a:gd name="connsiteY45" fmla="*/ 12214 h 25773"/>
                <a:gd name="connsiteX46" fmla="*/ 280780 w 1023904"/>
                <a:gd name="connsiteY46" fmla="*/ 6757 h 25773"/>
                <a:gd name="connsiteX47" fmla="*/ 268378 w 1023904"/>
                <a:gd name="connsiteY47" fmla="*/ 1796 h 25773"/>
                <a:gd name="connsiteX48" fmla="*/ 275323 w 1023904"/>
                <a:gd name="connsiteY48" fmla="*/ 11718 h 25773"/>
                <a:gd name="connsiteX49" fmla="*/ 281276 w 1023904"/>
                <a:gd name="connsiteY49" fmla="*/ 23624 h 25773"/>
                <a:gd name="connsiteX50" fmla="*/ 265402 w 1023904"/>
                <a:gd name="connsiteY50" fmla="*/ 15687 h 25773"/>
                <a:gd name="connsiteX51" fmla="*/ 250023 w 1023904"/>
                <a:gd name="connsiteY51" fmla="*/ 7750 h 25773"/>
                <a:gd name="connsiteX52" fmla="*/ 234149 w 1023904"/>
                <a:gd name="connsiteY52" fmla="*/ 804 h 25773"/>
                <a:gd name="connsiteX53" fmla="*/ 240598 w 1023904"/>
                <a:gd name="connsiteY53" fmla="*/ 11718 h 25773"/>
                <a:gd name="connsiteX54" fmla="*/ 245559 w 1023904"/>
                <a:gd name="connsiteY54" fmla="*/ 23128 h 25773"/>
                <a:gd name="connsiteX55" fmla="*/ 229188 w 1023904"/>
                <a:gd name="connsiteY55" fmla="*/ 23128 h 25773"/>
                <a:gd name="connsiteX56" fmla="*/ 212818 w 1023904"/>
                <a:gd name="connsiteY56" fmla="*/ 22135 h 25773"/>
                <a:gd name="connsiteX57" fmla="*/ 196447 w 1023904"/>
                <a:gd name="connsiteY57" fmla="*/ 23128 h 25773"/>
                <a:gd name="connsiteX58" fmla="*/ 180076 w 1023904"/>
                <a:gd name="connsiteY58" fmla="*/ 22135 h 25773"/>
                <a:gd name="connsiteX59" fmla="*/ 163706 w 1023904"/>
                <a:gd name="connsiteY59" fmla="*/ 23128 h 25773"/>
                <a:gd name="connsiteX60" fmla="*/ 147335 w 1023904"/>
                <a:gd name="connsiteY60" fmla="*/ 23624 h 25773"/>
                <a:gd name="connsiteX61" fmla="*/ 130965 w 1023904"/>
                <a:gd name="connsiteY61" fmla="*/ 22632 h 25773"/>
                <a:gd name="connsiteX62" fmla="*/ 114594 w 1023904"/>
                <a:gd name="connsiteY62" fmla="*/ 23128 h 25773"/>
                <a:gd name="connsiteX63" fmla="*/ 98223 w 1023904"/>
                <a:gd name="connsiteY63" fmla="*/ 23624 h 25773"/>
                <a:gd name="connsiteX64" fmla="*/ 81853 w 1023904"/>
                <a:gd name="connsiteY64" fmla="*/ 24120 h 25773"/>
                <a:gd name="connsiteX65" fmla="*/ 65482 w 1023904"/>
                <a:gd name="connsiteY65" fmla="*/ 24120 h 25773"/>
                <a:gd name="connsiteX66" fmla="*/ 49112 w 1023904"/>
                <a:gd name="connsiteY66" fmla="*/ 23624 h 25773"/>
                <a:gd name="connsiteX67" fmla="*/ 32741 w 1023904"/>
                <a:gd name="connsiteY67" fmla="*/ 23624 h 25773"/>
                <a:gd name="connsiteX68" fmla="*/ 16371 w 1023904"/>
                <a:gd name="connsiteY68" fmla="*/ 23128 h 25773"/>
                <a:gd name="connsiteX69" fmla="*/ 0 w 1023904"/>
                <a:gd name="connsiteY69" fmla="*/ 22632 h 2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023904" h="25773">
                  <a:moveTo>
                    <a:pt x="1023905" y="22632"/>
                  </a:moveTo>
                  <a:cubicBezTo>
                    <a:pt x="1018448" y="22632"/>
                    <a:pt x="1012991" y="23128"/>
                    <a:pt x="1007534" y="23128"/>
                  </a:cubicBezTo>
                  <a:cubicBezTo>
                    <a:pt x="1002077" y="23128"/>
                    <a:pt x="996621" y="21639"/>
                    <a:pt x="991164" y="21639"/>
                  </a:cubicBezTo>
                  <a:cubicBezTo>
                    <a:pt x="985707" y="21639"/>
                    <a:pt x="980250" y="23128"/>
                    <a:pt x="974793" y="23128"/>
                  </a:cubicBezTo>
                  <a:cubicBezTo>
                    <a:pt x="969336" y="23128"/>
                    <a:pt x="963879" y="22632"/>
                    <a:pt x="958423" y="22632"/>
                  </a:cubicBezTo>
                  <a:cubicBezTo>
                    <a:pt x="952966" y="22632"/>
                    <a:pt x="947509" y="22632"/>
                    <a:pt x="942052" y="22632"/>
                  </a:cubicBezTo>
                  <a:cubicBezTo>
                    <a:pt x="936595" y="22632"/>
                    <a:pt x="931138" y="22135"/>
                    <a:pt x="925681" y="22135"/>
                  </a:cubicBezTo>
                  <a:cubicBezTo>
                    <a:pt x="920225" y="22135"/>
                    <a:pt x="914768" y="24120"/>
                    <a:pt x="909311" y="24120"/>
                  </a:cubicBezTo>
                  <a:cubicBezTo>
                    <a:pt x="903854" y="24120"/>
                    <a:pt x="898397" y="22632"/>
                    <a:pt x="892940" y="22632"/>
                  </a:cubicBezTo>
                  <a:cubicBezTo>
                    <a:pt x="887484" y="22632"/>
                    <a:pt x="882027" y="23128"/>
                    <a:pt x="876570" y="23128"/>
                  </a:cubicBezTo>
                  <a:cubicBezTo>
                    <a:pt x="871113" y="23128"/>
                    <a:pt x="865656" y="23128"/>
                    <a:pt x="860199" y="23128"/>
                  </a:cubicBezTo>
                  <a:cubicBezTo>
                    <a:pt x="854742" y="23128"/>
                    <a:pt x="849286" y="23128"/>
                    <a:pt x="843828" y="23128"/>
                  </a:cubicBezTo>
                  <a:cubicBezTo>
                    <a:pt x="838372" y="23128"/>
                    <a:pt x="832915" y="23128"/>
                    <a:pt x="827458" y="23128"/>
                  </a:cubicBezTo>
                  <a:cubicBezTo>
                    <a:pt x="822001" y="23128"/>
                    <a:pt x="816544" y="23128"/>
                    <a:pt x="811087" y="23128"/>
                  </a:cubicBezTo>
                  <a:cubicBezTo>
                    <a:pt x="805631" y="23128"/>
                    <a:pt x="800174" y="22632"/>
                    <a:pt x="794717" y="22632"/>
                  </a:cubicBezTo>
                  <a:cubicBezTo>
                    <a:pt x="789260" y="22632"/>
                    <a:pt x="783803" y="24120"/>
                    <a:pt x="778346" y="24120"/>
                  </a:cubicBezTo>
                  <a:cubicBezTo>
                    <a:pt x="772889" y="24120"/>
                    <a:pt x="767433" y="22135"/>
                    <a:pt x="761976" y="22135"/>
                  </a:cubicBezTo>
                  <a:cubicBezTo>
                    <a:pt x="756519" y="22135"/>
                    <a:pt x="751062" y="22135"/>
                    <a:pt x="745605" y="22135"/>
                  </a:cubicBezTo>
                  <a:cubicBezTo>
                    <a:pt x="740148" y="22135"/>
                    <a:pt x="734691" y="23624"/>
                    <a:pt x="729235" y="23624"/>
                  </a:cubicBezTo>
                  <a:cubicBezTo>
                    <a:pt x="723778" y="23624"/>
                    <a:pt x="718321" y="24120"/>
                    <a:pt x="712864" y="24120"/>
                  </a:cubicBezTo>
                  <a:cubicBezTo>
                    <a:pt x="707407" y="24120"/>
                    <a:pt x="701950" y="22135"/>
                    <a:pt x="696494" y="22135"/>
                  </a:cubicBezTo>
                  <a:cubicBezTo>
                    <a:pt x="691037" y="22135"/>
                    <a:pt x="685580" y="23128"/>
                    <a:pt x="680123" y="23128"/>
                  </a:cubicBezTo>
                  <a:cubicBezTo>
                    <a:pt x="674666" y="23128"/>
                    <a:pt x="669209" y="24616"/>
                    <a:pt x="663752" y="24616"/>
                  </a:cubicBezTo>
                  <a:cubicBezTo>
                    <a:pt x="658296" y="24616"/>
                    <a:pt x="652838" y="22135"/>
                    <a:pt x="647382" y="22135"/>
                  </a:cubicBezTo>
                  <a:cubicBezTo>
                    <a:pt x="641925" y="22135"/>
                    <a:pt x="636468" y="22632"/>
                    <a:pt x="631011" y="22632"/>
                  </a:cubicBezTo>
                  <a:cubicBezTo>
                    <a:pt x="625554" y="22632"/>
                    <a:pt x="620097" y="23128"/>
                    <a:pt x="614641" y="23128"/>
                  </a:cubicBezTo>
                  <a:cubicBezTo>
                    <a:pt x="609184" y="23128"/>
                    <a:pt x="603727" y="22632"/>
                    <a:pt x="598270" y="22632"/>
                  </a:cubicBezTo>
                  <a:cubicBezTo>
                    <a:pt x="592813" y="22632"/>
                    <a:pt x="587356" y="23624"/>
                    <a:pt x="581899" y="23624"/>
                  </a:cubicBezTo>
                  <a:cubicBezTo>
                    <a:pt x="576443" y="23624"/>
                    <a:pt x="570986" y="22632"/>
                    <a:pt x="565529" y="22632"/>
                  </a:cubicBezTo>
                  <a:cubicBezTo>
                    <a:pt x="560072" y="22632"/>
                    <a:pt x="554615" y="23128"/>
                    <a:pt x="549158" y="23128"/>
                  </a:cubicBezTo>
                  <a:cubicBezTo>
                    <a:pt x="543701" y="23128"/>
                    <a:pt x="538245" y="22135"/>
                    <a:pt x="532788" y="22135"/>
                  </a:cubicBezTo>
                  <a:cubicBezTo>
                    <a:pt x="527331" y="22135"/>
                    <a:pt x="521874" y="22632"/>
                    <a:pt x="516417" y="22632"/>
                  </a:cubicBezTo>
                  <a:cubicBezTo>
                    <a:pt x="510960" y="22632"/>
                    <a:pt x="505504" y="23624"/>
                    <a:pt x="500047" y="23624"/>
                  </a:cubicBezTo>
                  <a:cubicBezTo>
                    <a:pt x="494590" y="23624"/>
                    <a:pt x="489133" y="23624"/>
                    <a:pt x="483676" y="23624"/>
                  </a:cubicBezTo>
                  <a:cubicBezTo>
                    <a:pt x="478219" y="23624"/>
                    <a:pt x="472762" y="23128"/>
                    <a:pt x="467305" y="23128"/>
                  </a:cubicBezTo>
                  <a:cubicBezTo>
                    <a:pt x="461848" y="23128"/>
                    <a:pt x="456392" y="22135"/>
                    <a:pt x="450935" y="22135"/>
                  </a:cubicBezTo>
                  <a:cubicBezTo>
                    <a:pt x="445478" y="22135"/>
                    <a:pt x="440021" y="22632"/>
                    <a:pt x="434564" y="22632"/>
                  </a:cubicBezTo>
                  <a:cubicBezTo>
                    <a:pt x="429107" y="22632"/>
                    <a:pt x="423651" y="23128"/>
                    <a:pt x="418194" y="23128"/>
                  </a:cubicBezTo>
                  <a:cubicBezTo>
                    <a:pt x="412737" y="23128"/>
                    <a:pt x="407280" y="23128"/>
                    <a:pt x="401823" y="23128"/>
                  </a:cubicBezTo>
                  <a:cubicBezTo>
                    <a:pt x="396366" y="23128"/>
                    <a:pt x="390909" y="22135"/>
                    <a:pt x="385453" y="22135"/>
                  </a:cubicBezTo>
                  <a:cubicBezTo>
                    <a:pt x="379500" y="22135"/>
                    <a:pt x="374043" y="21639"/>
                    <a:pt x="369082" y="21639"/>
                  </a:cubicBezTo>
                  <a:cubicBezTo>
                    <a:pt x="363129" y="21639"/>
                    <a:pt x="357672" y="23624"/>
                    <a:pt x="352711" y="23624"/>
                  </a:cubicBezTo>
                  <a:cubicBezTo>
                    <a:pt x="346262" y="23624"/>
                    <a:pt x="340806" y="22632"/>
                    <a:pt x="336341" y="22632"/>
                  </a:cubicBezTo>
                  <a:cubicBezTo>
                    <a:pt x="325923" y="22632"/>
                    <a:pt x="327907" y="26104"/>
                    <a:pt x="319970" y="23624"/>
                  </a:cubicBezTo>
                  <a:cubicBezTo>
                    <a:pt x="313025" y="21639"/>
                    <a:pt x="313521" y="20152"/>
                    <a:pt x="307072" y="17175"/>
                  </a:cubicBezTo>
                  <a:cubicBezTo>
                    <a:pt x="300623" y="14198"/>
                    <a:pt x="300127" y="14694"/>
                    <a:pt x="293678" y="12214"/>
                  </a:cubicBezTo>
                  <a:cubicBezTo>
                    <a:pt x="287229" y="9237"/>
                    <a:pt x="287229" y="9237"/>
                    <a:pt x="280780" y="6757"/>
                  </a:cubicBezTo>
                  <a:cubicBezTo>
                    <a:pt x="274331" y="3781"/>
                    <a:pt x="273835" y="-2668"/>
                    <a:pt x="268378" y="1796"/>
                  </a:cubicBezTo>
                  <a:cubicBezTo>
                    <a:pt x="263417" y="5765"/>
                    <a:pt x="271851" y="6261"/>
                    <a:pt x="275323" y="11718"/>
                  </a:cubicBezTo>
                  <a:cubicBezTo>
                    <a:pt x="278796" y="17175"/>
                    <a:pt x="287229" y="21143"/>
                    <a:pt x="281276" y="23624"/>
                  </a:cubicBezTo>
                  <a:cubicBezTo>
                    <a:pt x="273339" y="27096"/>
                    <a:pt x="273339" y="19655"/>
                    <a:pt x="265402" y="15687"/>
                  </a:cubicBezTo>
                  <a:cubicBezTo>
                    <a:pt x="257465" y="12214"/>
                    <a:pt x="257961" y="11718"/>
                    <a:pt x="250023" y="7750"/>
                  </a:cubicBezTo>
                  <a:cubicBezTo>
                    <a:pt x="242086" y="3781"/>
                    <a:pt x="242086" y="-2172"/>
                    <a:pt x="234149" y="804"/>
                  </a:cubicBezTo>
                  <a:cubicBezTo>
                    <a:pt x="228196" y="2789"/>
                    <a:pt x="237621" y="6261"/>
                    <a:pt x="240598" y="11718"/>
                  </a:cubicBezTo>
                  <a:cubicBezTo>
                    <a:pt x="243574" y="17175"/>
                    <a:pt x="250023" y="18663"/>
                    <a:pt x="245559" y="23128"/>
                  </a:cubicBezTo>
                  <a:cubicBezTo>
                    <a:pt x="240102" y="29081"/>
                    <a:pt x="237621" y="23128"/>
                    <a:pt x="229188" y="23128"/>
                  </a:cubicBezTo>
                  <a:cubicBezTo>
                    <a:pt x="221251" y="23128"/>
                    <a:pt x="221251" y="22135"/>
                    <a:pt x="212818" y="22135"/>
                  </a:cubicBezTo>
                  <a:cubicBezTo>
                    <a:pt x="204880" y="22135"/>
                    <a:pt x="204880" y="23128"/>
                    <a:pt x="196447" y="23128"/>
                  </a:cubicBezTo>
                  <a:cubicBezTo>
                    <a:pt x="188510" y="23128"/>
                    <a:pt x="188510" y="22135"/>
                    <a:pt x="180076" y="22135"/>
                  </a:cubicBezTo>
                  <a:cubicBezTo>
                    <a:pt x="172139" y="22135"/>
                    <a:pt x="172139" y="23128"/>
                    <a:pt x="163706" y="23128"/>
                  </a:cubicBezTo>
                  <a:cubicBezTo>
                    <a:pt x="155769" y="23128"/>
                    <a:pt x="155769" y="23624"/>
                    <a:pt x="147335" y="23624"/>
                  </a:cubicBezTo>
                  <a:cubicBezTo>
                    <a:pt x="139398" y="23624"/>
                    <a:pt x="139398" y="22632"/>
                    <a:pt x="130965" y="22632"/>
                  </a:cubicBezTo>
                  <a:cubicBezTo>
                    <a:pt x="123027" y="22632"/>
                    <a:pt x="123027" y="23128"/>
                    <a:pt x="114594" y="23128"/>
                  </a:cubicBezTo>
                  <a:cubicBezTo>
                    <a:pt x="106161" y="23128"/>
                    <a:pt x="106657" y="23624"/>
                    <a:pt x="98223" y="23624"/>
                  </a:cubicBezTo>
                  <a:cubicBezTo>
                    <a:pt x="90286" y="23624"/>
                    <a:pt x="90286" y="24120"/>
                    <a:pt x="81853" y="24120"/>
                  </a:cubicBezTo>
                  <a:cubicBezTo>
                    <a:pt x="73916" y="24120"/>
                    <a:pt x="73916" y="24120"/>
                    <a:pt x="65482" y="24120"/>
                  </a:cubicBezTo>
                  <a:cubicBezTo>
                    <a:pt x="57545" y="24120"/>
                    <a:pt x="57545" y="23624"/>
                    <a:pt x="49112" y="23624"/>
                  </a:cubicBezTo>
                  <a:cubicBezTo>
                    <a:pt x="41174" y="23624"/>
                    <a:pt x="41174" y="23624"/>
                    <a:pt x="32741" y="23624"/>
                  </a:cubicBezTo>
                  <a:cubicBezTo>
                    <a:pt x="24804" y="23624"/>
                    <a:pt x="24804" y="23128"/>
                    <a:pt x="16371" y="23128"/>
                  </a:cubicBezTo>
                  <a:cubicBezTo>
                    <a:pt x="8433" y="23128"/>
                    <a:pt x="8433" y="22632"/>
                    <a:pt x="0" y="2263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8ECD9412-140C-0B35-9187-CADF8C9ED36E}"/>
                </a:ext>
              </a:extLst>
            </p:cNvPr>
            <p:cNvSpPr/>
            <p:nvPr/>
          </p:nvSpPr>
          <p:spPr>
            <a:xfrm>
              <a:off x="4970570" y="5384925"/>
              <a:ext cx="153784" cy="1984"/>
            </a:xfrm>
            <a:custGeom>
              <a:avLst/>
              <a:gdLst>
                <a:gd name="connsiteX0" fmla="*/ 153784 w 153784"/>
                <a:gd name="connsiteY0" fmla="*/ 1984 h 1984"/>
                <a:gd name="connsiteX1" fmla="*/ 138406 w 153784"/>
                <a:gd name="connsiteY1" fmla="*/ 1488 h 1984"/>
                <a:gd name="connsiteX2" fmla="*/ 123027 w 153784"/>
                <a:gd name="connsiteY2" fmla="*/ 1488 h 1984"/>
                <a:gd name="connsiteX3" fmla="*/ 107649 w 153784"/>
                <a:gd name="connsiteY3" fmla="*/ 1984 h 1984"/>
                <a:gd name="connsiteX4" fmla="*/ 92271 w 153784"/>
                <a:gd name="connsiteY4" fmla="*/ 992 h 1984"/>
                <a:gd name="connsiteX5" fmla="*/ 76892 w 153784"/>
                <a:gd name="connsiteY5" fmla="*/ 992 h 1984"/>
                <a:gd name="connsiteX6" fmla="*/ 61514 w 153784"/>
                <a:gd name="connsiteY6" fmla="*/ 0 h 1984"/>
                <a:gd name="connsiteX7" fmla="*/ 46135 w 153784"/>
                <a:gd name="connsiteY7" fmla="*/ 1984 h 1984"/>
                <a:gd name="connsiteX8" fmla="*/ 30757 w 153784"/>
                <a:gd name="connsiteY8" fmla="*/ 1488 h 1984"/>
                <a:gd name="connsiteX9" fmla="*/ 15379 w 153784"/>
                <a:gd name="connsiteY9" fmla="*/ 1984 h 1984"/>
                <a:gd name="connsiteX10" fmla="*/ 0 w 153784"/>
                <a:gd name="connsiteY10" fmla="*/ 0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3784" h="1984">
                  <a:moveTo>
                    <a:pt x="153784" y="1984"/>
                  </a:moveTo>
                  <a:cubicBezTo>
                    <a:pt x="152296" y="1984"/>
                    <a:pt x="146839" y="1488"/>
                    <a:pt x="138406" y="1488"/>
                  </a:cubicBezTo>
                  <a:cubicBezTo>
                    <a:pt x="133941" y="1488"/>
                    <a:pt x="128980" y="1488"/>
                    <a:pt x="123027" y="1488"/>
                  </a:cubicBezTo>
                  <a:cubicBezTo>
                    <a:pt x="118066" y="1488"/>
                    <a:pt x="113106" y="1984"/>
                    <a:pt x="107649" y="1984"/>
                  </a:cubicBezTo>
                  <a:cubicBezTo>
                    <a:pt x="102688" y="1984"/>
                    <a:pt x="97727" y="992"/>
                    <a:pt x="92271" y="992"/>
                  </a:cubicBezTo>
                  <a:cubicBezTo>
                    <a:pt x="87310" y="992"/>
                    <a:pt x="82349" y="992"/>
                    <a:pt x="76892" y="992"/>
                  </a:cubicBezTo>
                  <a:cubicBezTo>
                    <a:pt x="71931" y="992"/>
                    <a:pt x="66475" y="0"/>
                    <a:pt x="61514" y="0"/>
                  </a:cubicBezTo>
                  <a:cubicBezTo>
                    <a:pt x="56553" y="0"/>
                    <a:pt x="51096" y="1984"/>
                    <a:pt x="46135" y="1984"/>
                  </a:cubicBezTo>
                  <a:cubicBezTo>
                    <a:pt x="41174" y="1984"/>
                    <a:pt x="35718" y="1488"/>
                    <a:pt x="30757" y="1488"/>
                  </a:cubicBezTo>
                  <a:cubicBezTo>
                    <a:pt x="25796" y="1488"/>
                    <a:pt x="20339" y="1984"/>
                    <a:pt x="15379" y="1984"/>
                  </a:cubicBezTo>
                  <a:cubicBezTo>
                    <a:pt x="10418" y="1984"/>
                    <a:pt x="4961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5915893F-4F61-6709-5E70-7F3964D2E959}"/>
                </a:ext>
              </a:extLst>
            </p:cNvPr>
            <p:cNvSpPr/>
            <p:nvPr/>
          </p:nvSpPr>
          <p:spPr>
            <a:xfrm>
              <a:off x="5371401" y="4093138"/>
              <a:ext cx="238117" cy="1984"/>
            </a:xfrm>
            <a:custGeom>
              <a:avLst/>
              <a:gdLst>
                <a:gd name="connsiteX0" fmla="*/ 0 w 238117"/>
                <a:gd name="connsiteY0" fmla="*/ 496 h 1984"/>
                <a:gd name="connsiteX1" fmla="*/ 15875 w 238117"/>
                <a:gd name="connsiteY1" fmla="*/ 0 h 1984"/>
                <a:gd name="connsiteX2" fmla="*/ 31749 w 238117"/>
                <a:gd name="connsiteY2" fmla="*/ 0 h 1984"/>
                <a:gd name="connsiteX3" fmla="*/ 47624 w 238117"/>
                <a:gd name="connsiteY3" fmla="*/ 992 h 1984"/>
                <a:gd name="connsiteX4" fmla="*/ 63498 w 238117"/>
                <a:gd name="connsiteY4" fmla="*/ 1984 h 1984"/>
                <a:gd name="connsiteX5" fmla="*/ 79372 w 238117"/>
                <a:gd name="connsiteY5" fmla="*/ 992 h 1984"/>
                <a:gd name="connsiteX6" fmla="*/ 95247 w 238117"/>
                <a:gd name="connsiteY6" fmla="*/ 1488 h 1984"/>
                <a:gd name="connsiteX7" fmla="*/ 111122 w 238117"/>
                <a:gd name="connsiteY7" fmla="*/ 1488 h 1984"/>
                <a:gd name="connsiteX8" fmla="*/ 126996 w 238117"/>
                <a:gd name="connsiteY8" fmla="*/ 1488 h 1984"/>
                <a:gd name="connsiteX9" fmla="*/ 142871 w 238117"/>
                <a:gd name="connsiteY9" fmla="*/ 1984 h 1984"/>
                <a:gd name="connsiteX10" fmla="*/ 158745 w 238117"/>
                <a:gd name="connsiteY10" fmla="*/ 496 h 1984"/>
                <a:gd name="connsiteX11" fmla="*/ 174619 w 238117"/>
                <a:gd name="connsiteY11" fmla="*/ 0 h 1984"/>
                <a:gd name="connsiteX12" fmla="*/ 190494 w 238117"/>
                <a:gd name="connsiteY12" fmla="*/ 0 h 1984"/>
                <a:gd name="connsiteX13" fmla="*/ 206369 w 238117"/>
                <a:gd name="connsiteY13" fmla="*/ 1488 h 1984"/>
                <a:gd name="connsiteX14" fmla="*/ 222243 w 238117"/>
                <a:gd name="connsiteY14" fmla="*/ 1984 h 1984"/>
                <a:gd name="connsiteX15" fmla="*/ 238117 w 238117"/>
                <a:gd name="connsiteY15" fmla="*/ 992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8117" h="1984">
                  <a:moveTo>
                    <a:pt x="0" y="496"/>
                  </a:moveTo>
                  <a:cubicBezTo>
                    <a:pt x="7937" y="496"/>
                    <a:pt x="7937" y="0"/>
                    <a:pt x="15875" y="0"/>
                  </a:cubicBezTo>
                  <a:cubicBezTo>
                    <a:pt x="23812" y="0"/>
                    <a:pt x="23812" y="0"/>
                    <a:pt x="31749" y="0"/>
                  </a:cubicBezTo>
                  <a:cubicBezTo>
                    <a:pt x="39686" y="0"/>
                    <a:pt x="39686" y="992"/>
                    <a:pt x="47624" y="992"/>
                  </a:cubicBezTo>
                  <a:cubicBezTo>
                    <a:pt x="55561" y="992"/>
                    <a:pt x="55561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488"/>
                    <a:pt x="95247" y="1488"/>
                  </a:cubicBezTo>
                  <a:cubicBezTo>
                    <a:pt x="103184" y="1488"/>
                    <a:pt x="103184" y="1488"/>
                    <a:pt x="111122" y="1488"/>
                  </a:cubicBezTo>
                  <a:cubicBezTo>
                    <a:pt x="119059" y="1488"/>
                    <a:pt x="119059" y="1488"/>
                    <a:pt x="126996" y="1488"/>
                  </a:cubicBezTo>
                  <a:cubicBezTo>
                    <a:pt x="134933" y="1488"/>
                    <a:pt x="134933" y="1984"/>
                    <a:pt x="142871" y="1984"/>
                  </a:cubicBezTo>
                  <a:cubicBezTo>
                    <a:pt x="150808" y="1984"/>
                    <a:pt x="150808" y="496"/>
                    <a:pt x="158745" y="496"/>
                  </a:cubicBezTo>
                  <a:cubicBezTo>
                    <a:pt x="166682" y="496"/>
                    <a:pt x="166682" y="0"/>
                    <a:pt x="174619" y="0"/>
                  </a:cubicBezTo>
                  <a:cubicBezTo>
                    <a:pt x="182557" y="0"/>
                    <a:pt x="182557" y="0"/>
                    <a:pt x="190494" y="0"/>
                  </a:cubicBezTo>
                  <a:cubicBezTo>
                    <a:pt x="198431" y="0"/>
                    <a:pt x="198431" y="1488"/>
                    <a:pt x="206369" y="1488"/>
                  </a:cubicBezTo>
                  <a:cubicBezTo>
                    <a:pt x="214306" y="1488"/>
                    <a:pt x="214306" y="1984"/>
                    <a:pt x="222243" y="1984"/>
                  </a:cubicBezTo>
                  <a:cubicBezTo>
                    <a:pt x="230180" y="1984"/>
                    <a:pt x="230180" y="992"/>
                    <a:pt x="23811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D0486295-4538-4C9D-F2F4-3F161CF00027}"/>
                </a:ext>
              </a:extLst>
            </p:cNvPr>
            <p:cNvSpPr/>
            <p:nvPr/>
          </p:nvSpPr>
          <p:spPr>
            <a:xfrm>
              <a:off x="4436791" y="4092642"/>
              <a:ext cx="540228" cy="2976"/>
            </a:xfrm>
            <a:custGeom>
              <a:avLst/>
              <a:gdLst>
                <a:gd name="connsiteX0" fmla="*/ 0 w 540228"/>
                <a:gd name="connsiteY0" fmla="*/ 1984 h 2976"/>
                <a:gd name="connsiteX1" fmla="*/ 16371 w 540228"/>
                <a:gd name="connsiteY1" fmla="*/ 992 h 2976"/>
                <a:gd name="connsiteX2" fmla="*/ 32741 w 540228"/>
                <a:gd name="connsiteY2" fmla="*/ 0 h 2976"/>
                <a:gd name="connsiteX3" fmla="*/ 49112 w 540228"/>
                <a:gd name="connsiteY3" fmla="*/ 496 h 2976"/>
                <a:gd name="connsiteX4" fmla="*/ 65482 w 540228"/>
                <a:gd name="connsiteY4" fmla="*/ 0 h 2976"/>
                <a:gd name="connsiteX5" fmla="*/ 81853 w 540228"/>
                <a:gd name="connsiteY5" fmla="*/ 1488 h 2976"/>
                <a:gd name="connsiteX6" fmla="*/ 98223 w 540228"/>
                <a:gd name="connsiteY6" fmla="*/ 992 h 2976"/>
                <a:gd name="connsiteX7" fmla="*/ 114594 w 540228"/>
                <a:gd name="connsiteY7" fmla="*/ 1488 h 2976"/>
                <a:gd name="connsiteX8" fmla="*/ 130964 w 540228"/>
                <a:gd name="connsiteY8" fmla="*/ 1488 h 2976"/>
                <a:gd name="connsiteX9" fmla="*/ 147335 w 540228"/>
                <a:gd name="connsiteY9" fmla="*/ 0 h 2976"/>
                <a:gd name="connsiteX10" fmla="*/ 163706 w 540228"/>
                <a:gd name="connsiteY10" fmla="*/ 2480 h 2976"/>
                <a:gd name="connsiteX11" fmla="*/ 180076 w 540228"/>
                <a:gd name="connsiteY11" fmla="*/ 1488 h 2976"/>
                <a:gd name="connsiteX12" fmla="*/ 196447 w 540228"/>
                <a:gd name="connsiteY12" fmla="*/ 992 h 2976"/>
                <a:gd name="connsiteX13" fmla="*/ 212817 w 540228"/>
                <a:gd name="connsiteY13" fmla="*/ 496 h 2976"/>
                <a:gd name="connsiteX14" fmla="*/ 229188 w 540228"/>
                <a:gd name="connsiteY14" fmla="*/ 992 h 2976"/>
                <a:gd name="connsiteX15" fmla="*/ 245559 w 540228"/>
                <a:gd name="connsiteY15" fmla="*/ 496 h 2976"/>
                <a:gd name="connsiteX16" fmla="*/ 261929 w 540228"/>
                <a:gd name="connsiteY16" fmla="*/ 992 h 2976"/>
                <a:gd name="connsiteX17" fmla="*/ 278300 w 540228"/>
                <a:gd name="connsiteY17" fmla="*/ 496 h 2976"/>
                <a:gd name="connsiteX18" fmla="*/ 294670 w 540228"/>
                <a:gd name="connsiteY18" fmla="*/ 992 h 2976"/>
                <a:gd name="connsiteX19" fmla="*/ 311041 w 540228"/>
                <a:gd name="connsiteY19" fmla="*/ 496 h 2976"/>
                <a:gd name="connsiteX20" fmla="*/ 327411 w 540228"/>
                <a:gd name="connsiteY20" fmla="*/ 1984 h 2976"/>
                <a:gd name="connsiteX21" fmla="*/ 343782 w 540228"/>
                <a:gd name="connsiteY21" fmla="*/ 496 h 2976"/>
                <a:gd name="connsiteX22" fmla="*/ 360152 w 540228"/>
                <a:gd name="connsiteY22" fmla="*/ 2480 h 2976"/>
                <a:gd name="connsiteX23" fmla="*/ 376523 w 540228"/>
                <a:gd name="connsiteY23" fmla="*/ 992 h 2976"/>
                <a:gd name="connsiteX24" fmla="*/ 392894 w 540228"/>
                <a:gd name="connsiteY24" fmla="*/ 1488 h 2976"/>
                <a:gd name="connsiteX25" fmla="*/ 409264 w 540228"/>
                <a:gd name="connsiteY25" fmla="*/ 1984 h 2976"/>
                <a:gd name="connsiteX26" fmla="*/ 425635 w 540228"/>
                <a:gd name="connsiteY26" fmla="*/ 496 h 2976"/>
                <a:gd name="connsiteX27" fmla="*/ 442005 w 540228"/>
                <a:gd name="connsiteY27" fmla="*/ 496 h 2976"/>
                <a:gd name="connsiteX28" fmla="*/ 458376 w 540228"/>
                <a:gd name="connsiteY28" fmla="*/ 1488 h 2976"/>
                <a:gd name="connsiteX29" fmla="*/ 474747 w 540228"/>
                <a:gd name="connsiteY29" fmla="*/ 2976 h 2976"/>
                <a:gd name="connsiteX30" fmla="*/ 491117 w 540228"/>
                <a:gd name="connsiteY30" fmla="*/ 992 h 2976"/>
                <a:gd name="connsiteX31" fmla="*/ 507488 w 540228"/>
                <a:gd name="connsiteY31" fmla="*/ 2976 h 2976"/>
                <a:gd name="connsiteX32" fmla="*/ 523858 w 540228"/>
                <a:gd name="connsiteY32" fmla="*/ 2480 h 2976"/>
                <a:gd name="connsiteX33" fmla="*/ 540229 w 540228"/>
                <a:gd name="connsiteY33" fmla="*/ 992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40228" h="2976">
                  <a:moveTo>
                    <a:pt x="0" y="1984"/>
                  </a:moveTo>
                  <a:cubicBezTo>
                    <a:pt x="7937" y="1984"/>
                    <a:pt x="7937" y="992"/>
                    <a:pt x="16371" y="992"/>
                  </a:cubicBezTo>
                  <a:cubicBezTo>
                    <a:pt x="24308" y="992"/>
                    <a:pt x="24308" y="0"/>
                    <a:pt x="32741" y="0"/>
                  </a:cubicBezTo>
                  <a:cubicBezTo>
                    <a:pt x="40678" y="0"/>
                    <a:pt x="40678" y="496"/>
                    <a:pt x="49112" y="496"/>
                  </a:cubicBezTo>
                  <a:cubicBezTo>
                    <a:pt x="57049" y="496"/>
                    <a:pt x="57049" y="0"/>
                    <a:pt x="65482" y="0"/>
                  </a:cubicBezTo>
                  <a:cubicBezTo>
                    <a:pt x="73419" y="0"/>
                    <a:pt x="73419" y="1488"/>
                    <a:pt x="81853" y="1488"/>
                  </a:cubicBezTo>
                  <a:cubicBezTo>
                    <a:pt x="89790" y="1488"/>
                    <a:pt x="89790" y="992"/>
                    <a:pt x="98223" y="992"/>
                  </a:cubicBezTo>
                  <a:cubicBezTo>
                    <a:pt x="106160" y="992"/>
                    <a:pt x="106160" y="1488"/>
                    <a:pt x="114594" y="1488"/>
                  </a:cubicBezTo>
                  <a:cubicBezTo>
                    <a:pt x="122531" y="1488"/>
                    <a:pt x="122531" y="1488"/>
                    <a:pt x="130964" y="1488"/>
                  </a:cubicBezTo>
                  <a:cubicBezTo>
                    <a:pt x="138902" y="1488"/>
                    <a:pt x="138902" y="0"/>
                    <a:pt x="147335" y="0"/>
                  </a:cubicBezTo>
                  <a:cubicBezTo>
                    <a:pt x="155272" y="0"/>
                    <a:pt x="155272" y="2480"/>
                    <a:pt x="163706" y="2480"/>
                  </a:cubicBezTo>
                  <a:cubicBezTo>
                    <a:pt x="171643" y="2480"/>
                    <a:pt x="171643" y="1488"/>
                    <a:pt x="180076" y="1488"/>
                  </a:cubicBezTo>
                  <a:cubicBezTo>
                    <a:pt x="188013" y="1488"/>
                    <a:pt x="188013" y="992"/>
                    <a:pt x="196447" y="992"/>
                  </a:cubicBezTo>
                  <a:cubicBezTo>
                    <a:pt x="204384" y="992"/>
                    <a:pt x="204384" y="496"/>
                    <a:pt x="212817" y="496"/>
                  </a:cubicBezTo>
                  <a:cubicBezTo>
                    <a:pt x="220755" y="496"/>
                    <a:pt x="220755" y="992"/>
                    <a:pt x="229188" y="992"/>
                  </a:cubicBezTo>
                  <a:cubicBezTo>
                    <a:pt x="237125" y="992"/>
                    <a:pt x="237125" y="496"/>
                    <a:pt x="245559" y="496"/>
                  </a:cubicBezTo>
                  <a:cubicBezTo>
                    <a:pt x="253496" y="496"/>
                    <a:pt x="253496" y="992"/>
                    <a:pt x="261929" y="992"/>
                  </a:cubicBezTo>
                  <a:cubicBezTo>
                    <a:pt x="269866" y="992"/>
                    <a:pt x="269866" y="496"/>
                    <a:pt x="278300" y="496"/>
                  </a:cubicBezTo>
                  <a:cubicBezTo>
                    <a:pt x="286237" y="496"/>
                    <a:pt x="286237" y="992"/>
                    <a:pt x="294670" y="992"/>
                  </a:cubicBezTo>
                  <a:cubicBezTo>
                    <a:pt x="302608" y="992"/>
                    <a:pt x="302608" y="496"/>
                    <a:pt x="311041" y="496"/>
                  </a:cubicBezTo>
                  <a:cubicBezTo>
                    <a:pt x="318978" y="496"/>
                    <a:pt x="318978" y="1984"/>
                    <a:pt x="327411" y="1984"/>
                  </a:cubicBezTo>
                  <a:cubicBezTo>
                    <a:pt x="335349" y="1984"/>
                    <a:pt x="335349" y="496"/>
                    <a:pt x="343782" y="496"/>
                  </a:cubicBezTo>
                  <a:cubicBezTo>
                    <a:pt x="351719" y="496"/>
                    <a:pt x="351719" y="2480"/>
                    <a:pt x="360152" y="2480"/>
                  </a:cubicBezTo>
                  <a:cubicBezTo>
                    <a:pt x="368090" y="2480"/>
                    <a:pt x="368090" y="992"/>
                    <a:pt x="376523" y="992"/>
                  </a:cubicBezTo>
                  <a:cubicBezTo>
                    <a:pt x="384460" y="992"/>
                    <a:pt x="384460" y="1488"/>
                    <a:pt x="392894" y="1488"/>
                  </a:cubicBezTo>
                  <a:cubicBezTo>
                    <a:pt x="400831" y="1488"/>
                    <a:pt x="400831" y="1984"/>
                    <a:pt x="409264" y="1984"/>
                  </a:cubicBezTo>
                  <a:cubicBezTo>
                    <a:pt x="417201" y="1984"/>
                    <a:pt x="417201" y="496"/>
                    <a:pt x="425635" y="496"/>
                  </a:cubicBezTo>
                  <a:cubicBezTo>
                    <a:pt x="434068" y="496"/>
                    <a:pt x="433572" y="496"/>
                    <a:pt x="442005" y="496"/>
                  </a:cubicBezTo>
                  <a:cubicBezTo>
                    <a:pt x="449943" y="496"/>
                    <a:pt x="449943" y="1488"/>
                    <a:pt x="458376" y="1488"/>
                  </a:cubicBezTo>
                  <a:cubicBezTo>
                    <a:pt x="466313" y="1488"/>
                    <a:pt x="466313" y="2976"/>
                    <a:pt x="474747" y="2976"/>
                  </a:cubicBezTo>
                  <a:cubicBezTo>
                    <a:pt x="482684" y="2976"/>
                    <a:pt x="482684" y="992"/>
                    <a:pt x="491117" y="992"/>
                  </a:cubicBezTo>
                  <a:cubicBezTo>
                    <a:pt x="499054" y="992"/>
                    <a:pt x="499054" y="2976"/>
                    <a:pt x="507488" y="2976"/>
                  </a:cubicBezTo>
                  <a:cubicBezTo>
                    <a:pt x="515425" y="2976"/>
                    <a:pt x="515425" y="2480"/>
                    <a:pt x="523858" y="2480"/>
                  </a:cubicBezTo>
                  <a:cubicBezTo>
                    <a:pt x="532292" y="2480"/>
                    <a:pt x="531796" y="992"/>
                    <a:pt x="540229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6867AFA8-C699-38CC-D215-DC567DE276B9}"/>
                </a:ext>
              </a:extLst>
            </p:cNvPr>
            <p:cNvSpPr/>
            <p:nvPr/>
          </p:nvSpPr>
          <p:spPr>
            <a:xfrm>
              <a:off x="5371401" y="4162093"/>
              <a:ext cx="253991" cy="2480"/>
            </a:xfrm>
            <a:custGeom>
              <a:avLst/>
              <a:gdLst>
                <a:gd name="connsiteX0" fmla="*/ 0 w 253991"/>
                <a:gd name="connsiteY0" fmla="*/ 1984 h 2480"/>
                <a:gd name="connsiteX1" fmla="*/ 15875 w 253991"/>
                <a:gd name="connsiteY1" fmla="*/ 992 h 2480"/>
                <a:gd name="connsiteX2" fmla="*/ 31749 w 253991"/>
                <a:gd name="connsiteY2" fmla="*/ 0 h 2480"/>
                <a:gd name="connsiteX3" fmla="*/ 47624 w 253991"/>
                <a:gd name="connsiteY3" fmla="*/ 496 h 2480"/>
                <a:gd name="connsiteX4" fmla="*/ 63498 w 253991"/>
                <a:gd name="connsiteY4" fmla="*/ 992 h 2480"/>
                <a:gd name="connsiteX5" fmla="*/ 79372 w 253991"/>
                <a:gd name="connsiteY5" fmla="*/ 1984 h 2480"/>
                <a:gd name="connsiteX6" fmla="*/ 95247 w 253991"/>
                <a:gd name="connsiteY6" fmla="*/ 496 h 2480"/>
                <a:gd name="connsiteX7" fmla="*/ 111122 w 253991"/>
                <a:gd name="connsiteY7" fmla="*/ 1984 h 2480"/>
                <a:gd name="connsiteX8" fmla="*/ 126996 w 253991"/>
                <a:gd name="connsiteY8" fmla="*/ 1984 h 2480"/>
                <a:gd name="connsiteX9" fmla="*/ 142871 w 253991"/>
                <a:gd name="connsiteY9" fmla="*/ 1984 h 2480"/>
                <a:gd name="connsiteX10" fmla="*/ 158745 w 253991"/>
                <a:gd name="connsiteY10" fmla="*/ 1488 h 2480"/>
                <a:gd name="connsiteX11" fmla="*/ 174619 w 253991"/>
                <a:gd name="connsiteY11" fmla="*/ 992 h 2480"/>
                <a:gd name="connsiteX12" fmla="*/ 190494 w 253991"/>
                <a:gd name="connsiteY12" fmla="*/ 1488 h 2480"/>
                <a:gd name="connsiteX13" fmla="*/ 206369 w 253991"/>
                <a:gd name="connsiteY13" fmla="*/ 1488 h 2480"/>
                <a:gd name="connsiteX14" fmla="*/ 222243 w 253991"/>
                <a:gd name="connsiteY14" fmla="*/ 992 h 2480"/>
                <a:gd name="connsiteX15" fmla="*/ 238117 w 253991"/>
                <a:gd name="connsiteY15" fmla="*/ 2480 h 2480"/>
                <a:gd name="connsiteX16" fmla="*/ 253992 w 253991"/>
                <a:gd name="connsiteY16" fmla="*/ 1488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3991" h="2480">
                  <a:moveTo>
                    <a:pt x="0" y="1984"/>
                  </a:moveTo>
                  <a:cubicBezTo>
                    <a:pt x="7937" y="1984"/>
                    <a:pt x="7937" y="992"/>
                    <a:pt x="15875" y="992"/>
                  </a:cubicBezTo>
                  <a:cubicBezTo>
                    <a:pt x="23812" y="992"/>
                    <a:pt x="23812" y="0"/>
                    <a:pt x="31749" y="0"/>
                  </a:cubicBezTo>
                  <a:cubicBezTo>
                    <a:pt x="39686" y="0"/>
                    <a:pt x="39686" y="496"/>
                    <a:pt x="47624" y="496"/>
                  </a:cubicBezTo>
                  <a:cubicBezTo>
                    <a:pt x="55561" y="496"/>
                    <a:pt x="55561" y="992"/>
                    <a:pt x="63498" y="992"/>
                  </a:cubicBezTo>
                  <a:cubicBezTo>
                    <a:pt x="71435" y="992"/>
                    <a:pt x="71435" y="1984"/>
                    <a:pt x="79372" y="1984"/>
                  </a:cubicBezTo>
                  <a:cubicBezTo>
                    <a:pt x="87310" y="1984"/>
                    <a:pt x="87310" y="496"/>
                    <a:pt x="95247" y="496"/>
                  </a:cubicBezTo>
                  <a:cubicBezTo>
                    <a:pt x="103184" y="496"/>
                    <a:pt x="103184" y="1984"/>
                    <a:pt x="111122" y="1984"/>
                  </a:cubicBezTo>
                  <a:cubicBezTo>
                    <a:pt x="119059" y="1984"/>
                    <a:pt x="119059" y="1984"/>
                    <a:pt x="126996" y="1984"/>
                  </a:cubicBezTo>
                  <a:cubicBezTo>
                    <a:pt x="134933" y="1984"/>
                    <a:pt x="134933" y="1984"/>
                    <a:pt x="142871" y="1984"/>
                  </a:cubicBezTo>
                  <a:cubicBezTo>
                    <a:pt x="150808" y="1984"/>
                    <a:pt x="150808" y="1488"/>
                    <a:pt x="158745" y="1488"/>
                  </a:cubicBezTo>
                  <a:cubicBezTo>
                    <a:pt x="166682" y="1488"/>
                    <a:pt x="166682" y="992"/>
                    <a:pt x="174619" y="992"/>
                  </a:cubicBezTo>
                  <a:cubicBezTo>
                    <a:pt x="182557" y="992"/>
                    <a:pt x="182557" y="1488"/>
                    <a:pt x="190494" y="1488"/>
                  </a:cubicBezTo>
                  <a:cubicBezTo>
                    <a:pt x="198431" y="1488"/>
                    <a:pt x="198431" y="1488"/>
                    <a:pt x="206369" y="1488"/>
                  </a:cubicBezTo>
                  <a:cubicBezTo>
                    <a:pt x="214306" y="1488"/>
                    <a:pt x="214306" y="992"/>
                    <a:pt x="222243" y="992"/>
                  </a:cubicBezTo>
                  <a:cubicBezTo>
                    <a:pt x="230180" y="992"/>
                    <a:pt x="230180" y="2480"/>
                    <a:pt x="238117" y="2480"/>
                  </a:cubicBezTo>
                  <a:cubicBezTo>
                    <a:pt x="246055" y="2480"/>
                    <a:pt x="246055" y="1488"/>
                    <a:pt x="25399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DE2340E0-41B7-85F1-802B-339EB6F63EC3}"/>
                </a:ext>
              </a:extLst>
            </p:cNvPr>
            <p:cNvSpPr/>
            <p:nvPr/>
          </p:nvSpPr>
          <p:spPr>
            <a:xfrm>
              <a:off x="4411987" y="4161597"/>
              <a:ext cx="555607" cy="2480"/>
            </a:xfrm>
            <a:custGeom>
              <a:avLst/>
              <a:gdLst>
                <a:gd name="connsiteX0" fmla="*/ 0 w 555607"/>
                <a:gd name="connsiteY0" fmla="*/ 496 h 2480"/>
                <a:gd name="connsiteX1" fmla="*/ 15875 w 555607"/>
                <a:gd name="connsiteY1" fmla="*/ 1984 h 2480"/>
                <a:gd name="connsiteX2" fmla="*/ 31749 w 555607"/>
                <a:gd name="connsiteY2" fmla="*/ 1488 h 2480"/>
                <a:gd name="connsiteX3" fmla="*/ 47623 w 555607"/>
                <a:gd name="connsiteY3" fmla="*/ 496 h 2480"/>
                <a:gd name="connsiteX4" fmla="*/ 63498 w 555607"/>
                <a:gd name="connsiteY4" fmla="*/ 2480 h 2480"/>
                <a:gd name="connsiteX5" fmla="*/ 79372 w 555607"/>
                <a:gd name="connsiteY5" fmla="*/ 1488 h 2480"/>
                <a:gd name="connsiteX6" fmla="*/ 95247 w 555607"/>
                <a:gd name="connsiteY6" fmla="*/ 496 h 2480"/>
                <a:gd name="connsiteX7" fmla="*/ 111121 w 555607"/>
                <a:gd name="connsiteY7" fmla="*/ 496 h 2480"/>
                <a:gd name="connsiteX8" fmla="*/ 126996 w 555607"/>
                <a:gd name="connsiteY8" fmla="*/ 0 h 2480"/>
                <a:gd name="connsiteX9" fmla="*/ 142870 w 555607"/>
                <a:gd name="connsiteY9" fmla="*/ 496 h 2480"/>
                <a:gd name="connsiteX10" fmla="*/ 158745 w 555607"/>
                <a:gd name="connsiteY10" fmla="*/ 992 h 2480"/>
                <a:gd name="connsiteX11" fmla="*/ 174619 w 555607"/>
                <a:gd name="connsiteY11" fmla="*/ 992 h 2480"/>
                <a:gd name="connsiteX12" fmla="*/ 190494 w 555607"/>
                <a:gd name="connsiteY12" fmla="*/ 992 h 2480"/>
                <a:gd name="connsiteX13" fmla="*/ 206368 w 555607"/>
                <a:gd name="connsiteY13" fmla="*/ 496 h 2480"/>
                <a:gd name="connsiteX14" fmla="*/ 222243 w 555607"/>
                <a:gd name="connsiteY14" fmla="*/ 992 h 2480"/>
                <a:gd name="connsiteX15" fmla="*/ 238117 w 555607"/>
                <a:gd name="connsiteY15" fmla="*/ 1984 h 2480"/>
                <a:gd name="connsiteX16" fmla="*/ 253992 w 555607"/>
                <a:gd name="connsiteY16" fmla="*/ 992 h 2480"/>
                <a:gd name="connsiteX17" fmla="*/ 269866 w 555607"/>
                <a:gd name="connsiteY17" fmla="*/ 0 h 2480"/>
                <a:gd name="connsiteX18" fmla="*/ 285741 w 555607"/>
                <a:gd name="connsiteY18" fmla="*/ 1488 h 2480"/>
                <a:gd name="connsiteX19" fmla="*/ 301615 w 555607"/>
                <a:gd name="connsiteY19" fmla="*/ 1488 h 2480"/>
                <a:gd name="connsiteX20" fmla="*/ 317490 w 555607"/>
                <a:gd name="connsiteY20" fmla="*/ 1984 h 2480"/>
                <a:gd name="connsiteX21" fmla="*/ 333364 w 555607"/>
                <a:gd name="connsiteY21" fmla="*/ 1984 h 2480"/>
                <a:gd name="connsiteX22" fmla="*/ 349239 w 555607"/>
                <a:gd name="connsiteY22" fmla="*/ 992 h 2480"/>
                <a:gd name="connsiteX23" fmla="*/ 365113 w 555607"/>
                <a:gd name="connsiteY23" fmla="*/ 992 h 2480"/>
                <a:gd name="connsiteX24" fmla="*/ 380988 w 555607"/>
                <a:gd name="connsiteY24" fmla="*/ 496 h 2480"/>
                <a:gd name="connsiteX25" fmla="*/ 396862 w 555607"/>
                <a:gd name="connsiteY25" fmla="*/ 992 h 2480"/>
                <a:gd name="connsiteX26" fmla="*/ 412737 w 555607"/>
                <a:gd name="connsiteY26" fmla="*/ 1488 h 2480"/>
                <a:gd name="connsiteX27" fmla="*/ 428611 w 555607"/>
                <a:gd name="connsiteY27" fmla="*/ 2480 h 2480"/>
                <a:gd name="connsiteX28" fmla="*/ 444486 w 555607"/>
                <a:gd name="connsiteY28" fmla="*/ 1984 h 2480"/>
                <a:gd name="connsiteX29" fmla="*/ 460360 w 555607"/>
                <a:gd name="connsiteY29" fmla="*/ 1488 h 2480"/>
                <a:gd name="connsiteX30" fmla="*/ 476235 w 555607"/>
                <a:gd name="connsiteY30" fmla="*/ 2480 h 2480"/>
                <a:gd name="connsiteX31" fmla="*/ 492109 w 555607"/>
                <a:gd name="connsiteY31" fmla="*/ 2480 h 2480"/>
                <a:gd name="connsiteX32" fmla="*/ 507984 w 555607"/>
                <a:gd name="connsiteY32" fmla="*/ 2480 h 2480"/>
                <a:gd name="connsiteX33" fmla="*/ 523858 w 555607"/>
                <a:gd name="connsiteY33" fmla="*/ 1488 h 2480"/>
                <a:gd name="connsiteX34" fmla="*/ 539733 w 555607"/>
                <a:gd name="connsiteY34" fmla="*/ 992 h 2480"/>
                <a:gd name="connsiteX35" fmla="*/ 555607 w 555607"/>
                <a:gd name="connsiteY35" fmla="*/ 992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55607" h="2480">
                  <a:moveTo>
                    <a:pt x="0" y="496"/>
                  </a:moveTo>
                  <a:cubicBezTo>
                    <a:pt x="7937" y="496"/>
                    <a:pt x="7937" y="1984"/>
                    <a:pt x="15875" y="1984"/>
                  </a:cubicBezTo>
                  <a:cubicBezTo>
                    <a:pt x="23812" y="1984"/>
                    <a:pt x="23812" y="1488"/>
                    <a:pt x="31749" y="1488"/>
                  </a:cubicBezTo>
                  <a:cubicBezTo>
                    <a:pt x="39686" y="1488"/>
                    <a:pt x="39686" y="496"/>
                    <a:pt x="47623" y="496"/>
                  </a:cubicBezTo>
                  <a:cubicBezTo>
                    <a:pt x="55561" y="496"/>
                    <a:pt x="55561" y="2480"/>
                    <a:pt x="63498" y="2480"/>
                  </a:cubicBezTo>
                  <a:cubicBezTo>
                    <a:pt x="71435" y="2480"/>
                    <a:pt x="71435" y="1488"/>
                    <a:pt x="79372" y="1488"/>
                  </a:cubicBezTo>
                  <a:cubicBezTo>
                    <a:pt x="87310" y="1488"/>
                    <a:pt x="87310" y="496"/>
                    <a:pt x="95247" y="496"/>
                  </a:cubicBezTo>
                  <a:cubicBezTo>
                    <a:pt x="103184" y="496"/>
                    <a:pt x="103184" y="496"/>
                    <a:pt x="111121" y="496"/>
                  </a:cubicBezTo>
                  <a:cubicBezTo>
                    <a:pt x="119059" y="496"/>
                    <a:pt x="119059" y="0"/>
                    <a:pt x="126996" y="0"/>
                  </a:cubicBezTo>
                  <a:cubicBezTo>
                    <a:pt x="134933" y="0"/>
                    <a:pt x="134933" y="496"/>
                    <a:pt x="142870" y="496"/>
                  </a:cubicBezTo>
                  <a:cubicBezTo>
                    <a:pt x="150808" y="496"/>
                    <a:pt x="150808" y="992"/>
                    <a:pt x="158745" y="992"/>
                  </a:cubicBezTo>
                  <a:cubicBezTo>
                    <a:pt x="166682" y="992"/>
                    <a:pt x="166682" y="992"/>
                    <a:pt x="174619" y="992"/>
                  </a:cubicBezTo>
                  <a:cubicBezTo>
                    <a:pt x="182557" y="992"/>
                    <a:pt x="182557" y="992"/>
                    <a:pt x="190494" y="992"/>
                  </a:cubicBezTo>
                  <a:cubicBezTo>
                    <a:pt x="198431" y="992"/>
                    <a:pt x="198431" y="496"/>
                    <a:pt x="206368" y="496"/>
                  </a:cubicBezTo>
                  <a:cubicBezTo>
                    <a:pt x="214306" y="496"/>
                    <a:pt x="214306" y="992"/>
                    <a:pt x="222243" y="992"/>
                  </a:cubicBezTo>
                  <a:cubicBezTo>
                    <a:pt x="230180" y="992"/>
                    <a:pt x="230180" y="1984"/>
                    <a:pt x="238117" y="1984"/>
                  </a:cubicBezTo>
                  <a:cubicBezTo>
                    <a:pt x="246055" y="1984"/>
                    <a:pt x="246055" y="992"/>
                    <a:pt x="253992" y="992"/>
                  </a:cubicBezTo>
                  <a:cubicBezTo>
                    <a:pt x="261929" y="992"/>
                    <a:pt x="261929" y="0"/>
                    <a:pt x="269866" y="0"/>
                  </a:cubicBezTo>
                  <a:cubicBezTo>
                    <a:pt x="277804" y="0"/>
                    <a:pt x="277804" y="1488"/>
                    <a:pt x="285741" y="1488"/>
                  </a:cubicBezTo>
                  <a:cubicBezTo>
                    <a:pt x="293678" y="1488"/>
                    <a:pt x="293678" y="1488"/>
                    <a:pt x="301615" y="1488"/>
                  </a:cubicBezTo>
                  <a:cubicBezTo>
                    <a:pt x="309552" y="1488"/>
                    <a:pt x="309552" y="1984"/>
                    <a:pt x="317490" y="1984"/>
                  </a:cubicBezTo>
                  <a:cubicBezTo>
                    <a:pt x="325427" y="1984"/>
                    <a:pt x="325427" y="1984"/>
                    <a:pt x="333364" y="1984"/>
                  </a:cubicBezTo>
                  <a:cubicBezTo>
                    <a:pt x="341302" y="1984"/>
                    <a:pt x="341302" y="992"/>
                    <a:pt x="349239" y="992"/>
                  </a:cubicBezTo>
                  <a:cubicBezTo>
                    <a:pt x="357176" y="992"/>
                    <a:pt x="357176" y="992"/>
                    <a:pt x="365113" y="992"/>
                  </a:cubicBezTo>
                  <a:cubicBezTo>
                    <a:pt x="373051" y="992"/>
                    <a:pt x="373051" y="496"/>
                    <a:pt x="380988" y="496"/>
                  </a:cubicBezTo>
                  <a:cubicBezTo>
                    <a:pt x="388925" y="496"/>
                    <a:pt x="388925" y="992"/>
                    <a:pt x="396862" y="992"/>
                  </a:cubicBezTo>
                  <a:cubicBezTo>
                    <a:pt x="404799" y="992"/>
                    <a:pt x="404799" y="1488"/>
                    <a:pt x="412737" y="1488"/>
                  </a:cubicBezTo>
                  <a:cubicBezTo>
                    <a:pt x="420674" y="1488"/>
                    <a:pt x="420674" y="2480"/>
                    <a:pt x="428611" y="2480"/>
                  </a:cubicBezTo>
                  <a:cubicBezTo>
                    <a:pt x="436549" y="2480"/>
                    <a:pt x="436549" y="1984"/>
                    <a:pt x="444486" y="1984"/>
                  </a:cubicBezTo>
                  <a:cubicBezTo>
                    <a:pt x="452423" y="1984"/>
                    <a:pt x="452423" y="1488"/>
                    <a:pt x="460360" y="1488"/>
                  </a:cubicBezTo>
                  <a:cubicBezTo>
                    <a:pt x="468297" y="1488"/>
                    <a:pt x="468297" y="2480"/>
                    <a:pt x="476235" y="2480"/>
                  </a:cubicBezTo>
                  <a:cubicBezTo>
                    <a:pt x="484172" y="2480"/>
                    <a:pt x="484172" y="2480"/>
                    <a:pt x="492109" y="2480"/>
                  </a:cubicBezTo>
                  <a:cubicBezTo>
                    <a:pt x="500047" y="2480"/>
                    <a:pt x="500047" y="2480"/>
                    <a:pt x="507984" y="2480"/>
                  </a:cubicBezTo>
                  <a:cubicBezTo>
                    <a:pt x="515921" y="2480"/>
                    <a:pt x="515921" y="1488"/>
                    <a:pt x="523858" y="1488"/>
                  </a:cubicBezTo>
                  <a:cubicBezTo>
                    <a:pt x="531796" y="1488"/>
                    <a:pt x="531796" y="992"/>
                    <a:pt x="539733" y="992"/>
                  </a:cubicBezTo>
                  <a:cubicBezTo>
                    <a:pt x="547670" y="992"/>
                    <a:pt x="547670" y="992"/>
                    <a:pt x="55560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000298E1-3CD3-E4AD-AEE5-A9110BAD40A6}"/>
                </a:ext>
              </a:extLst>
            </p:cNvPr>
            <p:cNvSpPr/>
            <p:nvPr/>
          </p:nvSpPr>
          <p:spPr>
            <a:xfrm>
              <a:off x="3322104" y="2472452"/>
              <a:ext cx="458003" cy="211329"/>
            </a:xfrm>
            <a:custGeom>
              <a:avLst/>
              <a:gdLst>
                <a:gd name="connsiteX0" fmla="*/ 3473 w 458003"/>
                <a:gd name="connsiteY0" fmla="*/ 211329 h 211329"/>
                <a:gd name="connsiteX1" fmla="*/ 1488 w 458003"/>
                <a:gd name="connsiteY1" fmla="*/ 196447 h 211329"/>
                <a:gd name="connsiteX2" fmla="*/ 0 w 458003"/>
                <a:gd name="connsiteY2" fmla="*/ 181565 h 211329"/>
                <a:gd name="connsiteX3" fmla="*/ 2480 w 458003"/>
                <a:gd name="connsiteY3" fmla="*/ 164698 h 211329"/>
                <a:gd name="connsiteX4" fmla="*/ 4961 w 458003"/>
                <a:gd name="connsiteY4" fmla="*/ 148327 h 211329"/>
                <a:gd name="connsiteX5" fmla="*/ 8929 w 458003"/>
                <a:gd name="connsiteY5" fmla="*/ 131957 h 211329"/>
                <a:gd name="connsiteX6" fmla="*/ 14386 w 458003"/>
                <a:gd name="connsiteY6" fmla="*/ 116082 h 211329"/>
                <a:gd name="connsiteX7" fmla="*/ 22819 w 458003"/>
                <a:gd name="connsiteY7" fmla="*/ 101200 h 211329"/>
                <a:gd name="connsiteX8" fmla="*/ 33733 w 458003"/>
                <a:gd name="connsiteY8" fmla="*/ 88302 h 211329"/>
                <a:gd name="connsiteX9" fmla="*/ 43655 w 458003"/>
                <a:gd name="connsiteY9" fmla="*/ 74908 h 211329"/>
                <a:gd name="connsiteX10" fmla="*/ 56553 w 458003"/>
                <a:gd name="connsiteY10" fmla="*/ 64490 h 211329"/>
                <a:gd name="connsiteX11" fmla="*/ 70443 w 458003"/>
                <a:gd name="connsiteY11" fmla="*/ 55065 h 211329"/>
                <a:gd name="connsiteX12" fmla="*/ 84829 w 458003"/>
                <a:gd name="connsiteY12" fmla="*/ 46135 h 211329"/>
                <a:gd name="connsiteX13" fmla="*/ 100208 w 458003"/>
                <a:gd name="connsiteY13" fmla="*/ 39190 h 211329"/>
                <a:gd name="connsiteX14" fmla="*/ 116578 w 458003"/>
                <a:gd name="connsiteY14" fmla="*/ 35222 h 211329"/>
                <a:gd name="connsiteX15" fmla="*/ 132949 w 458003"/>
                <a:gd name="connsiteY15" fmla="*/ 32741 h 211329"/>
                <a:gd name="connsiteX16" fmla="*/ 149816 w 458003"/>
                <a:gd name="connsiteY16" fmla="*/ 31749 h 211329"/>
                <a:gd name="connsiteX17" fmla="*/ 166186 w 458003"/>
                <a:gd name="connsiteY17" fmla="*/ 31749 h 211329"/>
                <a:gd name="connsiteX18" fmla="*/ 182557 w 458003"/>
                <a:gd name="connsiteY18" fmla="*/ 34725 h 211329"/>
                <a:gd name="connsiteX19" fmla="*/ 197935 w 458003"/>
                <a:gd name="connsiteY19" fmla="*/ 39686 h 211329"/>
                <a:gd name="connsiteX20" fmla="*/ 212818 w 458003"/>
                <a:gd name="connsiteY20" fmla="*/ 46631 h 211329"/>
                <a:gd name="connsiteX21" fmla="*/ 227204 w 458003"/>
                <a:gd name="connsiteY21" fmla="*/ 54072 h 211329"/>
                <a:gd name="connsiteX22" fmla="*/ 241094 w 458003"/>
                <a:gd name="connsiteY22" fmla="*/ 62506 h 211329"/>
                <a:gd name="connsiteX23" fmla="*/ 253000 w 458003"/>
                <a:gd name="connsiteY23" fmla="*/ 72923 h 211329"/>
                <a:gd name="connsiteX24" fmla="*/ 258953 w 458003"/>
                <a:gd name="connsiteY24" fmla="*/ 58041 h 211329"/>
                <a:gd name="connsiteX25" fmla="*/ 267386 w 458003"/>
                <a:gd name="connsiteY25" fmla="*/ 43655 h 211329"/>
                <a:gd name="connsiteX26" fmla="*/ 278300 w 458003"/>
                <a:gd name="connsiteY26" fmla="*/ 30757 h 211329"/>
                <a:gd name="connsiteX27" fmla="*/ 291198 w 458003"/>
                <a:gd name="connsiteY27" fmla="*/ 19843 h 211329"/>
                <a:gd name="connsiteX28" fmla="*/ 305584 w 458003"/>
                <a:gd name="connsiteY28" fmla="*/ 11410 h 211329"/>
                <a:gd name="connsiteX29" fmla="*/ 320962 w 458003"/>
                <a:gd name="connsiteY29" fmla="*/ 5457 h 211329"/>
                <a:gd name="connsiteX30" fmla="*/ 337333 w 458003"/>
                <a:gd name="connsiteY30" fmla="*/ 2976 h 211329"/>
                <a:gd name="connsiteX31" fmla="*/ 353704 w 458003"/>
                <a:gd name="connsiteY31" fmla="*/ 0 h 211329"/>
                <a:gd name="connsiteX32" fmla="*/ 370074 w 458003"/>
                <a:gd name="connsiteY32" fmla="*/ 2976 h 211329"/>
                <a:gd name="connsiteX33" fmla="*/ 385949 w 458003"/>
                <a:gd name="connsiteY33" fmla="*/ 6449 h 211329"/>
                <a:gd name="connsiteX34" fmla="*/ 401327 w 458003"/>
                <a:gd name="connsiteY34" fmla="*/ 12402 h 211329"/>
                <a:gd name="connsiteX35" fmla="*/ 415713 w 458003"/>
                <a:gd name="connsiteY35" fmla="*/ 20339 h 211329"/>
                <a:gd name="connsiteX36" fmla="*/ 428115 w 458003"/>
                <a:gd name="connsiteY36" fmla="*/ 31253 h 211329"/>
                <a:gd name="connsiteX37" fmla="*/ 439029 w 458003"/>
                <a:gd name="connsiteY37" fmla="*/ 43655 h 211329"/>
                <a:gd name="connsiteX38" fmla="*/ 448455 w 458003"/>
                <a:gd name="connsiteY38" fmla="*/ 57545 h 211329"/>
                <a:gd name="connsiteX39" fmla="*/ 453415 w 458003"/>
                <a:gd name="connsiteY39" fmla="*/ 73420 h 211329"/>
                <a:gd name="connsiteX40" fmla="*/ 457384 w 458003"/>
                <a:gd name="connsiteY40" fmla="*/ 89294 h 211329"/>
                <a:gd name="connsiteX41" fmla="*/ 457880 w 458003"/>
                <a:gd name="connsiteY41" fmla="*/ 105665 h 21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58003" h="211329">
                  <a:moveTo>
                    <a:pt x="3473" y="211329"/>
                  </a:moveTo>
                  <a:cubicBezTo>
                    <a:pt x="2480" y="206368"/>
                    <a:pt x="1984" y="201408"/>
                    <a:pt x="1488" y="196447"/>
                  </a:cubicBezTo>
                  <a:cubicBezTo>
                    <a:pt x="992" y="191486"/>
                    <a:pt x="0" y="186525"/>
                    <a:pt x="0" y="181565"/>
                  </a:cubicBezTo>
                  <a:cubicBezTo>
                    <a:pt x="0" y="176108"/>
                    <a:pt x="1984" y="170651"/>
                    <a:pt x="2480" y="164698"/>
                  </a:cubicBezTo>
                  <a:cubicBezTo>
                    <a:pt x="2976" y="159241"/>
                    <a:pt x="3969" y="153784"/>
                    <a:pt x="4961" y="148327"/>
                  </a:cubicBezTo>
                  <a:cubicBezTo>
                    <a:pt x="6449" y="142871"/>
                    <a:pt x="7441" y="137414"/>
                    <a:pt x="8929" y="131957"/>
                  </a:cubicBezTo>
                  <a:cubicBezTo>
                    <a:pt x="10914" y="126500"/>
                    <a:pt x="11906" y="121043"/>
                    <a:pt x="14386" y="116082"/>
                  </a:cubicBezTo>
                  <a:cubicBezTo>
                    <a:pt x="16867" y="111121"/>
                    <a:pt x="19843" y="106161"/>
                    <a:pt x="22819" y="101200"/>
                  </a:cubicBezTo>
                  <a:cubicBezTo>
                    <a:pt x="25796" y="96239"/>
                    <a:pt x="30261" y="92766"/>
                    <a:pt x="33733" y="88302"/>
                  </a:cubicBezTo>
                  <a:cubicBezTo>
                    <a:pt x="37206" y="83837"/>
                    <a:pt x="39686" y="78876"/>
                    <a:pt x="43655" y="74908"/>
                  </a:cubicBezTo>
                  <a:cubicBezTo>
                    <a:pt x="47623" y="70939"/>
                    <a:pt x="52584" y="67963"/>
                    <a:pt x="56553" y="64490"/>
                  </a:cubicBezTo>
                  <a:cubicBezTo>
                    <a:pt x="61018" y="61018"/>
                    <a:pt x="65482" y="58041"/>
                    <a:pt x="70443" y="55065"/>
                  </a:cubicBezTo>
                  <a:cubicBezTo>
                    <a:pt x="74908" y="52088"/>
                    <a:pt x="79372" y="48616"/>
                    <a:pt x="84829" y="46135"/>
                  </a:cubicBezTo>
                  <a:cubicBezTo>
                    <a:pt x="89790" y="43655"/>
                    <a:pt x="94751" y="41175"/>
                    <a:pt x="100208" y="39190"/>
                  </a:cubicBezTo>
                  <a:cubicBezTo>
                    <a:pt x="105665" y="37206"/>
                    <a:pt x="111122" y="36710"/>
                    <a:pt x="116578" y="35222"/>
                  </a:cubicBezTo>
                  <a:cubicBezTo>
                    <a:pt x="122035" y="34229"/>
                    <a:pt x="127492" y="33733"/>
                    <a:pt x="132949" y="32741"/>
                  </a:cubicBezTo>
                  <a:cubicBezTo>
                    <a:pt x="138406" y="32245"/>
                    <a:pt x="143863" y="31749"/>
                    <a:pt x="149816" y="31749"/>
                  </a:cubicBezTo>
                  <a:cubicBezTo>
                    <a:pt x="155272" y="31749"/>
                    <a:pt x="160729" y="31253"/>
                    <a:pt x="166186" y="31749"/>
                  </a:cubicBezTo>
                  <a:cubicBezTo>
                    <a:pt x="171643" y="32245"/>
                    <a:pt x="177100" y="33237"/>
                    <a:pt x="182557" y="34725"/>
                  </a:cubicBezTo>
                  <a:cubicBezTo>
                    <a:pt x="188014" y="35718"/>
                    <a:pt x="192974" y="38198"/>
                    <a:pt x="197935" y="39686"/>
                  </a:cubicBezTo>
                  <a:cubicBezTo>
                    <a:pt x="202896" y="41671"/>
                    <a:pt x="207857" y="44151"/>
                    <a:pt x="212818" y="46631"/>
                  </a:cubicBezTo>
                  <a:cubicBezTo>
                    <a:pt x="217778" y="49112"/>
                    <a:pt x="222739" y="51096"/>
                    <a:pt x="227204" y="54072"/>
                  </a:cubicBezTo>
                  <a:cubicBezTo>
                    <a:pt x="231668" y="57049"/>
                    <a:pt x="237125" y="59529"/>
                    <a:pt x="241094" y="62506"/>
                  </a:cubicBezTo>
                  <a:cubicBezTo>
                    <a:pt x="245559" y="65978"/>
                    <a:pt x="249031" y="68955"/>
                    <a:pt x="253000" y="72923"/>
                  </a:cubicBezTo>
                  <a:cubicBezTo>
                    <a:pt x="254488" y="67467"/>
                    <a:pt x="256472" y="63002"/>
                    <a:pt x="258953" y="58041"/>
                  </a:cubicBezTo>
                  <a:cubicBezTo>
                    <a:pt x="261433" y="53080"/>
                    <a:pt x="264409" y="48120"/>
                    <a:pt x="267386" y="43655"/>
                  </a:cubicBezTo>
                  <a:cubicBezTo>
                    <a:pt x="270858" y="39190"/>
                    <a:pt x="274331" y="34725"/>
                    <a:pt x="278300" y="30757"/>
                  </a:cubicBezTo>
                  <a:cubicBezTo>
                    <a:pt x="282268" y="26788"/>
                    <a:pt x="286733" y="23316"/>
                    <a:pt x="291198" y="19843"/>
                  </a:cubicBezTo>
                  <a:cubicBezTo>
                    <a:pt x="295662" y="16371"/>
                    <a:pt x="300623" y="13890"/>
                    <a:pt x="305584" y="11410"/>
                  </a:cubicBezTo>
                  <a:cubicBezTo>
                    <a:pt x="310545" y="8929"/>
                    <a:pt x="316002" y="7441"/>
                    <a:pt x="320962" y="5457"/>
                  </a:cubicBezTo>
                  <a:cubicBezTo>
                    <a:pt x="326419" y="3969"/>
                    <a:pt x="331876" y="3473"/>
                    <a:pt x="337333" y="2976"/>
                  </a:cubicBezTo>
                  <a:cubicBezTo>
                    <a:pt x="342790" y="1984"/>
                    <a:pt x="348247" y="0"/>
                    <a:pt x="353704" y="0"/>
                  </a:cubicBezTo>
                  <a:cubicBezTo>
                    <a:pt x="359161" y="0"/>
                    <a:pt x="364617" y="1984"/>
                    <a:pt x="370074" y="2976"/>
                  </a:cubicBezTo>
                  <a:cubicBezTo>
                    <a:pt x="375531" y="3969"/>
                    <a:pt x="380988" y="4961"/>
                    <a:pt x="385949" y="6449"/>
                  </a:cubicBezTo>
                  <a:cubicBezTo>
                    <a:pt x="391406" y="7937"/>
                    <a:pt x="396366" y="9922"/>
                    <a:pt x="401327" y="12402"/>
                  </a:cubicBezTo>
                  <a:cubicBezTo>
                    <a:pt x="406288" y="14882"/>
                    <a:pt x="411249" y="16867"/>
                    <a:pt x="415713" y="20339"/>
                  </a:cubicBezTo>
                  <a:cubicBezTo>
                    <a:pt x="420178" y="23812"/>
                    <a:pt x="424147" y="27780"/>
                    <a:pt x="428115" y="31253"/>
                  </a:cubicBezTo>
                  <a:cubicBezTo>
                    <a:pt x="432084" y="35222"/>
                    <a:pt x="436053" y="39190"/>
                    <a:pt x="439029" y="43655"/>
                  </a:cubicBezTo>
                  <a:cubicBezTo>
                    <a:pt x="442502" y="48120"/>
                    <a:pt x="445974" y="52584"/>
                    <a:pt x="448455" y="57545"/>
                  </a:cubicBezTo>
                  <a:cubicBezTo>
                    <a:pt x="450935" y="62506"/>
                    <a:pt x="451927" y="68459"/>
                    <a:pt x="453415" y="73420"/>
                  </a:cubicBezTo>
                  <a:cubicBezTo>
                    <a:pt x="454904" y="78876"/>
                    <a:pt x="456392" y="83837"/>
                    <a:pt x="457384" y="89294"/>
                  </a:cubicBezTo>
                  <a:cubicBezTo>
                    <a:pt x="458376" y="94751"/>
                    <a:pt x="457880" y="100208"/>
                    <a:pt x="457880" y="10566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72C40C71-76C4-D863-F918-2CF3BE5F10C4}"/>
                </a:ext>
              </a:extLst>
            </p:cNvPr>
            <p:cNvSpPr/>
            <p:nvPr/>
          </p:nvSpPr>
          <p:spPr>
            <a:xfrm>
              <a:off x="3180225" y="2684773"/>
              <a:ext cx="145846" cy="293181"/>
            </a:xfrm>
            <a:custGeom>
              <a:avLst/>
              <a:gdLst>
                <a:gd name="connsiteX0" fmla="*/ 121539 w 145846"/>
                <a:gd name="connsiteY0" fmla="*/ 293182 h 293181"/>
                <a:gd name="connsiteX1" fmla="*/ 106657 w 145846"/>
                <a:gd name="connsiteY1" fmla="*/ 288717 h 293181"/>
                <a:gd name="connsiteX2" fmla="*/ 91775 w 145846"/>
                <a:gd name="connsiteY2" fmla="*/ 283260 h 293181"/>
                <a:gd name="connsiteX3" fmla="*/ 77388 w 145846"/>
                <a:gd name="connsiteY3" fmla="*/ 277307 h 293181"/>
                <a:gd name="connsiteX4" fmla="*/ 64490 w 145846"/>
                <a:gd name="connsiteY4" fmla="*/ 268378 h 293181"/>
                <a:gd name="connsiteX5" fmla="*/ 52088 w 145846"/>
                <a:gd name="connsiteY5" fmla="*/ 258953 h 293181"/>
                <a:gd name="connsiteX6" fmla="*/ 41175 w 145846"/>
                <a:gd name="connsiteY6" fmla="*/ 247543 h 293181"/>
                <a:gd name="connsiteX7" fmla="*/ 30757 w 145846"/>
                <a:gd name="connsiteY7" fmla="*/ 236133 h 293181"/>
                <a:gd name="connsiteX8" fmla="*/ 21331 w 145846"/>
                <a:gd name="connsiteY8" fmla="*/ 223235 h 293181"/>
                <a:gd name="connsiteX9" fmla="*/ 13890 w 145846"/>
                <a:gd name="connsiteY9" fmla="*/ 209345 h 293181"/>
                <a:gd name="connsiteX10" fmla="*/ 9922 w 145846"/>
                <a:gd name="connsiteY10" fmla="*/ 193966 h 293181"/>
                <a:gd name="connsiteX11" fmla="*/ 4961 w 145846"/>
                <a:gd name="connsiteY11" fmla="*/ 179084 h 293181"/>
                <a:gd name="connsiteX12" fmla="*/ 992 w 145846"/>
                <a:gd name="connsiteY12" fmla="*/ 163706 h 293181"/>
                <a:gd name="connsiteX13" fmla="*/ 0 w 145846"/>
                <a:gd name="connsiteY13" fmla="*/ 147831 h 293181"/>
                <a:gd name="connsiteX14" fmla="*/ 1488 w 145846"/>
                <a:gd name="connsiteY14" fmla="*/ 131461 h 293181"/>
                <a:gd name="connsiteX15" fmla="*/ 4465 w 145846"/>
                <a:gd name="connsiteY15" fmla="*/ 115090 h 293181"/>
                <a:gd name="connsiteX16" fmla="*/ 8433 w 145846"/>
                <a:gd name="connsiteY16" fmla="*/ 99216 h 293181"/>
                <a:gd name="connsiteX17" fmla="*/ 14882 w 145846"/>
                <a:gd name="connsiteY17" fmla="*/ 83837 h 293181"/>
                <a:gd name="connsiteX18" fmla="*/ 23316 w 145846"/>
                <a:gd name="connsiteY18" fmla="*/ 69947 h 293181"/>
                <a:gd name="connsiteX19" fmla="*/ 31749 w 145846"/>
                <a:gd name="connsiteY19" fmla="*/ 56057 h 293181"/>
                <a:gd name="connsiteX20" fmla="*/ 42663 w 145846"/>
                <a:gd name="connsiteY20" fmla="*/ 43655 h 293181"/>
                <a:gd name="connsiteX21" fmla="*/ 55065 w 145846"/>
                <a:gd name="connsiteY21" fmla="*/ 32741 h 293181"/>
                <a:gd name="connsiteX22" fmla="*/ 68955 w 145846"/>
                <a:gd name="connsiteY22" fmla="*/ 23812 h 293181"/>
                <a:gd name="connsiteX23" fmla="*/ 83341 w 145846"/>
                <a:gd name="connsiteY23" fmla="*/ 15875 h 293181"/>
                <a:gd name="connsiteX24" fmla="*/ 97231 w 145846"/>
                <a:gd name="connsiteY24" fmla="*/ 7441 h 293181"/>
                <a:gd name="connsiteX25" fmla="*/ 113106 w 145846"/>
                <a:gd name="connsiteY25" fmla="*/ 2480 h 293181"/>
                <a:gd name="connsiteX26" fmla="*/ 129476 w 145846"/>
                <a:gd name="connsiteY26" fmla="*/ 992 h 293181"/>
                <a:gd name="connsiteX27" fmla="*/ 145847 w 145846"/>
                <a:gd name="connsiteY27" fmla="*/ 0 h 29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5846" h="293181">
                  <a:moveTo>
                    <a:pt x="121539" y="293182"/>
                  </a:moveTo>
                  <a:cubicBezTo>
                    <a:pt x="116578" y="292190"/>
                    <a:pt x="111618" y="290206"/>
                    <a:pt x="106657" y="288717"/>
                  </a:cubicBezTo>
                  <a:cubicBezTo>
                    <a:pt x="101696" y="287229"/>
                    <a:pt x="96735" y="285741"/>
                    <a:pt x="91775" y="283260"/>
                  </a:cubicBezTo>
                  <a:cubicBezTo>
                    <a:pt x="86814" y="281276"/>
                    <a:pt x="81853" y="279788"/>
                    <a:pt x="77388" y="277307"/>
                  </a:cubicBezTo>
                  <a:cubicBezTo>
                    <a:pt x="72923" y="274827"/>
                    <a:pt x="68955" y="271355"/>
                    <a:pt x="64490" y="268378"/>
                  </a:cubicBezTo>
                  <a:cubicBezTo>
                    <a:pt x="60025" y="265402"/>
                    <a:pt x="56057" y="262425"/>
                    <a:pt x="52088" y="258953"/>
                  </a:cubicBezTo>
                  <a:cubicBezTo>
                    <a:pt x="48120" y="255480"/>
                    <a:pt x="45143" y="251512"/>
                    <a:pt x="41175" y="247543"/>
                  </a:cubicBezTo>
                  <a:cubicBezTo>
                    <a:pt x="37702" y="243574"/>
                    <a:pt x="33733" y="240102"/>
                    <a:pt x="30757" y="236133"/>
                  </a:cubicBezTo>
                  <a:cubicBezTo>
                    <a:pt x="27780" y="232164"/>
                    <a:pt x="24308" y="227700"/>
                    <a:pt x="21331" y="223235"/>
                  </a:cubicBezTo>
                  <a:cubicBezTo>
                    <a:pt x="18851" y="218770"/>
                    <a:pt x="16371" y="213809"/>
                    <a:pt x="13890" y="209345"/>
                  </a:cubicBezTo>
                  <a:cubicBezTo>
                    <a:pt x="11906" y="204384"/>
                    <a:pt x="11906" y="198927"/>
                    <a:pt x="9922" y="193966"/>
                  </a:cubicBezTo>
                  <a:cubicBezTo>
                    <a:pt x="8433" y="189006"/>
                    <a:pt x="6449" y="184045"/>
                    <a:pt x="4961" y="179084"/>
                  </a:cubicBezTo>
                  <a:cubicBezTo>
                    <a:pt x="3969" y="174123"/>
                    <a:pt x="1488" y="169162"/>
                    <a:pt x="992" y="163706"/>
                  </a:cubicBezTo>
                  <a:cubicBezTo>
                    <a:pt x="496" y="158745"/>
                    <a:pt x="0" y="153288"/>
                    <a:pt x="0" y="147831"/>
                  </a:cubicBezTo>
                  <a:cubicBezTo>
                    <a:pt x="0" y="142374"/>
                    <a:pt x="992" y="136917"/>
                    <a:pt x="1488" y="131461"/>
                  </a:cubicBezTo>
                  <a:cubicBezTo>
                    <a:pt x="1984" y="126004"/>
                    <a:pt x="2976" y="120547"/>
                    <a:pt x="4465" y="115090"/>
                  </a:cubicBezTo>
                  <a:cubicBezTo>
                    <a:pt x="5457" y="109633"/>
                    <a:pt x="6449" y="104176"/>
                    <a:pt x="8433" y="99216"/>
                  </a:cubicBezTo>
                  <a:cubicBezTo>
                    <a:pt x="10418" y="94255"/>
                    <a:pt x="12402" y="88798"/>
                    <a:pt x="14882" y="83837"/>
                  </a:cubicBezTo>
                  <a:cubicBezTo>
                    <a:pt x="17363" y="78876"/>
                    <a:pt x="20835" y="74412"/>
                    <a:pt x="23316" y="69947"/>
                  </a:cubicBezTo>
                  <a:cubicBezTo>
                    <a:pt x="26292" y="65482"/>
                    <a:pt x="28277" y="60025"/>
                    <a:pt x="31749" y="56057"/>
                  </a:cubicBezTo>
                  <a:cubicBezTo>
                    <a:pt x="35222" y="51592"/>
                    <a:pt x="38694" y="47623"/>
                    <a:pt x="42663" y="43655"/>
                  </a:cubicBezTo>
                  <a:cubicBezTo>
                    <a:pt x="46631" y="39686"/>
                    <a:pt x="50600" y="36214"/>
                    <a:pt x="55065" y="32741"/>
                  </a:cubicBezTo>
                  <a:cubicBezTo>
                    <a:pt x="59033" y="29268"/>
                    <a:pt x="64490" y="26788"/>
                    <a:pt x="68955" y="23812"/>
                  </a:cubicBezTo>
                  <a:cubicBezTo>
                    <a:pt x="73420" y="20835"/>
                    <a:pt x="78380" y="18355"/>
                    <a:pt x="83341" y="15875"/>
                  </a:cubicBezTo>
                  <a:cubicBezTo>
                    <a:pt x="88302" y="13394"/>
                    <a:pt x="92271" y="8929"/>
                    <a:pt x="97231" y="7441"/>
                  </a:cubicBezTo>
                  <a:cubicBezTo>
                    <a:pt x="102192" y="5457"/>
                    <a:pt x="107649" y="3969"/>
                    <a:pt x="113106" y="2480"/>
                  </a:cubicBezTo>
                  <a:cubicBezTo>
                    <a:pt x="118563" y="992"/>
                    <a:pt x="124020" y="1488"/>
                    <a:pt x="129476" y="992"/>
                  </a:cubicBezTo>
                  <a:cubicBezTo>
                    <a:pt x="134933" y="0"/>
                    <a:pt x="140390" y="0"/>
                    <a:pt x="14584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66DCF31D-5088-0391-1064-FE67E02029F6}"/>
                </a:ext>
              </a:extLst>
            </p:cNvPr>
            <p:cNvSpPr/>
            <p:nvPr/>
          </p:nvSpPr>
          <p:spPr>
            <a:xfrm>
              <a:off x="3289858" y="2958980"/>
              <a:ext cx="515425" cy="374662"/>
            </a:xfrm>
            <a:custGeom>
              <a:avLst/>
              <a:gdLst>
                <a:gd name="connsiteX0" fmla="*/ 438533 w 515425"/>
                <a:gd name="connsiteY0" fmla="*/ 219886 h 374662"/>
                <a:gd name="connsiteX1" fmla="*/ 453911 w 515425"/>
                <a:gd name="connsiteY1" fmla="*/ 219390 h 374662"/>
                <a:gd name="connsiteX2" fmla="*/ 467801 w 515425"/>
                <a:gd name="connsiteY2" fmla="*/ 225839 h 374662"/>
                <a:gd name="connsiteX3" fmla="*/ 481196 w 515425"/>
                <a:gd name="connsiteY3" fmla="*/ 232785 h 374662"/>
                <a:gd name="connsiteX4" fmla="*/ 493598 w 515425"/>
                <a:gd name="connsiteY4" fmla="*/ 241714 h 374662"/>
                <a:gd name="connsiteX5" fmla="*/ 502527 w 515425"/>
                <a:gd name="connsiteY5" fmla="*/ 254116 h 374662"/>
                <a:gd name="connsiteX6" fmla="*/ 510960 w 515425"/>
                <a:gd name="connsiteY6" fmla="*/ 267014 h 374662"/>
                <a:gd name="connsiteX7" fmla="*/ 513937 w 515425"/>
                <a:gd name="connsiteY7" fmla="*/ 281896 h 374662"/>
                <a:gd name="connsiteX8" fmla="*/ 515425 w 515425"/>
                <a:gd name="connsiteY8" fmla="*/ 296779 h 374662"/>
                <a:gd name="connsiteX9" fmla="*/ 514433 w 515425"/>
                <a:gd name="connsiteY9" fmla="*/ 311661 h 374662"/>
                <a:gd name="connsiteX10" fmla="*/ 510960 w 515425"/>
                <a:gd name="connsiteY10" fmla="*/ 326543 h 374662"/>
                <a:gd name="connsiteX11" fmla="*/ 503023 w 515425"/>
                <a:gd name="connsiteY11" fmla="*/ 339441 h 374662"/>
                <a:gd name="connsiteX12" fmla="*/ 493102 w 515425"/>
                <a:gd name="connsiteY12" fmla="*/ 350851 h 374662"/>
                <a:gd name="connsiteX13" fmla="*/ 482188 w 515425"/>
                <a:gd name="connsiteY13" fmla="*/ 361765 h 374662"/>
                <a:gd name="connsiteX14" fmla="*/ 468298 w 515425"/>
                <a:gd name="connsiteY14" fmla="*/ 367718 h 374662"/>
                <a:gd name="connsiteX15" fmla="*/ 453911 w 515425"/>
                <a:gd name="connsiteY15" fmla="*/ 373671 h 374662"/>
                <a:gd name="connsiteX16" fmla="*/ 438533 w 515425"/>
                <a:gd name="connsiteY16" fmla="*/ 374663 h 374662"/>
                <a:gd name="connsiteX17" fmla="*/ 423154 w 515425"/>
                <a:gd name="connsiteY17" fmla="*/ 372182 h 374662"/>
                <a:gd name="connsiteX18" fmla="*/ 408272 w 515425"/>
                <a:gd name="connsiteY18" fmla="*/ 367718 h 374662"/>
                <a:gd name="connsiteX19" fmla="*/ 394382 w 515425"/>
                <a:gd name="connsiteY19" fmla="*/ 360773 h 374662"/>
                <a:gd name="connsiteX20" fmla="*/ 381980 w 515425"/>
                <a:gd name="connsiteY20" fmla="*/ 351347 h 374662"/>
                <a:gd name="connsiteX21" fmla="*/ 373051 w 515425"/>
                <a:gd name="connsiteY21" fmla="*/ 338449 h 374662"/>
                <a:gd name="connsiteX22" fmla="*/ 366105 w 515425"/>
                <a:gd name="connsiteY22" fmla="*/ 323567 h 374662"/>
                <a:gd name="connsiteX23" fmla="*/ 352215 w 515425"/>
                <a:gd name="connsiteY23" fmla="*/ 334481 h 374662"/>
                <a:gd name="connsiteX24" fmla="*/ 336341 w 515425"/>
                <a:gd name="connsiteY24" fmla="*/ 341426 h 374662"/>
                <a:gd name="connsiteX25" fmla="*/ 319474 w 515425"/>
                <a:gd name="connsiteY25" fmla="*/ 346386 h 374662"/>
                <a:gd name="connsiteX26" fmla="*/ 302112 w 515425"/>
                <a:gd name="connsiteY26" fmla="*/ 345890 h 374662"/>
                <a:gd name="connsiteX27" fmla="*/ 286237 w 515425"/>
                <a:gd name="connsiteY27" fmla="*/ 345890 h 374662"/>
                <a:gd name="connsiteX28" fmla="*/ 270858 w 515425"/>
                <a:gd name="connsiteY28" fmla="*/ 340930 h 374662"/>
                <a:gd name="connsiteX29" fmla="*/ 254984 w 515425"/>
                <a:gd name="connsiteY29" fmla="*/ 336961 h 374662"/>
                <a:gd name="connsiteX30" fmla="*/ 241590 w 515425"/>
                <a:gd name="connsiteY30" fmla="*/ 328031 h 374662"/>
                <a:gd name="connsiteX31" fmla="*/ 229684 w 515425"/>
                <a:gd name="connsiteY31" fmla="*/ 317118 h 374662"/>
                <a:gd name="connsiteX32" fmla="*/ 218274 w 515425"/>
                <a:gd name="connsiteY32" fmla="*/ 305708 h 374662"/>
                <a:gd name="connsiteX33" fmla="*/ 209841 w 515425"/>
                <a:gd name="connsiteY33" fmla="*/ 291818 h 374662"/>
                <a:gd name="connsiteX34" fmla="*/ 205872 w 515425"/>
                <a:gd name="connsiteY34" fmla="*/ 275943 h 374662"/>
                <a:gd name="connsiteX35" fmla="*/ 201408 w 515425"/>
                <a:gd name="connsiteY35" fmla="*/ 260565 h 374662"/>
                <a:gd name="connsiteX36" fmla="*/ 199423 w 515425"/>
                <a:gd name="connsiteY36" fmla="*/ 244690 h 374662"/>
                <a:gd name="connsiteX37" fmla="*/ 201904 w 515425"/>
                <a:gd name="connsiteY37" fmla="*/ 228816 h 374662"/>
                <a:gd name="connsiteX38" fmla="*/ 203392 w 515425"/>
                <a:gd name="connsiteY38" fmla="*/ 212445 h 374662"/>
                <a:gd name="connsiteX39" fmla="*/ 209345 w 515425"/>
                <a:gd name="connsiteY39" fmla="*/ 197563 h 374662"/>
                <a:gd name="connsiteX40" fmla="*/ 205376 w 515425"/>
                <a:gd name="connsiteY40" fmla="*/ 198059 h 374662"/>
                <a:gd name="connsiteX41" fmla="*/ 190494 w 515425"/>
                <a:gd name="connsiteY41" fmla="*/ 195579 h 374662"/>
                <a:gd name="connsiteX42" fmla="*/ 177100 w 515425"/>
                <a:gd name="connsiteY42" fmla="*/ 188138 h 374662"/>
                <a:gd name="connsiteX43" fmla="*/ 166186 w 515425"/>
                <a:gd name="connsiteY43" fmla="*/ 177720 h 374662"/>
                <a:gd name="connsiteX44" fmla="*/ 160233 w 515425"/>
                <a:gd name="connsiteY44" fmla="*/ 163830 h 374662"/>
                <a:gd name="connsiteX45" fmla="*/ 145847 w 515425"/>
                <a:gd name="connsiteY45" fmla="*/ 173751 h 374662"/>
                <a:gd name="connsiteX46" fmla="*/ 130965 w 515425"/>
                <a:gd name="connsiteY46" fmla="*/ 183177 h 374662"/>
                <a:gd name="connsiteX47" fmla="*/ 113602 w 515425"/>
                <a:gd name="connsiteY47" fmla="*/ 186649 h 374662"/>
                <a:gd name="connsiteX48" fmla="*/ 96239 w 515425"/>
                <a:gd name="connsiteY48" fmla="*/ 188138 h 374662"/>
                <a:gd name="connsiteX49" fmla="*/ 79868 w 515425"/>
                <a:gd name="connsiteY49" fmla="*/ 186153 h 374662"/>
                <a:gd name="connsiteX50" fmla="*/ 63498 w 515425"/>
                <a:gd name="connsiteY50" fmla="*/ 184169 h 374662"/>
                <a:gd name="connsiteX51" fmla="*/ 48616 w 515425"/>
                <a:gd name="connsiteY51" fmla="*/ 177224 h 374662"/>
                <a:gd name="connsiteX52" fmla="*/ 34725 w 515425"/>
                <a:gd name="connsiteY52" fmla="*/ 167798 h 374662"/>
                <a:gd name="connsiteX53" fmla="*/ 22819 w 515425"/>
                <a:gd name="connsiteY53" fmla="*/ 155893 h 374662"/>
                <a:gd name="connsiteX54" fmla="*/ 13394 w 515425"/>
                <a:gd name="connsiteY54" fmla="*/ 142002 h 374662"/>
                <a:gd name="connsiteX55" fmla="*/ 6449 w 515425"/>
                <a:gd name="connsiteY55" fmla="*/ 127120 h 374662"/>
                <a:gd name="connsiteX56" fmla="*/ 1488 w 515425"/>
                <a:gd name="connsiteY56" fmla="*/ 111246 h 374662"/>
                <a:gd name="connsiteX57" fmla="*/ 0 w 515425"/>
                <a:gd name="connsiteY57" fmla="*/ 94875 h 374662"/>
                <a:gd name="connsiteX58" fmla="*/ 2480 w 515425"/>
                <a:gd name="connsiteY58" fmla="*/ 78504 h 374662"/>
                <a:gd name="connsiteX59" fmla="*/ 6449 w 515425"/>
                <a:gd name="connsiteY59" fmla="*/ 62630 h 374662"/>
                <a:gd name="connsiteX60" fmla="*/ 14386 w 515425"/>
                <a:gd name="connsiteY60" fmla="*/ 48244 h 374662"/>
                <a:gd name="connsiteX61" fmla="*/ 23316 w 515425"/>
                <a:gd name="connsiteY61" fmla="*/ 34353 h 374662"/>
                <a:gd name="connsiteX62" fmla="*/ 34725 w 515425"/>
                <a:gd name="connsiteY62" fmla="*/ 22447 h 374662"/>
                <a:gd name="connsiteX63" fmla="*/ 48616 w 515425"/>
                <a:gd name="connsiteY63" fmla="*/ 13518 h 374662"/>
                <a:gd name="connsiteX64" fmla="*/ 63002 w 515425"/>
                <a:gd name="connsiteY64" fmla="*/ 5085 h 374662"/>
                <a:gd name="connsiteX65" fmla="*/ 78877 w 515425"/>
                <a:gd name="connsiteY65" fmla="*/ 620 h 374662"/>
                <a:gd name="connsiteX66" fmla="*/ 95743 w 515425"/>
                <a:gd name="connsiteY66" fmla="*/ 124 h 3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15425" h="374662">
                  <a:moveTo>
                    <a:pt x="438533" y="219886"/>
                  </a:moveTo>
                  <a:cubicBezTo>
                    <a:pt x="443494" y="219886"/>
                    <a:pt x="448951" y="218398"/>
                    <a:pt x="453911" y="219390"/>
                  </a:cubicBezTo>
                  <a:cubicBezTo>
                    <a:pt x="458872" y="220383"/>
                    <a:pt x="463337" y="223855"/>
                    <a:pt x="467801" y="225839"/>
                  </a:cubicBezTo>
                  <a:cubicBezTo>
                    <a:pt x="472762" y="227824"/>
                    <a:pt x="477227" y="229808"/>
                    <a:pt x="481196" y="232785"/>
                  </a:cubicBezTo>
                  <a:cubicBezTo>
                    <a:pt x="485660" y="235761"/>
                    <a:pt x="489629" y="238241"/>
                    <a:pt x="493598" y="241714"/>
                  </a:cubicBezTo>
                  <a:cubicBezTo>
                    <a:pt x="497070" y="245187"/>
                    <a:pt x="499551" y="249651"/>
                    <a:pt x="502527" y="254116"/>
                  </a:cubicBezTo>
                  <a:cubicBezTo>
                    <a:pt x="505504" y="258085"/>
                    <a:pt x="508976" y="262053"/>
                    <a:pt x="510960" y="267014"/>
                  </a:cubicBezTo>
                  <a:cubicBezTo>
                    <a:pt x="512945" y="271479"/>
                    <a:pt x="512945" y="276935"/>
                    <a:pt x="513937" y="281896"/>
                  </a:cubicBezTo>
                  <a:cubicBezTo>
                    <a:pt x="514929" y="286857"/>
                    <a:pt x="515425" y="291818"/>
                    <a:pt x="515425" y="296779"/>
                  </a:cubicBezTo>
                  <a:cubicBezTo>
                    <a:pt x="515425" y="301739"/>
                    <a:pt x="515425" y="306700"/>
                    <a:pt x="514433" y="311661"/>
                  </a:cubicBezTo>
                  <a:cubicBezTo>
                    <a:pt x="513441" y="316622"/>
                    <a:pt x="512945" y="322079"/>
                    <a:pt x="510960" y="326543"/>
                  </a:cubicBezTo>
                  <a:cubicBezTo>
                    <a:pt x="508976" y="331504"/>
                    <a:pt x="505504" y="335473"/>
                    <a:pt x="503023" y="339441"/>
                  </a:cubicBezTo>
                  <a:cubicBezTo>
                    <a:pt x="500047" y="343906"/>
                    <a:pt x="496574" y="347379"/>
                    <a:pt x="493102" y="350851"/>
                  </a:cubicBezTo>
                  <a:cubicBezTo>
                    <a:pt x="489629" y="354324"/>
                    <a:pt x="486652" y="358788"/>
                    <a:pt x="482188" y="361765"/>
                  </a:cubicBezTo>
                  <a:cubicBezTo>
                    <a:pt x="478219" y="364741"/>
                    <a:pt x="472762" y="365733"/>
                    <a:pt x="468298" y="367718"/>
                  </a:cubicBezTo>
                  <a:cubicBezTo>
                    <a:pt x="463833" y="369702"/>
                    <a:pt x="459368" y="372678"/>
                    <a:pt x="453911" y="373671"/>
                  </a:cubicBezTo>
                  <a:cubicBezTo>
                    <a:pt x="448951" y="374663"/>
                    <a:pt x="443990" y="374663"/>
                    <a:pt x="438533" y="374663"/>
                  </a:cubicBezTo>
                  <a:cubicBezTo>
                    <a:pt x="433076" y="374663"/>
                    <a:pt x="428115" y="373175"/>
                    <a:pt x="423154" y="372182"/>
                  </a:cubicBezTo>
                  <a:cubicBezTo>
                    <a:pt x="418194" y="371190"/>
                    <a:pt x="413233" y="369702"/>
                    <a:pt x="408272" y="367718"/>
                  </a:cubicBezTo>
                  <a:cubicBezTo>
                    <a:pt x="403311" y="365733"/>
                    <a:pt x="398847" y="363749"/>
                    <a:pt x="394382" y="360773"/>
                  </a:cubicBezTo>
                  <a:cubicBezTo>
                    <a:pt x="389917" y="357796"/>
                    <a:pt x="385453" y="354820"/>
                    <a:pt x="381980" y="351347"/>
                  </a:cubicBezTo>
                  <a:cubicBezTo>
                    <a:pt x="378507" y="347875"/>
                    <a:pt x="376027" y="342914"/>
                    <a:pt x="373051" y="338449"/>
                  </a:cubicBezTo>
                  <a:cubicBezTo>
                    <a:pt x="370074" y="333984"/>
                    <a:pt x="368090" y="328528"/>
                    <a:pt x="366105" y="323567"/>
                  </a:cubicBezTo>
                  <a:cubicBezTo>
                    <a:pt x="361641" y="327039"/>
                    <a:pt x="357176" y="332000"/>
                    <a:pt x="352215" y="334481"/>
                  </a:cubicBezTo>
                  <a:cubicBezTo>
                    <a:pt x="347255" y="337457"/>
                    <a:pt x="341798" y="339441"/>
                    <a:pt x="336341" y="341426"/>
                  </a:cubicBezTo>
                  <a:cubicBezTo>
                    <a:pt x="330884" y="343410"/>
                    <a:pt x="325427" y="345394"/>
                    <a:pt x="319474" y="346386"/>
                  </a:cubicBezTo>
                  <a:cubicBezTo>
                    <a:pt x="314017" y="347379"/>
                    <a:pt x="308064" y="345890"/>
                    <a:pt x="302112" y="345890"/>
                  </a:cubicBezTo>
                  <a:cubicBezTo>
                    <a:pt x="296655" y="345890"/>
                    <a:pt x="291198" y="346386"/>
                    <a:pt x="286237" y="345890"/>
                  </a:cubicBezTo>
                  <a:cubicBezTo>
                    <a:pt x="280780" y="344898"/>
                    <a:pt x="276315" y="342418"/>
                    <a:pt x="270858" y="340930"/>
                  </a:cubicBezTo>
                  <a:cubicBezTo>
                    <a:pt x="265898" y="339441"/>
                    <a:pt x="259945" y="339441"/>
                    <a:pt x="254984" y="336961"/>
                  </a:cubicBezTo>
                  <a:cubicBezTo>
                    <a:pt x="250023" y="334481"/>
                    <a:pt x="245559" y="331504"/>
                    <a:pt x="241590" y="328031"/>
                  </a:cubicBezTo>
                  <a:cubicBezTo>
                    <a:pt x="237125" y="325055"/>
                    <a:pt x="233653" y="321086"/>
                    <a:pt x="229684" y="317118"/>
                  </a:cubicBezTo>
                  <a:cubicBezTo>
                    <a:pt x="225715" y="313149"/>
                    <a:pt x="221747" y="309677"/>
                    <a:pt x="218274" y="305708"/>
                  </a:cubicBezTo>
                  <a:cubicBezTo>
                    <a:pt x="215298" y="301243"/>
                    <a:pt x="212321" y="296779"/>
                    <a:pt x="209841" y="291818"/>
                  </a:cubicBezTo>
                  <a:cubicBezTo>
                    <a:pt x="207361" y="286857"/>
                    <a:pt x="207361" y="281400"/>
                    <a:pt x="205872" y="275943"/>
                  </a:cubicBezTo>
                  <a:cubicBezTo>
                    <a:pt x="204384" y="270982"/>
                    <a:pt x="202400" y="266022"/>
                    <a:pt x="201408" y="260565"/>
                  </a:cubicBezTo>
                  <a:cubicBezTo>
                    <a:pt x="200416" y="255108"/>
                    <a:pt x="199423" y="250147"/>
                    <a:pt x="199423" y="244690"/>
                  </a:cubicBezTo>
                  <a:cubicBezTo>
                    <a:pt x="199423" y="239234"/>
                    <a:pt x="201408" y="234273"/>
                    <a:pt x="201904" y="228816"/>
                  </a:cubicBezTo>
                  <a:cubicBezTo>
                    <a:pt x="202896" y="223359"/>
                    <a:pt x="201904" y="217902"/>
                    <a:pt x="203392" y="212445"/>
                  </a:cubicBezTo>
                  <a:cubicBezTo>
                    <a:pt x="204880" y="207485"/>
                    <a:pt x="206865" y="202524"/>
                    <a:pt x="209345" y="197563"/>
                  </a:cubicBezTo>
                  <a:cubicBezTo>
                    <a:pt x="207857" y="197563"/>
                    <a:pt x="207361" y="198059"/>
                    <a:pt x="205376" y="198059"/>
                  </a:cubicBezTo>
                  <a:cubicBezTo>
                    <a:pt x="199919" y="198059"/>
                    <a:pt x="194959" y="197067"/>
                    <a:pt x="190494" y="195579"/>
                  </a:cubicBezTo>
                  <a:cubicBezTo>
                    <a:pt x="185533" y="194090"/>
                    <a:pt x="181564" y="191114"/>
                    <a:pt x="177100" y="188138"/>
                  </a:cubicBezTo>
                  <a:cubicBezTo>
                    <a:pt x="173131" y="185161"/>
                    <a:pt x="168667" y="182185"/>
                    <a:pt x="166186" y="177720"/>
                  </a:cubicBezTo>
                  <a:cubicBezTo>
                    <a:pt x="163210" y="173751"/>
                    <a:pt x="161721" y="168790"/>
                    <a:pt x="160233" y="163830"/>
                  </a:cubicBezTo>
                  <a:cubicBezTo>
                    <a:pt x="155769" y="167798"/>
                    <a:pt x="150808" y="170775"/>
                    <a:pt x="145847" y="173751"/>
                  </a:cubicBezTo>
                  <a:cubicBezTo>
                    <a:pt x="140886" y="176728"/>
                    <a:pt x="136421" y="181192"/>
                    <a:pt x="130965" y="183177"/>
                  </a:cubicBezTo>
                  <a:cubicBezTo>
                    <a:pt x="125508" y="185161"/>
                    <a:pt x="119555" y="185657"/>
                    <a:pt x="113602" y="186649"/>
                  </a:cubicBezTo>
                  <a:cubicBezTo>
                    <a:pt x="107649" y="187641"/>
                    <a:pt x="102192" y="188138"/>
                    <a:pt x="96239" y="188138"/>
                  </a:cubicBezTo>
                  <a:cubicBezTo>
                    <a:pt x="90782" y="188138"/>
                    <a:pt x="85325" y="187145"/>
                    <a:pt x="79868" y="186153"/>
                  </a:cubicBezTo>
                  <a:cubicBezTo>
                    <a:pt x="74412" y="185161"/>
                    <a:pt x="68459" y="186153"/>
                    <a:pt x="63498" y="184169"/>
                  </a:cubicBezTo>
                  <a:cubicBezTo>
                    <a:pt x="58041" y="182185"/>
                    <a:pt x="53080" y="179704"/>
                    <a:pt x="48616" y="177224"/>
                  </a:cubicBezTo>
                  <a:cubicBezTo>
                    <a:pt x="43655" y="174247"/>
                    <a:pt x="39190" y="171271"/>
                    <a:pt x="34725" y="167798"/>
                  </a:cubicBezTo>
                  <a:cubicBezTo>
                    <a:pt x="30261" y="164326"/>
                    <a:pt x="26788" y="160357"/>
                    <a:pt x="22819" y="155893"/>
                  </a:cubicBezTo>
                  <a:cubicBezTo>
                    <a:pt x="19347" y="151924"/>
                    <a:pt x="16371" y="146963"/>
                    <a:pt x="13394" y="142002"/>
                  </a:cubicBezTo>
                  <a:cubicBezTo>
                    <a:pt x="10418" y="137041"/>
                    <a:pt x="8433" y="132081"/>
                    <a:pt x="6449" y="127120"/>
                  </a:cubicBezTo>
                  <a:cubicBezTo>
                    <a:pt x="4465" y="122159"/>
                    <a:pt x="2480" y="116702"/>
                    <a:pt x="1488" y="111246"/>
                  </a:cubicBezTo>
                  <a:cubicBezTo>
                    <a:pt x="496" y="105789"/>
                    <a:pt x="0" y="100332"/>
                    <a:pt x="0" y="94875"/>
                  </a:cubicBezTo>
                  <a:cubicBezTo>
                    <a:pt x="0" y="89418"/>
                    <a:pt x="1488" y="83961"/>
                    <a:pt x="2480" y="78504"/>
                  </a:cubicBezTo>
                  <a:cubicBezTo>
                    <a:pt x="3473" y="73048"/>
                    <a:pt x="4465" y="67590"/>
                    <a:pt x="6449" y="62630"/>
                  </a:cubicBezTo>
                  <a:cubicBezTo>
                    <a:pt x="8433" y="57173"/>
                    <a:pt x="11906" y="52708"/>
                    <a:pt x="14386" y="48244"/>
                  </a:cubicBezTo>
                  <a:cubicBezTo>
                    <a:pt x="17363" y="43283"/>
                    <a:pt x="19843" y="38818"/>
                    <a:pt x="23316" y="34353"/>
                  </a:cubicBezTo>
                  <a:cubicBezTo>
                    <a:pt x="26788" y="30385"/>
                    <a:pt x="30261" y="25920"/>
                    <a:pt x="34725" y="22447"/>
                  </a:cubicBezTo>
                  <a:cubicBezTo>
                    <a:pt x="38694" y="18975"/>
                    <a:pt x="43655" y="16495"/>
                    <a:pt x="48616" y="13518"/>
                  </a:cubicBezTo>
                  <a:cubicBezTo>
                    <a:pt x="53576" y="10542"/>
                    <a:pt x="57545" y="7069"/>
                    <a:pt x="63002" y="5085"/>
                  </a:cubicBezTo>
                  <a:cubicBezTo>
                    <a:pt x="67963" y="3100"/>
                    <a:pt x="73419" y="1612"/>
                    <a:pt x="78877" y="620"/>
                  </a:cubicBezTo>
                  <a:cubicBezTo>
                    <a:pt x="84333" y="-372"/>
                    <a:pt x="89790" y="124"/>
                    <a:pt x="95743" y="1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02ACFE20-B3B1-E52C-AE61-373E2319FB23}"/>
                </a:ext>
              </a:extLst>
            </p:cNvPr>
            <p:cNvSpPr/>
            <p:nvPr/>
          </p:nvSpPr>
          <p:spPr>
            <a:xfrm>
              <a:off x="3707556" y="2578612"/>
              <a:ext cx="193966" cy="236629"/>
            </a:xfrm>
            <a:custGeom>
              <a:avLst/>
              <a:gdLst>
                <a:gd name="connsiteX0" fmla="*/ 74412 w 193966"/>
                <a:gd name="connsiteY0" fmla="*/ 0 h 236629"/>
                <a:gd name="connsiteX1" fmla="*/ 91278 w 193966"/>
                <a:gd name="connsiteY1" fmla="*/ 992 h 236629"/>
                <a:gd name="connsiteX2" fmla="*/ 107649 w 193966"/>
                <a:gd name="connsiteY2" fmla="*/ 4465 h 236629"/>
                <a:gd name="connsiteX3" fmla="*/ 123523 w 193966"/>
                <a:gd name="connsiteY3" fmla="*/ 10418 h 236629"/>
                <a:gd name="connsiteX4" fmla="*/ 137910 w 193966"/>
                <a:gd name="connsiteY4" fmla="*/ 19347 h 236629"/>
                <a:gd name="connsiteX5" fmla="*/ 152296 w 193966"/>
                <a:gd name="connsiteY5" fmla="*/ 28772 h 236629"/>
                <a:gd name="connsiteX6" fmla="*/ 163209 w 193966"/>
                <a:gd name="connsiteY6" fmla="*/ 41671 h 236629"/>
                <a:gd name="connsiteX7" fmla="*/ 174123 w 193966"/>
                <a:gd name="connsiteY7" fmla="*/ 54569 h 236629"/>
                <a:gd name="connsiteX8" fmla="*/ 181564 w 193966"/>
                <a:gd name="connsiteY8" fmla="*/ 69451 h 236629"/>
                <a:gd name="connsiteX9" fmla="*/ 187021 w 193966"/>
                <a:gd name="connsiteY9" fmla="*/ 85325 h 236629"/>
                <a:gd name="connsiteX10" fmla="*/ 190990 w 193966"/>
                <a:gd name="connsiteY10" fmla="*/ 101696 h 236629"/>
                <a:gd name="connsiteX11" fmla="*/ 193966 w 193966"/>
                <a:gd name="connsiteY11" fmla="*/ 118563 h 236629"/>
                <a:gd name="connsiteX12" fmla="*/ 192478 w 193966"/>
                <a:gd name="connsiteY12" fmla="*/ 135429 h 236629"/>
                <a:gd name="connsiteX13" fmla="*/ 189006 w 193966"/>
                <a:gd name="connsiteY13" fmla="*/ 151800 h 236629"/>
                <a:gd name="connsiteX14" fmla="*/ 182061 w 193966"/>
                <a:gd name="connsiteY14" fmla="*/ 167178 h 236629"/>
                <a:gd name="connsiteX15" fmla="*/ 175115 w 193966"/>
                <a:gd name="connsiteY15" fmla="*/ 182557 h 236629"/>
                <a:gd name="connsiteX16" fmla="*/ 164698 w 193966"/>
                <a:gd name="connsiteY16" fmla="*/ 195951 h 236629"/>
                <a:gd name="connsiteX17" fmla="*/ 151800 w 193966"/>
                <a:gd name="connsiteY17" fmla="*/ 207361 h 236629"/>
                <a:gd name="connsiteX18" fmla="*/ 138902 w 193966"/>
                <a:gd name="connsiteY18" fmla="*/ 218274 h 236629"/>
                <a:gd name="connsiteX19" fmla="*/ 123523 w 193966"/>
                <a:gd name="connsiteY19" fmla="*/ 225220 h 236629"/>
                <a:gd name="connsiteX20" fmla="*/ 108145 w 193966"/>
                <a:gd name="connsiteY20" fmla="*/ 232661 h 236629"/>
                <a:gd name="connsiteX21" fmla="*/ 91278 w 193966"/>
                <a:gd name="connsiteY21" fmla="*/ 234645 h 236629"/>
                <a:gd name="connsiteX22" fmla="*/ 74412 w 193966"/>
                <a:gd name="connsiteY22" fmla="*/ 236629 h 236629"/>
                <a:gd name="connsiteX23" fmla="*/ 59033 w 193966"/>
                <a:gd name="connsiteY23" fmla="*/ 235141 h 236629"/>
                <a:gd name="connsiteX24" fmla="*/ 44151 w 193966"/>
                <a:gd name="connsiteY24" fmla="*/ 231668 h 236629"/>
                <a:gd name="connsiteX25" fmla="*/ 29765 w 193966"/>
                <a:gd name="connsiteY25" fmla="*/ 226212 h 236629"/>
                <a:gd name="connsiteX26" fmla="*/ 16866 w 193966"/>
                <a:gd name="connsiteY26" fmla="*/ 217282 h 236629"/>
                <a:gd name="connsiteX27" fmla="*/ 8433 w 193966"/>
                <a:gd name="connsiteY27" fmla="*/ 203888 h 236629"/>
                <a:gd name="connsiteX28" fmla="*/ 2976 w 193966"/>
                <a:gd name="connsiteY28" fmla="*/ 189502 h 236629"/>
                <a:gd name="connsiteX29" fmla="*/ 0 w 193966"/>
                <a:gd name="connsiteY29" fmla="*/ 174124 h 236629"/>
                <a:gd name="connsiteX30" fmla="*/ 1984 w 193966"/>
                <a:gd name="connsiteY30" fmla="*/ 158745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3966" h="236629">
                  <a:moveTo>
                    <a:pt x="74412" y="0"/>
                  </a:moveTo>
                  <a:cubicBezTo>
                    <a:pt x="80365" y="0"/>
                    <a:pt x="85821" y="0"/>
                    <a:pt x="91278" y="992"/>
                  </a:cubicBezTo>
                  <a:cubicBezTo>
                    <a:pt x="96735" y="1984"/>
                    <a:pt x="102688" y="2977"/>
                    <a:pt x="107649" y="4465"/>
                  </a:cubicBezTo>
                  <a:cubicBezTo>
                    <a:pt x="113106" y="5953"/>
                    <a:pt x="118562" y="8433"/>
                    <a:pt x="123523" y="10418"/>
                  </a:cubicBezTo>
                  <a:cubicBezTo>
                    <a:pt x="128484" y="12898"/>
                    <a:pt x="133445" y="16371"/>
                    <a:pt x="137910" y="19347"/>
                  </a:cubicBezTo>
                  <a:cubicBezTo>
                    <a:pt x="142870" y="22324"/>
                    <a:pt x="147831" y="24804"/>
                    <a:pt x="152296" y="28772"/>
                  </a:cubicBezTo>
                  <a:cubicBezTo>
                    <a:pt x="156761" y="32245"/>
                    <a:pt x="159737" y="37206"/>
                    <a:pt x="163209" y="41671"/>
                  </a:cubicBezTo>
                  <a:cubicBezTo>
                    <a:pt x="166682" y="46135"/>
                    <a:pt x="170651" y="50104"/>
                    <a:pt x="174123" y="54569"/>
                  </a:cubicBezTo>
                  <a:cubicBezTo>
                    <a:pt x="177100" y="59529"/>
                    <a:pt x="179084" y="64490"/>
                    <a:pt x="181564" y="69451"/>
                  </a:cubicBezTo>
                  <a:cubicBezTo>
                    <a:pt x="184045" y="74412"/>
                    <a:pt x="185533" y="79869"/>
                    <a:pt x="187021" y="85325"/>
                  </a:cubicBezTo>
                  <a:cubicBezTo>
                    <a:pt x="188510" y="90782"/>
                    <a:pt x="189998" y="96239"/>
                    <a:pt x="190990" y="101696"/>
                  </a:cubicBezTo>
                  <a:cubicBezTo>
                    <a:pt x="191982" y="107153"/>
                    <a:pt x="193966" y="112610"/>
                    <a:pt x="193966" y="118563"/>
                  </a:cubicBezTo>
                  <a:cubicBezTo>
                    <a:pt x="193966" y="124516"/>
                    <a:pt x="192974" y="129972"/>
                    <a:pt x="192478" y="135429"/>
                  </a:cubicBezTo>
                  <a:cubicBezTo>
                    <a:pt x="191486" y="140886"/>
                    <a:pt x="190494" y="146839"/>
                    <a:pt x="189006" y="151800"/>
                  </a:cubicBezTo>
                  <a:cubicBezTo>
                    <a:pt x="187517" y="157257"/>
                    <a:pt x="184045" y="162218"/>
                    <a:pt x="182061" y="167178"/>
                  </a:cubicBezTo>
                  <a:cubicBezTo>
                    <a:pt x="179580" y="172139"/>
                    <a:pt x="178092" y="178092"/>
                    <a:pt x="175115" y="182557"/>
                  </a:cubicBezTo>
                  <a:cubicBezTo>
                    <a:pt x="172139" y="187517"/>
                    <a:pt x="168667" y="191982"/>
                    <a:pt x="164698" y="195951"/>
                  </a:cubicBezTo>
                  <a:cubicBezTo>
                    <a:pt x="161225" y="200416"/>
                    <a:pt x="156265" y="203392"/>
                    <a:pt x="151800" y="207361"/>
                  </a:cubicBezTo>
                  <a:cubicBezTo>
                    <a:pt x="147335" y="210833"/>
                    <a:pt x="143366" y="215298"/>
                    <a:pt x="138902" y="218274"/>
                  </a:cubicBezTo>
                  <a:cubicBezTo>
                    <a:pt x="134437" y="221251"/>
                    <a:pt x="128484" y="222739"/>
                    <a:pt x="123523" y="225220"/>
                  </a:cubicBezTo>
                  <a:cubicBezTo>
                    <a:pt x="118562" y="227700"/>
                    <a:pt x="113602" y="231172"/>
                    <a:pt x="108145" y="232661"/>
                  </a:cubicBezTo>
                  <a:cubicBezTo>
                    <a:pt x="102688" y="234149"/>
                    <a:pt x="96735" y="233653"/>
                    <a:pt x="91278" y="234645"/>
                  </a:cubicBezTo>
                  <a:cubicBezTo>
                    <a:pt x="85821" y="235637"/>
                    <a:pt x="80365" y="236629"/>
                    <a:pt x="74412" y="236629"/>
                  </a:cubicBezTo>
                  <a:cubicBezTo>
                    <a:pt x="68955" y="236629"/>
                    <a:pt x="63994" y="235637"/>
                    <a:pt x="59033" y="235141"/>
                  </a:cubicBezTo>
                  <a:cubicBezTo>
                    <a:pt x="53576" y="234149"/>
                    <a:pt x="48616" y="233157"/>
                    <a:pt x="44151" y="231668"/>
                  </a:cubicBezTo>
                  <a:cubicBezTo>
                    <a:pt x="38694" y="230180"/>
                    <a:pt x="33733" y="228692"/>
                    <a:pt x="29765" y="226212"/>
                  </a:cubicBezTo>
                  <a:cubicBezTo>
                    <a:pt x="25300" y="223235"/>
                    <a:pt x="20339" y="220755"/>
                    <a:pt x="16866" y="217282"/>
                  </a:cubicBezTo>
                  <a:cubicBezTo>
                    <a:pt x="13394" y="213314"/>
                    <a:pt x="10914" y="208353"/>
                    <a:pt x="8433" y="203888"/>
                  </a:cubicBezTo>
                  <a:cubicBezTo>
                    <a:pt x="5953" y="199423"/>
                    <a:pt x="3969" y="194463"/>
                    <a:pt x="2976" y="189502"/>
                  </a:cubicBezTo>
                  <a:cubicBezTo>
                    <a:pt x="1488" y="184541"/>
                    <a:pt x="496" y="179084"/>
                    <a:pt x="0" y="174124"/>
                  </a:cubicBezTo>
                  <a:cubicBezTo>
                    <a:pt x="0" y="168666"/>
                    <a:pt x="496" y="163706"/>
                    <a:pt x="1984" y="1587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0B9B2544-DC0B-AD4F-9DC0-B7229CAAE47B}"/>
                </a:ext>
              </a:extLst>
            </p:cNvPr>
            <p:cNvSpPr/>
            <p:nvPr/>
          </p:nvSpPr>
          <p:spPr>
            <a:xfrm>
              <a:off x="3808756" y="2995814"/>
              <a:ext cx="175115" cy="295662"/>
            </a:xfrm>
            <a:custGeom>
              <a:avLst/>
              <a:gdLst>
                <a:gd name="connsiteX0" fmla="*/ 0 w 175115"/>
                <a:gd name="connsiteY0" fmla="*/ 23315 h 295662"/>
                <a:gd name="connsiteX1" fmla="*/ 12402 w 175115"/>
                <a:gd name="connsiteY1" fmla="*/ 14386 h 295662"/>
                <a:gd name="connsiteX2" fmla="*/ 24804 w 175115"/>
                <a:gd name="connsiteY2" fmla="*/ 5457 h 295662"/>
                <a:gd name="connsiteX3" fmla="*/ 40182 w 175115"/>
                <a:gd name="connsiteY3" fmla="*/ 1984 h 295662"/>
                <a:gd name="connsiteX4" fmla="*/ 55561 w 175115"/>
                <a:gd name="connsiteY4" fmla="*/ 0 h 295662"/>
                <a:gd name="connsiteX5" fmla="*/ 71435 w 175115"/>
                <a:gd name="connsiteY5" fmla="*/ 2480 h 295662"/>
                <a:gd name="connsiteX6" fmla="*/ 87310 w 175115"/>
                <a:gd name="connsiteY6" fmla="*/ 6449 h 295662"/>
                <a:gd name="connsiteX7" fmla="*/ 100704 w 175115"/>
                <a:gd name="connsiteY7" fmla="*/ 15378 h 295662"/>
                <a:gd name="connsiteX8" fmla="*/ 112610 w 175115"/>
                <a:gd name="connsiteY8" fmla="*/ 25796 h 295662"/>
                <a:gd name="connsiteX9" fmla="*/ 124019 w 175115"/>
                <a:gd name="connsiteY9" fmla="*/ 37206 h 295662"/>
                <a:gd name="connsiteX10" fmla="*/ 129972 w 175115"/>
                <a:gd name="connsiteY10" fmla="*/ 52088 h 295662"/>
                <a:gd name="connsiteX11" fmla="*/ 136421 w 175115"/>
                <a:gd name="connsiteY11" fmla="*/ 66971 h 295662"/>
                <a:gd name="connsiteX12" fmla="*/ 137414 w 175115"/>
                <a:gd name="connsiteY12" fmla="*/ 83341 h 295662"/>
                <a:gd name="connsiteX13" fmla="*/ 136918 w 175115"/>
                <a:gd name="connsiteY13" fmla="*/ 87310 h 295662"/>
                <a:gd name="connsiteX14" fmla="*/ 151304 w 175115"/>
                <a:gd name="connsiteY14" fmla="*/ 97231 h 295662"/>
                <a:gd name="connsiteX15" fmla="*/ 164698 w 175115"/>
                <a:gd name="connsiteY15" fmla="*/ 109137 h 295662"/>
                <a:gd name="connsiteX16" fmla="*/ 171643 w 175115"/>
                <a:gd name="connsiteY16" fmla="*/ 125508 h 295662"/>
                <a:gd name="connsiteX17" fmla="*/ 175116 w 175115"/>
                <a:gd name="connsiteY17" fmla="*/ 142870 h 295662"/>
                <a:gd name="connsiteX18" fmla="*/ 172139 w 175115"/>
                <a:gd name="connsiteY18" fmla="*/ 157753 h 295662"/>
                <a:gd name="connsiteX19" fmla="*/ 166186 w 175115"/>
                <a:gd name="connsiteY19" fmla="*/ 171147 h 295662"/>
                <a:gd name="connsiteX20" fmla="*/ 158745 w 175115"/>
                <a:gd name="connsiteY20" fmla="*/ 184045 h 295662"/>
                <a:gd name="connsiteX21" fmla="*/ 146839 w 175115"/>
                <a:gd name="connsiteY21" fmla="*/ 192974 h 295662"/>
                <a:gd name="connsiteX22" fmla="*/ 132949 w 175115"/>
                <a:gd name="connsiteY22" fmla="*/ 199423 h 295662"/>
                <a:gd name="connsiteX23" fmla="*/ 141878 w 175115"/>
                <a:gd name="connsiteY23" fmla="*/ 211825 h 295662"/>
                <a:gd name="connsiteX24" fmla="*/ 145351 w 175115"/>
                <a:gd name="connsiteY24" fmla="*/ 226211 h 295662"/>
                <a:gd name="connsiteX25" fmla="*/ 141878 w 175115"/>
                <a:gd name="connsiteY25" fmla="*/ 244070 h 295662"/>
                <a:gd name="connsiteX26" fmla="*/ 127988 w 175115"/>
                <a:gd name="connsiteY26" fmla="*/ 256472 h 295662"/>
                <a:gd name="connsiteX27" fmla="*/ 110626 w 175115"/>
                <a:gd name="connsiteY27" fmla="*/ 260441 h 295662"/>
                <a:gd name="connsiteX28" fmla="*/ 101696 w 175115"/>
                <a:gd name="connsiteY28" fmla="*/ 260441 h 295662"/>
                <a:gd name="connsiteX29" fmla="*/ 104673 w 175115"/>
                <a:gd name="connsiteY29" fmla="*/ 270858 h 295662"/>
                <a:gd name="connsiteX30" fmla="*/ 97231 w 175115"/>
                <a:gd name="connsiteY30" fmla="*/ 287725 h 295662"/>
                <a:gd name="connsiteX31" fmla="*/ 80365 w 175115"/>
                <a:gd name="connsiteY31" fmla="*/ 295662 h 295662"/>
                <a:gd name="connsiteX32" fmla="*/ 64490 w 175115"/>
                <a:gd name="connsiteY32" fmla="*/ 287229 h 295662"/>
                <a:gd name="connsiteX33" fmla="*/ 57545 w 175115"/>
                <a:gd name="connsiteY33" fmla="*/ 271354 h 2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5115" h="295662">
                  <a:moveTo>
                    <a:pt x="0" y="23315"/>
                  </a:moveTo>
                  <a:cubicBezTo>
                    <a:pt x="3969" y="19843"/>
                    <a:pt x="7937" y="17363"/>
                    <a:pt x="12402" y="14386"/>
                  </a:cubicBezTo>
                  <a:cubicBezTo>
                    <a:pt x="16867" y="11410"/>
                    <a:pt x="20339" y="7441"/>
                    <a:pt x="24804" y="5457"/>
                  </a:cubicBezTo>
                  <a:cubicBezTo>
                    <a:pt x="29765" y="3472"/>
                    <a:pt x="34725" y="2976"/>
                    <a:pt x="40182" y="1984"/>
                  </a:cubicBezTo>
                  <a:cubicBezTo>
                    <a:pt x="45143" y="992"/>
                    <a:pt x="50104" y="0"/>
                    <a:pt x="55561" y="0"/>
                  </a:cubicBezTo>
                  <a:cubicBezTo>
                    <a:pt x="61018" y="0"/>
                    <a:pt x="66475" y="1488"/>
                    <a:pt x="71435" y="2480"/>
                  </a:cubicBezTo>
                  <a:cubicBezTo>
                    <a:pt x="76892" y="3472"/>
                    <a:pt x="82349" y="4465"/>
                    <a:pt x="87310" y="6449"/>
                  </a:cubicBezTo>
                  <a:cubicBezTo>
                    <a:pt x="92271" y="8433"/>
                    <a:pt x="96239" y="12402"/>
                    <a:pt x="100704" y="15378"/>
                  </a:cubicBezTo>
                  <a:cubicBezTo>
                    <a:pt x="105169" y="18355"/>
                    <a:pt x="109137" y="21827"/>
                    <a:pt x="112610" y="25796"/>
                  </a:cubicBezTo>
                  <a:cubicBezTo>
                    <a:pt x="116578" y="29765"/>
                    <a:pt x="121043" y="32741"/>
                    <a:pt x="124019" y="37206"/>
                  </a:cubicBezTo>
                  <a:cubicBezTo>
                    <a:pt x="126996" y="41670"/>
                    <a:pt x="127988" y="47127"/>
                    <a:pt x="129972" y="52088"/>
                  </a:cubicBezTo>
                  <a:cubicBezTo>
                    <a:pt x="131957" y="57049"/>
                    <a:pt x="135430" y="61513"/>
                    <a:pt x="136421" y="66971"/>
                  </a:cubicBezTo>
                  <a:cubicBezTo>
                    <a:pt x="137414" y="71931"/>
                    <a:pt x="137414" y="77884"/>
                    <a:pt x="137414" y="83341"/>
                  </a:cubicBezTo>
                  <a:cubicBezTo>
                    <a:pt x="137414" y="84829"/>
                    <a:pt x="136918" y="85821"/>
                    <a:pt x="136918" y="87310"/>
                  </a:cubicBezTo>
                  <a:cubicBezTo>
                    <a:pt x="142374" y="89294"/>
                    <a:pt x="146839" y="93759"/>
                    <a:pt x="151304" y="97231"/>
                  </a:cubicBezTo>
                  <a:cubicBezTo>
                    <a:pt x="155769" y="100704"/>
                    <a:pt x="161225" y="104176"/>
                    <a:pt x="164698" y="109137"/>
                  </a:cubicBezTo>
                  <a:cubicBezTo>
                    <a:pt x="168171" y="114098"/>
                    <a:pt x="169659" y="120051"/>
                    <a:pt x="171643" y="125508"/>
                  </a:cubicBezTo>
                  <a:cubicBezTo>
                    <a:pt x="173131" y="130964"/>
                    <a:pt x="175116" y="136917"/>
                    <a:pt x="175116" y="142870"/>
                  </a:cubicBezTo>
                  <a:cubicBezTo>
                    <a:pt x="175116" y="147831"/>
                    <a:pt x="173131" y="152792"/>
                    <a:pt x="172139" y="157753"/>
                  </a:cubicBezTo>
                  <a:cubicBezTo>
                    <a:pt x="170651" y="162714"/>
                    <a:pt x="168667" y="166682"/>
                    <a:pt x="166186" y="171147"/>
                  </a:cubicBezTo>
                  <a:cubicBezTo>
                    <a:pt x="163706" y="175611"/>
                    <a:pt x="162218" y="180572"/>
                    <a:pt x="158745" y="184045"/>
                  </a:cubicBezTo>
                  <a:cubicBezTo>
                    <a:pt x="155273" y="187517"/>
                    <a:pt x="150808" y="190494"/>
                    <a:pt x="146839" y="192974"/>
                  </a:cubicBezTo>
                  <a:cubicBezTo>
                    <a:pt x="142871" y="195455"/>
                    <a:pt x="137910" y="197935"/>
                    <a:pt x="132949" y="199423"/>
                  </a:cubicBezTo>
                  <a:cubicBezTo>
                    <a:pt x="136918" y="202896"/>
                    <a:pt x="139398" y="207361"/>
                    <a:pt x="141878" y="211825"/>
                  </a:cubicBezTo>
                  <a:cubicBezTo>
                    <a:pt x="143863" y="216290"/>
                    <a:pt x="145351" y="220755"/>
                    <a:pt x="145351" y="226211"/>
                  </a:cubicBezTo>
                  <a:cubicBezTo>
                    <a:pt x="145351" y="232660"/>
                    <a:pt x="144855" y="239109"/>
                    <a:pt x="141878" y="244070"/>
                  </a:cubicBezTo>
                  <a:cubicBezTo>
                    <a:pt x="138902" y="249527"/>
                    <a:pt x="133445" y="253496"/>
                    <a:pt x="127988" y="256472"/>
                  </a:cubicBezTo>
                  <a:cubicBezTo>
                    <a:pt x="123028" y="259449"/>
                    <a:pt x="117075" y="260441"/>
                    <a:pt x="110626" y="260441"/>
                  </a:cubicBezTo>
                  <a:cubicBezTo>
                    <a:pt x="107649" y="260441"/>
                    <a:pt x="104673" y="260937"/>
                    <a:pt x="101696" y="260441"/>
                  </a:cubicBezTo>
                  <a:cubicBezTo>
                    <a:pt x="103184" y="263417"/>
                    <a:pt x="104673" y="266890"/>
                    <a:pt x="104673" y="270858"/>
                  </a:cubicBezTo>
                  <a:cubicBezTo>
                    <a:pt x="104673" y="277307"/>
                    <a:pt x="101200" y="283260"/>
                    <a:pt x="97231" y="287725"/>
                  </a:cubicBezTo>
                  <a:cubicBezTo>
                    <a:pt x="92767" y="291694"/>
                    <a:pt x="86814" y="295662"/>
                    <a:pt x="80365" y="295662"/>
                  </a:cubicBezTo>
                  <a:cubicBezTo>
                    <a:pt x="73916" y="295662"/>
                    <a:pt x="68955" y="291198"/>
                    <a:pt x="64490" y="287229"/>
                  </a:cubicBezTo>
                  <a:cubicBezTo>
                    <a:pt x="60026" y="282764"/>
                    <a:pt x="57545" y="277804"/>
                    <a:pt x="57545" y="27135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50466878-634D-C0B3-92C2-1D8FEE5830E6}"/>
                </a:ext>
              </a:extLst>
            </p:cNvPr>
            <p:cNvSpPr/>
            <p:nvPr/>
          </p:nvSpPr>
          <p:spPr>
            <a:xfrm>
              <a:off x="3543850" y="2788453"/>
              <a:ext cx="185532" cy="166682"/>
            </a:xfrm>
            <a:custGeom>
              <a:avLst/>
              <a:gdLst>
                <a:gd name="connsiteX0" fmla="*/ 0 w 185532"/>
                <a:gd name="connsiteY0" fmla="*/ 0 h 166682"/>
                <a:gd name="connsiteX1" fmla="*/ 13394 w 185532"/>
                <a:gd name="connsiteY1" fmla="*/ 6945 h 166682"/>
                <a:gd name="connsiteX2" fmla="*/ 26292 w 185532"/>
                <a:gd name="connsiteY2" fmla="*/ 14386 h 166682"/>
                <a:gd name="connsiteX3" fmla="*/ 38198 w 185532"/>
                <a:gd name="connsiteY3" fmla="*/ 23316 h 166682"/>
                <a:gd name="connsiteX4" fmla="*/ 51592 w 185532"/>
                <a:gd name="connsiteY4" fmla="*/ 30261 h 166682"/>
                <a:gd name="connsiteX5" fmla="*/ 64986 w 185532"/>
                <a:gd name="connsiteY5" fmla="*/ 37206 h 166682"/>
                <a:gd name="connsiteX6" fmla="*/ 77388 w 185532"/>
                <a:gd name="connsiteY6" fmla="*/ 45639 h 166682"/>
                <a:gd name="connsiteX7" fmla="*/ 88302 w 185532"/>
                <a:gd name="connsiteY7" fmla="*/ 57545 h 166682"/>
                <a:gd name="connsiteX8" fmla="*/ 98223 w 185532"/>
                <a:gd name="connsiteY8" fmla="*/ 70443 h 166682"/>
                <a:gd name="connsiteX9" fmla="*/ 109633 w 185532"/>
                <a:gd name="connsiteY9" fmla="*/ 82349 h 166682"/>
                <a:gd name="connsiteX10" fmla="*/ 120051 w 185532"/>
                <a:gd name="connsiteY10" fmla="*/ 94751 h 166682"/>
                <a:gd name="connsiteX11" fmla="*/ 130468 w 185532"/>
                <a:gd name="connsiteY11" fmla="*/ 107153 h 166682"/>
                <a:gd name="connsiteX12" fmla="*/ 141382 w 185532"/>
                <a:gd name="connsiteY12" fmla="*/ 119059 h 166682"/>
                <a:gd name="connsiteX13" fmla="*/ 152296 w 185532"/>
                <a:gd name="connsiteY13" fmla="*/ 130965 h 166682"/>
                <a:gd name="connsiteX14" fmla="*/ 163706 w 185532"/>
                <a:gd name="connsiteY14" fmla="*/ 142374 h 166682"/>
                <a:gd name="connsiteX15" fmla="*/ 174123 w 185532"/>
                <a:gd name="connsiteY15" fmla="*/ 154776 h 166682"/>
                <a:gd name="connsiteX16" fmla="*/ 185533 w 185532"/>
                <a:gd name="connsiteY16" fmla="*/ 166682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532" h="166682">
                  <a:moveTo>
                    <a:pt x="0" y="0"/>
                  </a:moveTo>
                  <a:cubicBezTo>
                    <a:pt x="6449" y="3969"/>
                    <a:pt x="6945" y="2977"/>
                    <a:pt x="13394" y="6945"/>
                  </a:cubicBezTo>
                  <a:cubicBezTo>
                    <a:pt x="19843" y="10914"/>
                    <a:pt x="19843" y="10914"/>
                    <a:pt x="26292" y="14386"/>
                  </a:cubicBezTo>
                  <a:cubicBezTo>
                    <a:pt x="32741" y="18355"/>
                    <a:pt x="32245" y="19347"/>
                    <a:pt x="38198" y="23316"/>
                  </a:cubicBezTo>
                  <a:cubicBezTo>
                    <a:pt x="44647" y="27284"/>
                    <a:pt x="45143" y="26788"/>
                    <a:pt x="51592" y="30261"/>
                  </a:cubicBezTo>
                  <a:cubicBezTo>
                    <a:pt x="58041" y="34229"/>
                    <a:pt x="58537" y="33237"/>
                    <a:pt x="64986" y="37206"/>
                  </a:cubicBezTo>
                  <a:cubicBezTo>
                    <a:pt x="71435" y="41175"/>
                    <a:pt x="71435" y="41175"/>
                    <a:pt x="77388" y="45639"/>
                  </a:cubicBezTo>
                  <a:cubicBezTo>
                    <a:pt x="83837" y="50600"/>
                    <a:pt x="83341" y="51592"/>
                    <a:pt x="88302" y="57545"/>
                  </a:cubicBezTo>
                  <a:cubicBezTo>
                    <a:pt x="93759" y="63498"/>
                    <a:pt x="92767" y="64490"/>
                    <a:pt x="98223" y="70443"/>
                  </a:cubicBezTo>
                  <a:cubicBezTo>
                    <a:pt x="103680" y="76396"/>
                    <a:pt x="104176" y="75900"/>
                    <a:pt x="109633" y="82349"/>
                  </a:cubicBezTo>
                  <a:cubicBezTo>
                    <a:pt x="115090" y="88302"/>
                    <a:pt x="115090" y="88302"/>
                    <a:pt x="120051" y="94751"/>
                  </a:cubicBezTo>
                  <a:cubicBezTo>
                    <a:pt x="125508" y="100704"/>
                    <a:pt x="125012" y="101200"/>
                    <a:pt x="130468" y="107153"/>
                  </a:cubicBezTo>
                  <a:cubicBezTo>
                    <a:pt x="135925" y="113106"/>
                    <a:pt x="136421" y="113106"/>
                    <a:pt x="141382" y="119059"/>
                  </a:cubicBezTo>
                  <a:cubicBezTo>
                    <a:pt x="146839" y="125012"/>
                    <a:pt x="146839" y="125012"/>
                    <a:pt x="152296" y="130965"/>
                  </a:cubicBezTo>
                  <a:cubicBezTo>
                    <a:pt x="157753" y="136918"/>
                    <a:pt x="158745" y="136421"/>
                    <a:pt x="163706" y="142374"/>
                  </a:cubicBezTo>
                  <a:cubicBezTo>
                    <a:pt x="169162" y="148327"/>
                    <a:pt x="168667" y="148823"/>
                    <a:pt x="174123" y="154776"/>
                  </a:cubicBezTo>
                  <a:cubicBezTo>
                    <a:pt x="179580" y="160729"/>
                    <a:pt x="180076" y="160233"/>
                    <a:pt x="185533" y="1666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58F26759-9D16-50C0-CF26-507E8E5B3E87}"/>
                </a:ext>
              </a:extLst>
            </p:cNvPr>
            <p:cNvSpPr/>
            <p:nvPr/>
          </p:nvSpPr>
          <p:spPr>
            <a:xfrm>
              <a:off x="3518054" y="2753232"/>
              <a:ext cx="180626" cy="116306"/>
            </a:xfrm>
            <a:custGeom>
              <a:avLst/>
              <a:gdLst>
                <a:gd name="connsiteX0" fmla="*/ 0 w 180626"/>
                <a:gd name="connsiteY0" fmla="*/ 0 h 116306"/>
                <a:gd name="connsiteX1" fmla="*/ 14882 w 180626"/>
                <a:gd name="connsiteY1" fmla="*/ 7937 h 116306"/>
                <a:gd name="connsiteX2" fmla="*/ 29765 w 180626"/>
                <a:gd name="connsiteY2" fmla="*/ 15875 h 116306"/>
                <a:gd name="connsiteX3" fmla="*/ 44151 w 180626"/>
                <a:gd name="connsiteY3" fmla="*/ 24308 h 116306"/>
                <a:gd name="connsiteX4" fmla="*/ 58041 w 180626"/>
                <a:gd name="connsiteY4" fmla="*/ 33237 h 116306"/>
                <a:gd name="connsiteX5" fmla="*/ 72924 w 180626"/>
                <a:gd name="connsiteY5" fmla="*/ 40678 h 116306"/>
                <a:gd name="connsiteX6" fmla="*/ 86814 w 180626"/>
                <a:gd name="connsiteY6" fmla="*/ 50600 h 116306"/>
                <a:gd name="connsiteX7" fmla="*/ 101200 w 180626"/>
                <a:gd name="connsiteY7" fmla="*/ 59033 h 116306"/>
                <a:gd name="connsiteX8" fmla="*/ 114594 w 180626"/>
                <a:gd name="connsiteY8" fmla="*/ 67466 h 116306"/>
                <a:gd name="connsiteX9" fmla="*/ 126996 w 180626"/>
                <a:gd name="connsiteY9" fmla="*/ 77388 h 116306"/>
                <a:gd name="connsiteX10" fmla="*/ 139894 w 180626"/>
                <a:gd name="connsiteY10" fmla="*/ 86814 h 116306"/>
                <a:gd name="connsiteX11" fmla="*/ 153288 w 180626"/>
                <a:gd name="connsiteY11" fmla="*/ 95247 h 116306"/>
                <a:gd name="connsiteX12" fmla="*/ 164698 w 180626"/>
                <a:gd name="connsiteY12" fmla="*/ 106161 h 116306"/>
                <a:gd name="connsiteX13" fmla="*/ 178092 w 180626"/>
                <a:gd name="connsiteY13" fmla="*/ 115090 h 116306"/>
                <a:gd name="connsiteX14" fmla="*/ 174619 w 180626"/>
                <a:gd name="connsiteY14" fmla="*/ 97727 h 116306"/>
                <a:gd name="connsiteX15" fmla="*/ 174123 w 180626"/>
                <a:gd name="connsiteY15" fmla="*/ 80365 h 116306"/>
                <a:gd name="connsiteX16" fmla="*/ 172635 w 180626"/>
                <a:gd name="connsiteY16" fmla="*/ 63002 h 116306"/>
                <a:gd name="connsiteX17" fmla="*/ 169162 w 180626"/>
                <a:gd name="connsiteY17" fmla="*/ 46135 h 116306"/>
                <a:gd name="connsiteX18" fmla="*/ 167674 w 180626"/>
                <a:gd name="connsiteY18" fmla="*/ 28772 h 116306"/>
                <a:gd name="connsiteX19" fmla="*/ 166186 w 180626"/>
                <a:gd name="connsiteY19" fmla="*/ 11410 h 1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0626" h="116306">
                  <a:moveTo>
                    <a:pt x="0" y="0"/>
                  </a:moveTo>
                  <a:cubicBezTo>
                    <a:pt x="7441" y="3969"/>
                    <a:pt x="7441" y="3473"/>
                    <a:pt x="14882" y="7937"/>
                  </a:cubicBezTo>
                  <a:cubicBezTo>
                    <a:pt x="22324" y="11906"/>
                    <a:pt x="22324" y="11906"/>
                    <a:pt x="29765" y="15875"/>
                  </a:cubicBezTo>
                  <a:cubicBezTo>
                    <a:pt x="37206" y="19843"/>
                    <a:pt x="37206" y="19843"/>
                    <a:pt x="44151" y="24308"/>
                  </a:cubicBezTo>
                  <a:cubicBezTo>
                    <a:pt x="51592" y="28277"/>
                    <a:pt x="51096" y="29269"/>
                    <a:pt x="58041" y="33237"/>
                  </a:cubicBezTo>
                  <a:cubicBezTo>
                    <a:pt x="65482" y="37206"/>
                    <a:pt x="65978" y="36214"/>
                    <a:pt x="72924" y="40678"/>
                  </a:cubicBezTo>
                  <a:cubicBezTo>
                    <a:pt x="80365" y="44647"/>
                    <a:pt x="79372" y="46135"/>
                    <a:pt x="86814" y="50600"/>
                  </a:cubicBezTo>
                  <a:cubicBezTo>
                    <a:pt x="94255" y="54569"/>
                    <a:pt x="94255" y="54569"/>
                    <a:pt x="101200" y="59033"/>
                  </a:cubicBezTo>
                  <a:cubicBezTo>
                    <a:pt x="107649" y="63498"/>
                    <a:pt x="108145" y="63002"/>
                    <a:pt x="114594" y="67466"/>
                  </a:cubicBezTo>
                  <a:cubicBezTo>
                    <a:pt x="121043" y="71931"/>
                    <a:pt x="120547" y="72427"/>
                    <a:pt x="126996" y="77388"/>
                  </a:cubicBezTo>
                  <a:cubicBezTo>
                    <a:pt x="133445" y="81853"/>
                    <a:pt x="133445" y="81853"/>
                    <a:pt x="139894" y="86814"/>
                  </a:cubicBezTo>
                  <a:cubicBezTo>
                    <a:pt x="146343" y="91278"/>
                    <a:pt x="146839" y="90286"/>
                    <a:pt x="153288" y="95247"/>
                  </a:cubicBezTo>
                  <a:cubicBezTo>
                    <a:pt x="159737" y="99712"/>
                    <a:pt x="158249" y="101696"/>
                    <a:pt x="164698" y="106161"/>
                  </a:cubicBezTo>
                  <a:cubicBezTo>
                    <a:pt x="171147" y="110625"/>
                    <a:pt x="171643" y="119555"/>
                    <a:pt x="178092" y="115090"/>
                  </a:cubicBezTo>
                  <a:cubicBezTo>
                    <a:pt x="185037" y="110129"/>
                    <a:pt x="175612" y="106161"/>
                    <a:pt x="174619" y="97727"/>
                  </a:cubicBezTo>
                  <a:cubicBezTo>
                    <a:pt x="173627" y="89294"/>
                    <a:pt x="175115" y="88798"/>
                    <a:pt x="174123" y="80365"/>
                  </a:cubicBezTo>
                  <a:cubicBezTo>
                    <a:pt x="173131" y="71931"/>
                    <a:pt x="173627" y="71931"/>
                    <a:pt x="172635" y="63002"/>
                  </a:cubicBezTo>
                  <a:cubicBezTo>
                    <a:pt x="171643" y="54569"/>
                    <a:pt x="170155" y="54569"/>
                    <a:pt x="169162" y="46135"/>
                  </a:cubicBezTo>
                  <a:cubicBezTo>
                    <a:pt x="168171" y="37702"/>
                    <a:pt x="168667" y="37206"/>
                    <a:pt x="167674" y="28772"/>
                  </a:cubicBezTo>
                  <a:cubicBezTo>
                    <a:pt x="166682" y="20339"/>
                    <a:pt x="167178" y="20339"/>
                    <a:pt x="166186" y="1141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7C399960-90CB-FB87-7DC1-331F3C47C138}"/>
                </a:ext>
              </a:extLst>
            </p:cNvPr>
            <p:cNvSpPr/>
            <p:nvPr/>
          </p:nvSpPr>
          <p:spPr>
            <a:xfrm>
              <a:off x="3722679" y="2816234"/>
              <a:ext cx="75659" cy="122035"/>
            </a:xfrm>
            <a:custGeom>
              <a:avLst/>
              <a:gdLst>
                <a:gd name="connsiteX0" fmla="*/ 1743 w 75659"/>
                <a:gd name="connsiteY0" fmla="*/ 0 h 122035"/>
                <a:gd name="connsiteX1" fmla="*/ 2736 w 75659"/>
                <a:gd name="connsiteY1" fmla="*/ 15378 h 122035"/>
                <a:gd name="connsiteX2" fmla="*/ 752 w 75659"/>
                <a:gd name="connsiteY2" fmla="*/ 30757 h 122035"/>
                <a:gd name="connsiteX3" fmla="*/ 1247 w 75659"/>
                <a:gd name="connsiteY3" fmla="*/ 46135 h 122035"/>
                <a:gd name="connsiteX4" fmla="*/ 11665 w 75659"/>
                <a:gd name="connsiteY4" fmla="*/ 57049 h 122035"/>
                <a:gd name="connsiteX5" fmla="*/ 23075 w 75659"/>
                <a:gd name="connsiteY5" fmla="*/ 66971 h 122035"/>
                <a:gd name="connsiteX6" fmla="*/ 32500 w 75659"/>
                <a:gd name="connsiteY6" fmla="*/ 78876 h 122035"/>
                <a:gd name="connsiteX7" fmla="*/ 42918 w 75659"/>
                <a:gd name="connsiteY7" fmla="*/ 89790 h 122035"/>
                <a:gd name="connsiteX8" fmla="*/ 54824 w 75659"/>
                <a:gd name="connsiteY8" fmla="*/ 99712 h 122035"/>
                <a:gd name="connsiteX9" fmla="*/ 65738 w 75659"/>
                <a:gd name="connsiteY9" fmla="*/ 110625 h 122035"/>
                <a:gd name="connsiteX10" fmla="*/ 75659 w 75659"/>
                <a:gd name="connsiteY10" fmla="*/ 122035 h 12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59" h="122035">
                  <a:moveTo>
                    <a:pt x="1743" y="0"/>
                  </a:moveTo>
                  <a:cubicBezTo>
                    <a:pt x="1743" y="7441"/>
                    <a:pt x="2736" y="7441"/>
                    <a:pt x="2736" y="15378"/>
                  </a:cubicBezTo>
                  <a:cubicBezTo>
                    <a:pt x="2736" y="22819"/>
                    <a:pt x="752" y="22819"/>
                    <a:pt x="752" y="30757"/>
                  </a:cubicBezTo>
                  <a:cubicBezTo>
                    <a:pt x="752" y="38694"/>
                    <a:pt x="-1233" y="39190"/>
                    <a:pt x="1247" y="46135"/>
                  </a:cubicBezTo>
                  <a:cubicBezTo>
                    <a:pt x="4224" y="53080"/>
                    <a:pt x="6704" y="51592"/>
                    <a:pt x="11665" y="57049"/>
                  </a:cubicBezTo>
                  <a:cubicBezTo>
                    <a:pt x="17122" y="62506"/>
                    <a:pt x="17618" y="61513"/>
                    <a:pt x="23075" y="66971"/>
                  </a:cubicBezTo>
                  <a:cubicBezTo>
                    <a:pt x="28532" y="72427"/>
                    <a:pt x="27044" y="73419"/>
                    <a:pt x="32500" y="78876"/>
                  </a:cubicBezTo>
                  <a:cubicBezTo>
                    <a:pt x="37957" y="84333"/>
                    <a:pt x="37461" y="84333"/>
                    <a:pt x="42918" y="89790"/>
                  </a:cubicBezTo>
                  <a:cubicBezTo>
                    <a:pt x="48375" y="95247"/>
                    <a:pt x="49367" y="94255"/>
                    <a:pt x="54824" y="99712"/>
                  </a:cubicBezTo>
                  <a:cubicBezTo>
                    <a:pt x="60281" y="105169"/>
                    <a:pt x="60281" y="105169"/>
                    <a:pt x="65738" y="110625"/>
                  </a:cubicBezTo>
                  <a:cubicBezTo>
                    <a:pt x="71194" y="116082"/>
                    <a:pt x="70698" y="116578"/>
                    <a:pt x="75659" y="12203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2DDA5777-C65E-1D45-8BE3-C8096142942E}"/>
                </a:ext>
              </a:extLst>
            </p:cNvPr>
            <p:cNvSpPr/>
            <p:nvPr/>
          </p:nvSpPr>
          <p:spPr>
            <a:xfrm>
              <a:off x="3475392" y="2661953"/>
              <a:ext cx="56056" cy="132452"/>
            </a:xfrm>
            <a:custGeom>
              <a:avLst/>
              <a:gdLst>
                <a:gd name="connsiteX0" fmla="*/ 0 w 56056"/>
                <a:gd name="connsiteY0" fmla="*/ 0 h 132452"/>
                <a:gd name="connsiteX1" fmla="*/ 16866 w 56056"/>
                <a:gd name="connsiteY1" fmla="*/ 3473 h 132452"/>
                <a:gd name="connsiteX2" fmla="*/ 32741 w 56056"/>
                <a:gd name="connsiteY2" fmla="*/ 10418 h 132452"/>
                <a:gd name="connsiteX3" fmla="*/ 45143 w 56056"/>
                <a:gd name="connsiteY3" fmla="*/ 22820 h 132452"/>
                <a:gd name="connsiteX4" fmla="*/ 53080 w 56056"/>
                <a:gd name="connsiteY4" fmla="*/ 38694 h 132452"/>
                <a:gd name="connsiteX5" fmla="*/ 56057 w 56056"/>
                <a:gd name="connsiteY5" fmla="*/ 56057 h 132452"/>
                <a:gd name="connsiteX6" fmla="*/ 52584 w 56056"/>
                <a:gd name="connsiteY6" fmla="*/ 70939 h 132452"/>
                <a:gd name="connsiteX7" fmla="*/ 46135 w 56056"/>
                <a:gd name="connsiteY7" fmla="*/ 84830 h 132452"/>
                <a:gd name="connsiteX8" fmla="*/ 35717 w 56056"/>
                <a:gd name="connsiteY8" fmla="*/ 97231 h 132452"/>
                <a:gd name="connsiteX9" fmla="*/ 46631 w 56056"/>
                <a:gd name="connsiteY9" fmla="*/ 113602 h 132452"/>
                <a:gd name="connsiteX10" fmla="*/ 52088 w 56056"/>
                <a:gd name="connsiteY10" fmla="*/ 132453 h 1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056" h="132452">
                  <a:moveTo>
                    <a:pt x="0" y="0"/>
                  </a:moveTo>
                  <a:cubicBezTo>
                    <a:pt x="5953" y="0"/>
                    <a:pt x="11410" y="1488"/>
                    <a:pt x="16866" y="3473"/>
                  </a:cubicBezTo>
                  <a:cubicBezTo>
                    <a:pt x="22324" y="5457"/>
                    <a:pt x="28276" y="6945"/>
                    <a:pt x="32741" y="10418"/>
                  </a:cubicBezTo>
                  <a:cubicBezTo>
                    <a:pt x="37206" y="13890"/>
                    <a:pt x="41670" y="18355"/>
                    <a:pt x="45143" y="22820"/>
                  </a:cubicBezTo>
                  <a:cubicBezTo>
                    <a:pt x="48616" y="27284"/>
                    <a:pt x="51096" y="32741"/>
                    <a:pt x="53080" y="38694"/>
                  </a:cubicBezTo>
                  <a:cubicBezTo>
                    <a:pt x="54569" y="44151"/>
                    <a:pt x="56057" y="50104"/>
                    <a:pt x="56057" y="56057"/>
                  </a:cubicBezTo>
                  <a:cubicBezTo>
                    <a:pt x="56057" y="61514"/>
                    <a:pt x="54072" y="66475"/>
                    <a:pt x="52584" y="70939"/>
                  </a:cubicBezTo>
                  <a:cubicBezTo>
                    <a:pt x="51096" y="75900"/>
                    <a:pt x="48616" y="80365"/>
                    <a:pt x="46135" y="84830"/>
                  </a:cubicBezTo>
                  <a:cubicBezTo>
                    <a:pt x="43655" y="89294"/>
                    <a:pt x="39686" y="93759"/>
                    <a:pt x="35717" y="97231"/>
                  </a:cubicBezTo>
                  <a:cubicBezTo>
                    <a:pt x="40182" y="101696"/>
                    <a:pt x="44151" y="107649"/>
                    <a:pt x="46631" y="113602"/>
                  </a:cubicBezTo>
                  <a:cubicBezTo>
                    <a:pt x="49112" y="119555"/>
                    <a:pt x="52088" y="125508"/>
                    <a:pt x="52088" y="1324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4646B6D9-C3FC-CE4E-15E2-DDF9B10C2219}"/>
                </a:ext>
              </a:extLst>
            </p:cNvPr>
            <p:cNvSpPr/>
            <p:nvPr/>
          </p:nvSpPr>
          <p:spPr>
            <a:xfrm>
              <a:off x="3553137" y="2948191"/>
              <a:ext cx="253138" cy="127492"/>
            </a:xfrm>
            <a:custGeom>
              <a:avLst/>
              <a:gdLst>
                <a:gd name="connsiteX0" fmla="*/ 635 w 253138"/>
                <a:gd name="connsiteY0" fmla="*/ 125508 h 127492"/>
                <a:gd name="connsiteX1" fmla="*/ 139 w 253138"/>
                <a:gd name="connsiteY1" fmla="*/ 108641 h 127492"/>
                <a:gd name="connsiteX2" fmla="*/ 5100 w 253138"/>
                <a:gd name="connsiteY2" fmla="*/ 92767 h 127492"/>
                <a:gd name="connsiteX3" fmla="*/ 10557 w 253138"/>
                <a:gd name="connsiteY3" fmla="*/ 77388 h 127492"/>
                <a:gd name="connsiteX4" fmla="*/ 16510 w 253138"/>
                <a:gd name="connsiteY4" fmla="*/ 61514 h 127492"/>
                <a:gd name="connsiteX5" fmla="*/ 25439 w 253138"/>
                <a:gd name="connsiteY5" fmla="*/ 47624 h 127492"/>
                <a:gd name="connsiteX6" fmla="*/ 36353 w 253138"/>
                <a:gd name="connsiteY6" fmla="*/ 35222 h 127492"/>
                <a:gd name="connsiteX7" fmla="*/ 50243 w 253138"/>
                <a:gd name="connsiteY7" fmla="*/ 25796 h 127492"/>
                <a:gd name="connsiteX8" fmla="*/ 63141 w 253138"/>
                <a:gd name="connsiteY8" fmla="*/ 15379 h 127492"/>
                <a:gd name="connsiteX9" fmla="*/ 79015 w 253138"/>
                <a:gd name="connsiteY9" fmla="*/ 9922 h 127492"/>
                <a:gd name="connsiteX10" fmla="*/ 94394 w 253138"/>
                <a:gd name="connsiteY10" fmla="*/ 2977 h 127492"/>
                <a:gd name="connsiteX11" fmla="*/ 110764 w 253138"/>
                <a:gd name="connsiteY11" fmla="*/ 1488 h 127492"/>
                <a:gd name="connsiteX12" fmla="*/ 127135 w 253138"/>
                <a:gd name="connsiteY12" fmla="*/ 0 h 127492"/>
                <a:gd name="connsiteX13" fmla="*/ 143505 w 253138"/>
                <a:gd name="connsiteY13" fmla="*/ 1984 h 127492"/>
                <a:gd name="connsiteX14" fmla="*/ 159876 w 253138"/>
                <a:gd name="connsiteY14" fmla="*/ 3473 h 127492"/>
                <a:gd name="connsiteX15" fmla="*/ 175255 w 253138"/>
                <a:gd name="connsiteY15" fmla="*/ 9922 h 127492"/>
                <a:gd name="connsiteX16" fmla="*/ 190633 w 253138"/>
                <a:gd name="connsiteY16" fmla="*/ 16371 h 127492"/>
                <a:gd name="connsiteX17" fmla="*/ 204523 w 253138"/>
                <a:gd name="connsiteY17" fmla="*/ 25796 h 127492"/>
                <a:gd name="connsiteX18" fmla="*/ 216925 w 253138"/>
                <a:gd name="connsiteY18" fmla="*/ 37206 h 127492"/>
                <a:gd name="connsiteX19" fmla="*/ 226847 w 253138"/>
                <a:gd name="connsiteY19" fmla="*/ 50600 h 127492"/>
                <a:gd name="connsiteX20" fmla="*/ 235776 w 253138"/>
                <a:gd name="connsiteY20" fmla="*/ 64490 h 127492"/>
                <a:gd name="connsiteX21" fmla="*/ 245201 w 253138"/>
                <a:gd name="connsiteY21" fmla="*/ 78380 h 127492"/>
                <a:gd name="connsiteX22" fmla="*/ 249666 w 253138"/>
                <a:gd name="connsiteY22" fmla="*/ 94751 h 127492"/>
                <a:gd name="connsiteX23" fmla="*/ 252643 w 253138"/>
                <a:gd name="connsiteY23" fmla="*/ 111122 h 127492"/>
                <a:gd name="connsiteX24" fmla="*/ 253139 w 253138"/>
                <a:gd name="connsiteY24" fmla="*/ 127492 h 1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3138" h="127492">
                  <a:moveTo>
                    <a:pt x="635" y="125508"/>
                  </a:moveTo>
                  <a:cubicBezTo>
                    <a:pt x="635" y="120051"/>
                    <a:pt x="-357" y="114098"/>
                    <a:pt x="139" y="108641"/>
                  </a:cubicBezTo>
                  <a:cubicBezTo>
                    <a:pt x="635" y="103184"/>
                    <a:pt x="3611" y="98223"/>
                    <a:pt x="5100" y="92767"/>
                  </a:cubicBezTo>
                  <a:cubicBezTo>
                    <a:pt x="6588" y="87310"/>
                    <a:pt x="8076" y="82349"/>
                    <a:pt x="10557" y="77388"/>
                  </a:cubicBezTo>
                  <a:cubicBezTo>
                    <a:pt x="12541" y="72428"/>
                    <a:pt x="13533" y="66475"/>
                    <a:pt x="16510" y="61514"/>
                  </a:cubicBezTo>
                  <a:cubicBezTo>
                    <a:pt x="19486" y="56553"/>
                    <a:pt x="21966" y="51592"/>
                    <a:pt x="25439" y="47624"/>
                  </a:cubicBezTo>
                  <a:cubicBezTo>
                    <a:pt x="28912" y="43159"/>
                    <a:pt x="32880" y="39190"/>
                    <a:pt x="36353" y="35222"/>
                  </a:cubicBezTo>
                  <a:cubicBezTo>
                    <a:pt x="40321" y="31253"/>
                    <a:pt x="45778" y="28772"/>
                    <a:pt x="50243" y="25796"/>
                  </a:cubicBezTo>
                  <a:cubicBezTo>
                    <a:pt x="54707" y="22324"/>
                    <a:pt x="58180" y="17859"/>
                    <a:pt x="63141" y="15379"/>
                  </a:cubicBezTo>
                  <a:cubicBezTo>
                    <a:pt x="68102" y="12402"/>
                    <a:pt x="73559" y="11906"/>
                    <a:pt x="79015" y="9922"/>
                  </a:cubicBezTo>
                  <a:cubicBezTo>
                    <a:pt x="83976" y="7937"/>
                    <a:pt x="88937" y="4465"/>
                    <a:pt x="94394" y="2977"/>
                  </a:cubicBezTo>
                  <a:cubicBezTo>
                    <a:pt x="99851" y="1488"/>
                    <a:pt x="105307" y="1984"/>
                    <a:pt x="110764" y="1488"/>
                  </a:cubicBezTo>
                  <a:cubicBezTo>
                    <a:pt x="116221" y="992"/>
                    <a:pt x="121678" y="0"/>
                    <a:pt x="127135" y="0"/>
                  </a:cubicBezTo>
                  <a:cubicBezTo>
                    <a:pt x="132592" y="0"/>
                    <a:pt x="138049" y="992"/>
                    <a:pt x="143505" y="1984"/>
                  </a:cubicBezTo>
                  <a:cubicBezTo>
                    <a:pt x="148962" y="2480"/>
                    <a:pt x="154915" y="1984"/>
                    <a:pt x="159876" y="3473"/>
                  </a:cubicBezTo>
                  <a:cubicBezTo>
                    <a:pt x="165333" y="4961"/>
                    <a:pt x="170294" y="7441"/>
                    <a:pt x="175255" y="9922"/>
                  </a:cubicBezTo>
                  <a:cubicBezTo>
                    <a:pt x="180215" y="11906"/>
                    <a:pt x="185672" y="13890"/>
                    <a:pt x="190633" y="16371"/>
                  </a:cubicBezTo>
                  <a:cubicBezTo>
                    <a:pt x="195594" y="19347"/>
                    <a:pt x="200058" y="22324"/>
                    <a:pt x="204523" y="25796"/>
                  </a:cubicBezTo>
                  <a:cubicBezTo>
                    <a:pt x="208988" y="29269"/>
                    <a:pt x="212956" y="33237"/>
                    <a:pt x="216925" y="37206"/>
                  </a:cubicBezTo>
                  <a:cubicBezTo>
                    <a:pt x="220894" y="41174"/>
                    <a:pt x="223374" y="46135"/>
                    <a:pt x="226847" y="50600"/>
                  </a:cubicBezTo>
                  <a:cubicBezTo>
                    <a:pt x="230319" y="55065"/>
                    <a:pt x="232800" y="59529"/>
                    <a:pt x="235776" y="64490"/>
                  </a:cubicBezTo>
                  <a:cubicBezTo>
                    <a:pt x="238753" y="69451"/>
                    <a:pt x="243217" y="73419"/>
                    <a:pt x="245201" y="78380"/>
                  </a:cubicBezTo>
                  <a:cubicBezTo>
                    <a:pt x="247186" y="83341"/>
                    <a:pt x="248178" y="89294"/>
                    <a:pt x="249666" y="94751"/>
                  </a:cubicBezTo>
                  <a:cubicBezTo>
                    <a:pt x="251154" y="100208"/>
                    <a:pt x="252147" y="105665"/>
                    <a:pt x="252643" y="111122"/>
                  </a:cubicBezTo>
                  <a:cubicBezTo>
                    <a:pt x="253139" y="116578"/>
                    <a:pt x="253139" y="122035"/>
                    <a:pt x="253139" y="1274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6B205E38-2F09-927D-9B35-00C9DF867DD9}"/>
                </a:ext>
              </a:extLst>
            </p:cNvPr>
            <p:cNvSpPr/>
            <p:nvPr/>
          </p:nvSpPr>
          <p:spPr>
            <a:xfrm>
              <a:off x="5130769" y="3592758"/>
              <a:ext cx="672715" cy="887817"/>
            </a:xfrm>
            <a:custGeom>
              <a:avLst/>
              <a:gdLst>
                <a:gd name="connsiteX0" fmla="*/ 672716 w 672715"/>
                <a:gd name="connsiteY0" fmla="*/ 24642 h 887817"/>
                <a:gd name="connsiteX1" fmla="*/ 656346 w 672715"/>
                <a:gd name="connsiteY1" fmla="*/ 23154 h 887817"/>
                <a:gd name="connsiteX2" fmla="*/ 640471 w 672715"/>
                <a:gd name="connsiteY2" fmla="*/ 20177 h 887817"/>
                <a:gd name="connsiteX3" fmla="*/ 624101 w 672715"/>
                <a:gd name="connsiteY3" fmla="*/ 18689 h 887817"/>
                <a:gd name="connsiteX4" fmla="*/ 608226 w 672715"/>
                <a:gd name="connsiteY4" fmla="*/ 14720 h 887817"/>
                <a:gd name="connsiteX5" fmla="*/ 591856 w 672715"/>
                <a:gd name="connsiteY5" fmla="*/ 13232 h 887817"/>
                <a:gd name="connsiteX6" fmla="*/ 571020 w 672715"/>
                <a:gd name="connsiteY6" fmla="*/ 11248 h 887817"/>
                <a:gd name="connsiteX7" fmla="*/ 554153 w 672715"/>
                <a:gd name="connsiteY7" fmla="*/ 13728 h 887817"/>
                <a:gd name="connsiteX8" fmla="*/ 539767 w 672715"/>
                <a:gd name="connsiteY8" fmla="*/ 17696 h 887817"/>
                <a:gd name="connsiteX9" fmla="*/ 525381 w 672715"/>
                <a:gd name="connsiteY9" fmla="*/ 20673 h 887817"/>
                <a:gd name="connsiteX10" fmla="*/ 510499 w 672715"/>
                <a:gd name="connsiteY10" fmla="*/ 21169 h 887817"/>
                <a:gd name="connsiteX11" fmla="*/ 496112 w 672715"/>
                <a:gd name="connsiteY11" fmla="*/ 18689 h 887817"/>
                <a:gd name="connsiteX12" fmla="*/ 480734 w 672715"/>
                <a:gd name="connsiteY12" fmla="*/ 17696 h 887817"/>
                <a:gd name="connsiteX13" fmla="*/ 465852 w 672715"/>
                <a:gd name="connsiteY13" fmla="*/ 19185 h 887817"/>
                <a:gd name="connsiteX14" fmla="*/ 451961 w 672715"/>
                <a:gd name="connsiteY14" fmla="*/ 25634 h 887817"/>
                <a:gd name="connsiteX15" fmla="*/ 447497 w 672715"/>
                <a:gd name="connsiteY15" fmla="*/ 40516 h 887817"/>
                <a:gd name="connsiteX16" fmla="*/ 432614 w 672715"/>
                <a:gd name="connsiteY16" fmla="*/ 31587 h 887817"/>
                <a:gd name="connsiteX17" fmla="*/ 419220 w 672715"/>
                <a:gd name="connsiteY17" fmla="*/ 21665 h 887817"/>
                <a:gd name="connsiteX18" fmla="*/ 403842 w 672715"/>
                <a:gd name="connsiteY18" fmla="*/ 13232 h 887817"/>
                <a:gd name="connsiteX19" fmla="*/ 397393 w 672715"/>
                <a:gd name="connsiteY19" fmla="*/ 30098 h 887817"/>
                <a:gd name="connsiteX20" fmla="*/ 393424 w 672715"/>
                <a:gd name="connsiteY20" fmla="*/ 16704 h 887817"/>
                <a:gd name="connsiteX21" fmla="*/ 380030 w 672715"/>
                <a:gd name="connsiteY21" fmla="*/ 8767 h 887817"/>
                <a:gd name="connsiteX22" fmla="*/ 364156 w 672715"/>
                <a:gd name="connsiteY22" fmla="*/ 4302 h 887817"/>
                <a:gd name="connsiteX23" fmla="*/ 347785 w 672715"/>
                <a:gd name="connsiteY23" fmla="*/ 1326 h 887817"/>
                <a:gd name="connsiteX24" fmla="*/ 331415 w 672715"/>
                <a:gd name="connsiteY24" fmla="*/ 2318 h 887817"/>
                <a:gd name="connsiteX25" fmla="*/ 315044 w 672715"/>
                <a:gd name="connsiteY25" fmla="*/ 3310 h 887817"/>
                <a:gd name="connsiteX26" fmla="*/ 298177 w 672715"/>
                <a:gd name="connsiteY26" fmla="*/ 1326 h 887817"/>
                <a:gd name="connsiteX27" fmla="*/ 280815 w 672715"/>
                <a:gd name="connsiteY27" fmla="*/ 334 h 887817"/>
                <a:gd name="connsiteX28" fmla="*/ 263948 w 672715"/>
                <a:gd name="connsiteY28" fmla="*/ 5295 h 887817"/>
                <a:gd name="connsiteX29" fmla="*/ 247081 w 672715"/>
                <a:gd name="connsiteY29" fmla="*/ 9759 h 887817"/>
                <a:gd name="connsiteX30" fmla="*/ 230711 w 672715"/>
                <a:gd name="connsiteY30" fmla="*/ 15712 h 887817"/>
                <a:gd name="connsiteX31" fmla="*/ 214340 w 672715"/>
                <a:gd name="connsiteY31" fmla="*/ 21665 h 887817"/>
                <a:gd name="connsiteX32" fmla="*/ 200450 w 672715"/>
                <a:gd name="connsiteY32" fmla="*/ 13232 h 887817"/>
                <a:gd name="connsiteX33" fmla="*/ 184079 w 672715"/>
                <a:gd name="connsiteY33" fmla="*/ 13232 h 887817"/>
                <a:gd name="connsiteX34" fmla="*/ 167709 w 672715"/>
                <a:gd name="connsiteY34" fmla="*/ 13728 h 887817"/>
                <a:gd name="connsiteX35" fmla="*/ 151834 w 672715"/>
                <a:gd name="connsiteY35" fmla="*/ 17201 h 887817"/>
                <a:gd name="connsiteX36" fmla="*/ 136952 w 672715"/>
                <a:gd name="connsiteY36" fmla="*/ 17201 h 887817"/>
                <a:gd name="connsiteX37" fmla="*/ 122566 w 672715"/>
                <a:gd name="connsiteY37" fmla="*/ 14224 h 887817"/>
                <a:gd name="connsiteX38" fmla="*/ 108180 w 672715"/>
                <a:gd name="connsiteY38" fmla="*/ 11248 h 887817"/>
                <a:gd name="connsiteX39" fmla="*/ 93793 w 672715"/>
                <a:gd name="connsiteY39" fmla="*/ 7775 h 887817"/>
                <a:gd name="connsiteX40" fmla="*/ 72958 w 672715"/>
                <a:gd name="connsiteY40" fmla="*/ 6287 h 887817"/>
                <a:gd name="connsiteX41" fmla="*/ 57580 w 672715"/>
                <a:gd name="connsiteY41" fmla="*/ 11743 h 887817"/>
                <a:gd name="connsiteX42" fmla="*/ 41705 w 672715"/>
                <a:gd name="connsiteY42" fmla="*/ 10255 h 887817"/>
                <a:gd name="connsiteX43" fmla="*/ 25334 w 672715"/>
                <a:gd name="connsiteY43" fmla="*/ 7279 h 887817"/>
                <a:gd name="connsiteX44" fmla="*/ 9956 w 672715"/>
                <a:gd name="connsiteY44" fmla="*/ 9263 h 887817"/>
                <a:gd name="connsiteX45" fmla="*/ 34 w 672715"/>
                <a:gd name="connsiteY45" fmla="*/ 20673 h 887817"/>
                <a:gd name="connsiteX46" fmla="*/ 13925 w 672715"/>
                <a:gd name="connsiteY46" fmla="*/ 34563 h 887817"/>
                <a:gd name="connsiteX47" fmla="*/ 27319 w 672715"/>
                <a:gd name="connsiteY47" fmla="*/ 42997 h 887817"/>
                <a:gd name="connsiteX48" fmla="*/ 42201 w 672715"/>
                <a:gd name="connsiteY48" fmla="*/ 48949 h 887817"/>
                <a:gd name="connsiteX49" fmla="*/ 57580 w 672715"/>
                <a:gd name="connsiteY49" fmla="*/ 53910 h 887817"/>
                <a:gd name="connsiteX50" fmla="*/ 73454 w 672715"/>
                <a:gd name="connsiteY50" fmla="*/ 56390 h 887817"/>
                <a:gd name="connsiteX51" fmla="*/ 88832 w 672715"/>
                <a:gd name="connsiteY51" fmla="*/ 60855 h 887817"/>
                <a:gd name="connsiteX52" fmla="*/ 104211 w 672715"/>
                <a:gd name="connsiteY52" fmla="*/ 63832 h 887817"/>
                <a:gd name="connsiteX53" fmla="*/ 104707 w 672715"/>
                <a:gd name="connsiteY53" fmla="*/ 78714 h 887817"/>
                <a:gd name="connsiteX54" fmla="*/ 116613 w 672715"/>
                <a:gd name="connsiteY54" fmla="*/ 89628 h 887817"/>
                <a:gd name="connsiteX55" fmla="*/ 131991 w 672715"/>
                <a:gd name="connsiteY55" fmla="*/ 96077 h 887817"/>
                <a:gd name="connsiteX56" fmla="*/ 145385 w 672715"/>
                <a:gd name="connsiteY56" fmla="*/ 105502 h 887817"/>
                <a:gd name="connsiteX57" fmla="*/ 146874 w 672715"/>
                <a:gd name="connsiteY57" fmla="*/ 112943 h 887817"/>
                <a:gd name="connsiteX58" fmla="*/ 152330 w 672715"/>
                <a:gd name="connsiteY58" fmla="*/ 127826 h 887817"/>
                <a:gd name="connsiteX59" fmla="*/ 164236 w 672715"/>
                <a:gd name="connsiteY59" fmla="*/ 142212 h 887817"/>
                <a:gd name="connsiteX60" fmla="*/ 179119 w 672715"/>
                <a:gd name="connsiteY60" fmla="*/ 152134 h 887817"/>
                <a:gd name="connsiteX61" fmla="*/ 196481 w 672715"/>
                <a:gd name="connsiteY61" fmla="*/ 152630 h 887817"/>
                <a:gd name="connsiteX62" fmla="*/ 203923 w 672715"/>
                <a:gd name="connsiteY62" fmla="*/ 141220 h 887817"/>
                <a:gd name="connsiteX63" fmla="*/ 207891 w 672715"/>
                <a:gd name="connsiteY63" fmla="*/ 127826 h 887817"/>
                <a:gd name="connsiteX64" fmla="*/ 215828 w 672715"/>
                <a:gd name="connsiteY64" fmla="*/ 116416 h 887817"/>
                <a:gd name="connsiteX65" fmla="*/ 228230 w 672715"/>
                <a:gd name="connsiteY65" fmla="*/ 107487 h 887817"/>
                <a:gd name="connsiteX66" fmla="*/ 242617 w 672715"/>
                <a:gd name="connsiteY66" fmla="*/ 103022 h 887817"/>
                <a:gd name="connsiteX67" fmla="*/ 257995 w 672715"/>
                <a:gd name="connsiteY67" fmla="*/ 101038 h 887817"/>
                <a:gd name="connsiteX68" fmla="*/ 273373 w 672715"/>
                <a:gd name="connsiteY68" fmla="*/ 104014 h 887817"/>
                <a:gd name="connsiteX69" fmla="*/ 287760 w 672715"/>
                <a:gd name="connsiteY69" fmla="*/ 109471 h 887817"/>
                <a:gd name="connsiteX70" fmla="*/ 301650 w 672715"/>
                <a:gd name="connsiteY70" fmla="*/ 116416 h 887817"/>
                <a:gd name="connsiteX71" fmla="*/ 314548 w 672715"/>
                <a:gd name="connsiteY71" fmla="*/ 124353 h 887817"/>
                <a:gd name="connsiteX72" fmla="*/ 313060 w 672715"/>
                <a:gd name="connsiteY72" fmla="*/ 144693 h 887817"/>
                <a:gd name="connsiteX73" fmla="*/ 323973 w 672715"/>
                <a:gd name="connsiteY73" fmla="*/ 151142 h 887817"/>
                <a:gd name="connsiteX74" fmla="*/ 334887 w 672715"/>
                <a:gd name="connsiteY74" fmla="*/ 157095 h 887817"/>
                <a:gd name="connsiteX75" fmla="*/ 340840 w 672715"/>
                <a:gd name="connsiteY75" fmla="*/ 168504 h 887817"/>
                <a:gd name="connsiteX76" fmla="*/ 346793 w 672715"/>
                <a:gd name="connsiteY76" fmla="*/ 180410 h 887817"/>
                <a:gd name="connsiteX77" fmla="*/ 364156 w 672715"/>
                <a:gd name="connsiteY77" fmla="*/ 193308 h 887817"/>
                <a:gd name="connsiteX78" fmla="*/ 359195 w 672715"/>
                <a:gd name="connsiteY78" fmla="*/ 206702 h 887817"/>
                <a:gd name="connsiteX79" fmla="*/ 353242 w 672715"/>
                <a:gd name="connsiteY79" fmla="*/ 220096 h 887817"/>
                <a:gd name="connsiteX80" fmla="*/ 358203 w 672715"/>
                <a:gd name="connsiteY80" fmla="*/ 234483 h 887817"/>
                <a:gd name="connsiteX81" fmla="*/ 370109 w 672715"/>
                <a:gd name="connsiteY81" fmla="*/ 244404 h 887817"/>
                <a:gd name="connsiteX82" fmla="*/ 382511 w 672715"/>
                <a:gd name="connsiteY82" fmla="*/ 253830 h 887817"/>
                <a:gd name="connsiteX83" fmla="*/ 394416 w 672715"/>
                <a:gd name="connsiteY83" fmla="*/ 263751 h 887817"/>
                <a:gd name="connsiteX84" fmla="*/ 396897 w 672715"/>
                <a:gd name="connsiteY84" fmla="*/ 278634 h 887817"/>
                <a:gd name="connsiteX85" fmla="*/ 386975 w 672715"/>
                <a:gd name="connsiteY85" fmla="*/ 293516 h 887817"/>
                <a:gd name="connsiteX86" fmla="*/ 382511 w 672715"/>
                <a:gd name="connsiteY86" fmla="*/ 309887 h 887817"/>
                <a:gd name="connsiteX87" fmla="*/ 394416 w 672715"/>
                <a:gd name="connsiteY87" fmla="*/ 313855 h 887817"/>
                <a:gd name="connsiteX88" fmla="*/ 410787 w 672715"/>
                <a:gd name="connsiteY88" fmla="*/ 313359 h 887817"/>
                <a:gd name="connsiteX89" fmla="*/ 426661 w 672715"/>
                <a:gd name="connsiteY89" fmla="*/ 316335 h 887817"/>
                <a:gd name="connsiteX90" fmla="*/ 443032 w 672715"/>
                <a:gd name="connsiteY90" fmla="*/ 317824 h 887817"/>
                <a:gd name="connsiteX91" fmla="*/ 459403 w 672715"/>
                <a:gd name="connsiteY91" fmla="*/ 318816 h 887817"/>
                <a:gd name="connsiteX92" fmla="*/ 449977 w 672715"/>
                <a:gd name="connsiteY92" fmla="*/ 332706 h 887817"/>
                <a:gd name="connsiteX93" fmla="*/ 446504 w 672715"/>
                <a:gd name="connsiteY93" fmla="*/ 349076 h 887817"/>
                <a:gd name="connsiteX94" fmla="*/ 447497 w 672715"/>
                <a:gd name="connsiteY94" fmla="*/ 365447 h 887817"/>
                <a:gd name="connsiteX95" fmla="*/ 451465 w 672715"/>
                <a:gd name="connsiteY95" fmla="*/ 381818 h 887817"/>
                <a:gd name="connsiteX96" fmla="*/ 462379 w 672715"/>
                <a:gd name="connsiteY96" fmla="*/ 394220 h 887817"/>
                <a:gd name="connsiteX97" fmla="*/ 477261 w 672715"/>
                <a:gd name="connsiteY97" fmla="*/ 406125 h 887817"/>
                <a:gd name="connsiteX98" fmla="*/ 485695 w 672715"/>
                <a:gd name="connsiteY98" fmla="*/ 422000 h 887817"/>
                <a:gd name="connsiteX99" fmla="*/ 494128 w 672715"/>
                <a:gd name="connsiteY99" fmla="*/ 433906 h 887817"/>
                <a:gd name="connsiteX100" fmla="*/ 507026 w 672715"/>
                <a:gd name="connsiteY100" fmla="*/ 441347 h 887817"/>
                <a:gd name="connsiteX101" fmla="*/ 519428 w 672715"/>
                <a:gd name="connsiteY101" fmla="*/ 448788 h 887817"/>
                <a:gd name="connsiteX102" fmla="*/ 533814 w 672715"/>
                <a:gd name="connsiteY102" fmla="*/ 454245 h 887817"/>
                <a:gd name="connsiteX103" fmla="*/ 528357 w 672715"/>
                <a:gd name="connsiteY103" fmla="*/ 472104 h 887817"/>
                <a:gd name="connsiteX104" fmla="*/ 526373 w 672715"/>
                <a:gd name="connsiteY104" fmla="*/ 489963 h 887817"/>
                <a:gd name="connsiteX105" fmla="*/ 522405 w 672715"/>
                <a:gd name="connsiteY105" fmla="*/ 507325 h 887817"/>
                <a:gd name="connsiteX106" fmla="*/ 519924 w 672715"/>
                <a:gd name="connsiteY106" fmla="*/ 523696 h 887817"/>
                <a:gd name="connsiteX107" fmla="*/ 524389 w 672715"/>
                <a:gd name="connsiteY107" fmla="*/ 536594 h 887817"/>
                <a:gd name="connsiteX108" fmla="*/ 530838 w 672715"/>
                <a:gd name="connsiteY108" fmla="*/ 548500 h 887817"/>
                <a:gd name="connsiteX109" fmla="*/ 536791 w 672715"/>
                <a:gd name="connsiteY109" fmla="*/ 562886 h 887817"/>
                <a:gd name="connsiteX110" fmla="*/ 540263 w 672715"/>
                <a:gd name="connsiteY110" fmla="*/ 578265 h 887817"/>
                <a:gd name="connsiteX111" fmla="*/ 542744 w 672715"/>
                <a:gd name="connsiteY111" fmla="*/ 593643 h 887817"/>
                <a:gd name="connsiteX112" fmla="*/ 542744 w 672715"/>
                <a:gd name="connsiteY112" fmla="*/ 609021 h 887817"/>
                <a:gd name="connsiteX113" fmla="*/ 544728 w 672715"/>
                <a:gd name="connsiteY113" fmla="*/ 624400 h 887817"/>
                <a:gd name="connsiteX114" fmla="*/ 544728 w 672715"/>
                <a:gd name="connsiteY114" fmla="*/ 639778 h 887817"/>
                <a:gd name="connsiteX115" fmla="*/ 545224 w 672715"/>
                <a:gd name="connsiteY115" fmla="*/ 655157 h 887817"/>
                <a:gd name="connsiteX116" fmla="*/ 548200 w 672715"/>
                <a:gd name="connsiteY116" fmla="*/ 670535 h 887817"/>
                <a:gd name="connsiteX117" fmla="*/ 551673 w 672715"/>
                <a:gd name="connsiteY117" fmla="*/ 685418 h 887817"/>
                <a:gd name="connsiteX118" fmla="*/ 557626 w 672715"/>
                <a:gd name="connsiteY118" fmla="*/ 699804 h 887817"/>
                <a:gd name="connsiteX119" fmla="*/ 566059 w 672715"/>
                <a:gd name="connsiteY119" fmla="*/ 713198 h 887817"/>
                <a:gd name="connsiteX120" fmla="*/ 576973 w 672715"/>
                <a:gd name="connsiteY120" fmla="*/ 724112 h 887817"/>
                <a:gd name="connsiteX121" fmla="*/ 587887 w 672715"/>
                <a:gd name="connsiteY121" fmla="*/ 735025 h 887817"/>
                <a:gd name="connsiteX122" fmla="*/ 595328 w 672715"/>
                <a:gd name="connsiteY122" fmla="*/ 748419 h 887817"/>
                <a:gd name="connsiteX123" fmla="*/ 583918 w 672715"/>
                <a:gd name="connsiteY123" fmla="*/ 769751 h 887817"/>
                <a:gd name="connsiteX124" fmla="*/ 590863 w 672715"/>
                <a:gd name="connsiteY124" fmla="*/ 791082 h 887817"/>
                <a:gd name="connsiteX125" fmla="*/ 601281 w 672715"/>
                <a:gd name="connsiteY125" fmla="*/ 802492 h 887817"/>
                <a:gd name="connsiteX126" fmla="*/ 608226 w 672715"/>
                <a:gd name="connsiteY126" fmla="*/ 816382 h 887817"/>
                <a:gd name="connsiteX127" fmla="*/ 616659 w 672715"/>
                <a:gd name="connsiteY127" fmla="*/ 829280 h 887817"/>
                <a:gd name="connsiteX128" fmla="*/ 621124 w 672715"/>
                <a:gd name="connsiteY128" fmla="*/ 844162 h 887817"/>
                <a:gd name="connsiteX129" fmla="*/ 626085 w 672715"/>
                <a:gd name="connsiteY129" fmla="*/ 858549 h 887817"/>
                <a:gd name="connsiteX130" fmla="*/ 632038 w 672715"/>
                <a:gd name="connsiteY130" fmla="*/ 872935 h 887817"/>
                <a:gd name="connsiteX131" fmla="*/ 635510 w 672715"/>
                <a:gd name="connsiteY131" fmla="*/ 887817 h 88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672715" h="887817">
                  <a:moveTo>
                    <a:pt x="672716" y="24642"/>
                  </a:moveTo>
                  <a:cubicBezTo>
                    <a:pt x="667259" y="23649"/>
                    <a:pt x="661802" y="23649"/>
                    <a:pt x="656346" y="23154"/>
                  </a:cubicBezTo>
                  <a:cubicBezTo>
                    <a:pt x="650889" y="22161"/>
                    <a:pt x="645432" y="21169"/>
                    <a:pt x="640471" y="20177"/>
                  </a:cubicBezTo>
                  <a:cubicBezTo>
                    <a:pt x="635014" y="19185"/>
                    <a:pt x="629557" y="19681"/>
                    <a:pt x="624101" y="18689"/>
                  </a:cubicBezTo>
                  <a:cubicBezTo>
                    <a:pt x="618644" y="17696"/>
                    <a:pt x="613683" y="15712"/>
                    <a:pt x="608226" y="14720"/>
                  </a:cubicBezTo>
                  <a:cubicBezTo>
                    <a:pt x="602769" y="13728"/>
                    <a:pt x="597312" y="14224"/>
                    <a:pt x="591856" y="13232"/>
                  </a:cubicBezTo>
                  <a:cubicBezTo>
                    <a:pt x="584910" y="12240"/>
                    <a:pt x="577965" y="10752"/>
                    <a:pt x="571020" y="11248"/>
                  </a:cubicBezTo>
                  <a:cubicBezTo>
                    <a:pt x="565563" y="11743"/>
                    <a:pt x="560106" y="13232"/>
                    <a:pt x="554153" y="13728"/>
                  </a:cubicBezTo>
                  <a:cubicBezTo>
                    <a:pt x="549193" y="14224"/>
                    <a:pt x="544728" y="16704"/>
                    <a:pt x="539767" y="17696"/>
                  </a:cubicBezTo>
                  <a:cubicBezTo>
                    <a:pt x="534807" y="18689"/>
                    <a:pt x="529846" y="19681"/>
                    <a:pt x="525381" y="20673"/>
                  </a:cubicBezTo>
                  <a:cubicBezTo>
                    <a:pt x="520420" y="21665"/>
                    <a:pt x="515459" y="21169"/>
                    <a:pt x="510499" y="21169"/>
                  </a:cubicBezTo>
                  <a:cubicBezTo>
                    <a:pt x="505538" y="21169"/>
                    <a:pt x="501073" y="20673"/>
                    <a:pt x="496112" y="18689"/>
                  </a:cubicBezTo>
                  <a:cubicBezTo>
                    <a:pt x="491648" y="17201"/>
                    <a:pt x="486191" y="17696"/>
                    <a:pt x="480734" y="17696"/>
                  </a:cubicBezTo>
                  <a:cubicBezTo>
                    <a:pt x="475773" y="17696"/>
                    <a:pt x="470316" y="17696"/>
                    <a:pt x="465852" y="19185"/>
                  </a:cubicBezTo>
                  <a:cubicBezTo>
                    <a:pt x="460891" y="20673"/>
                    <a:pt x="454938" y="22161"/>
                    <a:pt x="451961" y="25634"/>
                  </a:cubicBezTo>
                  <a:cubicBezTo>
                    <a:pt x="448489" y="29106"/>
                    <a:pt x="447497" y="35059"/>
                    <a:pt x="447497" y="40516"/>
                  </a:cubicBezTo>
                  <a:cubicBezTo>
                    <a:pt x="442536" y="37540"/>
                    <a:pt x="437575" y="34563"/>
                    <a:pt x="432614" y="31587"/>
                  </a:cubicBezTo>
                  <a:cubicBezTo>
                    <a:pt x="427654" y="28610"/>
                    <a:pt x="423685" y="24642"/>
                    <a:pt x="419220" y="21665"/>
                  </a:cubicBezTo>
                  <a:cubicBezTo>
                    <a:pt x="414259" y="18689"/>
                    <a:pt x="408803" y="15712"/>
                    <a:pt x="403842" y="13232"/>
                  </a:cubicBezTo>
                  <a:cubicBezTo>
                    <a:pt x="401361" y="18689"/>
                    <a:pt x="399873" y="24642"/>
                    <a:pt x="397393" y="30098"/>
                  </a:cubicBezTo>
                  <a:cubicBezTo>
                    <a:pt x="400866" y="25138"/>
                    <a:pt x="397889" y="21169"/>
                    <a:pt x="393424" y="16704"/>
                  </a:cubicBezTo>
                  <a:cubicBezTo>
                    <a:pt x="389952" y="12736"/>
                    <a:pt x="384991" y="10255"/>
                    <a:pt x="380030" y="8767"/>
                  </a:cubicBezTo>
                  <a:cubicBezTo>
                    <a:pt x="374573" y="7279"/>
                    <a:pt x="369612" y="5295"/>
                    <a:pt x="364156" y="4302"/>
                  </a:cubicBezTo>
                  <a:cubicBezTo>
                    <a:pt x="358699" y="3310"/>
                    <a:pt x="353242" y="1326"/>
                    <a:pt x="347785" y="1326"/>
                  </a:cubicBezTo>
                  <a:cubicBezTo>
                    <a:pt x="342328" y="830"/>
                    <a:pt x="336871" y="2318"/>
                    <a:pt x="331415" y="2318"/>
                  </a:cubicBezTo>
                  <a:cubicBezTo>
                    <a:pt x="325958" y="2814"/>
                    <a:pt x="320501" y="2318"/>
                    <a:pt x="315044" y="3310"/>
                  </a:cubicBezTo>
                  <a:cubicBezTo>
                    <a:pt x="309587" y="1326"/>
                    <a:pt x="303634" y="1822"/>
                    <a:pt x="298177" y="1326"/>
                  </a:cubicBezTo>
                  <a:cubicBezTo>
                    <a:pt x="292720" y="830"/>
                    <a:pt x="286768" y="-658"/>
                    <a:pt x="280815" y="334"/>
                  </a:cubicBezTo>
                  <a:cubicBezTo>
                    <a:pt x="275358" y="1326"/>
                    <a:pt x="269901" y="3806"/>
                    <a:pt x="263948" y="5295"/>
                  </a:cubicBezTo>
                  <a:cubicBezTo>
                    <a:pt x="258491" y="6783"/>
                    <a:pt x="252538" y="7775"/>
                    <a:pt x="247081" y="9759"/>
                  </a:cubicBezTo>
                  <a:cubicBezTo>
                    <a:pt x="241624" y="11743"/>
                    <a:pt x="236168" y="13728"/>
                    <a:pt x="230711" y="15712"/>
                  </a:cubicBezTo>
                  <a:cubicBezTo>
                    <a:pt x="225254" y="17696"/>
                    <a:pt x="219797" y="20177"/>
                    <a:pt x="214340" y="21665"/>
                  </a:cubicBezTo>
                  <a:cubicBezTo>
                    <a:pt x="210371" y="17696"/>
                    <a:pt x="205411" y="14720"/>
                    <a:pt x="200450" y="13232"/>
                  </a:cubicBezTo>
                  <a:cubicBezTo>
                    <a:pt x="195489" y="12240"/>
                    <a:pt x="190032" y="12736"/>
                    <a:pt x="184079" y="13232"/>
                  </a:cubicBezTo>
                  <a:cubicBezTo>
                    <a:pt x="178622" y="13728"/>
                    <a:pt x="173166" y="12736"/>
                    <a:pt x="167709" y="13728"/>
                  </a:cubicBezTo>
                  <a:cubicBezTo>
                    <a:pt x="162252" y="14720"/>
                    <a:pt x="156795" y="16704"/>
                    <a:pt x="151834" y="17201"/>
                  </a:cubicBezTo>
                  <a:cubicBezTo>
                    <a:pt x="146874" y="17696"/>
                    <a:pt x="141913" y="17696"/>
                    <a:pt x="136952" y="17201"/>
                  </a:cubicBezTo>
                  <a:cubicBezTo>
                    <a:pt x="131991" y="16704"/>
                    <a:pt x="127526" y="14720"/>
                    <a:pt x="122566" y="14224"/>
                  </a:cubicBezTo>
                  <a:cubicBezTo>
                    <a:pt x="117605" y="13232"/>
                    <a:pt x="113140" y="12240"/>
                    <a:pt x="108180" y="11248"/>
                  </a:cubicBezTo>
                  <a:cubicBezTo>
                    <a:pt x="103219" y="10255"/>
                    <a:pt x="98754" y="9263"/>
                    <a:pt x="93793" y="7775"/>
                  </a:cubicBezTo>
                  <a:cubicBezTo>
                    <a:pt x="86848" y="5791"/>
                    <a:pt x="79903" y="4799"/>
                    <a:pt x="72958" y="6287"/>
                  </a:cubicBezTo>
                  <a:cubicBezTo>
                    <a:pt x="67501" y="7775"/>
                    <a:pt x="62540" y="10255"/>
                    <a:pt x="57580" y="11743"/>
                  </a:cubicBezTo>
                  <a:cubicBezTo>
                    <a:pt x="52122" y="13232"/>
                    <a:pt x="47162" y="11743"/>
                    <a:pt x="41705" y="10255"/>
                  </a:cubicBezTo>
                  <a:cubicBezTo>
                    <a:pt x="36248" y="8767"/>
                    <a:pt x="30791" y="8767"/>
                    <a:pt x="25334" y="7279"/>
                  </a:cubicBezTo>
                  <a:cubicBezTo>
                    <a:pt x="20374" y="6287"/>
                    <a:pt x="14917" y="7279"/>
                    <a:pt x="9956" y="9263"/>
                  </a:cubicBezTo>
                  <a:cubicBezTo>
                    <a:pt x="4499" y="11743"/>
                    <a:pt x="-462" y="15216"/>
                    <a:pt x="34" y="20673"/>
                  </a:cubicBezTo>
                  <a:cubicBezTo>
                    <a:pt x="531" y="27122"/>
                    <a:pt x="7972" y="31091"/>
                    <a:pt x="13925" y="34563"/>
                  </a:cubicBezTo>
                  <a:cubicBezTo>
                    <a:pt x="18389" y="37044"/>
                    <a:pt x="22854" y="41012"/>
                    <a:pt x="27319" y="42997"/>
                  </a:cubicBezTo>
                  <a:cubicBezTo>
                    <a:pt x="32279" y="44981"/>
                    <a:pt x="37240" y="47461"/>
                    <a:pt x="42201" y="48949"/>
                  </a:cubicBezTo>
                  <a:cubicBezTo>
                    <a:pt x="47162" y="50934"/>
                    <a:pt x="52122" y="52422"/>
                    <a:pt x="57580" y="53910"/>
                  </a:cubicBezTo>
                  <a:cubicBezTo>
                    <a:pt x="62540" y="55399"/>
                    <a:pt x="67997" y="55399"/>
                    <a:pt x="73454" y="56390"/>
                  </a:cubicBezTo>
                  <a:cubicBezTo>
                    <a:pt x="78415" y="57383"/>
                    <a:pt x="83376" y="59863"/>
                    <a:pt x="88832" y="60855"/>
                  </a:cubicBezTo>
                  <a:cubicBezTo>
                    <a:pt x="93793" y="61848"/>
                    <a:pt x="98754" y="62840"/>
                    <a:pt x="104211" y="63832"/>
                  </a:cubicBezTo>
                  <a:cubicBezTo>
                    <a:pt x="100242" y="68296"/>
                    <a:pt x="101234" y="73753"/>
                    <a:pt x="104707" y="78714"/>
                  </a:cubicBezTo>
                  <a:cubicBezTo>
                    <a:pt x="107683" y="83179"/>
                    <a:pt x="112148" y="87644"/>
                    <a:pt x="116613" y="89628"/>
                  </a:cubicBezTo>
                  <a:cubicBezTo>
                    <a:pt x="121573" y="91612"/>
                    <a:pt x="127030" y="94093"/>
                    <a:pt x="131991" y="96077"/>
                  </a:cubicBezTo>
                  <a:cubicBezTo>
                    <a:pt x="137448" y="98557"/>
                    <a:pt x="142905" y="100046"/>
                    <a:pt x="145385" y="105502"/>
                  </a:cubicBezTo>
                  <a:cubicBezTo>
                    <a:pt x="149354" y="113439"/>
                    <a:pt x="145385" y="104014"/>
                    <a:pt x="146874" y="112943"/>
                  </a:cubicBezTo>
                  <a:cubicBezTo>
                    <a:pt x="147866" y="118400"/>
                    <a:pt x="149850" y="123361"/>
                    <a:pt x="152330" y="127826"/>
                  </a:cubicBezTo>
                  <a:cubicBezTo>
                    <a:pt x="155307" y="132787"/>
                    <a:pt x="159771" y="137747"/>
                    <a:pt x="164236" y="142212"/>
                  </a:cubicBezTo>
                  <a:cubicBezTo>
                    <a:pt x="168701" y="146677"/>
                    <a:pt x="174158" y="150149"/>
                    <a:pt x="179119" y="152134"/>
                  </a:cubicBezTo>
                  <a:cubicBezTo>
                    <a:pt x="185072" y="154614"/>
                    <a:pt x="190528" y="155606"/>
                    <a:pt x="196481" y="152630"/>
                  </a:cubicBezTo>
                  <a:cubicBezTo>
                    <a:pt x="199458" y="151142"/>
                    <a:pt x="201442" y="146677"/>
                    <a:pt x="203923" y="141220"/>
                  </a:cubicBezTo>
                  <a:cubicBezTo>
                    <a:pt x="205411" y="137251"/>
                    <a:pt x="206403" y="131794"/>
                    <a:pt x="207891" y="127826"/>
                  </a:cubicBezTo>
                  <a:cubicBezTo>
                    <a:pt x="209876" y="122369"/>
                    <a:pt x="213348" y="118400"/>
                    <a:pt x="215828" y="116416"/>
                  </a:cubicBezTo>
                  <a:cubicBezTo>
                    <a:pt x="219797" y="112448"/>
                    <a:pt x="223766" y="109471"/>
                    <a:pt x="228230" y="107487"/>
                  </a:cubicBezTo>
                  <a:cubicBezTo>
                    <a:pt x="232695" y="105006"/>
                    <a:pt x="237656" y="104014"/>
                    <a:pt x="242617" y="103022"/>
                  </a:cubicBezTo>
                  <a:cubicBezTo>
                    <a:pt x="247577" y="102030"/>
                    <a:pt x="252538" y="100542"/>
                    <a:pt x="257995" y="101038"/>
                  </a:cubicBezTo>
                  <a:cubicBezTo>
                    <a:pt x="262956" y="101534"/>
                    <a:pt x="267916" y="102526"/>
                    <a:pt x="273373" y="104014"/>
                  </a:cubicBezTo>
                  <a:cubicBezTo>
                    <a:pt x="278334" y="105502"/>
                    <a:pt x="282799" y="107487"/>
                    <a:pt x="287760" y="109471"/>
                  </a:cubicBezTo>
                  <a:cubicBezTo>
                    <a:pt x="292720" y="111455"/>
                    <a:pt x="297185" y="113439"/>
                    <a:pt x="301650" y="116416"/>
                  </a:cubicBezTo>
                  <a:cubicBezTo>
                    <a:pt x="306114" y="118896"/>
                    <a:pt x="310579" y="120881"/>
                    <a:pt x="314548" y="124353"/>
                  </a:cubicBezTo>
                  <a:cubicBezTo>
                    <a:pt x="306114" y="124849"/>
                    <a:pt x="306611" y="139732"/>
                    <a:pt x="313060" y="144693"/>
                  </a:cubicBezTo>
                  <a:cubicBezTo>
                    <a:pt x="316532" y="147173"/>
                    <a:pt x="320005" y="149653"/>
                    <a:pt x="323973" y="151142"/>
                  </a:cubicBezTo>
                  <a:cubicBezTo>
                    <a:pt x="327942" y="153126"/>
                    <a:pt x="331911" y="154118"/>
                    <a:pt x="334887" y="157095"/>
                  </a:cubicBezTo>
                  <a:cubicBezTo>
                    <a:pt x="337864" y="160567"/>
                    <a:pt x="339352" y="164536"/>
                    <a:pt x="340840" y="168504"/>
                  </a:cubicBezTo>
                  <a:cubicBezTo>
                    <a:pt x="342328" y="172473"/>
                    <a:pt x="343817" y="177434"/>
                    <a:pt x="346793" y="180410"/>
                  </a:cubicBezTo>
                  <a:cubicBezTo>
                    <a:pt x="351754" y="185371"/>
                    <a:pt x="361675" y="186859"/>
                    <a:pt x="364156" y="193308"/>
                  </a:cubicBezTo>
                  <a:cubicBezTo>
                    <a:pt x="365644" y="198269"/>
                    <a:pt x="361675" y="202238"/>
                    <a:pt x="359195" y="206702"/>
                  </a:cubicBezTo>
                  <a:cubicBezTo>
                    <a:pt x="356714" y="210671"/>
                    <a:pt x="354234" y="215632"/>
                    <a:pt x="353242" y="220096"/>
                  </a:cubicBezTo>
                  <a:cubicBezTo>
                    <a:pt x="352250" y="225553"/>
                    <a:pt x="354730" y="230514"/>
                    <a:pt x="358203" y="234483"/>
                  </a:cubicBezTo>
                  <a:cubicBezTo>
                    <a:pt x="361179" y="238451"/>
                    <a:pt x="365644" y="241428"/>
                    <a:pt x="370109" y="244404"/>
                  </a:cubicBezTo>
                  <a:cubicBezTo>
                    <a:pt x="374077" y="247380"/>
                    <a:pt x="378542" y="250853"/>
                    <a:pt x="382511" y="253830"/>
                  </a:cubicBezTo>
                  <a:cubicBezTo>
                    <a:pt x="386975" y="257302"/>
                    <a:pt x="391936" y="260279"/>
                    <a:pt x="394416" y="263751"/>
                  </a:cubicBezTo>
                  <a:cubicBezTo>
                    <a:pt x="397393" y="268216"/>
                    <a:pt x="398881" y="273177"/>
                    <a:pt x="396897" y="278634"/>
                  </a:cubicBezTo>
                  <a:cubicBezTo>
                    <a:pt x="395408" y="284090"/>
                    <a:pt x="390944" y="289051"/>
                    <a:pt x="386975" y="293516"/>
                  </a:cubicBezTo>
                  <a:cubicBezTo>
                    <a:pt x="382511" y="298973"/>
                    <a:pt x="378542" y="304926"/>
                    <a:pt x="382511" y="309887"/>
                  </a:cubicBezTo>
                  <a:cubicBezTo>
                    <a:pt x="384991" y="312863"/>
                    <a:pt x="390448" y="313855"/>
                    <a:pt x="394416" y="313855"/>
                  </a:cubicBezTo>
                  <a:cubicBezTo>
                    <a:pt x="399873" y="314351"/>
                    <a:pt x="405330" y="312863"/>
                    <a:pt x="410787" y="313359"/>
                  </a:cubicBezTo>
                  <a:cubicBezTo>
                    <a:pt x="416244" y="313855"/>
                    <a:pt x="421701" y="315840"/>
                    <a:pt x="426661" y="316335"/>
                  </a:cubicBezTo>
                  <a:cubicBezTo>
                    <a:pt x="432118" y="316831"/>
                    <a:pt x="437575" y="317328"/>
                    <a:pt x="443032" y="317824"/>
                  </a:cubicBezTo>
                  <a:cubicBezTo>
                    <a:pt x="448489" y="318320"/>
                    <a:pt x="453946" y="318320"/>
                    <a:pt x="459403" y="318816"/>
                  </a:cubicBezTo>
                  <a:cubicBezTo>
                    <a:pt x="455434" y="322784"/>
                    <a:pt x="451961" y="327249"/>
                    <a:pt x="449977" y="332706"/>
                  </a:cubicBezTo>
                  <a:cubicBezTo>
                    <a:pt x="447993" y="337667"/>
                    <a:pt x="447001" y="343124"/>
                    <a:pt x="446504" y="349076"/>
                  </a:cubicBezTo>
                  <a:cubicBezTo>
                    <a:pt x="446008" y="354534"/>
                    <a:pt x="446504" y="359990"/>
                    <a:pt x="447497" y="365447"/>
                  </a:cubicBezTo>
                  <a:cubicBezTo>
                    <a:pt x="448489" y="370904"/>
                    <a:pt x="448985" y="376857"/>
                    <a:pt x="451465" y="381818"/>
                  </a:cubicBezTo>
                  <a:cubicBezTo>
                    <a:pt x="453946" y="386779"/>
                    <a:pt x="458410" y="390747"/>
                    <a:pt x="462379" y="394220"/>
                  </a:cubicBezTo>
                  <a:cubicBezTo>
                    <a:pt x="467340" y="398188"/>
                    <a:pt x="473293" y="401165"/>
                    <a:pt x="477261" y="406125"/>
                  </a:cubicBezTo>
                  <a:cubicBezTo>
                    <a:pt x="481230" y="410590"/>
                    <a:pt x="482718" y="416543"/>
                    <a:pt x="485695" y="422000"/>
                  </a:cubicBezTo>
                  <a:cubicBezTo>
                    <a:pt x="488175" y="426465"/>
                    <a:pt x="490655" y="430433"/>
                    <a:pt x="494128" y="433906"/>
                  </a:cubicBezTo>
                  <a:cubicBezTo>
                    <a:pt x="497601" y="437379"/>
                    <a:pt x="502561" y="438867"/>
                    <a:pt x="507026" y="441347"/>
                  </a:cubicBezTo>
                  <a:cubicBezTo>
                    <a:pt x="510995" y="443828"/>
                    <a:pt x="514963" y="446804"/>
                    <a:pt x="519428" y="448788"/>
                  </a:cubicBezTo>
                  <a:cubicBezTo>
                    <a:pt x="523893" y="450772"/>
                    <a:pt x="529350" y="452261"/>
                    <a:pt x="533814" y="454245"/>
                  </a:cubicBezTo>
                  <a:cubicBezTo>
                    <a:pt x="532822" y="460198"/>
                    <a:pt x="529846" y="466151"/>
                    <a:pt x="528357" y="472104"/>
                  </a:cubicBezTo>
                  <a:cubicBezTo>
                    <a:pt x="527365" y="478057"/>
                    <a:pt x="527365" y="484010"/>
                    <a:pt x="526373" y="489963"/>
                  </a:cubicBezTo>
                  <a:cubicBezTo>
                    <a:pt x="525381" y="495916"/>
                    <a:pt x="523893" y="501372"/>
                    <a:pt x="522405" y="507325"/>
                  </a:cubicBezTo>
                  <a:cubicBezTo>
                    <a:pt x="521412" y="512782"/>
                    <a:pt x="519428" y="518239"/>
                    <a:pt x="519924" y="523696"/>
                  </a:cubicBezTo>
                  <a:cubicBezTo>
                    <a:pt x="520420" y="528161"/>
                    <a:pt x="522405" y="532625"/>
                    <a:pt x="524389" y="536594"/>
                  </a:cubicBezTo>
                  <a:cubicBezTo>
                    <a:pt x="526373" y="540563"/>
                    <a:pt x="528854" y="544531"/>
                    <a:pt x="530838" y="548500"/>
                  </a:cubicBezTo>
                  <a:cubicBezTo>
                    <a:pt x="533318" y="552965"/>
                    <a:pt x="535303" y="557925"/>
                    <a:pt x="536791" y="562886"/>
                  </a:cubicBezTo>
                  <a:cubicBezTo>
                    <a:pt x="538279" y="567847"/>
                    <a:pt x="539271" y="572808"/>
                    <a:pt x="540263" y="578265"/>
                  </a:cubicBezTo>
                  <a:cubicBezTo>
                    <a:pt x="541256" y="583225"/>
                    <a:pt x="542248" y="588186"/>
                    <a:pt x="542744" y="593643"/>
                  </a:cubicBezTo>
                  <a:cubicBezTo>
                    <a:pt x="543240" y="598604"/>
                    <a:pt x="542744" y="604061"/>
                    <a:pt x="542744" y="609021"/>
                  </a:cubicBezTo>
                  <a:cubicBezTo>
                    <a:pt x="543240" y="613982"/>
                    <a:pt x="544728" y="619439"/>
                    <a:pt x="544728" y="624400"/>
                  </a:cubicBezTo>
                  <a:cubicBezTo>
                    <a:pt x="544728" y="629361"/>
                    <a:pt x="544232" y="634818"/>
                    <a:pt x="544728" y="639778"/>
                  </a:cubicBezTo>
                  <a:cubicBezTo>
                    <a:pt x="545224" y="644739"/>
                    <a:pt x="544232" y="650196"/>
                    <a:pt x="545224" y="655157"/>
                  </a:cubicBezTo>
                  <a:cubicBezTo>
                    <a:pt x="545720" y="660117"/>
                    <a:pt x="547209" y="665574"/>
                    <a:pt x="548200" y="670535"/>
                  </a:cubicBezTo>
                  <a:cubicBezTo>
                    <a:pt x="549193" y="675496"/>
                    <a:pt x="550185" y="680953"/>
                    <a:pt x="551673" y="685418"/>
                  </a:cubicBezTo>
                  <a:cubicBezTo>
                    <a:pt x="553161" y="690378"/>
                    <a:pt x="555146" y="695339"/>
                    <a:pt x="557626" y="699804"/>
                  </a:cubicBezTo>
                  <a:cubicBezTo>
                    <a:pt x="560106" y="704268"/>
                    <a:pt x="562587" y="708733"/>
                    <a:pt x="566059" y="713198"/>
                  </a:cubicBezTo>
                  <a:cubicBezTo>
                    <a:pt x="569036" y="717166"/>
                    <a:pt x="573004" y="720639"/>
                    <a:pt x="576973" y="724112"/>
                  </a:cubicBezTo>
                  <a:cubicBezTo>
                    <a:pt x="580942" y="727088"/>
                    <a:pt x="584414" y="731553"/>
                    <a:pt x="587887" y="735025"/>
                  </a:cubicBezTo>
                  <a:cubicBezTo>
                    <a:pt x="591856" y="738994"/>
                    <a:pt x="596320" y="742962"/>
                    <a:pt x="595328" y="748419"/>
                  </a:cubicBezTo>
                  <a:cubicBezTo>
                    <a:pt x="594336" y="756357"/>
                    <a:pt x="585406" y="761813"/>
                    <a:pt x="583918" y="769751"/>
                  </a:cubicBezTo>
                  <a:cubicBezTo>
                    <a:pt x="582430" y="777192"/>
                    <a:pt x="586398" y="784633"/>
                    <a:pt x="590863" y="791082"/>
                  </a:cubicBezTo>
                  <a:cubicBezTo>
                    <a:pt x="593840" y="795051"/>
                    <a:pt x="598304" y="798523"/>
                    <a:pt x="601281" y="802492"/>
                  </a:cubicBezTo>
                  <a:cubicBezTo>
                    <a:pt x="604257" y="806957"/>
                    <a:pt x="605746" y="811917"/>
                    <a:pt x="608226" y="816382"/>
                  </a:cubicBezTo>
                  <a:cubicBezTo>
                    <a:pt x="610706" y="820847"/>
                    <a:pt x="614675" y="824815"/>
                    <a:pt x="616659" y="829280"/>
                  </a:cubicBezTo>
                  <a:cubicBezTo>
                    <a:pt x="618644" y="833745"/>
                    <a:pt x="619140" y="839202"/>
                    <a:pt x="621124" y="844162"/>
                  </a:cubicBezTo>
                  <a:cubicBezTo>
                    <a:pt x="623108" y="849123"/>
                    <a:pt x="624597" y="853588"/>
                    <a:pt x="626085" y="858549"/>
                  </a:cubicBezTo>
                  <a:cubicBezTo>
                    <a:pt x="627573" y="863509"/>
                    <a:pt x="630550" y="867974"/>
                    <a:pt x="632038" y="872935"/>
                  </a:cubicBezTo>
                  <a:cubicBezTo>
                    <a:pt x="633526" y="877896"/>
                    <a:pt x="634518" y="882857"/>
                    <a:pt x="635510" y="8878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25" name="Graphic 10">
              <a:extLst>
                <a:ext uri="{FF2B5EF4-FFF2-40B4-BE49-F238E27FC236}">
                  <a16:creationId xmlns:a16="http://schemas.microsoft.com/office/drawing/2014/main" id="{D6865C7E-6C14-32F6-26A5-60456F4E5E83}"/>
                </a:ext>
              </a:extLst>
            </p:cNvPr>
            <p:cNvGrpSpPr/>
            <p:nvPr/>
          </p:nvGrpSpPr>
          <p:grpSpPr>
            <a:xfrm>
              <a:off x="3926326" y="1848769"/>
              <a:ext cx="1054236" cy="351232"/>
              <a:chOff x="3926326" y="1848769"/>
              <a:chExt cx="1054236" cy="351232"/>
            </a:xfrm>
            <a:noFill/>
          </p:grpSpPr>
          <p:sp>
            <p:nvSpPr>
              <p:cNvPr id="1609" name="Freeform: Shape 1608">
                <a:extLst>
                  <a:ext uri="{FF2B5EF4-FFF2-40B4-BE49-F238E27FC236}">
                    <a16:creationId xmlns:a16="http://schemas.microsoft.com/office/drawing/2014/main" id="{98612A06-A816-726B-2E4A-4EA2A1F4F6EF}"/>
                  </a:ext>
                </a:extLst>
              </p:cNvPr>
              <p:cNvSpPr/>
              <p:nvPr/>
            </p:nvSpPr>
            <p:spPr>
              <a:xfrm>
                <a:off x="3926326" y="1848769"/>
                <a:ext cx="1054236" cy="351232"/>
              </a:xfrm>
              <a:custGeom>
                <a:avLst/>
                <a:gdLst>
                  <a:gd name="connsiteX0" fmla="*/ 0 w 1054236"/>
                  <a:gd name="connsiteY0" fmla="*/ 338934 h 351232"/>
                  <a:gd name="connsiteX1" fmla="*/ 11906 w 1054236"/>
                  <a:gd name="connsiteY1" fmla="*/ 327525 h 351232"/>
                  <a:gd name="connsiteX2" fmla="*/ 23316 w 1054236"/>
                  <a:gd name="connsiteY2" fmla="*/ 315619 h 351232"/>
                  <a:gd name="connsiteX3" fmla="*/ 34230 w 1054236"/>
                  <a:gd name="connsiteY3" fmla="*/ 303713 h 351232"/>
                  <a:gd name="connsiteX4" fmla="*/ 46135 w 1054236"/>
                  <a:gd name="connsiteY4" fmla="*/ 292799 h 351232"/>
                  <a:gd name="connsiteX5" fmla="*/ 56553 w 1054236"/>
                  <a:gd name="connsiteY5" fmla="*/ 280397 h 351232"/>
                  <a:gd name="connsiteX6" fmla="*/ 68459 w 1054236"/>
                  <a:gd name="connsiteY6" fmla="*/ 268987 h 351232"/>
                  <a:gd name="connsiteX7" fmla="*/ 79869 w 1054236"/>
                  <a:gd name="connsiteY7" fmla="*/ 257578 h 351232"/>
                  <a:gd name="connsiteX8" fmla="*/ 91278 w 1054236"/>
                  <a:gd name="connsiteY8" fmla="*/ 246168 h 351232"/>
                  <a:gd name="connsiteX9" fmla="*/ 102192 w 1054236"/>
                  <a:gd name="connsiteY9" fmla="*/ 234262 h 351232"/>
                  <a:gd name="connsiteX10" fmla="*/ 115090 w 1054236"/>
                  <a:gd name="connsiteY10" fmla="*/ 224340 h 351232"/>
                  <a:gd name="connsiteX11" fmla="*/ 125012 w 1054236"/>
                  <a:gd name="connsiteY11" fmla="*/ 210946 h 351232"/>
                  <a:gd name="connsiteX12" fmla="*/ 137910 w 1054236"/>
                  <a:gd name="connsiteY12" fmla="*/ 201025 h 351232"/>
                  <a:gd name="connsiteX13" fmla="*/ 148327 w 1054236"/>
                  <a:gd name="connsiteY13" fmla="*/ 188127 h 351232"/>
                  <a:gd name="connsiteX14" fmla="*/ 160729 w 1054236"/>
                  <a:gd name="connsiteY14" fmla="*/ 177709 h 351232"/>
                  <a:gd name="connsiteX15" fmla="*/ 172635 w 1054236"/>
                  <a:gd name="connsiteY15" fmla="*/ 166299 h 351232"/>
                  <a:gd name="connsiteX16" fmla="*/ 183549 w 1054236"/>
                  <a:gd name="connsiteY16" fmla="*/ 153897 h 351232"/>
                  <a:gd name="connsiteX17" fmla="*/ 194463 w 1054236"/>
                  <a:gd name="connsiteY17" fmla="*/ 141495 h 351232"/>
                  <a:gd name="connsiteX18" fmla="*/ 206865 w 1054236"/>
                  <a:gd name="connsiteY18" fmla="*/ 131078 h 351232"/>
                  <a:gd name="connsiteX19" fmla="*/ 218274 w 1054236"/>
                  <a:gd name="connsiteY19" fmla="*/ 119172 h 351232"/>
                  <a:gd name="connsiteX20" fmla="*/ 229188 w 1054236"/>
                  <a:gd name="connsiteY20" fmla="*/ 107266 h 351232"/>
                  <a:gd name="connsiteX21" fmla="*/ 240598 w 1054236"/>
                  <a:gd name="connsiteY21" fmla="*/ 95856 h 351232"/>
                  <a:gd name="connsiteX22" fmla="*/ 252504 w 1054236"/>
                  <a:gd name="connsiteY22" fmla="*/ 84446 h 351232"/>
                  <a:gd name="connsiteX23" fmla="*/ 263418 w 1054236"/>
                  <a:gd name="connsiteY23" fmla="*/ 72540 h 351232"/>
                  <a:gd name="connsiteX24" fmla="*/ 274827 w 1054236"/>
                  <a:gd name="connsiteY24" fmla="*/ 60635 h 351232"/>
                  <a:gd name="connsiteX25" fmla="*/ 286733 w 1054236"/>
                  <a:gd name="connsiteY25" fmla="*/ 49721 h 351232"/>
                  <a:gd name="connsiteX26" fmla="*/ 298143 w 1054236"/>
                  <a:gd name="connsiteY26" fmla="*/ 37815 h 351232"/>
                  <a:gd name="connsiteX27" fmla="*/ 310545 w 1054236"/>
                  <a:gd name="connsiteY27" fmla="*/ 26901 h 351232"/>
                  <a:gd name="connsiteX28" fmla="*/ 321458 w 1054236"/>
                  <a:gd name="connsiteY28" fmla="*/ 14499 h 351232"/>
                  <a:gd name="connsiteX29" fmla="*/ 333364 w 1054236"/>
                  <a:gd name="connsiteY29" fmla="*/ 2593 h 351232"/>
                  <a:gd name="connsiteX30" fmla="*/ 349735 w 1054236"/>
                  <a:gd name="connsiteY30" fmla="*/ 2593 h 351232"/>
                  <a:gd name="connsiteX31" fmla="*/ 366105 w 1054236"/>
                  <a:gd name="connsiteY31" fmla="*/ 4082 h 351232"/>
                  <a:gd name="connsiteX32" fmla="*/ 382476 w 1054236"/>
                  <a:gd name="connsiteY32" fmla="*/ 2593 h 351232"/>
                  <a:gd name="connsiteX33" fmla="*/ 398847 w 1054236"/>
                  <a:gd name="connsiteY33" fmla="*/ 2097 h 351232"/>
                  <a:gd name="connsiteX34" fmla="*/ 415217 w 1054236"/>
                  <a:gd name="connsiteY34" fmla="*/ 3089 h 351232"/>
                  <a:gd name="connsiteX35" fmla="*/ 431588 w 1054236"/>
                  <a:gd name="connsiteY35" fmla="*/ 4578 h 351232"/>
                  <a:gd name="connsiteX36" fmla="*/ 447958 w 1054236"/>
                  <a:gd name="connsiteY36" fmla="*/ 2593 h 351232"/>
                  <a:gd name="connsiteX37" fmla="*/ 464329 w 1054236"/>
                  <a:gd name="connsiteY37" fmla="*/ 4082 h 351232"/>
                  <a:gd name="connsiteX38" fmla="*/ 480700 w 1054236"/>
                  <a:gd name="connsiteY38" fmla="*/ 3089 h 351232"/>
                  <a:gd name="connsiteX39" fmla="*/ 497070 w 1054236"/>
                  <a:gd name="connsiteY39" fmla="*/ 3089 h 351232"/>
                  <a:gd name="connsiteX40" fmla="*/ 513441 w 1054236"/>
                  <a:gd name="connsiteY40" fmla="*/ 4082 h 351232"/>
                  <a:gd name="connsiteX41" fmla="*/ 529811 w 1054236"/>
                  <a:gd name="connsiteY41" fmla="*/ 3586 h 351232"/>
                  <a:gd name="connsiteX42" fmla="*/ 546182 w 1054236"/>
                  <a:gd name="connsiteY42" fmla="*/ 4082 h 351232"/>
                  <a:gd name="connsiteX43" fmla="*/ 562553 w 1054236"/>
                  <a:gd name="connsiteY43" fmla="*/ 2593 h 351232"/>
                  <a:gd name="connsiteX44" fmla="*/ 578923 w 1054236"/>
                  <a:gd name="connsiteY44" fmla="*/ 2593 h 351232"/>
                  <a:gd name="connsiteX45" fmla="*/ 595294 w 1054236"/>
                  <a:gd name="connsiteY45" fmla="*/ 3089 h 351232"/>
                  <a:gd name="connsiteX46" fmla="*/ 611664 w 1054236"/>
                  <a:gd name="connsiteY46" fmla="*/ 2593 h 351232"/>
                  <a:gd name="connsiteX47" fmla="*/ 628035 w 1054236"/>
                  <a:gd name="connsiteY47" fmla="*/ 3089 h 351232"/>
                  <a:gd name="connsiteX48" fmla="*/ 644405 w 1054236"/>
                  <a:gd name="connsiteY48" fmla="*/ 4082 h 351232"/>
                  <a:gd name="connsiteX49" fmla="*/ 660776 w 1054236"/>
                  <a:gd name="connsiteY49" fmla="*/ 3089 h 351232"/>
                  <a:gd name="connsiteX50" fmla="*/ 677146 w 1054236"/>
                  <a:gd name="connsiteY50" fmla="*/ 2097 h 351232"/>
                  <a:gd name="connsiteX51" fmla="*/ 693517 w 1054236"/>
                  <a:gd name="connsiteY51" fmla="*/ 2593 h 351232"/>
                  <a:gd name="connsiteX52" fmla="*/ 709888 w 1054236"/>
                  <a:gd name="connsiteY52" fmla="*/ 4578 h 351232"/>
                  <a:gd name="connsiteX53" fmla="*/ 726258 w 1054236"/>
                  <a:gd name="connsiteY53" fmla="*/ 3586 h 351232"/>
                  <a:gd name="connsiteX54" fmla="*/ 742629 w 1054236"/>
                  <a:gd name="connsiteY54" fmla="*/ 3586 h 351232"/>
                  <a:gd name="connsiteX55" fmla="*/ 758999 w 1054236"/>
                  <a:gd name="connsiteY55" fmla="*/ 3089 h 351232"/>
                  <a:gd name="connsiteX56" fmla="*/ 775370 w 1054236"/>
                  <a:gd name="connsiteY56" fmla="*/ 4082 h 351232"/>
                  <a:gd name="connsiteX57" fmla="*/ 791741 w 1054236"/>
                  <a:gd name="connsiteY57" fmla="*/ 4082 h 351232"/>
                  <a:gd name="connsiteX58" fmla="*/ 808111 w 1054236"/>
                  <a:gd name="connsiteY58" fmla="*/ 3089 h 351232"/>
                  <a:gd name="connsiteX59" fmla="*/ 824482 w 1054236"/>
                  <a:gd name="connsiteY59" fmla="*/ 3089 h 351232"/>
                  <a:gd name="connsiteX60" fmla="*/ 840852 w 1054236"/>
                  <a:gd name="connsiteY60" fmla="*/ 3586 h 351232"/>
                  <a:gd name="connsiteX61" fmla="*/ 857223 w 1054236"/>
                  <a:gd name="connsiteY61" fmla="*/ 4578 h 351232"/>
                  <a:gd name="connsiteX62" fmla="*/ 873593 w 1054236"/>
                  <a:gd name="connsiteY62" fmla="*/ 3089 h 351232"/>
                  <a:gd name="connsiteX63" fmla="*/ 889964 w 1054236"/>
                  <a:gd name="connsiteY63" fmla="*/ 3586 h 351232"/>
                  <a:gd name="connsiteX64" fmla="*/ 906334 w 1054236"/>
                  <a:gd name="connsiteY64" fmla="*/ 2593 h 351232"/>
                  <a:gd name="connsiteX65" fmla="*/ 922705 w 1054236"/>
                  <a:gd name="connsiteY65" fmla="*/ 4578 h 351232"/>
                  <a:gd name="connsiteX66" fmla="*/ 939075 w 1054236"/>
                  <a:gd name="connsiteY66" fmla="*/ 3586 h 351232"/>
                  <a:gd name="connsiteX67" fmla="*/ 955446 w 1054236"/>
                  <a:gd name="connsiteY67" fmla="*/ 4578 h 351232"/>
                  <a:gd name="connsiteX68" fmla="*/ 971817 w 1054236"/>
                  <a:gd name="connsiteY68" fmla="*/ 3089 h 351232"/>
                  <a:gd name="connsiteX69" fmla="*/ 988187 w 1054236"/>
                  <a:gd name="connsiteY69" fmla="*/ 4578 h 351232"/>
                  <a:gd name="connsiteX70" fmla="*/ 1004558 w 1054236"/>
                  <a:gd name="connsiteY70" fmla="*/ 3089 h 351232"/>
                  <a:gd name="connsiteX71" fmla="*/ 1020928 w 1054236"/>
                  <a:gd name="connsiteY71" fmla="*/ 4578 h 351232"/>
                  <a:gd name="connsiteX72" fmla="*/ 1037299 w 1054236"/>
                  <a:gd name="connsiteY72" fmla="*/ 2593 h 351232"/>
                  <a:gd name="connsiteX73" fmla="*/ 1053670 w 1054236"/>
                  <a:gd name="connsiteY73" fmla="*/ 3586 h 351232"/>
                  <a:gd name="connsiteX74" fmla="*/ 1041268 w 1054236"/>
                  <a:gd name="connsiteY74" fmla="*/ 14499 h 351232"/>
                  <a:gd name="connsiteX75" fmla="*/ 1030850 w 1054236"/>
                  <a:gd name="connsiteY75" fmla="*/ 27397 h 351232"/>
                  <a:gd name="connsiteX76" fmla="*/ 1017952 w 1054236"/>
                  <a:gd name="connsiteY76" fmla="*/ 37319 h 351232"/>
                  <a:gd name="connsiteX77" fmla="*/ 1007534 w 1054236"/>
                  <a:gd name="connsiteY77" fmla="*/ 50217 h 351232"/>
                  <a:gd name="connsiteX78" fmla="*/ 996621 w 1054236"/>
                  <a:gd name="connsiteY78" fmla="*/ 62123 h 351232"/>
                  <a:gd name="connsiteX79" fmla="*/ 985211 w 1054236"/>
                  <a:gd name="connsiteY79" fmla="*/ 73533 h 351232"/>
                  <a:gd name="connsiteX80" fmla="*/ 972313 w 1054236"/>
                  <a:gd name="connsiteY80" fmla="*/ 83454 h 351232"/>
                  <a:gd name="connsiteX81" fmla="*/ 961895 w 1054236"/>
                  <a:gd name="connsiteY81" fmla="*/ 95856 h 351232"/>
                  <a:gd name="connsiteX82" fmla="*/ 949989 w 1054236"/>
                  <a:gd name="connsiteY82" fmla="*/ 106770 h 351232"/>
                  <a:gd name="connsiteX83" fmla="*/ 938084 w 1054236"/>
                  <a:gd name="connsiteY83" fmla="*/ 118180 h 351232"/>
                  <a:gd name="connsiteX84" fmla="*/ 927666 w 1054236"/>
                  <a:gd name="connsiteY84" fmla="*/ 130582 h 351232"/>
                  <a:gd name="connsiteX85" fmla="*/ 916256 w 1054236"/>
                  <a:gd name="connsiteY85" fmla="*/ 141991 h 351232"/>
                  <a:gd name="connsiteX86" fmla="*/ 905342 w 1054236"/>
                  <a:gd name="connsiteY86" fmla="*/ 153897 h 351232"/>
                  <a:gd name="connsiteX87" fmla="*/ 892444 w 1054236"/>
                  <a:gd name="connsiteY87" fmla="*/ 164315 h 351232"/>
                  <a:gd name="connsiteX88" fmla="*/ 880538 w 1054236"/>
                  <a:gd name="connsiteY88" fmla="*/ 175229 h 351232"/>
                  <a:gd name="connsiteX89" fmla="*/ 869129 w 1054236"/>
                  <a:gd name="connsiteY89" fmla="*/ 187134 h 351232"/>
                  <a:gd name="connsiteX90" fmla="*/ 857719 w 1054236"/>
                  <a:gd name="connsiteY90" fmla="*/ 198544 h 351232"/>
                  <a:gd name="connsiteX91" fmla="*/ 846805 w 1054236"/>
                  <a:gd name="connsiteY91" fmla="*/ 210450 h 351232"/>
                  <a:gd name="connsiteX92" fmla="*/ 835395 w 1054236"/>
                  <a:gd name="connsiteY92" fmla="*/ 222356 h 351232"/>
                  <a:gd name="connsiteX93" fmla="*/ 823986 w 1054236"/>
                  <a:gd name="connsiteY93" fmla="*/ 233766 h 351232"/>
                  <a:gd name="connsiteX94" fmla="*/ 811584 w 1054236"/>
                  <a:gd name="connsiteY94" fmla="*/ 244183 h 351232"/>
                  <a:gd name="connsiteX95" fmla="*/ 800670 w 1054236"/>
                  <a:gd name="connsiteY95" fmla="*/ 256585 h 351232"/>
                  <a:gd name="connsiteX96" fmla="*/ 788268 w 1054236"/>
                  <a:gd name="connsiteY96" fmla="*/ 267499 h 351232"/>
                  <a:gd name="connsiteX97" fmla="*/ 777354 w 1054236"/>
                  <a:gd name="connsiteY97" fmla="*/ 279901 h 351232"/>
                  <a:gd name="connsiteX98" fmla="*/ 765944 w 1054236"/>
                  <a:gd name="connsiteY98" fmla="*/ 291807 h 351232"/>
                  <a:gd name="connsiteX99" fmla="*/ 754535 w 1054236"/>
                  <a:gd name="connsiteY99" fmla="*/ 303713 h 351232"/>
                  <a:gd name="connsiteX100" fmla="*/ 742133 w 1054236"/>
                  <a:gd name="connsiteY100" fmla="*/ 314626 h 351232"/>
                  <a:gd name="connsiteX101" fmla="*/ 729731 w 1054236"/>
                  <a:gd name="connsiteY101" fmla="*/ 325540 h 351232"/>
                  <a:gd name="connsiteX102" fmla="*/ 718321 w 1054236"/>
                  <a:gd name="connsiteY102" fmla="*/ 336950 h 351232"/>
                  <a:gd name="connsiteX103" fmla="*/ 707903 w 1054236"/>
                  <a:gd name="connsiteY103" fmla="*/ 350344 h 351232"/>
                  <a:gd name="connsiteX104" fmla="*/ 691037 w 1054236"/>
                  <a:gd name="connsiteY104" fmla="*/ 347864 h 351232"/>
                  <a:gd name="connsiteX105" fmla="*/ 674666 w 1054236"/>
                  <a:gd name="connsiteY105" fmla="*/ 349848 h 351232"/>
                  <a:gd name="connsiteX106" fmla="*/ 658296 w 1054236"/>
                  <a:gd name="connsiteY106" fmla="*/ 349848 h 351232"/>
                  <a:gd name="connsiteX107" fmla="*/ 641925 w 1054236"/>
                  <a:gd name="connsiteY107" fmla="*/ 348856 h 351232"/>
                  <a:gd name="connsiteX108" fmla="*/ 625554 w 1054236"/>
                  <a:gd name="connsiteY108" fmla="*/ 347864 h 351232"/>
                  <a:gd name="connsiteX109" fmla="*/ 609184 w 1054236"/>
                  <a:gd name="connsiteY109" fmla="*/ 349848 h 351232"/>
                  <a:gd name="connsiteX110" fmla="*/ 592813 w 1054236"/>
                  <a:gd name="connsiteY110" fmla="*/ 349352 h 351232"/>
                  <a:gd name="connsiteX111" fmla="*/ 576443 w 1054236"/>
                  <a:gd name="connsiteY111" fmla="*/ 349848 h 351232"/>
                  <a:gd name="connsiteX112" fmla="*/ 560072 w 1054236"/>
                  <a:gd name="connsiteY112" fmla="*/ 349352 h 351232"/>
                  <a:gd name="connsiteX113" fmla="*/ 543702 w 1054236"/>
                  <a:gd name="connsiteY113" fmla="*/ 349352 h 351232"/>
                  <a:gd name="connsiteX114" fmla="*/ 527331 w 1054236"/>
                  <a:gd name="connsiteY114" fmla="*/ 347368 h 351232"/>
                  <a:gd name="connsiteX115" fmla="*/ 510960 w 1054236"/>
                  <a:gd name="connsiteY115" fmla="*/ 347368 h 351232"/>
                  <a:gd name="connsiteX116" fmla="*/ 494590 w 1054236"/>
                  <a:gd name="connsiteY116" fmla="*/ 349352 h 351232"/>
                  <a:gd name="connsiteX117" fmla="*/ 478219 w 1054236"/>
                  <a:gd name="connsiteY117" fmla="*/ 349352 h 351232"/>
                  <a:gd name="connsiteX118" fmla="*/ 461849 w 1054236"/>
                  <a:gd name="connsiteY118" fmla="*/ 347368 h 351232"/>
                  <a:gd name="connsiteX119" fmla="*/ 445478 w 1054236"/>
                  <a:gd name="connsiteY119" fmla="*/ 347368 h 351232"/>
                  <a:gd name="connsiteX120" fmla="*/ 429107 w 1054236"/>
                  <a:gd name="connsiteY120" fmla="*/ 349352 h 351232"/>
                  <a:gd name="connsiteX121" fmla="*/ 412737 w 1054236"/>
                  <a:gd name="connsiteY121" fmla="*/ 348856 h 351232"/>
                  <a:gd name="connsiteX122" fmla="*/ 396366 w 1054236"/>
                  <a:gd name="connsiteY122" fmla="*/ 349848 h 351232"/>
                  <a:gd name="connsiteX123" fmla="*/ 379996 w 1054236"/>
                  <a:gd name="connsiteY123" fmla="*/ 347864 h 351232"/>
                  <a:gd name="connsiteX124" fmla="*/ 363625 w 1054236"/>
                  <a:gd name="connsiteY124" fmla="*/ 348360 h 351232"/>
                  <a:gd name="connsiteX125" fmla="*/ 347255 w 1054236"/>
                  <a:gd name="connsiteY125" fmla="*/ 348360 h 351232"/>
                  <a:gd name="connsiteX126" fmla="*/ 330884 w 1054236"/>
                  <a:gd name="connsiteY126" fmla="*/ 349352 h 351232"/>
                  <a:gd name="connsiteX127" fmla="*/ 314514 w 1054236"/>
                  <a:gd name="connsiteY127" fmla="*/ 347864 h 351232"/>
                  <a:gd name="connsiteX128" fmla="*/ 298143 w 1054236"/>
                  <a:gd name="connsiteY128" fmla="*/ 348360 h 351232"/>
                  <a:gd name="connsiteX129" fmla="*/ 281772 w 1054236"/>
                  <a:gd name="connsiteY129" fmla="*/ 349352 h 351232"/>
                  <a:gd name="connsiteX130" fmla="*/ 265402 w 1054236"/>
                  <a:gd name="connsiteY130" fmla="*/ 348856 h 351232"/>
                  <a:gd name="connsiteX131" fmla="*/ 249031 w 1054236"/>
                  <a:gd name="connsiteY131" fmla="*/ 349352 h 351232"/>
                  <a:gd name="connsiteX132" fmla="*/ 232661 w 1054236"/>
                  <a:gd name="connsiteY132" fmla="*/ 348360 h 351232"/>
                  <a:gd name="connsiteX133" fmla="*/ 216290 w 1054236"/>
                  <a:gd name="connsiteY133" fmla="*/ 349848 h 351232"/>
                  <a:gd name="connsiteX134" fmla="*/ 199919 w 1054236"/>
                  <a:gd name="connsiteY134" fmla="*/ 349848 h 351232"/>
                  <a:gd name="connsiteX135" fmla="*/ 183549 w 1054236"/>
                  <a:gd name="connsiteY135" fmla="*/ 348360 h 351232"/>
                  <a:gd name="connsiteX136" fmla="*/ 167178 w 1054236"/>
                  <a:gd name="connsiteY136" fmla="*/ 349848 h 351232"/>
                  <a:gd name="connsiteX137" fmla="*/ 150808 w 1054236"/>
                  <a:gd name="connsiteY137" fmla="*/ 348856 h 351232"/>
                  <a:gd name="connsiteX138" fmla="*/ 134437 w 1054236"/>
                  <a:gd name="connsiteY138" fmla="*/ 349352 h 351232"/>
                  <a:gd name="connsiteX139" fmla="*/ 118066 w 1054236"/>
                  <a:gd name="connsiteY139" fmla="*/ 348856 h 351232"/>
                  <a:gd name="connsiteX140" fmla="*/ 101696 w 1054236"/>
                  <a:gd name="connsiteY140" fmla="*/ 349848 h 351232"/>
                  <a:gd name="connsiteX141" fmla="*/ 85325 w 1054236"/>
                  <a:gd name="connsiteY141" fmla="*/ 348360 h 351232"/>
                  <a:gd name="connsiteX142" fmla="*/ 68955 w 1054236"/>
                  <a:gd name="connsiteY142" fmla="*/ 347864 h 351232"/>
                  <a:gd name="connsiteX143" fmla="*/ 52584 w 1054236"/>
                  <a:gd name="connsiteY143" fmla="*/ 348856 h 351232"/>
                  <a:gd name="connsiteX144" fmla="*/ 36214 w 1054236"/>
                  <a:gd name="connsiteY144" fmla="*/ 349352 h 351232"/>
                  <a:gd name="connsiteX145" fmla="*/ 19843 w 1054236"/>
                  <a:gd name="connsiteY145" fmla="*/ 348360 h 351232"/>
                  <a:gd name="connsiteX146" fmla="*/ 3473 w 1054236"/>
                  <a:gd name="connsiteY146" fmla="*/ 347864 h 35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1054236" h="351232">
                    <a:moveTo>
                      <a:pt x="0" y="338934"/>
                    </a:moveTo>
                    <a:cubicBezTo>
                      <a:pt x="5953" y="332981"/>
                      <a:pt x="5953" y="333477"/>
                      <a:pt x="11906" y="327525"/>
                    </a:cubicBezTo>
                    <a:cubicBezTo>
                      <a:pt x="17859" y="321572"/>
                      <a:pt x="17363" y="321572"/>
                      <a:pt x="23316" y="315619"/>
                    </a:cubicBezTo>
                    <a:cubicBezTo>
                      <a:pt x="29269" y="309666"/>
                      <a:pt x="28772" y="309170"/>
                      <a:pt x="34230" y="303713"/>
                    </a:cubicBezTo>
                    <a:cubicBezTo>
                      <a:pt x="40182" y="297760"/>
                      <a:pt x="40678" y="298256"/>
                      <a:pt x="46135" y="292799"/>
                    </a:cubicBezTo>
                    <a:cubicBezTo>
                      <a:pt x="52088" y="286846"/>
                      <a:pt x="51096" y="285854"/>
                      <a:pt x="56553" y="280397"/>
                    </a:cubicBezTo>
                    <a:cubicBezTo>
                      <a:pt x="62506" y="274444"/>
                      <a:pt x="62506" y="274940"/>
                      <a:pt x="68459" y="268987"/>
                    </a:cubicBezTo>
                    <a:cubicBezTo>
                      <a:pt x="74412" y="263034"/>
                      <a:pt x="74412" y="263034"/>
                      <a:pt x="79869" y="257578"/>
                    </a:cubicBezTo>
                    <a:cubicBezTo>
                      <a:pt x="85821" y="251625"/>
                      <a:pt x="85821" y="252121"/>
                      <a:pt x="91278" y="246168"/>
                    </a:cubicBezTo>
                    <a:cubicBezTo>
                      <a:pt x="97231" y="240215"/>
                      <a:pt x="96735" y="240215"/>
                      <a:pt x="102192" y="234262"/>
                    </a:cubicBezTo>
                    <a:cubicBezTo>
                      <a:pt x="108145" y="228309"/>
                      <a:pt x="109633" y="229797"/>
                      <a:pt x="115090" y="224340"/>
                    </a:cubicBezTo>
                    <a:cubicBezTo>
                      <a:pt x="121043" y="218387"/>
                      <a:pt x="119059" y="216899"/>
                      <a:pt x="125012" y="210946"/>
                    </a:cubicBezTo>
                    <a:cubicBezTo>
                      <a:pt x="130965" y="204993"/>
                      <a:pt x="132453" y="206977"/>
                      <a:pt x="137910" y="201025"/>
                    </a:cubicBezTo>
                    <a:cubicBezTo>
                      <a:pt x="143863" y="195072"/>
                      <a:pt x="142374" y="194079"/>
                      <a:pt x="148327" y="188127"/>
                    </a:cubicBezTo>
                    <a:cubicBezTo>
                      <a:pt x="154280" y="182174"/>
                      <a:pt x="155272" y="183662"/>
                      <a:pt x="160729" y="177709"/>
                    </a:cubicBezTo>
                    <a:cubicBezTo>
                      <a:pt x="166682" y="171756"/>
                      <a:pt x="166682" y="172252"/>
                      <a:pt x="172635" y="166299"/>
                    </a:cubicBezTo>
                    <a:cubicBezTo>
                      <a:pt x="178588" y="160346"/>
                      <a:pt x="177596" y="159850"/>
                      <a:pt x="183549" y="153897"/>
                    </a:cubicBezTo>
                    <a:cubicBezTo>
                      <a:pt x="189502" y="147944"/>
                      <a:pt x="188510" y="147448"/>
                      <a:pt x="194463" y="141495"/>
                    </a:cubicBezTo>
                    <a:cubicBezTo>
                      <a:pt x="200416" y="135542"/>
                      <a:pt x="201408" y="136535"/>
                      <a:pt x="206865" y="131078"/>
                    </a:cubicBezTo>
                    <a:cubicBezTo>
                      <a:pt x="212818" y="125125"/>
                      <a:pt x="212321" y="125125"/>
                      <a:pt x="218274" y="119172"/>
                    </a:cubicBezTo>
                    <a:cubicBezTo>
                      <a:pt x="224227" y="113219"/>
                      <a:pt x="223731" y="112723"/>
                      <a:pt x="229188" y="107266"/>
                    </a:cubicBezTo>
                    <a:cubicBezTo>
                      <a:pt x="235141" y="101313"/>
                      <a:pt x="235141" y="101313"/>
                      <a:pt x="240598" y="95856"/>
                    </a:cubicBezTo>
                    <a:cubicBezTo>
                      <a:pt x="246055" y="90399"/>
                      <a:pt x="246551" y="90399"/>
                      <a:pt x="252504" y="84446"/>
                    </a:cubicBezTo>
                    <a:cubicBezTo>
                      <a:pt x="258457" y="78493"/>
                      <a:pt x="257961" y="78493"/>
                      <a:pt x="263418" y="72540"/>
                    </a:cubicBezTo>
                    <a:cubicBezTo>
                      <a:pt x="269370" y="66588"/>
                      <a:pt x="268874" y="66588"/>
                      <a:pt x="274827" y="60635"/>
                    </a:cubicBezTo>
                    <a:cubicBezTo>
                      <a:pt x="280780" y="54682"/>
                      <a:pt x="281276" y="55178"/>
                      <a:pt x="286733" y="49721"/>
                    </a:cubicBezTo>
                    <a:cubicBezTo>
                      <a:pt x="292686" y="43768"/>
                      <a:pt x="292190" y="43768"/>
                      <a:pt x="298143" y="37815"/>
                    </a:cubicBezTo>
                    <a:cubicBezTo>
                      <a:pt x="304096" y="31862"/>
                      <a:pt x="304592" y="32854"/>
                      <a:pt x="310545" y="26901"/>
                    </a:cubicBezTo>
                    <a:cubicBezTo>
                      <a:pt x="316498" y="20948"/>
                      <a:pt x="315506" y="20452"/>
                      <a:pt x="321458" y="14499"/>
                    </a:cubicBezTo>
                    <a:cubicBezTo>
                      <a:pt x="327411" y="8546"/>
                      <a:pt x="325923" y="6066"/>
                      <a:pt x="333364" y="2593"/>
                    </a:cubicBezTo>
                    <a:cubicBezTo>
                      <a:pt x="340806" y="-383"/>
                      <a:pt x="341798" y="2593"/>
                      <a:pt x="349735" y="2593"/>
                    </a:cubicBezTo>
                    <a:cubicBezTo>
                      <a:pt x="357672" y="2593"/>
                      <a:pt x="357672" y="4082"/>
                      <a:pt x="366105" y="4082"/>
                    </a:cubicBezTo>
                    <a:cubicBezTo>
                      <a:pt x="374043" y="4082"/>
                      <a:pt x="374043" y="2593"/>
                      <a:pt x="382476" y="2593"/>
                    </a:cubicBezTo>
                    <a:cubicBezTo>
                      <a:pt x="390413" y="2593"/>
                      <a:pt x="390413" y="2097"/>
                      <a:pt x="398847" y="2097"/>
                    </a:cubicBezTo>
                    <a:cubicBezTo>
                      <a:pt x="406784" y="2097"/>
                      <a:pt x="406784" y="3089"/>
                      <a:pt x="415217" y="3089"/>
                    </a:cubicBezTo>
                    <a:cubicBezTo>
                      <a:pt x="423154" y="3089"/>
                      <a:pt x="423154" y="4578"/>
                      <a:pt x="431588" y="4578"/>
                    </a:cubicBezTo>
                    <a:cubicBezTo>
                      <a:pt x="439525" y="4578"/>
                      <a:pt x="439525" y="2593"/>
                      <a:pt x="447958" y="2593"/>
                    </a:cubicBezTo>
                    <a:cubicBezTo>
                      <a:pt x="456392" y="2593"/>
                      <a:pt x="455896" y="4082"/>
                      <a:pt x="464329" y="4082"/>
                    </a:cubicBezTo>
                    <a:cubicBezTo>
                      <a:pt x="472266" y="4082"/>
                      <a:pt x="472266" y="3089"/>
                      <a:pt x="480700" y="3089"/>
                    </a:cubicBezTo>
                    <a:cubicBezTo>
                      <a:pt x="488637" y="3089"/>
                      <a:pt x="488637" y="3089"/>
                      <a:pt x="497070" y="3089"/>
                    </a:cubicBezTo>
                    <a:cubicBezTo>
                      <a:pt x="505007" y="3089"/>
                      <a:pt x="505007" y="4082"/>
                      <a:pt x="513441" y="4082"/>
                    </a:cubicBezTo>
                    <a:cubicBezTo>
                      <a:pt x="521378" y="4082"/>
                      <a:pt x="521378" y="3586"/>
                      <a:pt x="529811" y="3586"/>
                    </a:cubicBezTo>
                    <a:cubicBezTo>
                      <a:pt x="537749" y="3586"/>
                      <a:pt x="537749" y="4082"/>
                      <a:pt x="546182" y="4082"/>
                    </a:cubicBezTo>
                    <a:cubicBezTo>
                      <a:pt x="554119" y="4082"/>
                      <a:pt x="554119" y="2593"/>
                      <a:pt x="562553" y="2593"/>
                    </a:cubicBezTo>
                    <a:cubicBezTo>
                      <a:pt x="570490" y="2593"/>
                      <a:pt x="570490" y="2593"/>
                      <a:pt x="578923" y="2593"/>
                    </a:cubicBezTo>
                    <a:cubicBezTo>
                      <a:pt x="586860" y="2593"/>
                      <a:pt x="586860" y="3089"/>
                      <a:pt x="595294" y="3089"/>
                    </a:cubicBezTo>
                    <a:cubicBezTo>
                      <a:pt x="603231" y="3089"/>
                      <a:pt x="603231" y="2593"/>
                      <a:pt x="611664" y="2593"/>
                    </a:cubicBezTo>
                    <a:cubicBezTo>
                      <a:pt x="619601" y="2593"/>
                      <a:pt x="619601" y="3089"/>
                      <a:pt x="628035" y="3089"/>
                    </a:cubicBezTo>
                    <a:cubicBezTo>
                      <a:pt x="635972" y="3089"/>
                      <a:pt x="635972" y="4082"/>
                      <a:pt x="644405" y="4082"/>
                    </a:cubicBezTo>
                    <a:cubicBezTo>
                      <a:pt x="652343" y="4082"/>
                      <a:pt x="652343" y="3089"/>
                      <a:pt x="660776" y="3089"/>
                    </a:cubicBezTo>
                    <a:cubicBezTo>
                      <a:pt x="668713" y="3089"/>
                      <a:pt x="668713" y="2097"/>
                      <a:pt x="677146" y="2097"/>
                    </a:cubicBezTo>
                    <a:cubicBezTo>
                      <a:pt x="685084" y="2097"/>
                      <a:pt x="685084" y="2593"/>
                      <a:pt x="693517" y="2593"/>
                    </a:cubicBezTo>
                    <a:cubicBezTo>
                      <a:pt x="701454" y="2593"/>
                      <a:pt x="701454" y="4578"/>
                      <a:pt x="709888" y="4578"/>
                    </a:cubicBezTo>
                    <a:cubicBezTo>
                      <a:pt x="717825" y="4578"/>
                      <a:pt x="717825" y="3586"/>
                      <a:pt x="726258" y="3586"/>
                    </a:cubicBezTo>
                    <a:cubicBezTo>
                      <a:pt x="734195" y="3586"/>
                      <a:pt x="734195" y="3586"/>
                      <a:pt x="742629" y="3586"/>
                    </a:cubicBezTo>
                    <a:cubicBezTo>
                      <a:pt x="750566" y="3586"/>
                      <a:pt x="750566" y="3089"/>
                      <a:pt x="758999" y="3089"/>
                    </a:cubicBezTo>
                    <a:cubicBezTo>
                      <a:pt x="766937" y="3089"/>
                      <a:pt x="766937" y="4082"/>
                      <a:pt x="775370" y="4082"/>
                    </a:cubicBezTo>
                    <a:cubicBezTo>
                      <a:pt x="783307" y="4082"/>
                      <a:pt x="783307" y="4082"/>
                      <a:pt x="791741" y="4082"/>
                    </a:cubicBezTo>
                    <a:cubicBezTo>
                      <a:pt x="799678" y="4082"/>
                      <a:pt x="799678" y="3089"/>
                      <a:pt x="808111" y="3089"/>
                    </a:cubicBezTo>
                    <a:cubicBezTo>
                      <a:pt x="816048" y="3089"/>
                      <a:pt x="816048" y="3089"/>
                      <a:pt x="824482" y="3089"/>
                    </a:cubicBezTo>
                    <a:cubicBezTo>
                      <a:pt x="832419" y="3089"/>
                      <a:pt x="832419" y="3586"/>
                      <a:pt x="840852" y="3586"/>
                    </a:cubicBezTo>
                    <a:cubicBezTo>
                      <a:pt x="848790" y="3586"/>
                      <a:pt x="848790" y="4578"/>
                      <a:pt x="857223" y="4578"/>
                    </a:cubicBezTo>
                    <a:cubicBezTo>
                      <a:pt x="865160" y="4578"/>
                      <a:pt x="865160" y="3089"/>
                      <a:pt x="873593" y="3089"/>
                    </a:cubicBezTo>
                    <a:cubicBezTo>
                      <a:pt x="881531" y="3089"/>
                      <a:pt x="881531" y="3586"/>
                      <a:pt x="889964" y="3586"/>
                    </a:cubicBezTo>
                    <a:cubicBezTo>
                      <a:pt x="897901" y="3586"/>
                      <a:pt x="897901" y="2593"/>
                      <a:pt x="906334" y="2593"/>
                    </a:cubicBezTo>
                    <a:cubicBezTo>
                      <a:pt x="914272" y="2593"/>
                      <a:pt x="914272" y="4578"/>
                      <a:pt x="922705" y="4578"/>
                    </a:cubicBezTo>
                    <a:cubicBezTo>
                      <a:pt x="930642" y="4578"/>
                      <a:pt x="930642" y="3586"/>
                      <a:pt x="939075" y="3586"/>
                    </a:cubicBezTo>
                    <a:cubicBezTo>
                      <a:pt x="947013" y="3586"/>
                      <a:pt x="947013" y="4578"/>
                      <a:pt x="955446" y="4578"/>
                    </a:cubicBezTo>
                    <a:cubicBezTo>
                      <a:pt x="963383" y="4578"/>
                      <a:pt x="963383" y="3089"/>
                      <a:pt x="971817" y="3089"/>
                    </a:cubicBezTo>
                    <a:cubicBezTo>
                      <a:pt x="979754" y="3089"/>
                      <a:pt x="979754" y="4578"/>
                      <a:pt x="988187" y="4578"/>
                    </a:cubicBezTo>
                    <a:cubicBezTo>
                      <a:pt x="996124" y="4578"/>
                      <a:pt x="996124" y="3089"/>
                      <a:pt x="1004558" y="3089"/>
                    </a:cubicBezTo>
                    <a:cubicBezTo>
                      <a:pt x="1012495" y="3089"/>
                      <a:pt x="1012495" y="4578"/>
                      <a:pt x="1020928" y="4578"/>
                    </a:cubicBezTo>
                    <a:cubicBezTo>
                      <a:pt x="1028866" y="4578"/>
                      <a:pt x="1028866" y="2593"/>
                      <a:pt x="1037299" y="2593"/>
                    </a:cubicBezTo>
                    <a:cubicBezTo>
                      <a:pt x="1045236" y="2593"/>
                      <a:pt x="1050693" y="-3856"/>
                      <a:pt x="1053670" y="3586"/>
                    </a:cubicBezTo>
                    <a:cubicBezTo>
                      <a:pt x="1056646" y="11027"/>
                      <a:pt x="1047221" y="9042"/>
                      <a:pt x="1041268" y="14499"/>
                    </a:cubicBezTo>
                    <a:cubicBezTo>
                      <a:pt x="1035315" y="20452"/>
                      <a:pt x="1036803" y="21444"/>
                      <a:pt x="1030850" y="27397"/>
                    </a:cubicBezTo>
                    <a:cubicBezTo>
                      <a:pt x="1024897" y="33350"/>
                      <a:pt x="1023409" y="31862"/>
                      <a:pt x="1017952" y="37319"/>
                    </a:cubicBezTo>
                    <a:cubicBezTo>
                      <a:pt x="1011999" y="43272"/>
                      <a:pt x="1013487" y="44264"/>
                      <a:pt x="1007534" y="50217"/>
                    </a:cubicBezTo>
                    <a:cubicBezTo>
                      <a:pt x="1001581" y="56170"/>
                      <a:pt x="1002077" y="56170"/>
                      <a:pt x="996621" y="62123"/>
                    </a:cubicBezTo>
                    <a:cubicBezTo>
                      <a:pt x="990668" y="68076"/>
                      <a:pt x="990668" y="67580"/>
                      <a:pt x="985211" y="73533"/>
                    </a:cubicBezTo>
                    <a:cubicBezTo>
                      <a:pt x="979258" y="79486"/>
                      <a:pt x="977770" y="77997"/>
                      <a:pt x="972313" y="83454"/>
                    </a:cubicBezTo>
                    <a:cubicBezTo>
                      <a:pt x="966360" y="89407"/>
                      <a:pt x="967352" y="89903"/>
                      <a:pt x="961895" y="95856"/>
                    </a:cubicBezTo>
                    <a:cubicBezTo>
                      <a:pt x="955942" y="101809"/>
                      <a:pt x="955446" y="101313"/>
                      <a:pt x="949989" y="106770"/>
                    </a:cubicBezTo>
                    <a:cubicBezTo>
                      <a:pt x="944036" y="112723"/>
                      <a:pt x="944036" y="112227"/>
                      <a:pt x="938084" y="118180"/>
                    </a:cubicBezTo>
                    <a:cubicBezTo>
                      <a:pt x="932131" y="124133"/>
                      <a:pt x="933123" y="125125"/>
                      <a:pt x="927666" y="130582"/>
                    </a:cubicBezTo>
                    <a:cubicBezTo>
                      <a:pt x="921713" y="136535"/>
                      <a:pt x="921713" y="136535"/>
                      <a:pt x="916256" y="141991"/>
                    </a:cubicBezTo>
                    <a:cubicBezTo>
                      <a:pt x="910303" y="147944"/>
                      <a:pt x="910799" y="147944"/>
                      <a:pt x="905342" y="153897"/>
                    </a:cubicBezTo>
                    <a:cubicBezTo>
                      <a:pt x="899389" y="159850"/>
                      <a:pt x="898397" y="158362"/>
                      <a:pt x="892444" y="164315"/>
                    </a:cubicBezTo>
                    <a:cubicBezTo>
                      <a:pt x="886491" y="170268"/>
                      <a:pt x="886491" y="169772"/>
                      <a:pt x="880538" y="175229"/>
                    </a:cubicBezTo>
                    <a:cubicBezTo>
                      <a:pt x="874585" y="181182"/>
                      <a:pt x="875082" y="181182"/>
                      <a:pt x="869129" y="187134"/>
                    </a:cubicBezTo>
                    <a:cubicBezTo>
                      <a:pt x="863176" y="193087"/>
                      <a:pt x="863176" y="192591"/>
                      <a:pt x="857719" y="198544"/>
                    </a:cubicBezTo>
                    <a:cubicBezTo>
                      <a:pt x="851766" y="204497"/>
                      <a:pt x="852262" y="204993"/>
                      <a:pt x="846805" y="210450"/>
                    </a:cubicBezTo>
                    <a:cubicBezTo>
                      <a:pt x="840852" y="216403"/>
                      <a:pt x="841348" y="216403"/>
                      <a:pt x="835395" y="222356"/>
                    </a:cubicBezTo>
                    <a:cubicBezTo>
                      <a:pt x="829442" y="228309"/>
                      <a:pt x="829442" y="228309"/>
                      <a:pt x="823986" y="233766"/>
                    </a:cubicBezTo>
                    <a:cubicBezTo>
                      <a:pt x="818033" y="239719"/>
                      <a:pt x="817536" y="238726"/>
                      <a:pt x="811584" y="244183"/>
                    </a:cubicBezTo>
                    <a:cubicBezTo>
                      <a:pt x="805631" y="250136"/>
                      <a:pt x="806623" y="250632"/>
                      <a:pt x="800670" y="256585"/>
                    </a:cubicBezTo>
                    <a:cubicBezTo>
                      <a:pt x="794717" y="262538"/>
                      <a:pt x="794221" y="261546"/>
                      <a:pt x="788268" y="267499"/>
                    </a:cubicBezTo>
                    <a:cubicBezTo>
                      <a:pt x="782315" y="273452"/>
                      <a:pt x="783307" y="273948"/>
                      <a:pt x="777354" y="279901"/>
                    </a:cubicBezTo>
                    <a:cubicBezTo>
                      <a:pt x="771401" y="285854"/>
                      <a:pt x="771897" y="285854"/>
                      <a:pt x="765944" y="291807"/>
                    </a:cubicBezTo>
                    <a:cubicBezTo>
                      <a:pt x="759991" y="297760"/>
                      <a:pt x="760487" y="297760"/>
                      <a:pt x="754535" y="303713"/>
                    </a:cubicBezTo>
                    <a:cubicBezTo>
                      <a:pt x="748582" y="309666"/>
                      <a:pt x="748085" y="308673"/>
                      <a:pt x="742133" y="314626"/>
                    </a:cubicBezTo>
                    <a:cubicBezTo>
                      <a:pt x="736180" y="320579"/>
                      <a:pt x="735684" y="319587"/>
                      <a:pt x="729731" y="325540"/>
                    </a:cubicBezTo>
                    <a:cubicBezTo>
                      <a:pt x="723778" y="331493"/>
                      <a:pt x="723778" y="331493"/>
                      <a:pt x="718321" y="336950"/>
                    </a:cubicBezTo>
                    <a:cubicBezTo>
                      <a:pt x="712368" y="342903"/>
                      <a:pt x="715344" y="347368"/>
                      <a:pt x="707903" y="350344"/>
                    </a:cubicBezTo>
                    <a:cubicBezTo>
                      <a:pt x="700462" y="353320"/>
                      <a:pt x="699470" y="347864"/>
                      <a:pt x="691037" y="347864"/>
                    </a:cubicBezTo>
                    <a:cubicBezTo>
                      <a:pt x="683099" y="347864"/>
                      <a:pt x="683099" y="349848"/>
                      <a:pt x="674666" y="349848"/>
                    </a:cubicBezTo>
                    <a:cubicBezTo>
                      <a:pt x="666233" y="349848"/>
                      <a:pt x="666233" y="349848"/>
                      <a:pt x="658296" y="349848"/>
                    </a:cubicBezTo>
                    <a:cubicBezTo>
                      <a:pt x="649862" y="349848"/>
                      <a:pt x="649862" y="348856"/>
                      <a:pt x="641925" y="348856"/>
                    </a:cubicBezTo>
                    <a:cubicBezTo>
                      <a:pt x="633492" y="348856"/>
                      <a:pt x="633492" y="347864"/>
                      <a:pt x="625554" y="347864"/>
                    </a:cubicBezTo>
                    <a:cubicBezTo>
                      <a:pt x="617617" y="347864"/>
                      <a:pt x="617617" y="349848"/>
                      <a:pt x="609184" y="349848"/>
                    </a:cubicBezTo>
                    <a:cubicBezTo>
                      <a:pt x="601247" y="349848"/>
                      <a:pt x="601247" y="349352"/>
                      <a:pt x="592813" y="349352"/>
                    </a:cubicBezTo>
                    <a:cubicBezTo>
                      <a:pt x="584380" y="349352"/>
                      <a:pt x="584380" y="349848"/>
                      <a:pt x="576443" y="349848"/>
                    </a:cubicBezTo>
                    <a:cubicBezTo>
                      <a:pt x="568009" y="349848"/>
                      <a:pt x="568009" y="349352"/>
                      <a:pt x="560072" y="349352"/>
                    </a:cubicBezTo>
                    <a:cubicBezTo>
                      <a:pt x="551639" y="349352"/>
                      <a:pt x="551639" y="349352"/>
                      <a:pt x="543702" y="349352"/>
                    </a:cubicBezTo>
                    <a:cubicBezTo>
                      <a:pt x="535268" y="349352"/>
                      <a:pt x="535268" y="347368"/>
                      <a:pt x="527331" y="347368"/>
                    </a:cubicBezTo>
                    <a:cubicBezTo>
                      <a:pt x="518898" y="347368"/>
                      <a:pt x="518898" y="347368"/>
                      <a:pt x="510960" y="347368"/>
                    </a:cubicBezTo>
                    <a:cubicBezTo>
                      <a:pt x="502527" y="347368"/>
                      <a:pt x="502527" y="349352"/>
                      <a:pt x="494590" y="349352"/>
                    </a:cubicBezTo>
                    <a:cubicBezTo>
                      <a:pt x="486156" y="349352"/>
                      <a:pt x="486156" y="349352"/>
                      <a:pt x="478219" y="349352"/>
                    </a:cubicBezTo>
                    <a:cubicBezTo>
                      <a:pt x="469786" y="349352"/>
                      <a:pt x="469786" y="347368"/>
                      <a:pt x="461849" y="347368"/>
                    </a:cubicBezTo>
                    <a:cubicBezTo>
                      <a:pt x="453415" y="347368"/>
                      <a:pt x="453415" y="347368"/>
                      <a:pt x="445478" y="347368"/>
                    </a:cubicBezTo>
                    <a:cubicBezTo>
                      <a:pt x="437045" y="347368"/>
                      <a:pt x="437045" y="349352"/>
                      <a:pt x="429107" y="349352"/>
                    </a:cubicBezTo>
                    <a:cubicBezTo>
                      <a:pt x="420674" y="349352"/>
                      <a:pt x="420674" y="348856"/>
                      <a:pt x="412737" y="348856"/>
                    </a:cubicBezTo>
                    <a:cubicBezTo>
                      <a:pt x="404304" y="348856"/>
                      <a:pt x="404304" y="349848"/>
                      <a:pt x="396366" y="349848"/>
                    </a:cubicBezTo>
                    <a:cubicBezTo>
                      <a:pt x="387933" y="349848"/>
                      <a:pt x="387933" y="347864"/>
                      <a:pt x="379996" y="347864"/>
                    </a:cubicBezTo>
                    <a:cubicBezTo>
                      <a:pt x="371563" y="347864"/>
                      <a:pt x="371563" y="348360"/>
                      <a:pt x="363625" y="348360"/>
                    </a:cubicBezTo>
                    <a:cubicBezTo>
                      <a:pt x="355192" y="348360"/>
                      <a:pt x="355192" y="348360"/>
                      <a:pt x="347255" y="348360"/>
                    </a:cubicBezTo>
                    <a:cubicBezTo>
                      <a:pt x="338821" y="348360"/>
                      <a:pt x="338821" y="349352"/>
                      <a:pt x="330884" y="349352"/>
                    </a:cubicBezTo>
                    <a:cubicBezTo>
                      <a:pt x="322451" y="349352"/>
                      <a:pt x="322451" y="347864"/>
                      <a:pt x="314514" y="347864"/>
                    </a:cubicBezTo>
                    <a:cubicBezTo>
                      <a:pt x="306080" y="347864"/>
                      <a:pt x="306080" y="348360"/>
                      <a:pt x="298143" y="348360"/>
                    </a:cubicBezTo>
                    <a:cubicBezTo>
                      <a:pt x="289710" y="348360"/>
                      <a:pt x="289710" y="349352"/>
                      <a:pt x="281772" y="349352"/>
                    </a:cubicBezTo>
                    <a:cubicBezTo>
                      <a:pt x="273835" y="349352"/>
                      <a:pt x="273835" y="348856"/>
                      <a:pt x="265402" y="348856"/>
                    </a:cubicBezTo>
                    <a:cubicBezTo>
                      <a:pt x="256968" y="348856"/>
                      <a:pt x="256968" y="349352"/>
                      <a:pt x="249031" y="349352"/>
                    </a:cubicBezTo>
                    <a:cubicBezTo>
                      <a:pt x="240598" y="349352"/>
                      <a:pt x="240598" y="348360"/>
                      <a:pt x="232661" y="348360"/>
                    </a:cubicBezTo>
                    <a:cubicBezTo>
                      <a:pt x="224227" y="348360"/>
                      <a:pt x="224227" y="349848"/>
                      <a:pt x="216290" y="349848"/>
                    </a:cubicBezTo>
                    <a:cubicBezTo>
                      <a:pt x="207857" y="349848"/>
                      <a:pt x="207857" y="349848"/>
                      <a:pt x="199919" y="349848"/>
                    </a:cubicBezTo>
                    <a:cubicBezTo>
                      <a:pt x="191486" y="349848"/>
                      <a:pt x="191486" y="348360"/>
                      <a:pt x="183549" y="348360"/>
                    </a:cubicBezTo>
                    <a:cubicBezTo>
                      <a:pt x="175115" y="348360"/>
                      <a:pt x="175115" y="349848"/>
                      <a:pt x="167178" y="349848"/>
                    </a:cubicBezTo>
                    <a:cubicBezTo>
                      <a:pt x="158745" y="349848"/>
                      <a:pt x="158745" y="348856"/>
                      <a:pt x="150808" y="348856"/>
                    </a:cubicBezTo>
                    <a:cubicBezTo>
                      <a:pt x="142374" y="348856"/>
                      <a:pt x="142374" y="349352"/>
                      <a:pt x="134437" y="349352"/>
                    </a:cubicBezTo>
                    <a:cubicBezTo>
                      <a:pt x="126004" y="349352"/>
                      <a:pt x="126004" y="348856"/>
                      <a:pt x="118066" y="348856"/>
                    </a:cubicBezTo>
                    <a:cubicBezTo>
                      <a:pt x="109633" y="348856"/>
                      <a:pt x="109633" y="349848"/>
                      <a:pt x="101696" y="349848"/>
                    </a:cubicBezTo>
                    <a:cubicBezTo>
                      <a:pt x="93263" y="349848"/>
                      <a:pt x="93263" y="348360"/>
                      <a:pt x="85325" y="348360"/>
                    </a:cubicBezTo>
                    <a:cubicBezTo>
                      <a:pt x="76892" y="348360"/>
                      <a:pt x="76892" y="347864"/>
                      <a:pt x="68955" y="347864"/>
                    </a:cubicBezTo>
                    <a:cubicBezTo>
                      <a:pt x="60522" y="347864"/>
                      <a:pt x="60522" y="348856"/>
                      <a:pt x="52584" y="348856"/>
                    </a:cubicBezTo>
                    <a:cubicBezTo>
                      <a:pt x="44151" y="348856"/>
                      <a:pt x="44151" y="349352"/>
                      <a:pt x="36214" y="349352"/>
                    </a:cubicBezTo>
                    <a:cubicBezTo>
                      <a:pt x="27781" y="349352"/>
                      <a:pt x="27781" y="348360"/>
                      <a:pt x="19843" y="348360"/>
                    </a:cubicBezTo>
                    <a:cubicBezTo>
                      <a:pt x="11410" y="348360"/>
                      <a:pt x="11410" y="347864"/>
                      <a:pt x="3473" y="34786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0" name="Freeform: Shape 1609">
                <a:extLst>
                  <a:ext uri="{FF2B5EF4-FFF2-40B4-BE49-F238E27FC236}">
                    <a16:creationId xmlns:a16="http://schemas.microsoft.com/office/drawing/2014/main" id="{A101FAA8-818D-4F3A-2EAC-59C8C30AE50C}"/>
                  </a:ext>
                </a:extLst>
              </p:cNvPr>
              <p:cNvSpPr/>
              <p:nvPr/>
            </p:nvSpPr>
            <p:spPr>
              <a:xfrm>
                <a:off x="4025542" y="2084519"/>
                <a:ext cx="720305" cy="3472"/>
              </a:xfrm>
              <a:custGeom>
                <a:avLst/>
                <a:gdLst>
                  <a:gd name="connsiteX0" fmla="*/ 0 w 720305"/>
                  <a:gd name="connsiteY0" fmla="*/ 2976 h 3472"/>
                  <a:gd name="connsiteX1" fmla="*/ 16371 w 720305"/>
                  <a:gd name="connsiteY1" fmla="*/ 2480 h 3472"/>
                  <a:gd name="connsiteX2" fmla="*/ 32741 w 720305"/>
                  <a:gd name="connsiteY2" fmla="*/ 1488 h 3472"/>
                  <a:gd name="connsiteX3" fmla="*/ 49112 w 720305"/>
                  <a:gd name="connsiteY3" fmla="*/ 2976 h 3472"/>
                  <a:gd name="connsiteX4" fmla="*/ 65482 w 720305"/>
                  <a:gd name="connsiteY4" fmla="*/ 2480 h 3472"/>
                  <a:gd name="connsiteX5" fmla="*/ 81853 w 720305"/>
                  <a:gd name="connsiteY5" fmla="*/ 992 h 3472"/>
                  <a:gd name="connsiteX6" fmla="*/ 98223 w 720305"/>
                  <a:gd name="connsiteY6" fmla="*/ 2480 h 3472"/>
                  <a:gd name="connsiteX7" fmla="*/ 114594 w 720305"/>
                  <a:gd name="connsiteY7" fmla="*/ 2480 h 3472"/>
                  <a:gd name="connsiteX8" fmla="*/ 130965 w 720305"/>
                  <a:gd name="connsiteY8" fmla="*/ 992 h 3472"/>
                  <a:gd name="connsiteX9" fmla="*/ 147335 w 720305"/>
                  <a:gd name="connsiteY9" fmla="*/ 1488 h 3472"/>
                  <a:gd name="connsiteX10" fmla="*/ 163706 w 720305"/>
                  <a:gd name="connsiteY10" fmla="*/ 1488 h 3472"/>
                  <a:gd name="connsiteX11" fmla="*/ 180076 w 720305"/>
                  <a:gd name="connsiteY11" fmla="*/ 1488 h 3472"/>
                  <a:gd name="connsiteX12" fmla="*/ 196447 w 720305"/>
                  <a:gd name="connsiteY12" fmla="*/ 2976 h 3472"/>
                  <a:gd name="connsiteX13" fmla="*/ 212818 w 720305"/>
                  <a:gd name="connsiteY13" fmla="*/ 1488 h 3472"/>
                  <a:gd name="connsiteX14" fmla="*/ 229188 w 720305"/>
                  <a:gd name="connsiteY14" fmla="*/ 2480 h 3472"/>
                  <a:gd name="connsiteX15" fmla="*/ 245559 w 720305"/>
                  <a:gd name="connsiteY15" fmla="*/ 2480 h 3472"/>
                  <a:gd name="connsiteX16" fmla="*/ 261929 w 720305"/>
                  <a:gd name="connsiteY16" fmla="*/ 2976 h 3472"/>
                  <a:gd name="connsiteX17" fmla="*/ 278300 w 720305"/>
                  <a:gd name="connsiteY17" fmla="*/ 2480 h 3472"/>
                  <a:gd name="connsiteX18" fmla="*/ 294670 w 720305"/>
                  <a:gd name="connsiteY18" fmla="*/ 2976 h 3472"/>
                  <a:gd name="connsiteX19" fmla="*/ 311041 w 720305"/>
                  <a:gd name="connsiteY19" fmla="*/ 3472 h 3472"/>
                  <a:gd name="connsiteX20" fmla="*/ 327411 w 720305"/>
                  <a:gd name="connsiteY20" fmla="*/ 992 h 3472"/>
                  <a:gd name="connsiteX21" fmla="*/ 343782 w 720305"/>
                  <a:gd name="connsiteY21" fmla="*/ 2480 h 3472"/>
                  <a:gd name="connsiteX22" fmla="*/ 360153 w 720305"/>
                  <a:gd name="connsiteY22" fmla="*/ 3472 h 3472"/>
                  <a:gd name="connsiteX23" fmla="*/ 376523 w 720305"/>
                  <a:gd name="connsiteY23" fmla="*/ 2976 h 3472"/>
                  <a:gd name="connsiteX24" fmla="*/ 392894 w 720305"/>
                  <a:gd name="connsiteY24" fmla="*/ 2976 h 3472"/>
                  <a:gd name="connsiteX25" fmla="*/ 409264 w 720305"/>
                  <a:gd name="connsiteY25" fmla="*/ 2976 h 3472"/>
                  <a:gd name="connsiteX26" fmla="*/ 425635 w 720305"/>
                  <a:gd name="connsiteY26" fmla="*/ 3472 h 3472"/>
                  <a:gd name="connsiteX27" fmla="*/ 442006 w 720305"/>
                  <a:gd name="connsiteY27" fmla="*/ 3472 h 3472"/>
                  <a:gd name="connsiteX28" fmla="*/ 458376 w 720305"/>
                  <a:gd name="connsiteY28" fmla="*/ 1984 h 3472"/>
                  <a:gd name="connsiteX29" fmla="*/ 474747 w 720305"/>
                  <a:gd name="connsiteY29" fmla="*/ 1984 h 3472"/>
                  <a:gd name="connsiteX30" fmla="*/ 491117 w 720305"/>
                  <a:gd name="connsiteY30" fmla="*/ 2976 h 3472"/>
                  <a:gd name="connsiteX31" fmla="*/ 507488 w 720305"/>
                  <a:gd name="connsiteY31" fmla="*/ 1488 h 3472"/>
                  <a:gd name="connsiteX32" fmla="*/ 523858 w 720305"/>
                  <a:gd name="connsiteY32" fmla="*/ 1488 h 3472"/>
                  <a:gd name="connsiteX33" fmla="*/ 540229 w 720305"/>
                  <a:gd name="connsiteY33" fmla="*/ 992 h 3472"/>
                  <a:gd name="connsiteX34" fmla="*/ 556600 w 720305"/>
                  <a:gd name="connsiteY34" fmla="*/ 992 h 3472"/>
                  <a:gd name="connsiteX35" fmla="*/ 572970 w 720305"/>
                  <a:gd name="connsiteY35" fmla="*/ 992 h 3472"/>
                  <a:gd name="connsiteX36" fmla="*/ 589341 w 720305"/>
                  <a:gd name="connsiteY36" fmla="*/ 1488 h 3472"/>
                  <a:gd name="connsiteX37" fmla="*/ 605711 w 720305"/>
                  <a:gd name="connsiteY37" fmla="*/ 992 h 3472"/>
                  <a:gd name="connsiteX38" fmla="*/ 622082 w 720305"/>
                  <a:gd name="connsiteY38" fmla="*/ 992 h 3472"/>
                  <a:gd name="connsiteX39" fmla="*/ 638452 w 720305"/>
                  <a:gd name="connsiteY39" fmla="*/ 2480 h 3472"/>
                  <a:gd name="connsiteX40" fmla="*/ 654823 w 720305"/>
                  <a:gd name="connsiteY40" fmla="*/ 496 h 3472"/>
                  <a:gd name="connsiteX41" fmla="*/ 671193 w 720305"/>
                  <a:gd name="connsiteY41" fmla="*/ 2480 h 3472"/>
                  <a:gd name="connsiteX42" fmla="*/ 687564 w 720305"/>
                  <a:gd name="connsiteY42" fmla="*/ 1984 h 3472"/>
                  <a:gd name="connsiteX43" fmla="*/ 703935 w 720305"/>
                  <a:gd name="connsiteY43" fmla="*/ 0 h 3472"/>
                  <a:gd name="connsiteX44" fmla="*/ 720305 w 720305"/>
                  <a:gd name="connsiteY44" fmla="*/ 992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5" h="3472">
                    <a:moveTo>
                      <a:pt x="0" y="2976"/>
                    </a:moveTo>
                    <a:cubicBezTo>
                      <a:pt x="7937" y="2976"/>
                      <a:pt x="7937" y="2480"/>
                      <a:pt x="16371" y="2480"/>
                    </a:cubicBezTo>
                    <a:cubicBezTo>
                      <a:pt x="24308" y="2480"/>
                      <a:pt x="24308" y="1488"/>
                      <a:pt x="32741" y="1488"/>
                    </a:cubicBezTo>
                    <a:cubicBezTo>
                      <a:pt x="40678" y="1488"/>
                      <a:pt x="40678" y="2976"/>
                      <a:pt x="49112" y="2976"/>
                    </a:cubicBezTo>
                    <a:cubicBezTo>
                      <a:pt x="57049" y="2976"/>
                      <a:pt x="57049" y="2480"/>
                      <a:pt x="65482" y="2480"/>
                    </a:cubicBezTo>
                    <a:cubicBezTo>
                      <a:pt x="73419" y="2480"/>
                      <a:pt x="73419" y="992"/>
                      <a:pt x="81853" y="992"/>
                    </a:cubicBezTo>
                    <a:cubicBezTo>
                      <a:pt x="89790" y="992"/>
                      <a:pt x="89790" y="2480"/>
                      <a:pt x="98223" y="2480"/>
                    </a:cubicBezTo>
                    <a:cubicBezTo>
                      <a:pt x="106161" y="2480"/>
                      <a:pt x="106161" y="2480"/>
                      <a:pt x="114594" y="2480"/>
                    </a:cubicBezTo>
                    <a:cubicBezTo>
                      <a:pt x="122531" y="2480"/>
                      <a:pt x="122531" y="992"/>
                      <a:pt x="130965" y="992"/>
                    </a:cubicBezTo>
                    <a:cubicBezTo>
                      <a:pt x="138902" y="992"/>
                      <a:pt x="138902" y="1488"/>
                      <a:pt x="147335" y="1488"/>
                    </a:cubicBezTo>
                    <a:cubicBezTo>
                      <a:pt x="155272" y="1488"/>
                      <a:pt x="155272" y="1488"/>
                      <a:pt x="163706" y="1488"/>
                    </a:cubicBezTo>
                    <a:cubicBezTo>
                      <a:pt x="171643" y="1488"/>
                      <a:pt x="171643" y="1488"/>
                      <a:pt x="180076" y="1488"/>
                    </a:cubicBezTo>
                    <a:cubicBezTo>
                      <a:pt x="188014" y="1488"/>
                      <a:pt x="188014" y="2976"/>
                      <a:pt x="196447" y="2976"/>
                    </a:cubicBezTo>
                    <a:cubicBezTo>
                      <a:pt x="204384" y="2976"/>
                      <a:pt x="204384" y="1488"/>
                      <a:pt x="212818" y="1488"/>
                    </a:cubicBezTo>
                    <a:cubicBezTo>
                      <a:pt x="220755" y="1488"/>
                      <a:pt x="220755" y="2480"/>
                      <a:pt x="229188" y="2480"/>
                    </a:cubicBezTo>
                    <a:cubicBezTo>
                      <a:pt x="237125" y="2480"/>
                      <a:pt x="237125" y="2480"/>
                      <a:pt x="245559" y="2480"/>
                    </a:cubicBezTo>
                    <a:cubicBezTo>
                      <a:pt x="253496" y="2480"/>
                      <a:pt x="253496" y="2976"/>
                      <a:pt x="261929" y="2976"/>
                    </a:cubicBezTo>
                    <a:cubicBezTo>
                      <a:pt x="269867" y="2976"/>
                      <a:pt x="269867" y="2480"/>
                      <a:pt x="278300" y="2480"/>
                    </a:cubicBezTo>
                    <a:cubicBezTo>
                      <a:pt x="286237" y="2480"/>
                      <a:pt x="286237" y="2976"/>
                      <a:pt x="294670" y="2976"/>
                    </a:cubicBezTo>
                    <a:cubicBezTo>
                      <a:pt x="302608" y="2976"/>
                      <a:pt x="302608" y="3472"/>
                      <a:pt x="311041" y="3472"/>
                    </a:cubicBezTo>
                    <a:cubicBezTo>
                      <a:pt x="318978" y="3472"/>
                      <a:pt x="318978" y="992"/>
                      <a:pt x="327411" y="992"/>
                    </a:cubicBezTo>
                    <a:cubicBezTo>
                      <a:pt x="335349" y="992"/>
                      <a:pt x="335349" y="2480"/>
                      <a:pt x="343782" y="2480"/>
                    </a:cubicBezTo>
                    <a:cubicBezTo>
                      <a:pt x="351719" y="2480"/>
                      <a:pt x="351719" y="3472"/>
                      <a:pt x="360153" y="3472"/>
                    </a:cubicBezTo>
                    <a:cubicBezTo>
                      <a:pt x="368090" y="3472"/>
                      <a:pt x="368090" y="2976"/>
                      <a:pt x="376523" y="2976"/>
                    </a:cubicBezTo>
                    <a:cubicBezTo>
                      <a:pt x="384460" y="2976"/>
                      <a:pt x="384460" y="2976"/>
                      <a:pt x="392894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2" y="2976"/>
                      <a:pt x="417202" y="3472"/>
                      <a:pt x="425635" y="3472"/>
                    </a:cubicBezTo>
                    <a:cubicBezTo>
                      <a:pt x="433572" y="3472"/>
                      <a:pt x="433572" y="3472"/>
                      <a:pt x="442006" y="3472"/>
                    </a:cubicBezTo>
                    <a:cubicBezTo>
                      <a:pt x="449943" y="3472"/>
                      <a:pt x="449943" y="1984"/>
                      <a:pt x="458376" y="1984"/>
                    </a:cubicBezTo>
                    <a:cubicBezTo>
                      <a:pt x="466313" y="1984"/>
                      <a:pt x="466313" y="1984"/>
                      <a:pt x="474747" y="1984"/>
                    </a:cubicBezTo>
                    <a:cubicBezTo>
                      <a:pt x="482684" y="1984"/>
                      <a:pt x="482684" y="2976"/>
                      <a:pt x="491117" y="2976"/>
                    </a:cubicBezTo>
                    <a:cubicBezTo>
                      <a:pt x="499055" y="2976"/>
                      <a:pt x="499055" y="1488"/>
                      <a:pt x="507488" y="1488"/>
                    </a:cubicBezTo>
                    <a:cubicBezTo>
                      <a:pt x="515425" y="1488"/>
                      <a:pt x="515425" y="1488"/>
                      <a:pt x="523858" y="1488"/>
                    </a:cubicBezTo>
                    <a:cubicBezTo>
                      <a:pt x="531796" y="1488"/>
                      <a:pt x="531796" y="992"/>
                      <a:pt x="540229" y="992"/>
                    </a:cubicBezTo>
                    <a:cubicBezTo>
                      <a:pt x="548166" y="992"/>
                      <a:pt x="548166" y="992"/>
                      <a:pt x="556600" y="992"/>
                    </a:cubicBezTo>
                    <a:cubicBezTo>
                      <a:pt x="564537" y="992"/>
                      <a:pt x="564537" y="992"/>
                      <a:pt x="572970" y="992"/>
                    </a:cubicBezTo>
                    <a:cubicBezTo>
                      <a:pt x="580907" y="992"/>
                      <a:pt x="580907" y="1488"/>
                      <a:pt x="589341" y="1488"/>
                    </a:cubicBezTo>
                    <a:cubicBezTo>
                      <a:pt x="597278" y="1488"/>
                      <a:pt x="597278" y="992"/>
                      <a:pt x="605711" y="992"/>
                    </a:cubicBezTo>
                    <a:cubicBezTo>
                      <a:pt x="614144" y="992"/>
                      <a:pt x="613648" y="992"/>
                      <a:pt x="622082" y="992"/>
                    </a:cubicBezTo>
                    <a:cubicBezTo>
                      <a:pt x="630019" y="992"/>
                      <a:pt x="630019" y="2480"/>
                      <a:pt x="638452" y="2480"/>
                    </a:cubicBezTo>
                    <a:cubicBezTo>
                      <a:pt x="646390" y="2480"/>
                      <a:pt x="646390" y="496"/>
                      <a:pt x="654823" y="496"/>
                    </a:cubicBezTo>
                    <a:cubicBezTo>
                      <a:pt x="662760" y="496"/>
                      <a:pt x="662760" y="2480"/>
                      <a:pt x="671193" y="2480"/>
                    </a:cubicBezTo>
                    <a:cubicBezTo>
                      <a:pt x="679131" y="2480"/>
                      <a:pt x="679131" y="1984"/>
                      <a:pt x="687564" y="1984"/>
                    </a:cubicBezTo>
                    <a:cubicBezTo>
                      <a:pt x="695501" y="1984"/>
                      <a:pt x="695501" y="0"/>
                      <a:pt x="703935" y="0"/>
                    </a:cubicBezTo>
                    <a:cubicBezTo>
                      <a:pt x="711872" y="0"/>
                      <a:pt x="711872" y="992"/>
                      <a:pt x="720305" y="9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1" name="Freeform: Shape 1610">
                <a:extLst>
                  <a:ext uri="{FF2B5EF4-FFF2-40B4-BE49-F238E27FC236}">
                    <a16:creationId xmlns:a16="http://schemas.microsoft.com/office/drawing/2014/main" id="{AABE1452-1D8B-172F-FC5A-3F30D2E46F78}"/>
                  </a:ext>
                </a:extLst>
              </p:cNvPr>
              <p:cNvSpPr/>
              <p:nvPr/>
            </p:nvSpPr>
            <p:spPr>
              <a:xfrm>
                <a:off x="4159979" y="1950578"/>
                <a:ext cx="720304" cy="3472"/>
              </a:xfrm>
              <a:custGeom>
                <a:avLst/>
                <a:gdLst>
                  <a:gd name="connsiteX0" fmla="*/ 0 w 720304"/>
                  <a:gd name="connsiteY0" fmla="*/ 1984 h 3472"/>
                  <a:gd name="connsiteX1" fmla="*/ 16371 w 720304"/>
                  <a:gd name="connsiteY1" fmla="*/ 2480 h 3472"/>
                  <a:gd name="connsiteX2" fmla="*/ 32741 w 720304"/>
                  <a:gd name="connsiteY2" fmla="*/ 1984 h 3472"/>
                  <a:gd name="connsiteX3" fmla="*/ 49112 w 720304"/>
                  <a:gd name="connsiteY3" fmla="*/ 2480 h 3472"/>
                  <a:gd name="connsiteX4" fmla="*/ 65482 w 720304"/>
                  <a:gd name="connsiteY4" fmla="*/ 992 h 3472"/>
                  <a:gd name="connsiteX5" fmla="*/ 81853 w 720304"/>
                  <a:gd name="connsiteY5" fmla="*/ 2480 h 3472"/>
                  <a:gd name="connsiteX6" fmla="*/ 98223 w 720304"/>
                  <a:gd name="connsiteY6" fmla="*/ 2480 h 3472"/>
                  <a:gd name="connsiteX7" fmla="*/ 114594 w 720304"/>
                  <a:gd name="connsiteY7" fmla="*/ 1488 h 3472"/>
                  <a:gd name="connsiteX8" fmla="*/ 130964 w 720304"/>
                  <a:gd name="connsiteY8" fmla="*/ 1488 h 3472"/>
                  <a:gd name="connsiteX9" fmla="*/ 147335 w 720304"/>
                  <a:gd name="connsiteY9" fmla="*/ 2976 h 3472"/>
                  <a:gd name="connsiteX10" fmla="*/ 163706 w 720304"/>
                  <a:gd name="connsiteY10" fmla="*/ 3472 h 3472"/>
                  <a:gd name="connsiteX11" fmla="*/ 180076 w 720304"/>
                  <a:gd name="connsiteY11" fmla="*/ 2976 h 3472"/>
                  <a:gd name="connsiteX12" fmla="*/ 196447 w 720304"/>
                  <a:gd name="connsiteY12" fmla="*/ 2976 h 3472"/>
                  <a:gd name="connsiteX13" fmla="*/ 212817 w 720304"/>
                  <a:gd name="connsiteY13" fmla="*/ 2480 h 3472"/>
                  <a:gd name="connsiteX14" fmla="*/ 229188 w 720304"/>
                  <a:gd name="connsiteY14" fmla="*/ 1488 h 3472"/>
                  <a:gd name="connsiteX15" fmla="*/ 245559 w 720304"/>
                  <a:gd name="connsiteY15" fmla="*/ 2480 h 3472"/>
                  <a:gd name="connsiteX16" fmla="*/ 261929 w 720304"/>
                  <a:gd name="connsiteY16" fmla="*/ 1488 h 3472"/>
                  <a:gd name="connsiteX17" fmla="*/ 278300 w 720304"/>
                  <a:gd name="connsiteY17" fmla="*/ 2976 h 3472"/>
                  <a:gd name="connsiteX18" fmla="*/ 294670 w 720304"/>
                  <a:gd name="connsiteY18" fmla="*/ 3472 h 3472"/>
                  <a:gd name="connsiteX19" fmla="*/ 311041 w 720304"/>
                  <a:gd name="connsiteY19" fmla="*/ 1488 h 3472"/>
                  <a:gd name="connsiteX20" fmla="*/ 327411 w 720304"/>
                  <a:gd name="connsiteY20" fmla="*/ 2480 h 3472"/>
                  <a:gd name="connsiteX21" fmla="*/ 343782 w 720304"/>
                  <a:gd name="connsiteY21" fmla="*/ 3472 h 3472"/>
                  <a:gd name="connsiteX22" fmla="*/ 360152 w 720304"/>
                  <a:gd name="connsiteY22" fmla="*/ 2976 h 3472"/>
                  <a:gd name="connsiteX23" fmla="*/ 376523 w 720304"/>
                  <a:gd name="connsiteY23" fmla="*/ 1488 h 3472"/>
                  <a:gd name="connsiteX24" fmla="*/ 392893 w 720304"/>
                  <a:gd name="connsiteY24" fmla="*/ 2976 h 3472"/>
                  <a:gd name="connsiteX25" fmla="*/ 409264 w 720304"/>
                  <a:gd name="connsiteY25" fmla="*/ 2976 h 3472"/>
                  <a:gd name="connsiteX26" fmla="*/ 425635 w 720304"/>
                  <a:gd name="connsiteY26" fmla="*/ 2976 h 3472"/>
                  <a:gd name="connsiteX27" fmla="*/ 442005 w 720304"/>
                  <a:gd name="connsiteY27" fmla="*/ 1984 h 3472"/>
                  <a:gd name="connsiteX28" fmla="*/ 458376 w 720304"/>
                  <a:gd name="connsiteY28" fmla="*/ 1488 h 3472"/>
                  <a:gd name="connsiteX29" fmla="*/ 474746 w 720304"/>
                  <a:gd name="connsiteY29" fmla="*/ 2480 h 3472"/>
                  <a:gd name="connsiteX30" fmla="*/ 491117 w 720304"/>
                  <a:gd name="connsiteY30" fmla="*/ 1488 h 3472"/>
                  <a:gd name="connsiteX31" fmla="*/ 507488 w 720304"/>
                  <a:gd name="connsiteY31" fmla="*/ 1984 h 3472"/>
                  <a:gd name="connsiteX32" fmla="*/ 523858 w 720304"/>
                  <a:gd name="connsiteY32" fmla="*/ 2480 h 3472"/>
                  <a:gd name="connsiteX33" fmla="*/ 540229 w 720304"/>
                  <a:gd name="connsiteY33" fmla="*/ 2976 h 3472"/>
                  <a:gd name="connsiteX34" fmla="*/ 556599 w 720304"/>
                  <a:gd name="connsiteY34" fmla="*/ 1984 h 3472"/>
                  <a:gd name="connsiteX35" fmla="*/ 572970 w 720304"/>
                  <a:gd name="connsiteY35" fmla="*/ 992 h 3472"/>
                  <a:gd name="connsiteX36" fmla="*/ 589341 w 720304"/>
                  <a:gd name="connsiteY36" fmla="*/ 2480 h 3472"/>
                  <a:gd name="connsiteX37" fmla="*/ 605711 w 720304"/>
                  <a:gd name="connsiteY37" fmla="*/ 1984 h 3472"/>
                  <a:gd name="connsiteX38" fmla="*/ 622082 w 720304"/>
                  <a:gd name="connsiteY38" fmla="*/ 496 h 3472"/>
                  <a:gd name="connsiteX39" fmla="*/ 638452 w 720304"/>
                  <a:gd name="connsiteY39" fmla="*/ 992 h 3472"/>
                  <a:gd name="connsiteX40" fmla="*/ 654823 w 720304"/>
                  <a:gd name="connsiteY40" fmla="*/ 496 h 3472"/>
                  <a:gd name="connsiteX41" fmla="*/ 671193 w 720304"/>
                  <a:gd name="connsiteY41" fmla="*/ 992 h 3472"/>
                  <a:gd name="connsiteX42" fmla="*/ 687564 w 720304"/>
                  <a:gd name="connsiteY42" fmla="*/ 496 h 3472"/>
                  <a:gd name="connsiteX43" fmla="*/ 703934 w 720304"/>
                  <a:gd name="connsiteY43" fmla="*/ 1488 h 3472"/>
                  <a:gd name="connsiteX44" fmla="*/ 720305 w 720304"/>
                  <a:gd name="connsiteY44" fmla="*/ 0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4" h="3472">
                    <a:moveTo>
                      <a:pt x="0" y="1984"/>
                    </a:moveTo>
                    <a:cubicBezTo>
                      <a:pt x="7937" y="1984"/>
                      <a:pt x="7937" y="2480"/>
                      <a:pt x="16371" y="2480"/>
                    </a:cubicBezTo>
                    <a:cubicBezTo>
                      <a:pt x="24308" y="2480"/>
                      <a:pt x="24308" y="1984"/>
                      <a:pt x="32741" y="1984"/>
                    </a:cubicBezTo>
                    <a:cubicBezTo>
                      <a:pt x="40678" y="1984"/>
                      <a:pt x="40678" y="2480"/>
                      <a:pt x="49112" y="2480"/>
                    </a:cubicBezTo>
                    <a:cubicBezTo>
                      <a:pt x="57049" y="2480"/>
                      <a:pt x="57049" y="992"/>
                      <a:pt x="65482" y="992"/>
                    </a:cubicBezTo>
                    <a:cubicBezTo>
                      <a:pt x="73419" y="992"/>
                      <a:pt x="73419" y="2480"/>
                      <a:pt x="81853" y="2480"/>
                    </a:cubicBezTo>
                    <a:cubicBezTo>
                      <a:pt x="89790" y="2480"/>
                      <a:pt x="89790" y="2480"/>
                      <a:pt x="98223" y="2480"/>
                    </a:cubicBezTo>
                    <a:cubicBezTo>
                      <a:pt x="106160" y="2480"/>
                      <a:pt x="106160" y="1488"/>
                      <a:pt x="114594" y="1488"/>
                    </a:cubicBezTo>
                    <a:cubicBezTo>
                      <a:pt x="123027" y="1488"/>
                      <a:pt x="122531" y="1488"/>
                      <a:pt x="130964" y="1488"/>
                    </a:cubicBezTo>
                    <a:cubicBezTo>
                      <a:pt x="138902" y="1488"/>
                      <a:pt x="138902" y="2976"/>
                      <a:pt x="147335" y="2976"/>
                    </a:cubicBezTo>
                    <a:cubicBezTo>
                      <a:pt x="155272" y="2976"/>
                      <a:pt x="155272" y="3472"/>
                      <a:pt x="163706" y="3472"/>
                    </a:cubicBezTo>
                    <a:cubicBezTo>
                      <a:pt x="171643" y="3472"/>
                      <a:pt x="171643" y="2976"/>
                      <a:pt x="180076" y="2976"/>
                    </a:cubicBezTo>
                    <a:cubicBezTo>
                      <a:pt x="188013" y="2976"/>
                      <a:pt x="188013" y="2976"/>
                      <a:pt x="196447" y="2976"/>
                    </a:cubicBezTo>
                    <a:cubicBezTo>
                      <a:pt x="204384" y="2976"/>
                      <a:pt x="204384" y="2480"/>
                      <a:pt x="212817" y="2480"/>
                    </a:cubicBezTo>
                    <a:cubicBezTo>
                      <a:pt x="220755" y="2480"/>
                      <a:pt x="220755" y="1488"/>
                      <a:pt x="229188" y="1488"/>
                    </a:cubicBezTo>
                    <a:cubicBezTo>
                      <a:pt x="237125" y="1488"/>
                      <a:pt x="237125" y="2480"/>
                      <a:pt x="245559" y="2480"/>
                    </a:cubicBezTo>
                    <a:cubicBezTo>
                      <a:pt x="253496" y="2480"/>
                      <a:pt x="253496" y="1488"/>
                      <a:pt x="261929" y="1488"/>
                    </a:cubicBezTo>
                    <a:cubicBezTo>
                      <a:pt x="269866" y="1488"/>
                      <a:pt x="269866" y="2976"/>
                      <a:pt x="278300" y="2976"/>
                    </a:cubicBezTo>
                    <a:cubicBezTo>
                      <a:pt x="286237" y="2976"/>
                      <a:pt x="286237" y="3472"/>
                      <a:pt x="294670" y="3472"/>
                    </a:cubicBezTo>
                    <a:cubicBezTo>
                      <a:pt x="302608" y="3472"/>
                      <a:pt x="302608" y="1488"/>
                      <a:pt x="311041" y="1488"/>
                    </a:cubicBezTo>
                    <a:cubicBezTo>
                      <a:pt x="318978" y="1488"/>
                      <a:pt x="318978" y="2480"/>
                      <a:pt x="327411" y="2480"/>
                    </a:cubicBezTo>
                    <a:cubicBezTo>
                      <a:pt x="335349" y="2480"/>
                      <a:pt x="335349" y="3472"/>
                      <a:pt x="343782" y="3472"/>
                    </a:cubicBezTo>
                    <a:cubicBezTo>
                      <a:pt x="351719" y="3472"/>
                      <a:pt x="351719" y="2976"/>
                      <a:pt x="360152" y="2976"/>
                    </a:cubicBezTo>
                    <a:cubicBezTo>
                      <a:pt x="368090" y="2976"/>
                      <a:pt x="368090" y="1488"/>
                      <a:pt x="376523" y="1488"/>
                    </a:cubicBezTo>
                    <a:cubicBezTo>
                      <a:pt x="384460" y="1488"/>
                      <a:pt x="384460" y="2976"/>
                      <a:pt x="392893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1" y="2976"/>
                      <a:pt x="417201" y="2976"/>
                      <a:pt x="425635" y="2976"/>
                    </a:cubicBezTo>
                    <a:cubicBezTo>
                      <a:pt x="433572" y="2976"/>
                      <a:pt x="433572" y="1984"/>
                      <a:pt x="442005" y="1984"/>
                    </a:cubicBezTo>
                    <a:cubicBezTo>
                      <a:pt x="449942" y="1984"/>
                      <a:pt x="449942" y="1488"/>
                      <a:pt x="458376" y="1488"/>
                    </a:cubicBezTo>
                    <a:cubicBezTo>
                      <a:pt x="466313" y="1488"/>
                      <a:pt x="466313" y="2480"/>
                      <a:pt x="474746" y="2480"/>
                    </a:cubicBezTo>
                    <a:cubicBezTo>
                      <a:pt x="482684" y="2480"/>
                      <a:pt x="482684" y="1488"/>
                      <a:pt x="491117" y="1488"/>
                    </a:cubicBezTo>
                    <a:cubicBezTo>
                      <a:pt x="499054" y="1488"/>
                      <a:pt x="499054" y="1984"/>
                      <a:pt x="507488" y="1984"/>
                    </a:cubicBezTo>
                    <a:cubicBezTo>
                      <a:pt x="515425" y="1984"/>
                      <a:pt x="515425" y="2480"/>
                      <a:pt x="523858" y="2480"/>
                    </a:cubicBezTo>
                    <a:cubicBezTo>
                      <a:pt x="531795" y="2480"/>
                      <a:pt x="531795" y="2976"/>
                      <a:pt x="540229" y="2976"/>
                    </a:cubicBezTo>
                    <a:cubicBezTo>
                      <a:pt x="548166" y="2976"/>
                      <a:pt x="548166" y="1984"/>
                      <a:pt x="556599" y="1984"/>
                    </a:cubicBezTo>
                    <a:cubicBezTo>
                      <a:pt x="564537" y="1984"/>
                      <a:pt x="564537" y="992"/>
                      <a:pt x="572970" y="992"/>
                    </a:cubicBezTo>
                    <a:cubicBezTo>
                      <a:pt x="580907" y="992"/>
                      <a:pt x="580907" y="2480"/>
                      <a:pt x="589341" y="2480"/>
                    </a:cubicBezTo>
                    <a:cubicBezTo>
                      <a:pt x="597278" y="2480"/>
                      <a:pt x="597278" y="1984"/>
                      <a:pt x="605711" y="1984"/>
                    </a:cubicBezTo>
                    <a:cubicBezTo>
                      <a:pt x="613648" y="1984"/>
                      <a:pt x="613648" y="496"/>
                      <a:pt x="622082" y="496"/>
                    </a:cubicBezTo>
                    <a:cubicBezTo>
                      <a:pt x="630019" y="496"/>
                      <a:pt x="630019" y="992"/>
                      <a:pt x="638452" y="992"/>
                    </a:cubicBezTo>
                    <a:cubicBezTo>
                      <a:pt x="646390" y="992"/>
                      <a:pt x="646390" y="496"/>
                      <a:pt x="654823" y="496"/>
                    </a:cubicBezTo>
                    <a:cubicBezTo>
                      <a:pt x="662760" y="496"/>
                      <a:pt x="662760" y="992"/>
                      <a:pt x="671193" y="992"/>
                    </a:cubicBezTo>
                    <a:cubicBezTo>
                      <a:pt x="679131" y="992"/>
                      <a:pt x="679131" y="496"/>
                      <a:pt x="687564" y="496"/>
                    </a:cubicBezTo>
                    <a:cubicBezTo>
                      <a:pt x="695501" y="496"/>
                      <a:pt x="695501" y="1488"/>
                      <a:pt x="703934" y="1488"/>
                    </a:cubicBezTo>
                    <a:cubicBezTo>
                      <a:pt x="712368" y="1488"/>
                      <a:pt x="711872" y="0"/>
                      <a:pt x="72030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2" name="Freeform: Shape 1611">
                <a:extLst>
                  <a:ext uri="{FF2B5EF4-FFF2-40B4-BE49-F238E27FC236}">
                    <a16:creationId xmlns:a16="http://schemas.microsoft.com/office/drawing/2014/main" id="{89D2B51E-2AD0-1401-949C-7EC6FF573620}"/>
                  </a:ext>
                </a:extLst>
              </p:cNvPr>
              <p:cNvSpPr/>
              <p:nvPr/>
            </p:nvSpPr>
            <p:spPr>
              <a:xfrm>
                <a:off x="4074158" y="1851362"/>
                <a:ext cx="345766" cy="347254"/>
              </a:xfrm>
              <a:custGeom>
                <a:avLst/>
                <a:gdLst>
                  <a:gd name="connsiteX0" fmla="*/ 0 w 345766"/>
                  <a:gd name="connsiteY0" fmla="*/ 347255 h 347254"/>
                  <a:gd name="connsiteX1" fmla="*/ 11410 w 345766"/>
                  <a:gd name="connsiteY1" fmla="*/ 335845 h 347254"/>
                  <a:gd name="connsiteX2" fmla="*/ 22324 w 345766"/>
                  <a:gd name="connsiteY2" fmla="*/ 323939 h 347254"/>
                  <a:gd name="connsiteX3" fmla="*/ 33237 w 345766"/>
                  <a:gd name="connsiteY3" fmla="*/ 312033 h 347254"/>
                  <a:gd name="connsiteX4" fmla="*/ 45143 w 345766"/>
                  <a:gd name="connsiteY4" fmla="*/ 300623 h 347254"/>
                  <a:gd name="connsiteX5" fmla="*/ 56553 w 345766"/>
                  <a:gd name="connsiteY5" fmla="*/ 289213 h 347254"/>
                  <a:gd name="connsiteX6" fmla="*/ 67963 w 345766"/>
                  <a:gd name="connsiteY6" fmla="*/ 277308 h 347254"/>
                  <a:gd name="connsiteX7" fmla="*/ 79869 w 345766"/>
                  <a:gd name="connsiteY7" fmla="*/ 266394 h 347254"/>
                  <a:gd name="connsiteX8" fmla="*/ 91278 w 345766"/>
                  <a:gd name="connsiteY8" fmla="*/ 254488 h 347254"/>
                  <a:gd name="connsiteX9" fmla="*/ 102688 w 345766"/>
                  <a:gd name="connsiteY9" fmla="*/ 242582 h 347254"/>
                  <a:gd name="connsiteX10" fmla="*/ 115090 w 345766"/>
                  <a:gd name="connsiteY10" fmla="*/ 231668 h 347254"/>
                  <a:gd name="connsiteX11" fmla="*/ 126996 w 345766"/>
                  <a:gd name="connsiteY11" fmla="*/ 220755 h 347254"/>
                  <a:gd name="connsiteX12" fmla="*/ 137910 w 345766"/>
                  <a:gd name="connsiteY12" fmla="*/ 208849 h 347254"/>
                  <a:gd name="connsiteX13" fmla="*/ 150312 w 345766"/>
                  <a:gd name="connsiteY13" fmla="*/ 197935 h 347254"/>
                  <a:gd name="connsiteX14" fmla="*/ 160729 w 345766"/>
                  <a:gd name="connsiteY14" fmla="*/ 185533 h 347254"/>
                  <a:gd name="connsiteX15" fmla="*/ 171643 w 345766"/>
                  <a:gd name="connsiteY15" fmla="*/ 173627 h 347254"/>
                  <a:gd name="connsiteX16" fmla="*/ 183549 w 345766"/>
                  <a:gd name="connsiteY16" fmla="*/ 162217 h 347254"/>
                  <a:gd name="connsiteX17" fmla="*/ 195951 w 345766"/>
                  <a:gd name="connsiteY17" fmla="*/ 151800 h 347254"/>
                  <a:gd name="connsiteX18" fmla="*/ 206369 w 345766"/>
                  <a:gd name="connsiteY18" fmla="*/ 138902 h 347254"/>
                  <a:gd name="connsiteX19" fmla="*/ 218274 w 345766"/>
                  <a:gd name="connsiteY19" fmla="*/ 127988 h 347254"/>
                  <a:gd name="connsiteX20" fmla="*/ 230676 w 345766"/>
                  <a:gd name="connsiteY20" fmla="*/ 117570 h 347254"/>
                  <a:gd name="connsiteX21" fmla="*/ 242582 w 345766"/>
                  <a:gd name="connsiteY21" fmla="*/ 106161 h 347254"/>
                  <a:gd name="connsiteX22" fmla="*/ 253992 w 345766"/>
                  <a:gd name="connsiteY22" fmla="*/ 94255 h 347254"/>
                  <a:gd name="connsiteX23" fmla="*/ 264410 w 345766"/>
                  <a:gd name="connsiteY23" fmla="*/ 81357 h 347254"/>
                  <a:gd name="connsiteX24" fmla="*/ 276315 w 345766"/>
                  <a:gd name="connsiteY24" fmla="*/ 69947 h 347254"/>
                  <a:gd name="connsiteX25" fmla="*/ 288221 w 345766"/>
                  <a:gd name="connsiteY25" fmla="*/ 58537 h 347254"/>
                  <a:gd name="connsiteX26" fmla="*/ 300623 w 345766"/>
                  <a:gd name="connsiteY26" fmla="*/ 47623 h 347254"/>
                  <a:gd name="connsiteX27" fmla="*/ 311537 w 345766"/>
                  <a:gd name="connsiteY27" fmla="*/ 35221 h 347254"/>
                  <a:gd name="connsiteX28" fmla="*/ 323443 w 345766"/>
                  <a:gd name="connsiteY28" fmla="*/ 23812 h 347254"/>
                  <a:gd name="connsiteX29" fmla="*/ 335349 w 345766"/>
                  <a:gd name="connsiteY29" fmla="*/ 12402 h 347254"/>
                  <a:gd name="connsiteX30" fmla="*/ 345766 w 345766"/>
                  <a:gd name="connsiteY30" fmla="*/ 0 h 34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7254">
                    <a:moveTo>
                      <a:pt x="0" y="347255"/>
                    </a:moveTo>
                    <a:cubicBezTo>
                      <a:pt x="5953" y="341302"/>
                      <a:pt x="5953" y="341302"/>
                      <a:pt x="11410" y="335845"/>
                    </a:cubicBezTo>
                    <a:cubicBezTo>
                      <a:pt x="17363" y="329892"/>
                      <a:pt x="16867" y="329396"/>
                      <a:pt x="22324" y="323939"/>
                    </a:cubicBezTo>
                    <a:cubicBezTo>
                      <a:pt x="28277" y="317986"/>
                      <a:pt x="27781" y="317490"/>
                      <a:pt x="33237" y="312033"/>
                    </a:cubicBezTo>
                    <a:cubicBezTo>
                      <a:pt x="39190" y="306080"/>
                      <a:pt x="39190" y="306576"/>
                      <a:pt x="45143" y="300623"/>
                    </a:cubicBezTo>
                    <a:cubicBezTo>
                      <a:pt x="51096" y="294670"/>
                      <a:pt x="50600" y="294670"/>
                      <a:pt x="56553" y="289213"/>
                    </a:cubicBezTo>
                    <a:cubicBezTo>
                      <a:pt x="62506" y="283260"/>
                      <a:pt x="62010" y="283260"/>
                      <a:pt x="67963" y="277308"/>
                    </a:cubicBezTo>
                    <a:cubicBezTo>
                      <a:pt x="73916" y="271355"/>
                      <a:pt x="74412" y="271851"/>
                      <a:pt x="79869" y="266394"/>
                    </a:cubicBezTo>
                    <a:cubicBezTo>
                      <a:pt x="85822" y="260441"/>
                      <a:pt x="85325" y="260441"/>
                      <a:pt x="91278" y="254488"/>
                    </a:cubicBezTo>
                    <a:cubicBezTo>
                      <a:pt x="97231" y="248535"/>
                      <a:pt x="96735" y="248535"/>
                      <a:pt x="102688" y="242582"/>
                    </a:cubicBezTo>
                    <a:cubicBezTo>
                      <a:pt x="108641" y="236629"/>
                      <a:pt x="109137" y="237621"/>
                      <a:pt x="115090" y="231668"/>
                    </a:cubicBezTo>
                    <a:cubicBezTo>
                      <a:pt x="121043" y="225715"/>
                      <a:pt x="121539" y="226211"/>
                      <a:pt x="126996" y="220755"/>
                    </a:cubicBezTo>
                    <a:cubicBezTo>
                      <a:pt x="132949" y="214802"/>
                      <a:pt x="131957" y="214306"/>
                      <a:pt x="137910" y="208849"/>
                    </a:cubicBezTo>
                    <a:cubicBezTo>
                      <a:pt x="143863" y="202896"/>
                      <a:pt x="144359" y="203888"/>
                      <a:pt x="150312" y="197935"/>
                    </a:cubicBezTo>
                    <a:cubicBezTo>
                      <a:pt x="156265" y="191982"/>
                      <a:pt x="154776" y="190990"/>
                      <a:pt x="160729" y="185533"/>
                    </a:cubicBezTo>
                    <a:cubicBezTo>
                      <a:pt x="166682" y="179580"/>
                      <a:pt x="166186" y="179580"/>
                      <a:pt x="171643" y="173627"/>
                    </a:cubicBezTo>
                    <a:cubicBezTo>
                      <a:pt x="177596" y="167674"/>
                      <a:pt x="177596" y="168170"/>
                      <a:pt x="183549" y="162217"/>
                    </a:cubicBezTo>
                    <a:cubicBezTo>
                      <a:pt x="189502" y="156265"/>
                      <a:pt x="190494" y="157257"/>
                      <a:pt x="195951" y="151800"/>
                    </a:cubicBezTo>
                    <a:cubicBezTo>
                      <a:pt x="201904" y="145847"/>
                      <a:pt x="200416" y="144855"/>
                      <a:pt x="206369" y="138902"/>
                    </a:cubicBezTo>
                    <a:cubicBezTo>
                      <a:pt x="212322" y="132949"/>
                      <a:pt x="212322" y="133445"/>
                      <a:pt x="218274" y="127988"/>
                    </a:cubicBezTo>
                    <a:cubicBezTo>
                      <a:pt x="224227" y="122035"/>
                      <a:pt x="225220" y="123027"/>
                      <a:pt x="230676" y="117570"/>
                    </a:cubicBezTo>
                    <a:cubicBezTo>
                      <a:pt x="236629" y="111618"/>
                      <a:pt x="236629" y="112113"/>
                      <a:pt x="242582" y="106161"/>
                    </a:cubicBezTo>
                    <a:cubicBezTo>
                      <a:pt x="248535" y="100208"/>
                      <a:pt x="248039" y="100208"/>
                      <a:pt x="253992" y="94255"/>
                    </a:cubicBezTo>
                    <a:cubicBezTo>
                      <a:pt x="259945" y="88302"/>
                      <a:pt x="258457" y="87310"/>
                      <a:pt x="264410" y="81357"/>
                    </a:cubicBezTo>
                    <a:cubicBezTo>
                      <a:pt x="270362" y="75404"/>
                      <a:pt x="270362" y="75900"/>
                      <a:pt x="276315" y="69947"/>
                    </a:cubicBezTo>
                    <a:cubicBezTo>
                      <a:pt x="282268" y="63994"/>
                      <a:pt x="282268" y="64490"/>
                      <a:pt x="288221" y="58537"/>
                    </a:cubicBezTo>
                    <a:cubicBezTo>
                      <a:pt x="294174" y="52584"/>
                      <a:pt x="294670" y="53576"/>
                      <a:pt x="300623" y="47623"/>
                    </a:cubicBezTo>
                    <a:cubicBezTo>
                      <a:pt x="306576" y="41671"/>
                      <a:pt x="305584" y="41174"/>
                      <a:pt x="311537" y="35221"/>
                    </a:cubicBezTo>
                    <a:cubicBezTo>
                      <a:pt x="317490" y="29269"/>
                      <a:pt x="317490" y="29765"/>
                      <a:pt x="323443" y="23812"/>
                    </a:cubicBezTo>
                    <a:cubicBezTo>
                      <a:pt x="329396" y="17859"/>
                      <a:pt x="329396" y="18355"/>
                      <a:pt x="335349" y="12402"/>
                    </a:cubicBezTo>
                    <a:cubicBezTo>
                      <a:pt x="341302" y="6449"/>
                      <a:pt x="340310" y="5457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3" name="Freeform: Shape 1612">
                <a:extLst>
                  <a:ext uri="{FF2B5EF4-FFF2-40B4-BE49-F238E27FC236}">
                    <a16:creationId xmlns:a16="http://schemas.microsoft.com/office/drawing/2014/main" id="{75639031-5EB5-5378-08F0-B8BE48879A27}"/>
                  </a:ext>
                </a:extLst>
              </p:cNvPr>
              <p:cNvSpPr/>
              <p:nvPr/>
            </p:nvSpPr>
            <p:spPr>
              <a:xfrm>
                <a:off x="4259691" y="1852354"/>
                <a:ext cx="345766" cy="346758"/>
              </a:xfrm>
              <a:custGeom>
                <a:avLst/>
                <a:gdLst>
                  <a:gd name="connsiteX0" fmla="*/ 0 w 345766"/>
                  <a:gd name="connsiteY0" fmla="*/ 346758 h 346758"/>
                  <a:gd name="connsiteX1" fmla="*/ 10914 w 345766"/>
                  <a:gd name="connsiteY1" fmla="*/ 334357 h 346758"/>
                  <a:gd name="connsiteX2" fmla="*/ 21828 w 345766"/>
                  <a:gd name="connsiteY2" fmla="*/ 322451 h 346758"/>
                  <a:gd name="connsiteX3" fmla="*/ 32741 w 345766"/>
                  <a:gd name="connsiteY3" fmla="*/ 310545 h 346758"/>
                  <a:gd name="connsiteX4" fmla="*/ 45143 w 345766"/>
                  <a:gd name="connsiteY4" fmla="*/ 299631 h 346758"/>
                  <a:gd name="connsiteX5" fmla="*/ 57049 w 345766"/>
                  <a:gd name="connsiteY5" fmla="*/ 288717 h 346758"/>
                  <a:gd name="connsiteX6" fmla="*/ 67466 w 345766"/>
                  <a:gd name="connsiteY6" fmla="*/ 276315 h 346758"/>
                  <a:gd name="connsiteX7" fmla="*/ 79372 w 345766"/>
                  <a:gd name="connsiteY7" fmla="*/ 265402 h 346758"/>
                  <a:gd name="connsiteX8" fmla="*/ 90286 w 345766"/>
                  <a:gd name="connsiteY8" fmla="*/ 253000 h 346758"/>
                  <a:gd name="connsiteX9" fmla="*/ 102688 w 345766"/>
                  <a:gd name="connsiteY9" fmla="*/ 242086 h 346758"/>
                  <a:gd name="connsiteX10" fmla="*/ 115090 w 345766"/>
                  <a:gd name="connsiteY10" fmla="*/ 231172 h 346758"/>
                  <a:gd name="connsiteX11" fmla="*/ 126004 w 345766"/>
                  <a:gd name="connsiteY11" fmla="*/ 219267 h 346758"/>
                  <a:gd name="connsiteX12" fmla="*/ 137414 w 345766"/>
                  <a:gd name="connsiteY12" fmla="*/ 207361 h 346758"/>
                  <a:gd name="connsiteX13" fmla="*/ 149319 w 345766"/>
                  <a:gd name="connsiteY13" fmla="*/ 196447 h 346758"/>
                  <a:gd name="connsiteX14" fmla="*/ 160729 w 345766"/>
                  <a:gd name="connsiteY14" fmla="*/ 184541 h 346758"/>
                  <a:gd name="connsiteX15" fmla="*/ 172139 w 345766"/>
                  <a:gd name="connsiteY15" fmla="*/ 172635 h 346758"/>
                  <a:gd name="connsiteX16" fmla="*/ 184541 w 345766"/>
                  <a:gd name="connsiteY16" fmla="*/ 161721 h 346758"/>
                  <a:gd name="connsiteX17" fmla="*/ 194959 w 345766"/>
                  <a:gd name="connsiteY17" fmla="*/ 149319 h 346758"/>
                  <a:gd name="connsiteX18" fmla="*/ 207361 w 345766"/>
                  <a:gd name="connsiteY18" fmla="*/ 138902 h 346758"/>
                  <a:gd name="connsiteX19" fmla="*/ 218274 w 345766"/>
                  <a:gd name="connsiteY19" fmla="*/ 126500 h 346758"/>
                  <a:gd name="connsiteX20" fmla="*/ 230676 w 345766"/>
                  <a:gd name="connsiteY20" fmla="*/ 115586 h 346758"/>
                  <a:gd name="connsiteX21" fmla="*/ 241094 w 345766"/>
                  <a:gd name="connsiteY21" fmla="*/ 103184 h 346758"/>
                  <a:gd name="connsiteX22" fmla="*/ 253000 w 345766"/>
                  <a:gd name="connsiteY22" fmla="*/ 92271 h 346758"/>
                  <a:gd name="connsiteX23" fmla="*/ 264409 w 345766"/>
                  <a:gd name="connsiteY23" fmla="*/ 80861 h 346758"/>
                  <a:gd name="connsiteX24" fmla="*/ 275819 w 345766"/>
                  <a:gd name="connsiteY24" fmla="*/ 68955 h 346758"/>
                  <a:gd name="connsiteX25" fmla="*/ 287725 w 345766"/>
                  <a:gd name="connsiteY25" fmla="*/ 57545 h 346758"/>
                  <a:gd name="connsiteX26" fmla="*/ 298639 w 345766"/>
                  <a:gd name="connsiteY26" fmla="*/ 45143 h 346758"/>
                  <a:gd name="connsiteX27" fmla="*/ 310545 w 345766"/>
                  <a:gd name="connsiteY27" fmla="*/ 34229 h 346758"/>
                  <a:gd name="connsiteX28" fmla="*/ 322947 w 345766"/>
                  <a:gd name="connsiteY28" fmla="*/ 23812 h 346758"/>
                  <a:gd name="connsiteX29" fmla="*/ 333860 w 345766"/>
                  <a:gd name="connsiteY29" fmla="*/ 11410 h 346758"/>
                  <a:gd name="connsiteX30" fmla="*/ 345766 w 345766"/>
                  <a:gd name="connsiteY30" fmla="*/ 0 h 346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6758">
                    <a:moveTo>
                      <a:pt x="0" y="346758"/>
                    </a:moveTo>
                    <a:cubicBezTo>
                      <a:pt x="5953" y="340806"/>
                      <a:pt x="4961" y="340309"/>
                      <a:pt x="10914" y="334357"/>
                    </a:cubicBezTo>
                    <a:cubicBezTo>
                      <a:pt x="16867" y="328404"/>
                      <a:pt x="16371" y="327908"/>
                      <a:pt x="21828" y="322451"/>
                    </a:cubicBezTo>
                    <a:cubicBezTo>
                      <a:pt x="27780" y="316498"/>
                      <a:pt x="27284" y="316002"/>
                      <a:pt x="32741" y="310545"/>
                    </a:cubicBezTo>
                    <a:cubicBezTo>
                      <a:pt x="38694" y="304592"/>
                      <a:pt x="39190" y="305584"/>
                      <a:pt x="45143" y="299631"/>
                    </a:cubicBezTo>
                    <a:cubicBezTo>
                      <a:pt x="51096" y="293678"/>
                      <a:pt x="51592" y="294670"/>
                      <a:pt x="57049" y="288717"/>
                    </a:cubicBezTo>
                    <a:cubicBezTo>
                      <a:pt x="63002" y="282764"/>
                      <a:pt x="61514" y="281772"/>
                      <a:pt x="67466" y="276315"/>
                    </a:cubicBezTo>
                    <a:cubicBezTo>
                      <a:pt x="73419" y="270362"/>
                      <a:pt x="73419" y="270859"/>
                      <a:pt x="79372" y="265402"/>
                    </a:cubicBezTo>
                    <a:cubicBezTo>
                      <a:pt x="85325" y="259449"/>
                      <a:pt x="84333" y="258953"/>
                      <a:pt x="90286" y="253000"/>
                    </a:cubicBezTo>
                    <a:cubicBezTo>
                      <a:pt x="96239" y="247047"/>
                      <a:pt x="96735" y="248039"/>
                      <a:pt x="102688" y="242086"/>
                    </a:cubicBezTo>
                    <a:cubicBezTo>
                      <a:pt x="108641" y="236133"/>
                      <a:pt x="109137" y="237125"/>
                      <a:pt x="115090" y="231172"/>
                    </a:cubicBezTo>
                    <a:cubicBezTo>
                      <a:pt x="121043" y="225219"/>
                      <a:pt x="120051" y="224723"/>
                      <a:pt x="126004" y="219267"/>
                    </a:cubicBezTo>
                    <a:cubicBezTo>
                      <a:pt x="131957" y="213314"/>
                      <a:pt x="131461" y="213314"/>
                      <a:pt x="137414" y="207361"/>
                    </a:cubicBezTo>
                    <a:cubicBezTo>
                      <a:pt x="143367" y="201408"/>
                      <a:pt x="143863" y="201904"/>
                      <a:pt x="149319" y="196447"/>
                    </a:cubicBezTo>
                    <a:cubicBezTo>
                      <a:pt x="155272" y="190494"/>
                      <a:pt x="154776" y="190494"/>
                      <a:pt x="160729" y="184541"/>
                    </a:cubicBezTo>
                    <a:cubicBezTo>
                      <a:pt x="166682" y="178588"/>
                      <a:pt x="166186" y="178588"/>
                      <a:pt x="172139" y="172635"/>
                    </a:cubicBezTo>
                    <a:cubicBezTo>
                      <a:pt x="178092" y="166682"/>
                      <a:pt x="178588" y="167674"/>
                      <a:pt x="184541" y="161721"/>
                    </a:cubicBezTo>
                    <a:cubicBezTo>
                      <a:pt x="190494" y="155768"/>
                      <a:pt x="189502" y="154776"/>
                      <a:pt x="194959" y="149319"/>
                    </a:cubicBezTo>
                    <a:cubicBezTo>
                      <a:pt x="200912" y="143366"/>
                      <a:pt x="201904" y="144359"/>
                      <a:pt x="207361" y="138902"/>
                    </a:cubicBezTo>
                    <a:cubicBezTo>
                      <a:pt x="213314" y="132949"/>
                      <a:pt x="212321" y="132453"/>
                      <a:pt x="218274" y="126500"/>
                    </a:cubicBezTo>
                    <a:cubicBezTo>
                      <a:pt x="224227" y="120547"/>
                      <a:pt x="224723" y="121539"/>
                      <a:pt x="230676" y="115586"/>
                    </a:cubicBezTo>
                    <a:cubicBezTo>
                      <a:pt x="236629" y="109633"/>
                      <a:pt x="235637" y="109137"/>
                      <a:pt x="241094" y="103184"/>
                    </a:cubicBezTo>
                    <a:cubicBezTo>
                      <a:pt x="247047" y="97231"/>
                      <a:pt x="247543" y="97727"/>
                      <a:pt x="253000" y="92271"/>
                    </a:cubicBezTo>
                    <a:cubicBezTo>
                      <a:pt x="258456" y="86814"/>
                      <a:pt x="258953" y="86318"/>
                      <a:pt x="264409" y="80861"/>
                    </a:cubicBezTo>
                    <a:cubicBezTo>
                      <a:pt x="270362" y="74908"/>
                      <a:pt x="269867" y="74908"/>
                      <a:pt x="275819" y="68955"/>
                    </a:cubicBezTo>
                    <a:cubicBezTo>
                      <a:pt x="281772" y="63002"/>
                      <a:pt x="281772" y="63498"/>
                      <a:pt x="287725" y="57545"/>
                    </a:cubicBezTo>
                    <a:cubicBezTo>
                      <a:pt x="293678" y="51592"/>
                      <a:pt x="292686" y="51096"/>
                      <a:pt x="298639" y="45143"/>
                    </a:cubicBezTo>
                    <a:cubicBezTo>
                      <a:pt x="304592" y="39190"/>
                      <a:pt x="305088" y="39686"/>
                      <a:pt x="310545" y="34229"/>
                    </a:cubicBezTo>
                    <a:cubicBezTo>
                      <a:pt x="316498" y="28277"/>
                      <a:pt x="317490" y="29269"/>
                      <a:pt x="322947" y="23812"/>
                    </a:cubicBezTo>
                    <a:cubicBezTo>
                      <a:pt x="328900" y="17859"/>
                      <a:pt x="327907" y="17363"/>
                      <a:pt x="333860" y="11410"/>
                    </a:cubicBezTo>
                    <a:cubicBezTo>
                      <a:pt x="339813" y="5457"/>
                      <a:pt x="339813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4" name="Freeform: Shape 1613">
                <a:extLst>
                  <a:ext uri="{FF2B5EF4-FFF2-40B4-BE49-F238E27FC236}">
                    <a16:creationId xmlns:a16="http://schemas.microsoft.com/office/drawing/2014/main" id="{1023F165-748D-13C5-938A-411713525E31}"/>
                  </a:ext>
                </a:extLst>
              </p:cNvPr>
              <p:cNvSpPr/>
              <p:nvPr/>
            </p:nvSpPr>
            <p:spPr>
              <a:xfrm>
                <a:off x="4427861" y="1853843"/>
                <a:ext cx="345766" cy="343781"/>
              </a:xfrm>
              <a:custGeom>
                <a:avLst/>
                <a:gdLst>
                  <a:gd name="connsiteX0" fmla="*/ 0 w 345766"/>
                  <a:gd name="connsiteY0" fmla="*/ 343782 h 343781"/>
                  <a:gd name="connsiteX1" fmla="*/ 12898 w 345766"/>
                  <a:gd name="connsiteY1" fmla="*/ 333364 h 343781"/>
                  <a:gd name="connsiteX2" fmla="*/ 23315 w 345766"/>
                  <a:gd name="connsiteY2" fmla="*/ 320962 h 343781"/>
                  <a:gd name="connsiteX3" fmla="*/ 35221 w 345766"/>
                  <a:gd name="connsiteY3" fmla="*/ 310049 h 343781"/>
                  <a:gd name="connsiteX4" fmla="*/ 46135 w 345766"/>
                  <a:gd name="connsiteY4" fmla="*/ 298143 h 343781"/>
                  <a:gd name="connsiteX5" fmla="*/ 58041 w 345766"/>
                  <a:gd name="connsiteY5" fmla="*/ 287229 h 343781"/>
                  <a:gd name="connsiteX6" fmla="*/ 68459 w 345766"/>
                  <a:gd name="connsiteY6" fmla="*/ 274331 h 343781"/>
                  <a:gd name="connsiteX7" fmla="*/ 80861 w 345766"/>
                  <a:gd name="connsiteY7" fmla="*/ 263913 h 343781"/>
                  <a:gd name="connsiteX8" fmla="*/ 92766 w 345766"/>
                  <a:gd name="connsiteY8" fmla="*/ 253000 h 343781"/>
                  <a:gd name="connsiteX9" fmla="*/ 103680 w 345766"/>
                  <a:gd name="connsiteY9" fmla="*/ 241094 h 343781"/>
                  <a:gd name="connsiteX10" fmla="*/ 115586 w 345766"/>
                  <a:gd name="connsiteY10" fmla="*/ 230180 h 343781"/>
                  <a:gd name="connsiteX11" fmla="*/ 126500 w 345766"/>
                  <a:gd name="connsiteY11" fmla="*/ 217778 h 343781"/>
                  <a:gd name="connsiteX12" fmla="*/ 138902 w 345766"/>
                  <a:gd name="connsiteY12" fmla="*/ 207361 h 343781"/>
                  <a:gd name="connsiteX13" fmla="*/ 149815 w 345766"/>
                  <a:gd name="connsiteY13" fmla="*/ 195455 h 343781"/>
                  <a:gd name="connsiteX14" fmla="*/ 160729 w 345766"/>
                  <a:gd name="connsiteY14" fmla="*/ 183549 h 343781"/>
                  <a:gd name="connsiteX15" fmla="*/ 172635 w 345766"/>
                  <a:gd name="connsiteY15" fmla="*/ 172139 h 343781"/>
                  <a:gd name="connsiteX16" fmla="*/ 185037 w 345766"/>
                  <a:gd name="connsiteY16" fmla="*/ 161721 h 343781"/>
                  <a:gd name="connsiteX17" fmla="*/ 196447 w 345766"/>
                  <a:gd name="connsiteY17" fmla="*/ 150312 h 343781"/>
                  <a:gd name="connsiteX18" fmla="*/ 207856 w 345766"/>
                  <a:gd name="connsiteY18" fmla="*/ 138902 h 343781"/>
                  <a:gd name="connsiteX19" fmla="*/ 218274 w 345766"/>
                  <a:gd name="connsiteY19" fmla="*/ 126004 h 343781"/>
                  <a:gd name="connsiteX20" fmla="*/ 229684 w 345766"/>
                  <a:gd name="connsiteY20" fmla="*/ 114594 h 343781"/>
                  <a:gd name="connsiteX21" fmla="*/ 241590 w 345766"/>
                  <a:gd name="connsiteY21" fmla="*/ 103680 h 343781"/>
                  <a:gd name="connsiteX22" fmla="*/ 253496 w 345766"/>
                  <a:gd name="connsiteY22" fmla="*/ 92766 h 343781"/>
                  <a:gd name="connsiteX23" fmla="*/ 265402 w 345766"/>
                  <a:gd name="connsiteY23" fmla="*/ 81357 h 343781"/>
                  <a:gd name="connsiteX24" fmla="*/ 276315 w 345766"/>
                  <a:gd name="connsiteY24" fmla="*/ 69451 h 343781"/>
                  <a:gd name="connsiteX25" fmla="*/ 288221 w 345766"/>
                  <a:gd name="connsiteY25" fmla="*/ 58041 h 343781"/>
                  <a:gd name="connsiteX26" fmla="*/ 299135 w 345766"/>
                  <a:gd name="connsiteY26" fmla="*/ 45639 h 343781"/>
                  <a:gd name="connsiteX27" fmla="*/ 311041 w 345766"/>
                  <a:gd name="connsiteY27" fmla="*/ 34229 h 343781"/>
                  <a:gd name="connsiteX28" fmla="*/ 322947 w 345766"/>
                  <a:gd name="connsiteY28" fmla="*/ 22819 h 343781"/>
                  <a:gd name="connsiteX29" fmla="*/ 334853 w 345766"/>
                  <a:gd name="connsiteY29" fmla="*/ 11906 h 343781"/>
                  <a:gd name="connsiteX30" fmla="*/ 345766 w 345766"/>
                  <a:gd name="connsiteY30" fmla="*/ 0 h 34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3781">
                    <a:moveTo>
                      <a:pt x="0" y="343782"/>
                    </a:moveTo>
                    <a:cubicBezTo>
                      <a:pt x="5953" y="337829"/>
                      <a:pt x="6945" y="339317"/>
                      <a:pt x="12898" y="333364"/>
                    </a:cubicBezTo>
                    <a:cubicBezTo>
                      <a:pt x="18851" y="327411"/>
                      <a:pt x="17859" y="326915"/>
                      <a:pt x="23315" y="320962"/>
                    </a:cubicBezTo>
                    <a:cubicBezTo>
                      <a:pt x="29268" y="315009"/>
                      <a:pt x="29268" y="315505"/>
                      <a:pt x="35221" y="310049"/>
                    </a:cubicBezTo>
                    <a:cubicBezTo>
                      <a:pt x="41174" y="304096"/>
                      <a:pt x="40678" y="304096"/>
                      <a:pt x="46135" y="298143"/>
                    </a:cubicBezTo>
                    <a:cubicBezTo>
                      <a:pt x="52088" y="292190"/>
                      <a:pt x="52584" y="292686"/>
                      <a:pt x="58041" y="287229"/>
                    </a:cubicBezTo>
                    <a:cubicBezTo>
                      <a:pt x="63994" y="281276"/>
                      <a:pt x="62506" y="280284"/>
                      <a:pt x="68459" y="274331"/>
                    </a:cubicBezTo>
                    <a:cubicBezTo>
                      <a:pt x="74412" y="268378"/>
                      <a:pt x="74908" y="269370"/>
                      <a:pt x="80861" y="263913"/>
                    </a:cubicBezTo>
                    <a:cubicBezTo>
                      <a:pt x="86814" y="257961"/>
                      <a:pt x="86814" y="258456"/>
                      <a:pt x="92766" y="253000"/>
                    </a:cubicBezTo>
                    <a:cubicBezTo>
                      <a:pt x="98719" y="247047"/>
                      <a:pt x="98223" y="246551"/>
                      <a:pt x="103680" y="241094"/>
                    </a:cubicBezTo>
                    <a:cubicBezTo>
                      <a:pt x="109633" y="235141"/>
                      <a:pt x="109633" y="235637"/>
                      <a:pt x="115586" y="230180"/>
                    </a:cubicBezTo>
                    <a:cubicBezTo>
                      <a:pt x="121539" y="224227"/>
                      <a:pt x="120547" y="223731"/>
                      <a:pt x="126500" y="217778"/>
                    </a:cubicBezTo>
                    <a:cubicBezTo>
                      <a:pt x="132453" y="211825"/>
                      <a:pt x="133445" y="213314"/>
                      <a:pt x="138902" y="207361"/>
                    </a:cubicBezTo>
                    <a:cubicBezTo>
                      <a:pt x="144855" y="201408"/>
                      <a:pt x="143863" y="200912"/>
                      <a:pt x="149815" y="195455"/>
                    </a:cubicBezTo>
                    <a:cubicBezTo>
                      <a:pt x="155768" y="189502"/>
                      <a:pt x="155272" y="189502"/>
                      <a:pt x="160729" y="183549"/>
                    </a:cubicBezTo>
                    <a:cubicBezTo>
                      <a:pt x="166682" y="177596"/>
                      <a:pt x="166682" y="178092"/>
                      <a:pt x="172635" y="172139"/>
                    </a:cubicBezTo>
                    <a:cubicBezTo>
                      <a:pt x="178588" y="166186"/>
                      <a:pt x="179084" y="167178"/>
                      <a:pt x="185037" y="161721"/>
                    </a:cubicBezTo>
                    <a:cubicBezTo>
                      <a:pt x="190990" y="155768"/>
                      <a:pt x="190990" y="156265"/>
                      <a:pt x="196447" y="150312"/>
                    </a:cubicBezTo>
                    <a:cubicBezTo>
                      <a:pt x="202400" y="144359"/>
                      <a:pt x="202400" y="144855"/>
                      <a:pt x="207856" y="138902"/>
                    </a:cubicBezTo>
                    <a:cubicBezTo>
                      <a:pt x="213809" y="132949"/>
                      <a:pt x="212321" y="131957"/>
                      <a:pt x="218274" y="126004"/>
                    </a:cubicBezTo>
                    <a:cubicBezTo>
                      <a:pt x="224227" y="120051"/>
                      <a:pt x="224227" y="120051"/>
                      <a:pt x="229684" y="114594"/>
                    </a:cubicBezTo>
                    <a:cubicBezTo>
                      <a:pt x="235637" y="108641"/>
                      <a:pt x="235637" y="109137"/>
                      <a:pt x="241590" y="103680"/>
                    </a:cubicBezTo>
                    <a:cubicBezTo>
                      <a:pt x="247543" y="97727"/>
                      <a:pt x="248039" y="98719"/>
                      <a:pt x="253496" y="92766"/>
                    </a:cubicBezTo>
                    <a:cubicBezTo>
                      <a:pt x="259449" y="86814"/>
                      <a:pt x="259449" y="87310"/>
                      <a:pt x="265402" y="81357"/>
                    </a:cubicBezTo>
                    <a:cubicBezTo>
                      <a:pt x="271354" y="75404"/>
                      <a:pt x="270858" y="75404"/>
                      <a:pt x="276315" y="69451"/>
                    </a:cubicBezTo>
                    <a:cubicBezTo>
                      <a:pt x="282268" y="63498"/>
                      <a:pt x="282268" y="63994"/>
                      <a:pt x="288221" y="58041"/>
                    </a:cubicBezTo>
                    <a:cubicBezTo>
                      <a:pt x="294174" y="52088"/>
                      <a:pt x="293182" y="51592"/>
                      <a:pt x="299135" y="45639"/>
                    </a:cubicBezTo>
                    <a:cubicBezTo>
                      <a:pt x="305088" y="39686"/>
                      <a:pt x="305088" y="40182"/>
                      <a:pt x="311041" y="34229"/>
                    </a:cubicBezTo>
                    <a:cubicBezTo>
                      <a:pt x="316994" y="28276"/>
                      <a:pt x="316994" y="28772"/>
                      <a:pt x="322947" y="22819"/>
                    </a:cubicBezTo>
                    <a:cubicBezTo>
                      <a:pt x="328900" y="16867"/>
                      <a:pt x="328900" y="17363"/>
                      <a:pt x="334853" y="11906"/>
                    </a:cubicBezTo>
                    <a:cubicBezTo>
                      <a:pt x="340805" y="5953"/>
                      <a:pt x="340309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426" name="Graphic 10">
              <a:extLst>
                <a:ext uri="{FF2B5EF4-FFF2-40B4-BE49-F238E27FC236}">
                  <a16:creationId xmlns:a16="http://schemas.microsoft.com/office/drawing/2014/main" id="{28C1E9EC-F48F-0BED-3310-25E1930E0EDE}"/>
                </a:ext>
              </a:extLst>
            </p:cNvPr>
            <p:cNvGrpSpPr/>
            <p:nvPr/>
          </p:nvGrpSpPr>
          <p:grpSpPr>
            <a:xfrm>
              <a:off x="4798431" y="1985335"/>
              <a:ext cx="464479" cy="215266"/>
              <a:chOff x="4798431" y="1985335"/>
              <a:chExt cx="464479" cy="215266"/>
            </a:xfrm>
            <a:noFill/>
          </p:grpSpPr>
          <p:sp>
            <p:nvSpPr>
              <p:cNvPr id="1605" name="Freeform: Shape 1604">
                <a:extLst>
                  <a:ext uri="{FF2B5EF4-FFF2-40B4-BE49-F238E27FC236}">
                    <a16:creationId xmlns:a16="http://schemas.microsoft.com/office/drawing/2014/main" id="{35140D9A-A5AB-7477-D3F8-057F58D061BD}"/>
                  </a:ext>
                </a:extLst>
              </p:cNvPr>
              <p:cNvSpPr/>
              <p:nvPr/>
            </p:nvSpPr>
            <p:spPr>
              <a:xfrm>
                <a:off x="4798431" y="1985335"/>
                <a:ext cx="464479" cy="215266"/>
              </a:xfrm>
              <a:custGeom>
                <a:avLst/>
                <a:gdLst>
                  <a:gd name="connsiteX0" fmla="*/ 0 w 464479"/>
                  <a:gd name="connsiteY0" fmla="*/ 206337 h 215266"/>
                  <a:gd name="connsiteX1" fmla="*/ 10418 w 464479"/>
                  <a:gd name="connsiteY1" fmla="*/ 193935 h 215266"/>
                  <a:gd name="connsiteX2" fmla="*/ 23316 w 464479"/>
                  <a:gd name="connsiteY2" fmla="*/ 184013 h 215266"/>
                  <a:gd name="connsiteX3" fmla="*/ 33734 w 464479"/>
                  <a:gd name="connsiteY3" fmla="*/ 172107 h 215266"/>
                  <a:gd name="connsiteX4" fmla="*/ 45639 w 464479"/>
                  <a:gd name="connsiteY4" fmla="*/ 161690 h 215266"/>
                  <a:gd name="connsiteX5" fmla="*/ 56057 w 464479"/>
                  <a:gd name="connsiteY5" fmla="*/ 149784 h 215266"/>
                  <a:gd name="connsiteX6" fmla="*/ 67963 w 464479"/>
                  <a:gd name="connsiteY6" fmla="*/ 138870 h 215266"/>
                  <a:gd name="connsiteX7" fmla="*/ 78381 w 464479"/>
                  <a:gd name="connsiteY7" fmla="*/ 126468 h 215266"/>
                  <a:gd name="connsiteX8" fmla="*/ 89294 w 464479"/>
                  <a:gd name="connsiteY8" fmla="*/ 115058 h 215266"/>
                  <a:gd name="connsiteX9" fmla="*/ 101696 w 464479"/>
                  <a:gd name="connsiteY9" fmla="*/ 105137 h 215266"/>
                  <a:gd name="connsiteX10" fmla="*/ 112610 w 464479"/>
                  <a:gd name="connsiteY10" fmla="*/ 93727 h 215266"/>
                  <a:gd name="connsiteX11" fmla="*/ 123524 w 464479"/>
                  <a:gd name="connsiteY11" fmla="*/ 82317 h 215266"/>
                  <a:gd name="connsiteX12" fmla="*/ 134437 w 464479"/>
                  <a:gd name="connsiteY12" fmla="*/ 70908 h 215266"/>
                  <a:gd name="connsiteX13" fmla="*/ 146343 w 464479"/>
                  <a:gd name="connsiteY13" fmla="*/ 59994 h 215266"/>
                  <a:gd name="connsiteX14" fmla="*/ 157753 w 464479"/>
                  <a:gd name="connsiteY14" fmla="*/ 49080 h 215266"/>
                  <a:gd name="connsiteX15" fmla="*/ 168171 w 464479"/>
                  <a:gd name="connsiteY15" fmla="*/ 36678 h 215266"/>
                  <a:gd name="connsiteX16" fmla="*/ 179084 w 464479"/>
                  <a:gd name="connsiteY16" fmla="*/ 25268 h 215266"/>
                  <a:gd name="connsiteX17" fmla="*/ 191486 w 464479"/>
                  <a:gd name="connsiteY17" fmla="*/ 15347 h 215266"/>
                  <a:gd name="connsiteX18" fmla="*/ 202400 w 464479"/>
                  <a:gd name="connsiteY18" fmla="*/ 3937 h 215266"/>
                  <a:gd name="connsiteX19" fmla="*/ 218274 w 464479"/>
                  <a:gd name="connsiteY19" fmla="*/ 3441 h 215266"/>
                  <a:gd name="connsiteX20" fmla="*/ 234645 w 464479"/>
                  <a:gd name="connsiteY20" fmla="*/ 2945 h 215266"/>
                  <a:gd name="connsiteX21" fmla="*/ 251016 w 464479"/>
                  <a:gd name="connsiteY21" fmla="*/ 4433 h 215266"/>
                  <a:gd name="connsiteX22" fmla="*/ 267386 w 464479"/>
                  <a:gd name="connsiteY22" fmla="*/ 3441 h 215266"/>
                  <a:gd name="connsiteX23" fmla="*/ 283757 w 464479"/>
                  <a:gd name="connsiteY23" fmla="*/ 2945 h 215266"/>
                  <a:gd name="connsiteX24" fmla="*/ 300127 w 464479"/>
                  <a:gd name="connsiteY24" fmla="*/ 2945 h 215266"/>
                  <a:gd name="connsiteX25" fmla="*/ 316498 w 464479"/>
                  <a:gd name="connsiteY25" fmla="*/ 4433 h 215266"/>
                  <a:gd name="connsiteX26" fmla="*/ 332868 w 464479"/>
                  <a:gd name="connsiteY26" fmla="*/ 2945 h 215266"/>
                  <a:gd name="connsiteX27" fmla="*/ 349239 w 464479"/>
                  <a:gd name="connsiteY27" fmla="*/ 2449 h 215266"/>
                  <a:gd name="connsiteX28" fmla="*/ 365610 w 464479"/>
                  <a:gd name="connsiteY28" fmla="*/ 2449 h 215266"/>
                  <a:gd name="connsiteX29" fmla="*/ 381980 w 464479"/>
                  <a:gd name="connsiteY29" fmla="*/ 4433 h 215266"/>
                  <a:gd name="connsiteX30" fmla="*/ 398351 w 464479"/>
                  <a:gd name="connsiteY30" fmla="*/ 3441 h 215266"/>
                  <a:gd name="connsiteX31" fmla="*/ 414721 w 464479"/>
                  <a:gd name="connsiteY31" fmla="*/ 2945 h 215266"/>
                  <a:gd name="connsiteX32" fmla="*/ 431092 w 464479"/>
                  <a:gd name="connsiteY32" fmla="*/ 2449 h 215266"/>
                  <a:gd name="connsiteX33" fmla="*/ 447462 w 464479"/>
                  <a:gd name="connsiteY33" fmla="*/ 2945 h 215266"/>
                  <a:gd name="connsiteX34" fmla="*/ 463833 w 464479"/>
                  <a:gd name="connsiteY34" fmla="*/ 3441 h 215266"/>
                  <a:gd name="connsiteX35" fmla="*/ 452919 w 464479"/>
                  <a:gd name="connsiteY35" fmla="*/ 15843 h 215266"/>
                  <a:gd name="connsiteX36" fmla="*/ 441013 w 464479"/>
                  <a:gd name="connsiteY36" fmla="*/ 27253 h 215266"/>
                  <a:gd name="connsiteX37" fmla="*/ 429107 w 464479"/>
                  <a:gd name="connsiteY37" fmla="*/ 38662 h 215266"/>
                  <a:gd name="connsiteX38" fmla="*/ 418194 w 464479"/>
                  <a:gd name="connsiteY38" fmla="*/ 51064 h 215266"/>
                  <a:gd name="connsiteX39" fmla="*/ 406784 w 464479"/>
                  <a:gd name="connsiteY39" fmla="*/ 62970 h 215266"/>
                  <a:gd name="connsiteX40" fmla="*/ 394382 w 464479"/>
                  <a:gd name="connsiteY40" fmla="*/ 73884 h 215266"/>
                  <a:gd name="connsiteX41" fmla="*/ 382972 w 464479"/>
                  <a:gd name="connsiteY41" fmla="*/ 85790 h 215266"/>
                  <a:gd name="connsiteX42" fmla="*/ 370074 w 464479"/>
                  <a:gd name="connsiteY42" fmla="*/ 96208 h 215266"/>
                  <a:gd name="connsiteX43" fmla="*/ 359161 w 464479"/>
                  <a:gd name="connsiteY43" fmla="*/ 108609 h 215266"/>
                  <a:gd name="connsiteX44" fmla="*/ 346759 w 464479"/>
                  <a:gd name="connsiteY44" fmla="*/ 119523 h 215266"/>
                  <a:gd name="connsiteX45" fmla="*/ 335349 w 464479"/>
                  <a:gd name="connsiteY45" fmla="*/ 131429 h 215266"/>
                  <a:gd name="connsiteX46" fmla="*/ 324931 w 464479"/>
                  <a:gd name="connsiteY46" fmla="*/ 144327 h 215266"/>
                  <a:gd name="connsiteX47" fmla="*/ 313521 w 464479"/>
                  <a:gd name="connsiteY47" fmla="*/ 156233 h 215266"/>
                  <a:gd name="connsiteX48" fmla="*/ 300623 w 464479"/>
                  <a:gd name="connsiteY48" fmla="*/ 166651 h 215266"/>
                  <a:gd name="connsiteX49" fmla="*/ 288717 w 464479"/>
                  <a:gd name="connsiteY49" fmla="*/ 178060 h 215266"/>
                  <a:gd name="connsiteX50" fmla="*/ 278300 w 464479"/>
                  <a:gd name="connsiteY50" fmla="*/ 190958 h 215266"/>
                  <a:gd name="connsiteX51" fmla="*/ 266394 w 464479"/>
                  <a:gd name="connsiteY51" fmla="*/ 202368 h 215266"/>
                  <a:gd name="connsiteX52" fmla="*/ 254984 w 464479"/>
                  <a:gd name="connsiteY52" fmla="*/ 213778 h 215266"/>
                  <a:gd name="connsiteX53" fmla="*/ 239110 w 464479"/>
                  <a:gd name="connsiteY53" fmla="*/ 213282 h 215266"/>
                  <a:gd name="connsiteX54" fmla="*/ 223235 w 464479"/>
                  <a:gd name="connsiteY54" fmla="*/ 213778 h 215266"/>
                  <a:gd name="connsiteX55" fmla="*/ 207361 w 464479"/>
                  <a:gd name="connsiteY55" fmla="*/ 214274 h 215266"/>
                  <a:gd name="connsiteX56" fmla="*/ 191486 w 464479"/>
                  <a:gd name="connsiteY56" fmla="*/ 215266 h 215266"/>
                  <a:gd name="connsiteX57" fmla="*/ 175612 w 464479"/>
                  <a:gd name="connsiteY57" fmla="*/ 215266 h 215266"/>
                  <a:gd name="connsiteX58" fmla="*/ 159737 w 464479"/>
                  <a:gd name="connsiteY58" fmla="*/ 213282 h 215266"/>
                  <a:gd name="connsiteX59" fmla="*/ 143863 w 464479"/>
                  <a:gd name="connsiteY59" fmla="*/ 215266 h 215266"/>
                  <a:gd name="connsiteX60" fmla="*/ 127988 w 464479"/>
                  <a:gd name="connsiteY60" fmla="*/ 214274 h 215266"/>
                  <a:gd name="connsiteX61" fmla="*/ 112114 w 464479"/>
                  <a:gd name="connsiteY61" fmla="*/ 214770 h 215266"/>
                  <a:gd name="connsiteX62" fmla="*/ 96239 w 464479"/>
                  <a:gd name="connsiteY62" fmla="*/ 214770 h 215266"/>
                  <a:gd name="connsiteX63" fmla="*/ 80365 w 464479"/>
                  <a:gd name="connsiteY63" fmla="*/ 214770 h 215266"/>
                  <a:gd name="connsiteX64" fmla="*/ 64490 w 464479"/>
                  <a:gd name="connsiteY64" fmla="*/ 215266 h 215266"/>
                  <a:gd name="connsiteX65" fmla="*/ 48616 w 464479"/>
                  <a:gd name="connsiteY65" fmla="*/ 213282 h 215266"/>
                  <a:gd name="connsiteX66" fmla="*/ 32741 w 464479"/>
                  <a:gd name="connsiteY66" fmla="*/ 215266 h 215266"/>
                  <a:gd name="connsiteX67" fmla="*/ 16867 w 464479"/>
                  <a:gd name="connsiteY67" fmla="*/ 215266 h 215266"/>
                  <a:gd name="connsiteX68" fmla="*/ 992 w 464479"/>
                  <a:gd name="connsiteY68" fmla="*/ 213778 h 2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64479" h="215266">
                    <a:moveTo>
                      <a:pt x="0" y="206337"/>
                    </a:moveTo>
                    <a:cubicBezTo>
                      <a:pt x="5457" y="200880"/>
                      <a:pt x="4465" y="199888"/>
                      <a:pt x="10418" y="193935"/>
                    </a:cubicBezTo>
                    <a:cubicBezTo>
                      <a:pt x="15875" y="188478"/>
                      <a:pt x="17363" y="189966"/>
                      <a:pt x="23316" y="184013"/>
                    </a:cubicBezTo>
                    <a:cubicBezTo>
                      <a:pt x="28773" y="178556"/>
                      <a:pt x="28277" y="177564"/>
                      <a:pt x="33734" y="172107"/>
                    </a:cubicBezTo>
                    <a:cubicBezTo>
                      <a:pt x="39190" y="166651"/>
                      <a:pt x="40182" y="167147"/>
                      <a:pt x="45639" y="161690"/>
                    </a:cubicBezTo>
                    <a:cubicBezTo>
                      <a:pt x="51096" y="156233"/>
                      <a:pt x="50600" y="155241"/>
                      <a:pt x="56057" y="149784"/>
                    </a:cubicBezTo>
                    <a:cubicBezTo>
                      <a:pt x="61514" y="144327"/>
                      <a:pt x="62010" y="144327"/>
                      <a:pt x="67963" y="138870"/>
                    </a:cubicBezTo>
                    <a:cubicBezTo>
                      <a:pt x="73420" y="133413"/>
                      <a:pt x="72428" y="132421"/>
                      <a:pt x="78381" y="126468"/>
                    </a:cubicBezTo>
                    <a:cubicBezTo>
                      <a:pt x="83837" y="121011"/>
                      <a:pt x="83837" y="120515"/>
                      <a:pt x="89294" y="115058"/>
                    </a:cubicBezTo>
                    <a:cubicBezTo>
                      <a:pt x="94751" y="109602"/>
                      <a:pt x="96239" y="110594"/>
                      <a:pt x="101696" y="105137"/>
                    </a:cubicBezTo>
                    <a:cubicBezTo>
                      <a:pt x="107153" y="99680"/>
                      <a:pt x="107153" y="99184"/>
                      <a:pt x="112610" y="93727"/>
                    </a:cubicBezTo>
                    <a:cubicBezTo>
                      <a:pt x="118067" y="88270"/>
                      <a:pt x="118067" y="87774"/>
                      <a:pt x="123524" y="82317"/>
                    </a:cubicBezTo>
                    <a:cubicBezTo>
                      <a:pt x="128980" y="76861"/>
                      <a:pt x="128980" y="76364"/>
                      <a:pt x="134437" y="70908"/>
                    </a:cubicBezTo>
                    <a:cubicBezTo>
                      <a:pt x="139894" y="65451"/>
                      <a:pt x="140390" y="65947"/>
                      <a:pt x="146343" y="59994"/>
                    </a:cubicBezTo>
                    <a:cubicBezTo>
                      <a:pt x="151800" y="54537"/>
                      <a:pt x="152296" y="54537"/>
                      <a:pt x="157753" y="49080"/>
                    </a:cubicBezTo>
                    <a:cubicBezTo>
                      <a:pt x="163210" y="43623"/>
                      <a:pt x="162714" y="42631"/>
                      <a:pt x="168171" y="36678"/>
                    </a:cubicBezTo>
                    <a:cubicBezTo>
                      <a:pt x="173627" y="31221"/>
                      <a:pt x="173627" y="30725"/>
                      <a:pt x="179084" y="25268"/>
                    </a:cubicBezTo>
                    <a:cubicBezTo>
                      <a:pt x="184541" y="19812"/>
                      <a:pt x="186029" y="20804"/>
                      <a:pt x="191486" y="15347"/>
                    </a:cubicBezTo>
                    <a:cubicBezTo>
                      <a:pt x="196943" y="9890"/>
                      <a:pt x="194959" y="7410"/>
                      <a:pt x="202400" y="3937"/>
                    </a:cubicBezTo>
                    <a:cubicBezTo>
                      <a:pt x="209841" y="961"/>
                      <a:pt x="210337" y="3441"/>
                      <a:pt x="218274" y="3441"/>
                    </a:cubicBezTo>
                    <a:cubicBezTo>
                      <a:pt x="226212" y="3441"/>
                      <a:pt x="226212" y="2945"/>
                      <a:pt x="234645" y="2945"/>
                    </a:cubicBezTo>
                    <a:cubicBezTo>
                      <a:pt x="242582" y="2945"/>
                      <a:pt x="242582" y="4433"/>
                      <a:pt x="251016" y="4433"/>
                    </a:cubicBezTo>
                    <a:cubicBezTo>
                      <a:pt x="258953" y="4433"/>
                      <a:pt x="258953" y="3441"/>
                      <a:pt x="267386" y="3441"/>
                    </a:cubicBezTo>
                    <a:cubicBezTo>
                      <a:pt x="275323" y="3441"/>
                      <a:pt x="275323" y="2945"/>
                      <a:pt x="283757" y="2945"/>
                    </a:cubicBezTo>
                    <a:cubicBezTo>
                      <a:pt x="291694" y="2945"/>
                      <a:pt x="291694" y="2945"/>
                      <a:pt x="300127" y="2945"/>
                    </a:cubicBezTo>
                    <a:cubicBezTo>
                      <a:pt x="308065" y="2945"/>
                      <a:pt x="308065" y="4433"/>
                      <a:pt x="316498" y="4433"/>
                    </a:cubicBezTo>
                    <a:cubicBezTo>
                      <a:pt x="324435" y="4433"/>
                      <a:pt x="324435" y="2945"/>
                      <a:pt x="332868" y="2945"/>
                    </a:cubicBezTo>
                    <a:cubicBezTo>
                      <a:pt x="340806" y="2945"/>
                      <a:pt x="340806" y="2449"/>
                      <a:pt x="349239" y="2449"/>
                    </a:cubicBezTo>
                    <a:cubicBezTo>
                      <a:pt x="357672" y="2449"/>
                      <a:pt x="357176" y="2449"/>
                      <a:pt x="365610" y="2449"/>
                    </a:cubicBezTo>
                    <a:cubicBezTo>
                      <a:pt x="373547" y="2449"/>
                      <a:pt x="373547" y="4433"/>
                      <a:pt x="381980" y="4433"/>
                    </a:cubicBezTo>
                    <a:cubicBezTo>
                      <a:pt x="389917" y="4433"/>
                      <a:pt x="389917" y="3441"/>
                      <a:pt x="398351" y="3441"/>
                    </a:cubicBezTo>
                    <a:cubicBezTo>
                      <a:pt x="406288" y="3441"/>
                      <a:pt x="406288" y="2945"/>
                      <a:pt x="414721" y="2945"/>
                    </a:cubicBezTo>
                    <a:cubicBezTo>
                      <a:pt x="422658" y="2945"/>
                      <a:pt x="422658" y="2449"/>
                      <a:pt x="431092" y="2449"/>
                    </a:cubicBezTo>
                    <a:cubicBezTo>
                      <a:pt x="439029" y="2449"/>
                      <a:pt x="439029" y="2945"/>
                      <a:pt x="447462" y="2945"/>
                    </a:cubicBezTo>
                    <a:cubicBezTo>
                      <a:pt x="455400" y="2945"/>
                      <a:pt x="460857" y="-4000"/>
                      <a:pt x="463833" y="3441"/>
                    </a:cubicBezTo>
                    <a:cubicBezTo>
                      <a:pt x="466810" y="10882"/>
                      <a:pt x="458872" y="9890"/>
                      <a:pt x="452919" y="15843"/>
                    </a:cubicBezTo>
                    <a:cubicBezTo>
                      <a:pt x="446966" y="21796"/>
                      <a:pt x="446470" y="21300"/>
                      <a:pt x="441013" y="27253"/>
                    </a:cubicBezTo>
                    <a:cubicBezTo>
                      <a:pt x="435060" y="33206"/>
                      <a:pt x="435060" y="33206"/>
                      <a:pt x="429107" y="38662"/>
                    </a:cubicBezTo>
                    <a:cubicBezTo>
                      <a:pt x="423155" y="44615"/>
                      <a:pt x="424147" y="45111"/>
                      <a:pt x="418194" y="51064"/>
                    </a:cubicBezTo>
                    <a:cubicBezTo>
                      <a:pt x="412241" y="57017"/>
                      <a:pt x="412241" y="57017"/>
                      <a:pt x="406784" y="62970"/>
                    </a:cubicBezTo>
                    <a:cubicBezTo>
                      <a:pt x="400831" y="68923"/>
                      <a:pt x="400335" y="68427"/>
                      <a:pt x="394382" y="73884"/>
                    </a:cubicBezTo>
                    <a:cubicBezTo>
                      <a:pt x="388429" y="79837"/>
                      <a:pt x="388925" y="79837"/>
                      <a:pt x="382972" y="85790"/>
                    </a:cubicBezTo>
                    <a:cubicBezTo>
                      <a:pt x="377019" y="91743"/>
                      <a:pt x="376027" y="90255"/>
                      <a:pt x="370074" y="96208"/>
                    </a:cubicBezTo>
                    <a:cubicBezTo>
                      <a:pt x="364121" y="102160"/>
                      <a:pt x="365114" y="102656"/>
                      <a:pt x="359161" y="108609"/>
                    </a:cubicBezTo>
                    <a:cubicBezTo>
                      <a:pt x="353208" y="114562"/>
                      <a:pt x="352712" y="113570"/>
                      <a:pt x="346759" y="119523"/>
                    </a:cubicBezTo>
                    <a:cubicBezTo>
                      <a:pt x="340806" y="125476"/>
                      <a:pt x="340806" y="125476"/>
                      <a:pt x="335349" y="131429"/>
                    </a:cubicBezTo>
                    <a:cubicBezTo>
                      <a:pt x="329396" y="137382"/>
                      <a:pt x="330884" y="138374"/>
                      <a:pt x="324931" y="144327"/>
                    </a:cubicBezTo>
                    <a:cubicBezTo>
                      <a:pt x="318978" y="150280"/>
                      <a:pt x="319474" y="150280"/>
                      <a:pt x="313521" y="156233"/>
                    </a:cubicBezTo>
                    <a:cubicBezTo>
                      <a:pt x="307568" y="162186"/>
                      <a:pt x="306576" y="161194"/>
                      <a:pt x="300623" y="166651"/>
                    </a:cubicBezTo>
                    <a:cubicBezTo>
                      <a:pt x="294670" y="172604"/>
                      <a:pt x="294670" y="172107"/>
                      <a:pt x="288717" y="178060"/>
                    </a:cubicBezTo>
                    <a:cubicBezTo>
                      <a:pt x="282764" y="184013"/>
                      <a:pt x="283757" y="185005"/>
                      <a:pt x="278300" y="190958"/>
                    </a:cubicBezTo>
                    <a:cubicBezTo>
                      <a:pt x="272347" y="196911"/>
                      <a:pt x="271851" y="196415"/>
                      <a:pt x="266394" y="202368"/>
                    </a:cubicBezTo>
                    <a:cubicBezTo>
                      <a:pt x="260441" y="208321"/>
                      <a:pt x="262425" y="210802"/>
                      <a:pt x="254984" y="213778"/>
                    </a:cubicBezTo>
                    <a:cubicBezTo>
                      <a:pt x="247543" y="216754"/>
                      <a:pt x="247047" y="213282"/>
                      <a:pt x="239110" y="213282"/>
                    </a:cubicBezTo>
                    <a:cubicBezTo>
                      <a:pt x="231173" y="213282"/>
                      <a:pt x="231173" y="213778"/>
                      <a:pt x="223235" y="213778"/>
                    </a:cubicBezTo>
                    <a:cubicBezTo>
                      <a:pt x="215298" y="213778"/>
                      <a:pt x="215298" y="214274"/>
                      <a:pt x="207361" y="214274"/>
                    </a:cubicBezTo>
                    <a:cubicBezTo>
                      <a:pt x="199423" y="214274"/>
                      <a:pt x="199423" y="215266"/>
                      <a:pt x="191486" y="215266"/>
                    </a:cubicBezTo>
                    <a:cubicBezTo>
                      <a:pt x="183549" y="215266"/>
                      <a:pt x="183549" y="215266"/>
                      <a:pt x="175612" y="215266"/>
                    </a:cubicBezTo>
                    <a:cubicBezTo>
                      <a:pt x="167675" y="215266"/>
                      <a:pt x="167675" y="213282"/>
                      <a:pt x="159737" y="213282"/>
                    </a:cubicBezTo>
                    <a:cubicBezTo>
                      <a:pt x="151800" y="213282"/>
                      <a:pt x="151800" y="215266"/>
                      <a:pt x="143863" y="215266"/>
                    </a:cubicBezTo>
                    <a:cubicBezTo>
                      <a:pt x="135925" y="215266"/>
                      <a:pt x="135925" y="214274"/>
                      <a:pt x="127988" y="214274"/>
                    </a:cubicBezTo>
                    <a:cubicBezTo>
                      <a:pt x="120051" y="214274"/>
                      <a:pt x="120051" y="214770"/>
                      <a:pt x="112114" y="214770"/>
                    </a:cubicBezTo>
                    <a:cubicBezTo>
                      <a:pt x="104176" y="214770"/>
                      <a:pt x="104176" y="214770"/>
                      <a:pt x="96239" y="214770"/>
                    </a:cubicBezTo>
                    <a:cubicBezTo>
                      <a:pt x="88302" y="214770"/>
                      <a:pt x="88302" y="214770"/>
                      <a:pt x="80365" y="214770"/>
                    </a:cubicBezTo>
                    <a:cubicBezTo>
                      <a:pt x="72428" y="214770"/>
                      <a:pt x="72428" y="215266"/>
                      <a:pt x="64490" y="215266"/>
                    </a:cubicBezTo>
                    <a:cubicBezTo>
                      <a:pt x="56553" y="215266"/>
                      <a:pt x="56553" y="213282"/>
                      <a:pt x="48616" y="213282"/>
                    </a:cubicBezTo>
                    <a:cubicBezTo>
                      <a:pt x="40678" y="213282"/>
                      <a:pt x="40678" y="215266"/>
                      <a:pt x="32741" y="215266"/>
                    </a:cubicBezTo>
                    <a:cubicBezTo>
                      <a:pt x="24804" y="215266"/>
                      <a:pt x="24804" y="215266"/>
                      <a:pt x="16867" y="215266"/>
                    </a:cubicBezTo>
                    <a:cubicBezTo>
                      <a:pt x="8930" y="215266"/>
                      <a:pt x="8930" y="213778"/>
                      <a:pt x="992" y="21377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6" name="Freeform: Shape 1605">
                <a:extLst>
                  <a:ext uri="{FF2B5EF4-FFF2-40B4-BE49-F238E27FC236}">
                    <a16:creationId xmlns:a16="http://schemas.microsoft.com/office/drawing/2014/main" id="{88EC74AD-FF1B-3386-6E51-94DD3613684B}"/>
                  </a:ext>
                </a:extLst>
              </p:cNvPr>
              <p:cNvSpPr/>
              <p:nvPr/>
            </p:nvSpPr>
            <p:spPr>
              <a:xfrm>
                <a:off x="4858457" y="2129166"/>
                <a:ext cx="260440" cy="2976"/>
              </a:xfrm>
              <a:custGeom>
                <a:avLst/>
                <a:gdLst>
                  <a:gd name="connsiteX0" fmla="*/ 0 w 260440"/>
                  <a:gd name="connsiteY0" fmla="*/ 496 h 2976"/>
                  <a:gd name="connsiteX1" fmla="*/ 15875 w 260440"/>
                  <a:gd name="connsiteY1" fmla="*/ 1488 h 2976"/>
                  <a:gd name="connsiteX2" fmla="*/ 32245 w 260440"/>
                  <a:gd name="connsiteY2" fmla="*/ 2480 h 2976"/>
                  <a:gd name="connsiteX3" fmla="*/ 48120 w 260440"/>
                  <a:gd name="connsiteY3" fmla="*/ 0 h 2976"/>
                  <a:gd name="connsiteX4" fmla="*/ 64490 w 260440"/>
                  <a:gd name="connsiteY4" fmla="*/ 1984 h 2976"/>
                  <a:gd name="connsiteX5" fmla="*/ 80365 w 260440"/>
                  <a:gd name="connsiteY5" fmla="*/ 1984 h 2976"/>
                  <a:gd name="connsiteX6" fmla="*/ 96735 w 260440"/>
                  <a:gd name="connsiteY6" fmla="*/ 1488 h 2976"/>
                  <a:gd name="connsiteX7" fmla="*/ 113106 w 260440"/>
                  <a:gd name="connsiteY7" fmla="*/ 1488 h 2976"/>
                  <a:gd name="connsiteX8" fmla="*/ 129476 w 260440"/>
                  <a:gd name="connsiteY8" fmla="*/ 1488 h 2976"/>
                  <a:gd name="connsiteX9" fmla="*/ 145847 w 260440"/>
                  <a:gd name="connsiteY9" fmla="*/ 992 h 2976"/>
                  <a:gd name="connsiteX10" fmla="*/ 162218 w 260440"/>
                  <a:gd name="connsiteY10" fmla="*/ 1984 h 2976"/>
                  <a:gd name="connsiteX11" fmla="*/ 178588 w 260440"/>
                  <a:gd name="connsiteY11" fmla="*/ 992 h 2976"/>
                  <a:gd name="connsiteX12" fmla="*/ 194959 w 260440"/>
                  <a:gd name="connsiteY12" fmla="*/ 1984 h 2976"/>
                  <a:gd name="connsiteX13" fmla="*/ 211329 w 260440"/>
                  <a:gd name="connsiteY13" fmla="*/ 496 h 2976"/>
                  <a:gd name="connsiteX14" fmla="*/ 227700 w 260440"/>
                  <a:gd name="connsiteY14" fmla="*/ 2976 h 2976"/>
                  <a:gd name="connsiteX15" fmla="*/ 244070 w 260440"/>
                  <a:gd name="connsiteY15" fmla="*/ 2976 h 2976"/>
                  <a:gd name="connsiteX16" fmla="*/ 260441 w 260440"/>
                  <a:gd name="connsiteY16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440" h="2976">
                    <a:moveTo>
                      <a:pt x="0" y="496"/>
                    </a:moveTo>
                    <a:cubicBezTo>
                      <a:pt x="7937" y="496"/>
                      <a:pt x="7937" y="1488"/>
                      <a:pt x="15875" y="1488"/>
                    </a:cubicBezTo>
                    <a:cubicBezTo>
                      <a:pt x="23812" y="1488"/>
                      <a:pt x="23812" y="2480"/>
                      <a:pt x="32245" y="2480"/>
                    </a:cubicBezTo>
                    <a:cubicBezTo>
                      <a:pt x="40182" y="2480"/>
                      <a:pt x="40182" y="0"/>
                      <a:pt x="48120" y="0"/>
                    </a:cubicBezTo>
                    <a:cubicBezTo>
                      <a:pt x="56057" y="0"/>
                      <a:pt x="56057" y="1984"/>
                      <a:pt x="64490" y="1984"/>
                    </a:cubicBezTo>
                    <a:cubicBezTo>
                      <a:pt x="72427" y="1984"/>
                      <a:pt x="72427" y="1984"/>
                      <a:pt x="80365" y="1984"/>
                    </a:cubicBezTo>
                    <a:cubicBezTo>
                      <a:pt x="88302" y="1984"/>
                      <a:pt x="88302" y="1488"/>
                      <a:pt x="96735" y="1488"/>
                    </a:cubicBezTo>
                    <a:cubicBezTo>
                      <a:pt x="104672" y="1488"/>
                      <a:pt x="104672" y="1488"/>
                      <a:pt x="113106" y="1488"/>
                    </a:cubicBezTo>
                    <a:cubicBezTo>
                      <a:pt x="121043" y="1488"/>
                      <a:pt x="121043" y="1488"/>
                      <a:pt x="129476" y="1488"/>
                    </a:cubicBezTo>
                    <a:cubicBezTo>
                      <a:pt x="137414" y="1488"/>
                      <a:pt x="137414" y="992"/>
                      <a:pt x="145847" y="992"/>
                    </a:cubicBezTo>
                    <a:cubicBezTo>
                      <a:pt x="153784" y="992"/>
                      <a:pt x="153784" y="1984"/>
                      <a:pt x="162218" y="1984"/>
                    </a:cubicBezTo>
                    <a:cubicBezTo>
                      <a:pt x="170155" y="1984"/>
                      <a:pt x="170155" y="992"/>
                      <a:pt x="178588" y="992"/>
                    </a:cubicBezTo>
                    <a:cubicBezTo>
                      <a:pt x="186525" y="992"/>
                      <a:pt x="186525" y="1984"/>
                      <a:pt x="194959" y="1984"/>
                    </a:cubicBezTo>
                    <a:cubicBezTo>
                      <a:pt x="202896" y="1984"/>
                      <a:pt x="202896" y="496"/>
                      <a:pt x="211329" y="496"/>
                    </a:cubicBezTo>
                    <a:cubicBezTo>
                      <a:pt x="219267" y="496"/>
                      <a:pt x="219267" y="2976"/>
                      <a:pt x="227700" y="2976"/>
                    </a:cubicBezTo>
                    <a:cubicBezTo>
                      <a:pt x="235637" y="2976"/>
                      <a:pt x="235637" y="2976"/>
                      <a:pt x="244070" y="2976"/>
                    </a:cubicBezTo>
                    <a:cubicBezTo>
                      <a:pt x="252503" y="2976"/>
                      <a:pt x="252008" y="1488"/>
                      <a:pt x="260441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7" name="Freeform: Shape 1606">
                <a:extLst>
                  <a:ext uri="{FF2B5EF4-FFF2-40B4-BE49-F238E27FC236}">
                    <a16:creationId xmlns:a16="http://schemas.microsoft.com/office/drawing/2014/main" id="{3964FD6C-5D02-8E04-04CC-649F9BDCE560}"/>
                  </a:ext>
                </a:extLst>
              </p:cNvPr>
              <p:cNvSpPr/>
              <p:nvPr/>
            </p:nvSpPr>
            <p:spPr>
              <a:xfrm>
                <a:off x="4940310" y="2047809"/>
                <a:ext cx="253991" cy="1984"/>
              </a:xfrm>
              <a:custGeom>
                <a:avLst/>
                <a:gdLst>
                  <a:gd name="connsiteX0" fmla="*/ 0 w 253991"/>
                  <a:gd name="connsiteY0" fmla="*/ 992 h 1984"/>
                  <a:gd name="connsiteX1" fmla="*/ 15875 w 253991"/>
                  <a:gd name="connsiteY1" fmla="*/ 992 h 1984"/>
                  <a:gd name="connsiteX2" fmla="*/ 31749 w 253991"/>
                  <a:gd name="connsiteY2" fmla="*/ 496 h 1984"/>
                  <a:gd name="connsiteX3" fmla="*/ 47623 w 253991"/>
                  <a:gd name="connsiteY3" fmla="*/ 1488 h 1984"/>
                  <a:gd name="connsiteX4" fmla="*/ 63498 w 253991"/>
                  <a:gd name="connsiteY4" fmla="*/ 496 h 1984"/>
                  <a:gd name="connsiteX5" fmla="*/ 79372 w 253991"/>
                  <a:gd name="connsiteY5" fmla="*/ 992 h 1984"/>
                  <a:gd name="connsiteX6" fmla="*/ 95247 w 253991"/>
                  <a:gd name="connsiteY6" fmla="*/ 992 h 1984"/>
                  <a:gd name="connsiteX7" fmla="*/ 111121 w 253991"/>
                  <a:gd name="connsiteY7" fmla="*/ 1984 h 1984"/>
                  <a:gd name="connsiteX8" fmla="*/ 126996 w 253991"/>
                  <a:gd name="connsiteY8" fmla="*/ 1488 h 1984"/>
                  <a:gd name="connsiteX9" fmla="*/ 142870 w 253991"/>
                  <a:gd name="connsiteY9" fmla="*/ 992 h 1984"/>
                  <a:gd name="connsiteX10" fmla="*/ 158745 w 253991"/>
                  <a:gd name="connsiteY10" fmla="*/ 992 h 1984"/>
                  <a:gd name="connsiteX11" fmla="*/ 174619 w 253991"/>
                  <a:gd name="connsiteY11" fmla="*/ 992 h 1984"/>
                  <a:gd name="connsiteX12" fmla="*/ 190494 w 253991"/>
                  <a:gd name="connsiteY12" fmla="*/ 496 h 1984"/>
                  <a:gd name="connsiteX13" fmla="*/ 206368 w 253991"/>
                  <a:gd name="connsiteY13" fmla="*/ 496 h 1984"/>
                  <a:gd name="connsiteX14" fmla="*/ 222243 w 253991"/>
                  <a:gd name="connsiteY14" fmla="*/ 0 h 1984"/>
                  <a:gd name="connsiteX15" fmla="*/ 238117 w 253991"/>
                  <a:gd name="connsiteY15" fmla="*/ 1984 h 1984"/>
                  <a:gd name="connsiteX16" fmla="*/ 253992 w 253991"/>
                  <a:gd name="connsiteY16" fmla="*/ 0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3991" h="1984">
                    <a:moveTo>
                      <a:pt x="0" y="992"/>
                    </a:moveTo>
                    <a:cubicBezTo>
                      <a:pt x="7937" y="992"/>
                      <a:pt x="7937" y="992"/>
                      <a:pt x="15875" y="992"/>
                    </a:cubicBezTo>
                    <a:cubicBezTo>
                      <a:pt x="23812" y="992"/>
                      <a:pt x="23812" y="496"/>
                      <a:pt x="31749" y="496"/>
                    </a:cubicBezTo>
                    <a:cubicBezTo>
                      <a:pt x="39686" y="496"/>
                      <a:pt x="39686" y="1488"/>
                      <a:pt x="47623" y="1488"/>
                    </a:cubicBezTo>
                    <a:cubicBezTo>
                      <a:pt x="55561" y="1488"/>
                      <a:pt x="55561" y="496"/>
                      <a:pt x="63498" y="496"/>
                    </a:cubicBezTo>
                    <a:cubicBezTo>
                      <a:pt x="71435" y="496"/>
                      <a:pt x="71435" y="992"/>
                      <a:pt x="79372" y="992"/>
                    </a:cubicBezTo>
                    <a:cubicBezTo>
                      <a:pt x="87310" y="992"/>
                      <a:pt x="87310" y="992"/>
                      <a:pt x="95247" y="992"/>
                    </a:cubicBezTo>
                    <a:cubicBezTo>
                      <a:pt x="103184" y="992"/>
                      <a:pt x="103184" y="1984"/>
                      <a:pt x="111121" y="1984"/>
                    </a:cubicBezTo>
                    <a:cubicBezTo>
                      <a:pt x="119059" y="1984"/>
                      <a:pt x="119059" y="1488"/>
                      <a:pt x="126996" y="1488"/>
                    </a:cubicBezTo>
                    <a:cubicBezTo>
                      <a:pt x="134933" y="1488"/>
                      <a:pt x="134933" y="992"/>
                      <a:pt x="142870" y="992"/>
                    </a:cubicBezTo>
                    <a:cubicBezTo>
                      <a:pt x="150808" y="992"/>
                      <a:pt x="150808" y="992"/>
                      <a:pt x="158745" y="992"/>
                    </a:cubicBezTo>
                    <a:cubicBezTo>
                      <a:pt x="166682" y="992"/>
                      <a:pt x="166682" y="992"/>
                      <a:pt x="174619" y="992"/>
                    </a:cubicBezTo>
                    <a:cubicBezTo>
                      <a:pt x="182557" y="992"/>
                      <a:pt x="182557" y="496"/>
                      <a:pt x="190494" y="496"/>
                    </a:cubicBezTo>
                    <a:cubicBezTo>
                      <a:pt x="198431" y="496"/>
                      <a:pt x="198431" y="496"/>
                      <a:pt x="206368" y="496"/>
                    </a:cubicBezTo>
                    <a:cubicBezTo>
                      <a:pt x="214306" y="496"/>
                      <a:pt x="214306" y="0"/>
                      <a:pt x="222243" y="0"/>
                    </a:cubicBezTo>
                    <a:cubicBezTo>
                      <a:pt x="230180" y="0"/>
                      <a:pt x="230180" y="1984"/>
                      <a:pt x="238117" y="1984"/>
                    </a:cubicBezTo>
                    <a:cubicBezTo>
                      <a:pt x="246055" y="1984"/>
                      <a:pt x="246055" y="0"/>
                      <a:pt x="253992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8" name="Freeform: Shape 1607">
                <a:extLst>
                  <a:ext uri="{FF2B5EF4-FFF2-40B4-BE49-F238E27FC236}">
                    <a16:creationId xmlns:a16="http://schemas.microsoft.com/office/drawing/2014/main" id="{CA54FD1D-93C2-9F6D-10A5-9B4F967C8A01}"/>
                  </a:ext>
                </a:extLst>
              </p:cNvPr>
              <p:cNvSpPr/>
              <p:nvPr/>
            </p:nvSpPr>
            <p:spPr>
              <a:xfrm>
                <a:off x="4918978" y="1987784"/>
                <a:ext cx="209344" cy="210833"/>
              </a:xfrm>
              <a:custGeom>
                <a:avLst/>
                <a:gdLst>
                  <a:gd name="connsiteX0" fmla="*/ 0 w 209344"/>
                  <a:gd name="connsiteY0" fmla="*/ 210833 h 210833"/>
                  <a:gd name="connsiteX1" fmla="*/ 11906 w 209344"/>
                  <a:gd name="connsiteY1" fmla="*/ 199423 h 210833"/>
                  <a:gd name="connsiteX2" fmla="*/ 22324 w 209344"/>
                  <a:gd name="connsiteY2" fmla="*/ 186525 h 210833"/>
                  <a:gd name="connsiteX3" fmla="*/ 35717 w 209344"/>
                  <a:gd name="connsiteY3" fmla="*/ 176604 h 210833"/>
                  <a:gd name="connsiteX4" fmla="*/ 47127 w 209344"/>
                  <a:gd name="connsiteY4" fmla="*/ 164698 h 210833"/>
                  <a:gd name="connsiteX5" fmla="*/ 58041 w 209344"/>
                  <a:gd name="connsiteY5" fmla="*/ 152296 h 210833"/>
                  <a:gd name="connsiteX6" fmla="*/ 69947 w 209344"/>
                  <a:gd name="connsiteY6" fmla="*/ 140886 h 210833"/>
                  <a:gd name="connsiteX7" fmla="*/ 80861 w 209344"/>
                  <a:gd name="connsiteY7" fmla="*/ 128484 h 210833"/>
                  <a:gd name="connsiteX8" fmla="*/ 92766 w 209344"/>
                  <a:gd name="connsiteY8" fmla="*/ 117074 h 210833"/>
                  <a:gd name="connsiteX9" fmla="*/ 105168 w 209344"/>
                  <a:gd name="connsiteY9" fmla="*/ 106161 h 210833"/>
                  <a:gd name="connsiteX10" fmla="*/ 116578 w 209344"/>
                  <a:gd name="connsiteY10" fmla="*/ 94255 h 210833"/>
                  <a:gd name="connsiteX11" fmla="*/ 128484 w 209344"/>
                  <a:gd name="connsiteY11" fmla="*/ 82845 h 210833"/>
                  <a:gd name="connsiteX12" fmla="*/ 139398 w 209344"/>
                  <a:gd name="connsiteY12" fmla="*/ 70443 h 210833"/>
                  <a:gd name="connsiteX13" fmla="*/ 150312 w 209344"/>
                  <a:gd name="connsiteY13" fmla="*/ 58041 h 210833"/>
                  <a:gd name="connsiteX14" fmla="*/ 163209 w 209344"/>
                  <a:gd name="connsiteY14" fmla="*/ 47623 h 210833"/>
                  <a:gd name="connsiteX15" fmla="*/ 174619 w 209344"/>
                  <a:gd name="connsiteY15" fmla="*/ 35221 h 210833"/>
                  <a:gd name="connsiteX16" fmla="*/ 185533 w 209344"/>
                  <a:gd name="connsiteY16" fmla="*/ 22819 h 210833"/>
                  <a:gd name="connsiteX17" fmla="*/ 197439 w 209344"/>
                  <a:gd name="connsiteY17" fmla="*/ 11410 h 210833"/>
                  <a:gd name="connsiteX18" fmla="*/ 209345 w 209344"/>
                  <a:gd name="connsiteY18" fmla="*/ 0 h 21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9344" h="210833">
                    <a:moveTo>
                      <a:pt x="0" y="210833"/>
                    </a:moveTo>
                    <a:cubicBezTo>
                      <a:pt x="5953" y="204880"/>
                      <a:pt x="5953" y="204880"/>
                      <a:pt x="11906" y="199423"/>
                    </a:cubicBezTo>
                    <a:cubicBezTo>
                      <a:pt x="17859" y="193470"/>
                      <a:pt x="16371" y="192478"/>
                      <a:pt x="22324" y="186525"/>
                    </a:cubicBezTo>
                    <a:cubicBezTo>
                      <a:pt x="28276" y="180572"/>
                      <a:pt x="29765" y="182061"/>
                      <a:pt x="35717" y="176604"/>
                    </a:cubicBezTo>
                    <a:cubicBezTo>
                      <a:pt x="41670" y="170651"/>
                      <a:pt x="41174" y="170155"/>
                      <a:pt x="47127" y="164698"/>
                    </a:cubicBezTo>
                    <a:cubicBezTo>
                      <a:pt x="53080" y="158745"/>
                      <a:pt x="52088" y="158249"/>
                      <a:pt x="58041" y="152296"/>
                    </a:cubicBezTo>
                    <a:cubicBezTo>
                      <a:pt x="63994" y="146343"/>
                      <a:pt x="64490" y="146839"/>
                      <a:pt x="69947" y="140886"/>
                    </a:cubicBezTo>
                    <a:cubicBezTo>
                      <a:pt x="75900" y="134933"/>
                      <a:pt x="75404" y="134437"/>
                      <a:pt x="80861" y="128484"/>
                    </a:cubicBezTo>
                    <a:cubicBezTo>
                      <a:pt x="86814" y="122531"/>
                      <a:pt x="87310" y="123027"/>
                      <a:pt x="92766" y="117074"/>
                    </a:cubicBezTo>
                    <a:cubicBezTo>
                      <a:pt x="98719" y="111121"/>
                      <a:pt x="99216" y="112113"/>
                      <a:pt x="105168" y="106161"/>
                    </a:cubicBezTo>
                    <a:cubicBezTo>
                      <a:pt x="111121" y="100208"/>
                      <a:pt x="111121" y="100208"/>
                      <a:pt x="116578" y="94255"/>
                    </a:cubicBezTo>
                    <a:cubicBezTo>
                      <a:pt x="122531" y="88302"/>
                      <a:pt x="122531" y="88798"/>
                      <a:pt x="128484" y="82845"/>
                    </a:cubicBezTo>
                    <a:cubicBezTo>
                      <a:pt x="134437" y="76892"/>
                      <a:pt x="133941" y="76396"/>
                      <a:pt x="139398" y="70443"/>
                    </a:cubicBezTo>
                    <a:cubicBezTo>
                      <a:pt x="145351" y="64490"/>
                      <a:pt x="144359" y="63498"/>
                      <a:pt x="150312" y="58041"/>
                    </a:cubicBezTo>
                    <a:cubicBezTo>
                      <a:pt x="156265" y="52088"/>
                      <a:pt x="157256" y="53080"/>
                      <a:pt x="163209" y="47623"/>
                    </a:cubicBezTo>
                    <a:cubicBezTo>
                      <a:pt x="169162" y="41671"/>
                      <a:pt x="168667" y="41174"/>
                      <a:pt x="174619" y="35221"/>
                    </a:cubicBezTo>
                    <a:cubicBezTo>
                      <a:pt x="180572" y="29269"/>
                      <a:pt x="179580" y="28772"/>
                      <a:pt x="185533" y="22819"/>
                    </a:cubicBezTo>
                    <a:cubicBezTo>
                      <a:pt x="191486" y="16867"/>
                      <a:pt x="191486" y="16867"/>
                      <a:pt x="197439" y="11410"/>
                    </a:cubicBezTo>
                    <a:cubicBezTo>
                      <a:pt x="203392" y="5457"/>
                      <a:pt x="203888" y="5953"/>
                      <a:pt x="20934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92CEC4CE-F735-D5DA-9E34-5EC1D4CAFDBB}"/>
                </a:ext>
              </a:extLst>
            </p:cNvPr>
            <p:cNvSpPr/>
            <p:nvPr/>
          </p:nvSpPr>
          <p:spPr>
            <a:xfrm>
              <a:off x="5589180" y="1779927"/>
              <a:ext cx="1440610" cy="3968"/>
            </a:xfrm>
            <a:custGeom>
              <a:avLst/>
              <a:gdLst>
                <a:gd name="connsiteX0" fmla="*/ 0 w 1440610"/>
                <a:gd name="connsiteY0" fmla="*/ 992 h 3968"/>
                <a:gd name="connsiteX1" fmla="*/ 16371 w 1440610"/>
                <a:gd name="connsiteY1" fmla="*/ 1488 h 3968"/>
                <a:gd name="connsiteX2" fmla="*/ 32741 w 1440610"/>
                <a:gd name="connsiteY2" fmla="*/ 992 h 3968"/>
                <a:gd name="connsiteX3" fmla="*/ 49112 w 1440610"/>
                <a:gd name="connsiteY3" fmla="*/ 0 h 3968"/>
                <a:gd name="connsiteX4" fmla="*/ 65482 w 1440610"/>
                <a:gd name="connsiteY4" fmla="*/ 1488 h 3968"/>
                <a:gd name="connsiteX5" fmla="*/ 81853 w 1440610"/>
                <a:gd name="connsiteY5" fmla="*/ 0 h 3968"/>
                <a:gd name="connsiteX6" fmla="*/ 98223 w 1440610"/>
                <a:gd name="connsiteY6" fmla="*/ 0 h 3968"/>
                <a:gd name="connsiteX7" fmla="*/ 114594 w 1440610"/>
                <a:gd name="connsiteY7" fmla="*/ 1984 h 3968"/>
                <a:gd name="connsiteX8" fmla="*/ 130965 w 1440610"/>
                <a:gd name="connsiteY8" fmla="*/ 1488 h 3968"/>
                <a:gd name="connsiteX9" fmla="*/ 147335 w 1440610"/>
                <a:gd name="connsiteY9" fmla="*/ 992 h 3968"/>
                <a:gd name="connsiteX10" fmla="*/ 163706 w 1440610"/>
                <a:gd name="connsiteY10" fmla="*/ 992 h 3968"/>
                <a:gd name="connsiteX11" fmla="*/ 180076 w 1440610"/>
                <a:gd name="connsiteY11" fmla="*/ 1488 h 3968"/>
                <a:gd name="connsiteX12" fmla="*/ 196447 w 1440610"/>
                <a:gd name="connsiteY12" fmla="*/ 992 h 3968"/>
                <a:gd name="connsiteX13" fmla="*/ 212818 w 1440610"/>
                <a:gd name="connsiteY13" fmla="*/ 992 h 3968"/>
                <a:gd name="connsiteX14" fmla="*/ 229188 w 1440610"/>
                <a:gd name="connsiteY14" fmla="*/ 2480 h 3968"/>
                <a:gd name="connsiteX15" fmla="*/ 245559 w 1440610"/>
                <a:gd name="connsiteY15" fmla="*/ 496 h 3968"/>
                <a:gd name="connsiteX16" fmla="*/ 261929 w 1440610"/>
                <a:gd name="connsiteY16" fmla="*/ 496 h 3968"/>
                <a:gd name="connsiteX17" fmla="*/ 278300 w 1440610"/>
                <a:gd name="connsiteY17" fmla="*/ 1984 h 3968"/>
                <a:gd name="connsiteX18" fmla="*/ 294670 w 1440610"/>
                <a:gd name="connsiteY18" fmla="*/ 1488 h 3968"/>
                <a:gd name="connsiteX19" fmla="*/ 311041 w 1440610"/>
                <a:gd name="connsiteY19" fmla="*/ 992 h 3968"/>
                <a:gd name="connsiteX20" fmla="*/ 327411 w 1440610"/>
                <a:gd name="connsiteY20" fmla="*/ 992 h 3968"/>
                <a:gd name="connsiteX21" fmla="*/ 343782 w 1440610"/>
                <a:gd name="connsiteY21" fmla="*/ 992 h 3968"/>
                <a:gd name="connsiteX22" fmla="*/ 360152 w 1440610"/>
                <a:gd name="connsiteY22" fmla="*/ 2480 h 3968"/>
                <a:gd name="connsiteX23" fmla="*/ 376523 w 1440610"/>
                <a:gd name="connsiteY23" fmla="*/ 496 h 3968"/>
                <a:gd name="connsiteX24" fmla="*/ 392893 w 1440610"/>
                <a:gd name="connsiteY24" fmla="*/ 2480 h 3968"/>
                <a:gd name="connsiteX25" fmla="*/ 409264 w 1440610"/>
                <a:gd name="connsiteY25" fmla="*/ 0 h 3968"/>
                <a:gd name="connsiteX26" fmla="*/ 425635 w 1440610"/>
                <a:gd name="connsiteY26" fmla="*/ 1984 h 3968"/>
                <a:gd name="connsiteX27" fmla="*/ 442005 w 1440610"/>
                <a:gd name="connsiteY27" fmla="*/ 1488 h 3968"/>
                <a:gd name="connsiteX28" fmla="*/ 458376 w 1440610"/>
                <a:gd name="connsiteY28" fmla="*/ 496 h 3968"/>
                <a:gd name="connsiteX29" fmla="*/ 474746 w 1440610"/>
                <a:gd name="connsiteY29" fmla="*/ 1488 h 3968"/>
                <a:gd name="connsiteX30" fmla="*/ 491117 w 1440610"/>
                <a:gd name="connsiteY30" fmla="*/ 1984 h 3968"/>
                <a:gd name="connsiteX31" fmla="*/ 507488 w 1440610"/>
                <a:gd name="connsiteY31" fmla="*/ 992 h 3968"/>
                <a:gd name="connsiteX32" fmla="*/ 523858 w 1440610"/>
                <a:gd name="connsiteY32" fmla="*/ 2480 h 3968"/>
                <a:gd name="connsiteX33" fmla="*/ 540229 w 1440610"/>
                <a:gd name="connsiteY33" fmla="*/ 992 h 3968"/>
                <a:gd name="connsiteX34" fmla="*/ 556599 w 1440610"/>
                <a:gd name="connsiteY34" fmla="*/ 2976 h 3968"/>
                <a:gd name="connsiteX35" fmla="*/ 572970 w 1440610"/>
                <a:gd name="connsiteY35" fmla="*/ 2480 h 3968"/>
                <a:gd name="connsiteX36" fmla="*/ 589341 w 1440610"/>
                <a:gd name="connsiteY36" fmla="*/ 1984 h 3968"/>
                <a:gd name="connsiteX37" fmla="*/ 605711 w 1440610"/>
                <a:gd name="connsiteY37" fmla="*/ 1488 h 3968"/>
                <a:gd name="connsiteX38" fmla="*/ 622082 w 1440610"/>
                <a:gd name="connsiteY38" fmla="*/ 496 h 3968"/>
                <a:gd name="connsiteX39" fmla="*/ 638452 w 1440610"/>
                <a:gd name="connsiteY39" fmla="*/ 1488 h 3968"/>
                <a:gd name="connsiteX40" fmla="*/ 654823 w 1440610"/>
                <a:gd name="connsiteY40" fmla="*/ 2480 h 3968"/>
                <a:gd name="connsiteX41" fmla="*/ 671194 w 1440610"/>
                <a:gd name="connsiteY41" fmla="*/ 1488 h 3968"/>
                <a:gd name="connsiteX42" fmla="*/ 687564 w 1440610"/>
                <a:gd name="connsiteY42" fmla="*/ 1488 h 3968"/>
                <a:gd name="connsiteX43" fmla="*/ 703935 w 1440610"/>
                <a:gd name="connsiteY43" fmla="*/ 2480 h 3968"/>
                <a:gd name="connsiteX44" fmla="*/ 720305 w 1440610"/>
                <a:gd name="connsiteY44" fmla="*/ 2976 h 3968"/>
                <a:gd name="connsiteX45" fmla="*/ 736676 w 1440610"/>
                <a:gd name="connsiteY45" fmla="*/ 1984 h 3968"/>
                <a:gd name="connsiteX46" fmla="*/ 753047 w 1440610"/>
                <a:gd name="connsiteY46" fmla="*/ 2480 h 3968"/>
                <a:gd name="connsiteX47" fmla="*/ 769417 w 1440610"/>
                <a:gd name="connsiteY47" fmla="*/ 2480 h 3968"/>
                <a:gd name="connsiteX48" fmla="*/ 785788 w 1440610"/>
                <a:gd name="connsiteY48" fmla="*/ 1984 h 3968"/>
                <a:gd name="connsiteX49" fmla="*/ 802158 w 1440610"/>
                <a:gd name="connsiteY49" fmla="*/ 2480 h 3968"/>
                <a:gd name="connsiteX50" fmla="*/ 818529 w 1440610"/>
                <a:gd name="connsiteY50" fmla="*/ 1984 h 3968"/>
                <a:gd name="connsiteX51" fmla="*/ 834899 w 1440610"/>
                <a:gd name="connsiteY51" fmla="*/ 992 h 3968"/>
                <a:gd name="connsiteX52" fmla="*/ 851270 w 1440610"/>
                <a:gd name="connsiteY52" fmla="*/ 496 h 3968"/>
                <a:gd name="connsiteX53" fmla="*/ 867640 w 1440610"/>
                <a:gd name="connsiteY53" fmla="*/ 1984 h 3968"/>
                <a:gd name="connsiteX54" fmla="*/ 884011 w 1440610"/>
                <a:gd name="connsiteY54" fmla="*/ 496 h 3968"/>
                <a:gd name="connsiteX55" fmla="*/ 900381 w 1440610"/>
                <a:gd name="connsiteY55" fmla="*/ 1488 h 3968"/>
                <a:gd name="connsiteX56" fmla="*/ 916752 w 1440610"/>
                <a:gd name="connsiteY56" fmla="*/ 992 h 3968"/>
                <a:gd name="connsiteX57" fmla="*/ 933122 w 1440610"/>
                <a:gd name="connsiteY57" fmla="*/ 992 h 3968"/>
                <a:gd name="connsiteX58" fmla="*/ 949493 w 1440610"/>
                <a:gd name="connsiteY58" fmla="*/ 2976 h 3968"/>
                <a:gd name="connsiteX59" fmla="*/ 965864 w 1440610"/>
                <a:gd name="connsiteY59" fmla="*/ 1984 h 3968"/>
                <a:gd name="connsiteX60" fmla="*/ 982234 w 1440610"/>
                <a:gd name="connsiteY60" fmla="*/ 992 h 3968"/>
                <a:gd name="connsiteX61" fmla="*/ 998605 w 1440610"/>
                <a:gd name="connsiteY61" fmla="*/ 2480 h 3968"/>
                <a:gd name="connsiteX62" fmla="*/ 1014975 w 1440610"/>
                <a:gd name="connsiteY62" fmla="*/ 1984 h 3968"/>
                <a:gd name="connsiteX63" fmla="*/ 1031346 w 1440610"/>
                <a:gd name="connsiteY63" fmla="*/ 2976 h 3968"/>
                <a:gd name="connsiteX64" fmla="*/ 1047716 w 1440610"/>
                <a:gd name="connsiteY64" fmla="*/ 2480 h 3968"/>
                <a:gd name="connsiteX65" fmla="*/ 1064087 w 1440610"/>
                <a:gd name="connsiteY65" fmla="*/ 1984 h 3968"/>
                <a:gd name="connsiteX66" fmla="*/ 1080458 w 1440610"/>
                <a:gd name="connsiteY66" fmla="*/ 1984 h 3968"/>
                <a:gd name="connsiteX67" fmla="*/ 1096828 w 1440610"/>
                <a:gd name="connsiteY67" fmla="*/ 2976 h 3968"/>
                <a:gd name="connsiteX68" fmla="*/ 1113199 w 1440610"/>
                <a:gd name="connsiteY68" fmla="*/ 1984 h 3968"/>
                <a:gd name="connsiteX69" fmla="*/ 1129569 w 1440610"/>
                <a:gd name="connsiteY69" fmla="*/ 2480 h 3968"/>
                <a:gd name="connsiteX70" fmla="*/ 1145940 w 1440610"/>
                <a:gd name="connsiteY70" fmla="*/ 1984 h 3968"/>
                <a:gd name="connsiteX71" fmla="*/ 1162311 w 1440610"/>
                <a:gd name="connsiteY71" fmla="*/ 3473 h 3968"/>
                <a:gd name="connsiteX72" fmla="*/ 1178681 w 1440610"/>
                <a:gd name="connsiteY72" fmla="*/ 1984 h 3968"/>
                <a:gd name="connsiteX73" fmla="*/ 1195052 w 1440610"/>
                <a:gd name="connsiteY73" fmla="*/ 3969 h 3968"/>
                <a:gd name="connsiteX74" fmla="*/ 1211422 w 1440610"/>
                <a:gd name="connsiteY74" fmla="*/ 3969 h 3968"/>
                <a:gd name="connsiteX75" fmla="*/ 1227793 w 1440610"/>
                <a:gd name="connsiteY75" fmla="*/ 2480 h 3968"/>
                <a:gd name="connsiteX76" fmla="*/ 1244164 w 1440610"/>
                <a:gd name="connsiteY76" fmla="*/ 3969 h 3968"/>
                <a:gd name="connsiteX77" fmla="*/ 1260534 w 1440610"/>
                <a:gd name="connsiteY77" fmla="*/ 1984 h 3968"/>
                <a:gd name="connsiteX78" fmla="*/ 1276905 w 1440610"/>
                <a:gd name="connsiteY78" fmla="*/ 3969 h 3968"/>
                <a:gd name="connsiteX79" fmla="*/ 1293275 w 1440610"/>
                <a:gd name="connsiteY79" fmla="*/ 2976 h 3968"/>
                <a:gd name="connsiteX80" fmla="*/ 1309646 w 1440610"/>
                <a:gd name="connsiteY80" fmla="*/ 3969 h 3968"/>
                <a:gd name="connsiteX81" fmla="*/ 1326017 w 1440610"/>
                <a:gd name="connsiteY81" fmla="*/ 2976 h 3968"/>
                <a:gd name="connsiteX82" fmla="*/ 1342387 w 1440610"/>
                <a:gd name="connsiteY82" fmla="*/ 3473 h 3968"/>
                <a:gd name="connsiteX83" fmla="*/ 1358758 w 1440610"/>
                <a:gd name="connsiteY83" fmla="*/ 3473 h 3968"/>
                <a:gd name="connsiteX84" fmla="*/ 1375128 w 1440610"/>
                <a:gd name="connsiteY84" fmla="*/ 3473 h 3968"/>
                <a:gd name="connsiteX85" fmla="*/ 1391499 w 1440610"/>
                <a:gd name="connsiteY85" fmla="*/ 1984 h 3968"/>
                <a:gd name="connsiteX86" fmla="*/ 1407869 w 1440610"/>
                <a:gd name="connsiteY86" fmla="*/ 2976 h 3968"/>
                <a:gd name="connsiteX87" fmla="*/ 1424240 w 1440610"/>
                <a:gd name="connsiteY87" fmla="*/ 3473 h 3968"/>
                <a:gd name="connsiteX88" fmla="*/ 1440610 w 1440610"/>
                <a:gd name="connsiteY88" fmla="*/ 3473 h 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40610" h="3968">
                  <a:moveTo>
                    <a:pt x="0" y="992"/>
                  </a:moveTo>
                  <a:cubicBezTo>
                    <a:pt x="7937" y="992"/>
                    <a:pt x="7937" y="1488"/>
                    <a:pt x="16371" y="1488"/>
                  </a:cubicBezTo>
                  <a:cubicBezTo>
                    <a:pt x="24308" y="1488"/>
                    <a:pt x="24308" y="992"/>
                    <a:pt x="32741" y="992"/>
                  </a:cubicBezTo>
                  <a:cubicBezTo>
                    <a:pt x="40678" y="992"/>
                    <a:pt x="40678" y="0"/>
                    <a:pt x="49112" y="0"/>
                  </a:cubicBezTo>
                  <a:cubicBezTo>
                    <a:pt x="57049" y="0"/>
                    <a:pt x="57049" y="1488"/>
                    <a:pt x="65482" y="1488"/>
                  </a:cubicBezTo>
                  <a:cubicBezTo>
                    <a:pt x="73916" y="1488"/>
                    <a:pt x="73419" y="0"/>
                    <a:pt x="81853" y="0"/>
                  </a:cubicBezTo>
                  <a:cubicBezTo>
                    <a:pt x="89790" y="0"/>
                    <a:pt x="89790" y="0"/>
                    <a:pt x="98223" y="0"/>
                  </a:cubicBezTo>
                  <a:cubicBezTo>
                    <a:pt x="106161" y="0"/>
                    <a:pt x="106161" y="1984"/>
                    <a:pt x="114594" y="1984"/>
                  </a:cubicBezTo>
                  <a:cubicBezTo>
                    <a:pt x="122531" y="1984"/>
                    <a:pt x="122531" y="1488"/>
                    <a:pt x="130965" y="1488"/>
                  </a:cubicBezTo>
                  <a:cubicBezTo>
                    <a:pt x="138902" y="1488"/>
                    <a:pt x="138902" y="992"/>
                    <a:pt x="147335" y="992"/>
                  </a:cubicBezTo>
                  <a:cubicBezTo>
                    <a:pt x="155272" y="992"/>
                    <a:pt x="155272" y="992"/>
                    <a:pt x="163706" y="992"/>
                  </a:cubicBezTo>
                  <a:cubicBezTo>
                    <a:pt x="171643" y="992"/>
                    <a:pt x="171643" y="1488"/>
                    <a:pt x="180076" y="1488"/>
                  </a:cubicBezTo>
                  <a:cubicBezTo>
                    <a:pt x="188014" y="1488"/>
                    <a:pt x="188014" y="992"/>
                    <a:pt x="196447" y="992"/>
                  </a:cubicBezTo>
                  <a:cubicBezTo>
                    <a:pt x="204384" y="992"/>
                    <a:pt x="204384" y="992"/>
                    <a:pt x="212818" y="992"/>
                  </a:cubicBezTo>
                  <a:cubicBezTo>
                    <a:pt x="220755" y="992"/>
                    <a:pt x="220755" y="2480"/>
                    <a:pt x="229188" y="2480"/>
                  </a:cubicBezTo>
                  <a:cubicBezTo>
                    <a:pt x="237125" y="2480"/>
                    <a:pt x="237125" y="496"/>
                    <a:pt x="245559" y="496"/>
                  </a:cubicBezTo>
                  <a:cubicBezTo>
                    <a:pt x="253496" y="496"/>
                    <a:pt x="253496" y="496"/>
                    <a:pt x="261929" y="496"/>
                  </a:cubicBezTo>
                  <a:cubicBezTo>
                    <a:pt x="269867" y="496"/>
                    <a:pt x="269867" y="1984"/>
                    <a:pt x="278300" y="1984"/>
                  </a:cubicBezTo>
                  <a:cubicBezTo>
                    <a:pt x="286237" y="1984"/>
                    <a:pt x="286237" y="1488"/>
                    <a:pt x="294670" y="1488"/>
                  </a:cubicBezTo>
                  <a:cubicBezTo>
                    <a:pt x="302608" y="1488"/>
                    <a:pt x="302608" y="992"/>
                    <a:pt x="311041" y="992"/>
                  </a:cubicBezTo>
                  <a:cubicBezTo>
                    <a:pt x="318978" y="992"/>
                    <a:pt x="318978" y="992"/>
                    <a:pt x="327411" y="992"/>
                  </a:cubicBezTo>
                  <a:cubicBezTo>
                    <a:pt x="335349" y="992"/>
                    <a:pt x="335349" y="992"/>
                    <a:pt x="343782" y="992"/>
                  </a:cubicBezTo>
                  <a:cubicBezTo>
                    <a:pt x="351719" y="992"/>
                    <a:pt x="351719" y="2480"/>
                    <a:pt x="360152" y="2480"/>
                  </a:cubicBezTo>
                  <a:cubicBezTo>
                    <a:pt x="368090" y="2480"/>
                    <a:pt x="368090" y="496"/>
                    <a:pt x="376523" y="496"/>
                  </a:cubicBezTo>
                  <a:cubicBezTo>
                    <a:pt x="384460" y="496"/>
                    <a:pt x="384460" y="2480"/>
                    <a:pt x="392893" y="2480"/>
                  </a:cubicBezTo>
                  <a:cubicBezTo>
                    <a:pt x="400831" y="2480"/>
                    <a:pt x="400831" y="0"/>
                    <a:pt x="409264" y="0"/>
                  </a:cubicBezTo>
                  <a:cubicBezTo>
                    <a:pt x="417697" y="0"/>
                    <a:pt x="417201" y="1984"/>
                    <a:pt x="425635" y="1984"/>
                  </a:cubicBezTo>
                  <a:cubicBezTo>
                    <a:pt x="433572" y="1984"/>
                    <a:pt x="433572" y="1488"/>
                    <a:pt x="442005" y="1488"/>
                  </a:cubicBezTo>
                  <a:cubicBezTo>
                    <a:pt x="449942" y="1488"/>
                    <a:pt x="449942" y="496"/>
                    <a:pt x="458376" y="496"/>
                  </a:cubicBezTo>
                  <a:cubicBezTo>
                    <a:pt x="466809" y="496"/>
                    <a:pt x="466313" y="1488"/>
                    <a:pt x="474746" y="1488"/>
                  </a:cubicBezTo>
                  <a:cubicBezTo>
                    <a:pt x="482684" y="1488"/>
                    <a:pt x="482684" y="1984"/>
                    <a:pt x="491117" y="1984"/>
                  </a:cubicBezTo>
                  <a:cubicBezTo>
                    <a:pt x="499054" y="1984"/>
                    <a:pt x="499054" y="992"/>
                    <a:pt x="507488" y="992"/>
                  </a:cubicBezTo>
                  <a:cubicBezTo>
                    <a:pt x="515425" y="992"/>
                    <a:pt x="515425" y="2480"/>
                    <a:pt x="523858" y="2480"/>
                  </a:cubicBezTo>
                  <a:cubicBezTo>
                    <a:pt x="531795" y="2480"/>
                    <a:pt x="531795" y="992"/>
                    <a:pt x="540229" y="992"/>
                  </a:cubicBezTo>
                  <a:cubicBezTo>
                    <a:pt x="548166" y="992"/>
                    <a:pt x="548166" y="2976"/>
                    <a:pt x="556599" y="2976"/>
                  </a:cubicBezTo>
                  <a:cubicBezTo>
                    <a:pt x="564537" y="2976"/>
                    <a:pt x="564537" y="2480"/>
                    <a:pt x="572970" y="2480"/>
                  </a:cubicBezTo>
                  <a:cubicBezTo>
                    <a:pt x="580907" y="2480"/>
                    <a:pt x="580907" y="1984"/>
                    <a:pt x="589341" y="1984"/>
                  </a:cubicBezTo>
                  <a:cubicBezTo>
                    <a:pt x="597278" y="1984"/>
                    <a:pt x="597278" y="1488"/>
                    <a:pt x="605711" y="1488"/>
                  </a:cubicBezTo>
                  <a:cubicBezTo>
                    <a:pt x="613648" y="1488"/>
                    <a:pt x="613648" y="496"/>
                    <a:pt x="622082" y="496"/>
                  </a:cubicBezTo>
                  <a:cubicBezTo>
                    <a:pt x="630019" y="496"/>
                    <a:pt x="630019" y="1488"/>
                    <a:pt x="638452" y="1488"/>
                  </a:cubicBezTo>
                  <a:cubicBezTo>
                    <a:pt x="646390" y="1488"/>
                    <a:pt x="646390" y="2480"/>
                    <a:pt x="654823" y="2480"/>
                  </a:cubicBezTo>
                  <a:cubicBezTo>
                    <a:pt x="662760" y="2480"/>
                    <a:pt x="662760" y="1488"/>
                    <a:pt x="671194" y="1488"/>
                  </a:cubicBezTo>
                  <a:cubicBezTo>
                    <a:pt x="679131" y="1488"/>
                    <a:pt x="679131" y="1488"/>
                    <a:pt x="687564" y="1488"/>
                  </a:cubicBezTo>
                  <a:cubicBezTo>
                    <a:pt x="695501" y="1488"/>
                    <a:pt x="695501" y="2480"/>
                    <a:pt x="703935" y="2480"/>
                  </a:cubicBezTo>
                  <a:cubicBezTo>
                    <a:pt x="711872" y="2480"/>
                    <a:pt x="711872" y="2976"/>
                    <a:pt x="720305" y="2976"/>
                  </a:cubicBezTo>
                  <a:cubicBezTo>
                    <a:pt x="728243" y="2976"/>
                    <a:pt x="728243" y="1984"/>
                    <a:pt x="736676" y="1984"/>
                  </a:cubicBezTo>
                  <a:cubicBezTo>
                    <a:pt x="744613" y="1984"/>
                    <a:pt x="744613" y="2480"/>
                    <a:pt x="753047" y="2480"/>
                  </a:cubicBezTo>
                  <a:cubicBezTo>
                    <a:pt x="760984" y="2480"/>
                    <a:pt x="760984" y="2480"/>
                    <a:pt x="769417" y="2480"/>
                  </a:cubicBezTo>
                  <a:cubicBezTo>
                    <a:pt x="777354" y="2480"/>
                    <a:pt x="777354" y="1984"/>
                    <a:pt x="785788" y="1984"/>
                  </a:cubicBezTo>
                  <a:cubicBezTo>
                    <a:pt x="793725" y="1984"/>
                    <a:pt x="793725" y="2480"/>
                    <a:pt x="802158" y="2480"/>
                  </a:cubicBezTo>
                  <a:cubicBezTo>
                    <a:pt x="810096" y="2480"/>
                    <a:pt x="810096" y="1984"/>
                    <a:pt x="818529" y="1984"/>
                  </a:cubicBezTo>
                  <a:cubicBezTo>
                    <a:pt x="826466" y="1984"/>
                    <a:pt x="826466" y="992"/>
                    <a:pt x="834899" y="992"/>
                  </a:cubicBezTo>
                  <a:cubicBezTo>
                    <a:pt x="843333" y="992"/>
                    <a:pt x="842837" y="496"/>
                    <a:pt x="851270" y="496"/>
                  </a:cubicBezTo>
                  <a:cubicBezTo>
                    <a:pt x="859207" y="496"/>
                    <a:pt x="859207" y="1984"/>
                    <a:pt x="867640" y="1984"/>
                  </a:cubicBezTo>
                  <a:cubicBezTo>
                    <a:pt x="875578" y="1984"/>
                    <a:pt x="875578" y="496"/>
                    <a:pt x="884011" y="496"/>
                  </a:cubicBezTo>
                  <a:cubicBezTo>
                    <a:pt x="891948" y="496"/>
                    <a:pt x="891948" y="1488"/>
                    <a:pt x="900381" y="1488"/>
                  </a:cubicBezTo>
                  <a:cubicBezTo>
                    <a:pt x="908319" y="1488"/>
                    <a:pt x="908319" y="992"/>
                    <a:pt x="916752" y="992"/>
                  </a:cubicBezTo>
                  <a:cubicBezTo>
                    <a:pt x="924689" y="992"/>
                    <a:pt x="924689" y="992"/>
                    <a:pt x="933122" y="992"/>
                  </a:cubicBezTo>
                  <a:cubicBezTo>
                    <a:pt x="941060" y="992"/>
                    <a:pt x="941060" y="2976"/>
                    <a:pt x="949493" y="2976"/>
                  </a:cubicBezTo>
                  <a:cubicBezTo>
                    <a:pt x="957430" y="2976"/>
                    <a:pt x="957430" y="1984"/>
                    <a:pt x="965864" y="1984"/>
                  </a:cubicBezTo>
                  <a:cubicBezTo>
                    <a:pt x="973801" y="1984"/>
                    <a:pt x="973801" y="992"/>
                    <a:pt x="982234" y="992"/>
                  </a:cubicBezTo>
                  <a:cubicBezTo>
                    <a:pt x="990171" y="992"/>
                    <a:pt x="990171" y="2480"/>
                    <a:pt x="998605" y="2480"/>
                  </a:cubicBezTo>
                  <a:cubicBezTo>
                    <a:pt x="1006542" y="2480"/>
                    <a:pt x="1006542" y="1984"/>
                    <a:pt x="1014975" y="1984"/>
                  </a:cubicBezTo>
                  <a:cubicBezTo>
                    <a:pt x="1022912" y="1984"/>
                    <a:pt x="1022912" y="2976"/>
                    <a:pt x="1031346" y="2976"/>
                  </a:cubicBezTo>
                  <a:cubicBezTo>
                    <a:pt x="1039283" y="2976"/>
                    <a:pt x="1039283" y="2480"/>
                    <a:pt x="1047716" y="2480"/>
                  </a:cubicBezTo>
                  <a:cubicBezTo>
                    <a:pt x="1055654" y="2480"/>
                    <a:pt x="1055654" y="1984"/>
                    <a:pt x="1064087" y="1984"/>
                  </a:cubicBezTo>
                  <a:cubicBezTo>
                    <a:pt x="1072024" y="1984"/>
                    <a:pt x="1072024" y="1984"/>
                    <a:pt x="1080458" y="1984"/>
                  </a:cubicBezTo>
                  <a:cubicBezTo>
                    <a:pt x="1088395" y="1984"/>
                    <a:pt x="1088395" y="2976"/>
                    <a:pt x="1096828" y="2976"/>
                  </a:cubicBezTo>
                  <a:cubicBezTo>
                    <a:pt x="1104765" y="2976"/>
                    <a:pt x="1104765" y="1984"/>
                    <a:pt x="1113199" y="1984"/>
                  </a:cubicBezTo>
                  <a:cubicBezTo>
                    <a:pt x="1121136" y="1984"/>
                    <a:pt x="1121136" y="2480"/>
                    <a:pt x="1129569" y="2480"/>
                  </a:cubicBezTo>
                  <a:cubicBezTo>
                    <a:pt x="1137507" y="2480"/>
                    <a:pt x="1137507" y="1984"/>
                    <a:pt x="1145940" y="1984"/>
                  </a:cubicBezTo>
                  <a:cubicBezTo>
                    <a:pt x="1154373" y="1984"/>
                    <a:pt x="1153877" y="3473"/>
                    <a:pt x="1162311" y="3473"/>
                  </a:cubicBezTo>
                  <a:cubicBezTo>
                    <a:pt x="1170248" y="3473"/>
                    <a:pt x="1170248" y="1984"/>
                    <a:pt x="1178681" y="1984"/>
                  </a:cubicBezTo>
                  <a:cubicBezTo>
                    <a:pt x="1186618" y="1984"/>
                    <a:pt x="1186618" y="3969"/>
                    <a:pt x="1195052" y="3969"/>
                  </a:cubicBezTo>
                  <a:cubicBezTo>
                    <a:pt x="1202989" y="3969"/>
                    <a:pt x="1202989" y="3969"/>
                    <a:pt x="1211422" y="3969"/>
                  </a:cubicBezTo>
                  <a:cubicBezTo>
                    <a:pt x="1219360" y="3969"/>
                    <a:pt x="1219360" y="2480"/>
                    <a:pt x="1227793" y="2480"/>
                  </a:cubicBezTo>
                  <a:cubicBezTo>
                    <a:pt x="1235730" y="2480"/>
                    <a:pt x="1235730" y="3969"/>
                    <a:pt x="1244164" y="3969"/>
                  </a:cubicBezTo>
                  <a:cubicBezTo>
                    <a:pt x="1252101" y="3969"/>
                    <a:pt x="1252101" y="1984"/>
                    <a:pt x="1260534" y="1984"/>
                  </a:cubicBezTo>
                  <a:cubicBezTo>
                    <a:pt x="1268471" y="1984"/>
                    <a:pt x="1268471" y="3969"/>
                    <a:pt x="1276905" y="3969"/>
                  </a:cubicBezTo>
                  <a:cubicBezTo>
                    <a:pt x="1284842" y="3969"/>
                    <a:pt x="1284842" y="2976"/>
                    <a:pt x="1293275" y="2976"/>
                  </a:cubicBezTo>
                  <a:cubicBezTo>
                    <a:pt x="1301213" y="2976"/>
                    <a:pt x="1301213" y="3969"/>
                    <a:pt x="1309646" y="3969"/>
                  </a:cubicBezTo>
                  <a:cubicBezTo>
                    <a:pt x="1317583" y="3969"/>
                    <a:pt x="1317583" y="2976"/>
                    <a:pt x="1326017" y="2976"/>
                  </a:cubicBezTo>
                  <a:cubicBezTo>
                    <a:pt x="1333954" y="2976"/>
                    <a:pt x="1333954" y="3473"/>
                    <a:pt x="1342387" y="3473"/>
                  </a:cubicBezTo>
                  <a:cubicBezTo>
                    <a:pt x="1350324" y="3473"/>
                    <a:pt x="1350324" y="3473"/>
                    <a:pt x="1358758" y="3473"/>
                  </a:cubicBezTo>
                  <a:cubicBezTo>
                    <a:pt x="1366695" y="3473"/>
                    <a:pt x="1366695" y="3473"/>
                    <a:pt x="1375128" y="3473"/>
                  </a:cubicBezTo>
                  <a:cubicBezTo>
                    <a:pt x="1383066" y="3473"/>
                    <a:pt x="1383066" y="1984"/>
                    <a:pt x="1391499" y="1984"/>
                  </a:cubicBezTo>
                  <a:cubicBezTo>
                    <a:pt x="1399436" y="1984"/>
                    <a:pt x="1399436" y="2976"/>
                    <a:pt x="1407869" y="2976"/>
                  </a:cubicBezTo>
                  <a:cubicBezTo>
                    <a:pt x="1415807" y="2976"/>
                    <a:pt x="1415807" y="3473"/>
                    <a:pt x="1424240" y="3473"/>
                  </a:cubicBezTo>
                  <a:cubicBezTo>
                    <a:pt x="1432673" y="3473"/>
                    <a:pt x="1432177" y="3473"/>
                    <a:pt x="1440610" y="347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02C9A6CF-5059-ECA6-7868-3C761D24A4B2}"/>
                </a:ext>
              </a:extLst>
            </p:cNvPr>
            <p:cNvSpPr/>
            <p:nvPr/>
          </p:nvSpPr>
          <p:spPr>
            <a:xfrm>
              <a:off x="3695579" y="1782872"/>
              <a:ext cx="3313375" cy="479077"/>
            </a:xfrm>
            <a:custGeom>
              <a:avLst/>
              <a:gdLst>
                <a:gd name="connsiteX0" fmla="*/ 3785642 w 3785641"/>
                <a:gd name="connsiteY0" fmla="*/ 464825 h 481526"/>
                <a:gd name="connsiteX1" fmla="*/ 3775224 w 3785641"/>
                <a:gd name="connsiteY1" fmla="*/ 452423 h 481526"/>
                <a:gd name="connsiteX2" fmla="*/ 3763318 w 3785641"/>
                <a:gd name="connsiteY2" fmla="*/ 441013 h 481526"/>
                <a:gd name="connsiteX3" fmla="*/ 3751908 w 3785641"/>
                <a:gd name="connsiteY3" fmla="*/ 429604 h 481526"/>
                <a:gd name="connsiteX4" fmla="*/ 3740002 w 3785641"/>
                <a:gd name="connsiteY4" fmla="*/ 418690 h 481526"/>
                <a:gd name="connsiteX5" fmla="*/ 3730081 w 3785641"/>
                <a:gd name="connsiteY5" fmla="*/ 405792 h 481526"/>
                <a:gd name="connsiteX6" fmla="*/ 3716687 w 3785641"/>
                <a:gd name="connsiteY6" fmla="*/ 395870 h 481526"/>
                <a:gd name="connsiteX7" fmla="*/ 3705277 w 3785641"/>
                <a:gd name="connsiteY7" fmla="*/ 383964 h 481526"/>
                <a:gd name="connsiteX8" fmla="*/ 3693867 w 3785641"/>
                <a:gd name="connsiteY8" fmla="*/ 372058 h 481526"/>
                <a:gd name="connsiteX9" fmla="*/ 3682457 w 3785641"/>
                <a:gd name="connsiteY9" fmla="*/ 360153 h 481526"/>
                <a:gd name="connsiteX10" fmla="*/ 3671048 w 3785641"/>
                <a:gd name="connsiteY10" fmla="*/ 348247 h 481526"/>
                <a:gd name="connsiteX11" fmla="*/ 3658646 w 3785641"/>
                <a:gd name="connsiteY11" fmla="*/ 337333 h 481526"/>
                <a:gd name="connsiteX12" fmla="*/ 3647732 w 3785641"/>
                <a:gd name="connsiteY12" fmla="*/ 325427 h 481526"/>
                <a:gd name="connsiteX13" fmla="*/ 3636322 w 3785641"/>
                <a:gd name="connsiteY13" fmla="*/ 313521 h 481526"/>
                <a:gd name="connsiteX14" fmla="*/ 3623920 w 3785641"/>
                <a:gd name="connsiteY14" fmla="*/ 302608 h 481526"/>
                <a:gd name="connsiteX15" fmla="*/ 3613502 w 3785641"/>
                <a:gd name="connsiteY15" fmla="*/ 290206 h 481526"/>
                <a:gd name="connsiteX16" fmla="*/ 3601597 w 3785641"/>
                <a:gd name="connsiteY16" fmla="*/ 278796 h 481526"/>
                <a:gd name="connsiteX17" fmla="*/ 3590187 w 3785641"/>
                <a:gd name="connsiteY17" fmla="*/ 266890 h 481526"/>
                <a:gd name="connsiteX18" fmla="*/ 3578281 w 3785641"/>
                <a:gd name="connsiteY18" fmla="*/ 255976 h 481526"/>
                <a:gd name="connsiteX19" fmla="*/ 3567367 w 3785641"/>
                <a:gd name="connsiteY19" fmla="*/ 243574 h 481526"/>
                <a:gd name="connsiteX20" fmla="*/ 3555957 w 3785641"/>
                <a:gd name="connsiteY20" fmla="*/ 232165 h 481526"/>
                <a:gd name="connsiteX21" fmla="*/ 3544548 w 3785641"/>
                <a:gd name="connsiteY21" fmla="*/ 220259 h 481526"/>
                <a:gd name="connsiteX22" fmla="*/ 3533138 w 3785641"/>
                <a:gd name="connsiteY22" fmla="*/ 208849 h 481526"/>
                <a:gd name="connsiteX23" fmla="*/ 3521728 w 3785641"/>
                <a:gd name="connsiteY23" fmla="*/ 197439 h 481526"/>
                <a:gd name="connsiteX24" fmla="*/ 3509326 w 3785641"/>
                <a:gd name="connsiteY24" fmla="*/ 186525 h 481526"/>
                <a:gd name="connsiteX25" fmla="*/ 3498908 w 3785641"/>
                <a:gd name="connsiteY25" fmla="*/ 174123 h 481526"/>
                <a:gd name="connsiteX26" fmla="*/ 3486506 w 3785641"/>
                <a:gd name="connsiteY26" fmla="*/ 163210 h 481526"/>
                <a:gd name="connsiteX27" fmla="*/ 3474600 w 3785641"/>
                <a:gd name="connsiteY27" fmla="*/ 152296 h 481526"/>
                <a:gd name="connsiteX28" fmla="*/ 3462695 w 3785641"/>
                <a:gd name="connsiteY28" fmla="*/ 140886 h 481526"/>
                <a:gd name="connsiteX29" fmla="*/ 3452774 w 3785641"/>
                <a:gd name="connsiteY29" fmla="*/ 127492 h 481526"/>
                <a:gd name="connsiteX30" fmla="*/ 3440868 w 3785641"/>
                <a:gd name="connsiteY30" fmla="*/ 116578 h 481526"/>
                <a:gd name="connsiteX31" fmla="*/ 3428466 w 3785641"/>
                <a:gd name="connsiteY31" fmla="*/ 105665 h 481526"/>
                <a:gd name="connsiteX32" fmla="*/ 3417552 w 3785641"/>
                <a:gd name="connsiteY32" fmla="*/ 93263 h 481526"/>
                <a:gd name="connsiteX33" fmla="*/ 3405646 w 3785641"/>
                <a:gd name="connsiteY33" fmla="*/ 81853 h 481526"/>
                <a:gd name="connsiteX34" fmla="*/ 3393740 w 3785641"/>
                <a:gd name="connsiteY34" fmla="*/ 70939 h 481526"/>
                <a:gd name="connsiteX35" fmla="*/ 3382330 w 3785641"/>
                <a:gd name="connsiteY35" fmla="*/ 59033 h 481526"/>
                <a:gd name="connsiteX36" fmla="*/ 3370921 w 3785641"/>
                <a:gd name="connsiteY36" fmla="*/ 47127 h 481526"/>
                <a:gd name="connsiteX37" fmla="*/ 3359015 w 3785641"/>
                <a:gd name="connsiteY37" fmla="*/ 35718 h 481526"/>
                <a:gd name="connsiteX38" fmla="*/ 3347109 w 3785641"/>
                <a:gd name="connsiteY38" fmla="*/ 24308 h 481526"/>
                <a:gd name="connsiteX39" fmla="*/ 3336195 w 3785641"/>
                <a:gd name="connsiteY39" fmla="*/ 11906 h 481526"/>
                <a:gd name="connsiteX40" fmla="*/ 3324289 w 3785641"/>
                <a:gd name="connsiteY40" fmla="*/ 0 h 481526"/>
                <a:gd name="connsiteX41" fmla="*/ 3313375 w 3785641"/>
                <a:gd name="connsiteY41" fmla="*/ 13394 h 481526"/>
                <a:gd name="connsiteX42" fmla="*/ 3300973 w 3785641"/>
                <a:gd name="connsiteY42" fmla="*/ 23812 h 481526"/>
                <a:gd name="connsiteX43" fmla="*/ 3289068 w 3785641"/>
                <a:gd name="connsiteY43" fmla="*/ 34725 h 481526"/>
                <a:gd name="connsiteX44" fmla="*/ 3277658 w 3785641"/>
                <a:gd name="connsiteY44" fmla="*/ 46135 h 481526"/>
                <a:gd name="connsiteX45" fmla="*/ 3266248 w 3785641"/>
                <a:gd name="connsiteY45" fmla="*/ 58041 h 481526"/>
                <a:gd name="connsiteX46" fmla="*/ 3255830 w 3785641"/>
                <a:gd name="connsiteY46" fmla="*/ 70939 h 481526"/>
                <a:gd name="connsiteX47" fmla="*/ 3243924 w 3785641"/>
                <a:gd name="connsiteY47" fmla="*/ 82349 h 481526"/>
                <a:gd name="connsiteX48" fmla="*/ 3231522 w 3785641"/>
                <a:gd name="connsiteY48" fmla="*/ 93263 h 481526"/>
                <a:gd name="connsiteX49" fmla="*/ 3220609 w 3785641"/>
                <a:gd name="connsiteY49" fmla="*/ 105169 h 481526"/>
                <a:gd name="connsiteX50" fmla="*/ 3208207 w 3785641"/>
                <a:gd name="connsiteY50" fmla="*/ 115586 h 481526"/>
                <a:gd name="connsiteX51" fmla="*/ 3197293 w 3785641"/>
                <a:gd name="connsiteY51" fmla="*/ 127492 h 481526"/>
                <a:gd name="connsiteX52" fmla="*/ 3185387 w 3785641"/>
                <a:gd name="connsiteY52" fmla="*/ 138902 h 481526"/>
                <a:gd name="connsiteX53" fmla="*/ 3174970 w 3785641"/>
                <a:gd name="connsiteY53" fmla="*/ 151304 h 481526"/>
                <a:gd name="connsiteX54" fmla="*/ 3162071 w 3785641"/>
                <a:gd name="connsiteY54" fmla="*/ 161721 h 481526"/>
                <a:gd name="connsiteX55" fmla="*/ 3151158 w 3785641"/>
                <a:gd name="connsiteY55" fmla="*/ 174123 h 481526"/>
                <a:gd name="connsiteX56" fmla="*/ 3139252 w 3785641"/>
                <a:gd name="connsiteY56" fmla="*/ 185037 h 481526"/>
                <a:gd name="connsiteX57" fmla="*/ 3127843 w 3785641"/>
                <a:gd name="connsiteY57" fmla="*/ 196943 h 481526"/>
                <a:gd name="connsiteX58" fmla="*/ 3116432 w 3785641"/>
                <a:gd name="connsiteY58" fmla="*/ 208353 h 481526"/>
                <a:gd name="connsiteX59" fmla="*/ 3105022 w 3785641"/>
                <a:gd name="connsiteY59" fmla="*/ 220259 h 481526"/>
                <a:gd name="connsiteX60" fmla="*/ 3093117 w 3785641"/>
                <a:gd name="connsiteY60" fmla="*/ 231668 h 481526"/>
                <a:gd name="connsiteX61" fmla="*/ 3081707 w 3785641"/>
                <a:gd name="connsiteY61" fmla="*/ 243078 h 481526"/>
                <a:gd name="connsiteX62" fmla="*/ 3069305 w 3785641"/>
                <a:gd name="connsiteY62" fmla="*/ 253992 h 481526"/>
                <a:gd name="connsiteX63" fmla="*/ 3057895 w 3785641"/>
                <a:gd name="connsiteY63" fmla="*/ 265898 h 481526"/>
                <a:gd name="connsiteX64" fmla="*/ 3046486 w 3785641"/>
                <a:gd name="connsiteY64" fmla="*/ 277804 h 481526"/>
                <a:gd name="connsiteX65" fmla="*/ 3035572 w 3785641"/>
                <a:gd name="connsiteY65" fmla="*/ 289709 h 481526"/>
                <a:gd name="connsiteX66" fmla="*/ 3024658 w 3785641"/>
                <a:gd name="connsiteY66" fmla="*/ 301615 h 481526"/>
                <a:gd name="connsiteX67" fmla="*/ 3013248 w 3785641"/>
                <a:gd name="connsiteY67" fmla="*/ 313521 h 481526"/>
                <a:gd name="connsiteX68" fmla="*/ 3000350 w 3785641"/>
                <a:gd name="connsiteY68" fmla="*/ 323939 h 481526"/>
                <a:gd name="connsiteX69" fmla="*/ 2988941 w 3785641"/>
                <a:gd name="connsiteY69" fmla="*/ 335845 h 481526"/>
                <a:gd name="connsiteX70" fmla="*/ 2976539 w 3785641"/>
                <a:gd name="connsiteY70" fmla="*/ 346758 h 481526"/>
                <a:gd name="connsiteX71" fmla="*/ 2965129 w 3785641"/>
                <a:gd name="connsiteY71" fmla="*/ 358664 h 481526"/>
                <a:gd name="connsiteX72" fmla="*/ 2953223 w 3785641"/>
                <a:gd name="connsiteY72" fmla="*/ 370074 h 481526"/>
                <a:gd name="connsiteX73" fmla="*/ 2941813 w 3785641"/>
                <a:gd name="connsiteY73" fmla="*/ 381980 h 481526"/>
                <a:gd name="connsiteX74" fmla="*/ 2931395 w 3785641"/>
                <a:gd name="connsiteY74" fmla="*/ 394878 h 481526"/>
                <a:gd name="connsiteX75" fmla="*/ 2918497 w 3785641"/>
                <a:gd name="connsiteY75" fmla="*/ 405296 h 481526"/>
                <a:gd name="connsiteX76" fmla="*/ 2907584 w 3785641"/>
                <a:gd name="connsiteY76" fmla="*/ 417698 h 481526"/>
                <a:gd name="connsiteX77" fmla="*/ 2896174 w 3785641"/>
                <a:gd name="connsiteY77" fmla="*/ 429107 h 481526"/>
                <a:gd name="connsiteX78" fmla="*/ 2884268 w 3785641"/>
                <a:gd name="connsiteY78" fmla="*/ 440517 h 481526"/>
                <a:gd name="connsiteX79" fmla="*/ 2873354 w 3785641"/>
                <a:gd name="connsiteY79" fmla="*/ 452919 h 481526"/>
                <a:gd name="connsiteX80" fmla="*/ 2860952 w 3785641"/>
                <a:gd name="connsiteY80" fmla="*/ 463833 h 481526"/>
                <a:gd name="connsiteX81" fmla="*/ 2850039 w 3785641"/>
                <a:gd name="connsiteY81" fmla="*/ 476235 h 481526"/>
                <a:gd name="connsiteX82" fmla="*/ 2833668 w 3785641"/>
                <a:gd name="connsiteY82" fmla="*/ 476235 h 481526"/>
                <a:gd name="connsiteX83" fmla="*/ 2817297 w 3785641"/>
                <a:gd name="connsiteY83" fmla="*/ 475739 h 481526"/>
                <a:gd name="connsiteX84" fmla="*/ 2800927 w 3785641"/>
                <a:gd name="connsiteY84" fmla="*/ 475739 h 481526"/>
                <a:gd name="connsiteX85" fmla="*/ 2784556 w 3785641"/>
                <a:gd name="connsiteY85" fmla="*/ 476235 h 481526"/>
                <a:gd name="connsiteX86" fmla="*/ 2768186 w 3785641"/>
                <a:gd name="connsiteY86" fmla="*/ 476731 h 481526"/>
                <a:gd name="connsiteX87" fmla="*/ 2751815 w 3785641"/>
                <a:gd name="connsiteY87" fmla="*/ 476731 h 481526"/>
                <a:gd name="connsiteX88" fmla="*/ 2735444 w 3785641"/>
                <a:gd name="connsiteY88" fmla="*/ 475739 h 481526"/>
                <a:gd name="connsiteX89" fmla="*/ 2719074 w 3785641"/>
                <a:gd name="connsiteY89" fmla="*/ 476731 h 481526"/>
                <a:gd name="connsiteX90" fmla="*/ 2702703 w 3785641"/>
                <a:gd name="connsiteY90" fmla="*/ 474747 h 481526"/>
                <a:gd name="connsiteX91" fmla="*/ 2686333 w 3785641"/>
                <a:gd name="connsiteY91" fmla="*/ 475243 h 481526"/>
                <a:gd name="connsiteX92" fmla="*/ 2669962 w 3785641"/>
                <a:gd name="connsiteY92" fmla="*/ 476731 h 481526"/>
                <a:gd name="connsiteX93" fmla="*/ 2653592 w 3785641"/>
                <a:gd name="connsiteY93" fmla="*/ 474747 h 481526"/>
                <a:gd name="connsiteX94" fmla="*/ 2637221 w 3785641"/>
                <a:gd name="connsiteY94" fmla="*/ 476731 h 481526"/>
                <a:gd name="connsiteX95" fmla="*/ 2620851 w 3785641"/>
                <a:gd name="connsiteY95" fmla="*/ 476731 h 481526"/>
                <a:gd name="connsiteX96" fmla="*/ 2604480 w 3785641"/>
                <a:gd name="connsiteY96" fmla="*/ 474747 h 481526"/>
                <a:gd name="connsiteX97" fmla="*/ 2588109 w 3785641"/>
                <a:gd name="connsiteY97" fmla="*/ 476235 h 481526"/>
                <a:gd name="connsiteX98" fmla="*/ 2571739 w 3785641"/>
                <a:gd name="connsiteY98" fmla="*/ 474747 h 481526"/>
                <a:gd name="connsiteX99" fmla="*/ 2555368 w 3785641"/>
                <a:gd name="connsiteY99" fmla="*/ 475739 h 481526"/>
                <a:gd name="connsiteX100" fmla="*/ 2538998 w 3785641"/>
                <a:gd name="connsiteY100" fmla="*/ 476731 h 481526"/>
                <a:gd name="connsiteX101" fmla="*/ 2522627 w 3785641"/>
                <a:gd name="connsiteY101" fmla="*/ 475739 h 481526"/>
                <a:gd name="connsiteX102" fmla="*/ 2506257 w 3785641"/>
                <a:gd name="connsiteY102" fmla="*/ 476731 h 481526"/>
                <a:gd name="connsiteX103" fmla="*/ 2489886 w 3785641"/>
                <a:gd name="connsiteY103" fmla="*/ 476235 h 481526"/>
                <a:gd name="connsiteX104" fmla="*/ 2473516 w 3785641"/>
                <a:gd name="connsiteY104" fmla="*/ 476731 h 481526"/>
                <a:gd name="connsiteX105" fmla="*/ 2457145 w 3785641"/>
                <a:gd name="connsiteY105" fmla="*/ 475243 h 481526"/>
                <a:gd name="connsiteX106" fmla="*/ 2440775 w 3785641"/>
                <a:gd name="connsiteY106" fmla="*/ 474747 h 481526"/>
                <a:gd name="connsiteX107" fmla="*/ 2424404 w 3785641"/>
                <a:gd name="connsiteY107" fmla="*/ 476235 h 481526"/>
                <a:gd name="connsiteX108" fmla="*/ 2408033 w 3785641"/>
                <a:gd name="connsiteY108" fmla="*/ 475243 h 481526"/>
                <a:gd name="connsiteX109" fmla="*/ 2391663 w 3785641"/>
                <a:gd name="connsiteY109" fmla="*/ 475739 h 481526"/>
                <a:gd name="connsiteX110" fmla="*/ 2375292 w 3785641"/>
                <a:gd name="connsiteY110" fmla="*/ 475739 h 481526"/>
                <a:gd name="connsiteX111" fmla="*/ 2358922 w 3785641"/>
                <a:gd name="connsiteY111" fmla="*/ 475243 h 481526"/>
                <a:gd name="connsiteX112" fmla="*/ 2342551 w 3785641"/>
                <a:gd name="connsiteY112" fmla="*/ 474747 h 481526"/>
                <a:gd name="connsiteX113" fmla="*/ 2326180 w 3785641"/>
                <a:gd name="connsiteY113" fmla="*/ 476235 h 481526"/>
                <a:gd name="connsiteX114" fmla="*/ 2309810 w 3785641"/>
                <a:gd name="connsiteY114" fmla="*/ 476235 h 481526"/>
                <a:gd name="connsiteX115" fmla="*/ 2293439 w 3785641"/>
                <a:gd name="connsiteY115" fmla="*/ 476235 h 481526"/>
                <a:gd name="connsiteX116" fmla="*/ 2277069 w 3785641"/>
                <a:gd name="connsiteY116" fmla="*/ 475243 h 481526"/>
                <a:gd name="connsiteX117" fmla="*/ 2260698 w 3785641"/>
                <a:gd name="connsiteY117" fmla="*/ 476731 h 481526"/>
                <a:gd name="connsiteX118" fmla="*/ 2244327 w 3785641"/>
                <a:gd name="connsiteY118" fmla="*/ 474747 h 481526"/>
                <a:gd name="connsiteX119" fmla="*/ 2227957 w 3785641"/>
                <a:gd name="connsiteY119" fmla="*/ 476731 h 481526"/>
                <a:gd name="connsiteX120" fmla="*/ 2211586 w 3785641"/>
                <a:gd name="connsiteY120" fmla="*/ 475739 h 481526"/>
                <a:gd name="connsiteX121" fmla="*/ 2195216 w 3785641"/>
                <a:gd name="connsiteY121" fmla="*/ 476731 h 481526"/>
                <a:gd name="connsiteX122" fmla="*/ 2178845 w 3785641"/>
                <a:gd name="connsiteY122" fmla="*/ 475243 h 481526"/>
                <a:gd name="connsiteX123" fmla="*/ 2162474 w 3785641"/>
                <a:gd name="connsiteY123" fmla="*/ 477227 h 481526"/>
                <a:gd name="connsiteX124" fmla="*/ 2146104 w 3785641"/>
                <a:gd name="connsiteY124" fmla="*/ 475739 h 481526"/>
                <a:gd name="connsiteX125" fmla="*/ 2129733 w 3785641"/>
                <a:gd name="connsiteY125" fmla="*/ 477227 h 481526"/>
                <a:gd name="connsiteX126" fmla="*/ 2113363 w 3785641"/>
                <a:gd name="connsiteY126" fmla="*/ 477227 h 481526"/>
                <a:gd name="connsiteX127" fmla="*/ 2096992 w 3785641"/>
                <a:gd name="connsiteY127" fmla="*/ 477227 h 481526"/>
                <a:gd name="connsiteX128" fmla="*/ 2080621 w 3785641"/>
                <a:gd name="connsiteY128" fmla="*/ 476731 h 481526"/>
                <a:gd name="connsiteX129" fmla="*/ 2064251 w 3785641"/>
                <a:gd name="connsiteY129" fmla="*/ 475243 h 481526"/>
                <a:gd name="connsiteX130" fmla="*/ 2047880 w 3785641"/>
                <a:gd name="connsiteY130" fmla="*/ 477227 h 481526"/>
                <a:gd name="connsiteX131" fmla="*/ 2031510 w 3785641"/>
                <a:gd name="connsiteY131" fmla="*/ 477227 h 481526"/>
                <a:gd name="connsiteX132" fmla="*/ 2015139 w 3785641"/>
                <a:gd name="connsiteY132" fmla="*/ 477227 h 481526"/>
                <a:gd name="connsiteX133" fmla="*/ 1998769 w 3785641"/>
                <a:gd name="connsiteY133" fmla="*/ 476731 h 481526"/>
                <a:gd name="connsiteX134" fmla="*/ 1982398 w 3785641"/>
                <a:gd name="connsiteY134" fmla="*/ 476235 h 481526"/>
                <a:gd name="connsiteX135" fmla="*/ 1966028 w 3785641"/>
                <a:gd name="connsiteY135" fmla="*/ 476235 h 481526"/>
                <a:gd name="connsiteX136" fmla="*/ 1949657 w 3785641"/>
                <a:gd name="connsiteY136" fmla="*/ 475243 h 481526"/>
                <a:gd name="connsiteX137" fmla="*/ 1933287 w 3785641"/>
                <a:gd name="connsiteY137" fmla="*/ 475739 h 481526"/>
                <a:gd name="connsiteX138" fmla="*/ 1916916 w 3785641"/>
                <a:gd name="connsiteY138" fmla="*/ 477227 h 481526"/>
                <a:gd name="connsiteX139" fmla="*/ 1900546 w 3785641"/>
                <a:gd name="connsiteY139" fmla="*/ 475243 h 481526"/>
                <a:gd name="connsiteX140" fmla="*/ 1884175 w 3785641"/>
                <a:gd name="connsiteY140" fmla="*/ 476235 h 481526"/>
                <a:gd name="connsiteX141" fmla="*/ 1867804 w 3785641"/>
                <a:gd name="connsiteY141" fmla="*/ 477227 h 481526"/>
                <a:gd name="connsiteX142" fmla="*/ 1851434 w 3785641"/>
                <a:gd name="connsiteY142" fmla="*/ 477227 h 481526"/>
                <a:gd name="connsiteX143" fmla="*/ 1835063 w 3785641"/>
                <a:gd name="connsiteY143" fmla="*/ 477227 h 481526"/>
                <a:gd name="connsiteX144" fmla="*/ 1818693 w 3785641"/>
                <a:gd name="connsiteY144" fmla="*/ 476731 h 481526"/>
                <a:gd name="connsiteX145" fmla="*/ 1802322 w 3785641"/>
                <a:gd name="connsiteY145" fmla="*/ 475243 h 481526"/>
                <a:gd name="connsiteX146" fmla="*/ 1785951 w 3785641"/>
                <a:gd name="connsiteY146" fmla="*/ 476235 h 481526"/>
                <a:gd name="connsiteX147" fmla="*/ 1769581 w 3785641"/>
                <a:gd name="connsiteY147" fmla="*/ 475739 h 481526"/>
                <a:gd name="connsiteX148" fmla="*/ 1753210 w 3785641"/>
                <a:gd name="connsiteY148" fmla="*/ 474747 h 481526"/>
                <a:gd name="connsiteX149" fmla="*/ 1736840 w 3785641"/>
                <a:gd name="connsiteY149" fmla="*/ 475739 h 481526"/>
                <a:gd name="connsiteX150" fmla="*/ 1720469 w 3785641"/>
                <a:gd name="connsiteY150" fmla="*/ 477227 h 481526"/>
                <a:gd name="connsiteX151" fmla="*/ 1704098 w 3785641"/>
                <a:gd name="connsiteY151" fmla="*/ 475243 h 481526"/>
                <a:gd name="connsiteX152" fmla="*/ 1687728 w 3785641"/>
                <a:gd name="connsiteY152" fmla="*/ 477227 h 481526"/>
                <a:gd name="connsiteX153" fmla="*/ 1671357 w 3785641"/>
                <a:gd name="connsiteY153" fmla="*/ 477227 h 481526"/>
                <a:gd name="connsiteX154" fmla="*/ 1654987 w 3785641"/>
                <a:gd name="connsiteY154" fmla="*/ 474747 h 481526"/>
                <a:gd name="connsiteX155" fmla="*/ 1638616 w 3785641"/>
                <a:gd name="connsiteY155" fmla="*/ 475243 h 481526"/>
                <a:gd name="connsiteX156" fmla="*/ 1622246 w 3785641"/>
                <a:gd name="connsiteY156" fmla="*/ 476235 h 481526"/>
                <a:gd name="connsiteX157" fmla="*/ 1605875 w 3785641"/>
                <a:gd name="connsiteY157" fmla="*/ 477227 h 481526"/>
                <a:gd name="connsiteX158" fmla="*/ 1589505 w 3785641"/>
                <a:gd name="connsiteY158" fmla="*/ 475739 h 481526"/>
                <a:gd name="connsiteX159" fmla="*/ 1573134 w 3785641"/>
                <a:gd name="connsiteY159" fmla="*/ 477227 h 481526"/>
                <a:gd name="connsiteX160" fmla="*/ 1556763 w 3785641"/>
                <a:gd name="connsiteY160" fmla="*/ 475243 h 481526"/>
                <a:gd name="connsiteX161" fmla="*/ 1540393 w 3785641"/>
                <a:gd name="connsiteY161" fmla="*/ 475243 h 481526"/>
                <a:gd name="connsiteX162" fmla="*/ 1524022 w 3785641"/>
                <a:gd name="connsiteY162" fmla="*/ 476731 h 481526"/>
                <a:gd name="connsiteX163" fmla="*/ 1507652 w 3785641"/>
                <a:gd name="connsiteY163" fmla="*/ 475243 h 481526"/>
                <a:gd name="connsiteX164" fmla="*/ 1491281 w 3785641"/>
                <a:gd name="connsiteY164" fmla="*/ 476731 h 481526"/>
                <a:gd name="connsiteX165" fmla="*/ 1474910 w 3785641"/>
                <a:gd name="connsiteY165" fmla="*/ 476731 h 481526"/>
                <a:gd name="connsiteX166" fmla="*/ 1458540 w 3785641"/>
                <a:gd name="connsiteY166" fmla="*/ 475243 h 481526"/>
                <a:gd name="connsiteX167" fmla="*/ 1442169 w 3785641"/>
                <a:gd name="connsiteY167" fmla="*/ 474251 h 481526"/>
                <a:gd name="connsiteX168" fmla="*/ 1425799 w 3785641"/>
                <a:gd name="connsiteY168" fmla="*/ 474747 h 481526"/>
                <a:gd name="connsiteX169" fmla="*/ 1409428 w 3785641"/>
                <a:gd name="connsiteY169" fmla="*/ 475243 h 481526"/>
                <a:gd name="connsiteX170" fmla="*/ 1393058 w 3785641"/>
                <a:gd name="connsiteY170" fmla="*/ 476235 h 481526"/>
                <a:gd name="connsiteX171" fmla="*/ 1376687 w 3785641"/>
                <a:gd name="connsiteY171" fmla="*/ 474251 h 481526"/>
                <a:gd name="connsiteX172" fmla="*/ 1360317 w 3785641"/>
                <a:gd name="connsiteY172" fmla="*/ 476235 h 481526"/>
                <a:gd name="connsiteX173" fmla="*/ 1343946 w 3785641"/>
                <a:gd name="connsiteY173" fmla="*/ 476235 h 481526"/>
                <a:gd name="connsiteX174" fmla="*/ 1327576 w 3785641"/>
                <a:gd name="connsiteY174" fmla="*/ 475243 h 481526"/>
                <a:gd name="connsiteX175" fmla="*/ 1311205 w 3785641"/>
                <a:gd name="connsiteY175" fmla="*/ 476235 h 481526"/>
                <a:gd name="connsiteX176" fmla="*/ 1294834 w 3785641"/>
                <a:gd name="connsiteY176" fmla="*/ 476235 h 481526"/>
                <a:gd name="connsiteX177" fmla="*/ 1278464 w 3785641"/>
                <a:gd name="connsiteY177" fmla="*/ 476235 h 481526"/>
                <a:gd name="connsiteX178" fmla="*/ 1262093 w 3785641"/>
                <a:gd name="connsiteY178" fmla="*/ 476235 h 481526"/>
                <a:gd name="connsiteX179" fmla="*/ 1245723 w 3785641"/>
                <a:gd name="connsiteY179" fmla="*/ 475739 h 481526"/>
                <a:gd name="connsiteX180" fmla="*/ 1229352 w 3785641"/>
                <a:gd name="connsiteY180" fmla="*/ 475243 h 481526"/>
                <a:gd name="connsiteX181" fmla="*/ 1212981 w 3785641"/>
                <a:gd name="connsiteY181" fmla="*/ 476235 h 481526"/>
                <a:gd name="connsiteX182" fmla="*/ 1196611 w 3785641"/>
                <a:gd name="connsiteY182" fmla="*/ 474747 h 481526"/>
                <a:gd name="connsiteX183" fmla="*/ 1180240 w 3785641"/>
                <a:gd name="connsiteY183" fmla="*/ 475243 h 481526"/>
                <a:gd name="connsiteX184" fmla="*/ 1163870 w 3785641"/>
                <a:gd name="connsiteY184" fmla="*/ 475243 h 481526"/>
                <a:gd name="connsiteX185" fmla="*/ 1147499 w 3785641"/>
                <a:gd name="connsiteY185" fmla="*/ 476235 h 481526"/>
                <a:gd name="connsiteX186" fmla="*/ 1131128 w 3785641"/>
                <a:gd name="connsiteY186" fmla="*/ 476235 h 481526"/>
                <a:gd name="connsiteX187" fmla="*/ 1114758 w 3785641"/>
                <a:gd name="connsiteY187" fmla="*/ 475243 h 481526"/>
                <a:gd name="connsiteX188" fmla="*/ 1098387 w 3785641"/>
                <a:gd name="connsiteY188" fmla="*/ 476235 h 481526"/>
                <a:gd name="connsiteX189" fmla="*/ 1082017 w 3785641"/>
                <a:gd name="connsiteY189" fmla="*/ 477227 h 481526"/>
                <a:gd name="connsiteX190" fmla="*/ 1065646 w 3785641"/>
                <a:gd name="connsiteY190" fmla="*/ 477227 h 481526"/>
                <a:gd name="connsiteX191" fmla="*/ 1049276 w 3785641"/>
                <a:gd name="connsiteY191" fmla="*/ 476731 h 481526"/>
                <a:gd name="connsiteX192" fmla="*/ 1032905 w 3785641"/>
                <a:gd name="connsiteY192" fmla="*/ 475739 h 481526"/>
                <a:gd name="connsiteX193" fmla="*/ 1016535 w 3785641"/>
                <a:gd name="connsiteY193" fmla="*/ 476731 h 481526"/>
                <a:gd name="connsiteX194" fmla="*/ 1000164 w 3785641"/>
                <a:gd name="connsiteY194" fmla="*/ 476731 h 481526"/>
                <a:gd name="connsiteX195" fmla="*/ 983793 w 3785641"/>
                <a:gd name="connsiteY195" fmla="*/ 475243 h 481526"/>
                <a:gd name="connsiteX196" fmla="*/ 967423 w 3785641"/>
                <a:gd name="connsiteY196" fmla="*/ 475243 h 481526"/>
                <a:gd name="connsiteX197" fmla="*/ 951052 w 3785641"/>
                <a:gd name="connsiteY197" fmla="*/ 476235 h 481526"/>
                <a:gd name="connsiteX198" fmla="*/ 934682 w 3785641"/>
                <a:gd name="connsiteY198" fmla="*/ 476731 h 481526"/>
                <a:gd name="connsiteX199" fmla="*/ 918311 w 3785641"/>
                <a:gd name="connsiteY199" fmla="*/ 477227 h 481526"/>
                <a:gd name="connsiteX200" fmla="*/ 901940 w 3785641"/>
                <a:gd name="connsiteY200" fmla="*/ 475739 h 481526"/>
                <a:gd name="connsiteX201" fmla="*/ 885570 w 3785641"/>
                <a:gd name="connsiteY201" fmla="*/ 477227 h 481526"/>
                <a:gd name="connsiteX202" fmla="*/ 869199 w 3785641"/>
                <a:gd name="connsiteY202" fmla="*/ 476731 h 481526"/>
                <a:gd name="connsiteX203" fmla="*/ 852829 w 3785641"/>
                <a:gd name="connsiteY203" fmla="*/ 476235 h 481526"/>
                <a:gd name="connsiteX204" fmla="*/ 836458 w 3785641"/>
                <a:gd name="connsiteY204" fmla="*/ 477227 h 481526"/>
                <a:gd name="connsiteX205" fmla="*/ 820088 w 3785641"/>
                <a:gd name="connsiteY205" fmla="*/ 477723 h 481526"/>
                <a:gd name="connsiteX206" fmla="*/ 803717 w 3785641"/>
                <a:gd name="connsiteY206" fmla="*/ 476235 h 481526"/>
                <a:gd name="connsiteX207" fmla="*/ 787347 w 3785641"/>
                <a:gd name="connsiteY207" fmla="*/ 478219 h 481526"/>
                <a:gd name="connsiteX208" fmla="*/ 770976 w 3785641"/>
                <a:gd name="connsiteY208" fmla="*/ 477227 h 481526"/>
                <a:gd name="connsiteX209" fmla="*/ 754605 w 3785641"/>
                <a:gd name="connsiteY209" fmla="*/ 477723 h 481526"/>
                <a:gd name="connsiteX210" fmla="*/ 738235 w 3785641"/>
                <a:gd name="connsiteY210" fmla="*/ 476235 h 481526"/>
                <a:gd name="connsiteX211" fmla="*/ 721864 w 3785641"/>
                <a:gd name="connsiteY211" fmla="*/ 477723 h 481526"/>
                <a:gd name="connsiteX212" fmla="*/ 705494 w 3785641"/>
                <a:gd name="connsiteY212" fmla="*/ 478219 h 481526"/>
                <a:gd name="connsiteX213" fmla="*/ 689123 w 3785641"/>
                <a:gd name="connsiteY213" fmla="*/ 476731 h 481526"/>
                <a:gd name="connsiteX214" fmla="*/ 672753 w 3785641"/>
                <a:gd name="connsiteY214" fmla="*/ 477723 h 481526"/>
                <a:gd name="connsiteX215" fmla="*/ 656382 w 3785641"/>
                <a:gd name="connsiteY215" fmla="*/ 477227 h 481526"/>
                <a:gd name="connsiteX216" fmla="*/ 640011 w 3785641"/>
                <a:gd name="connsiteY216" fmla="*/ 478219 h 481526"/>
                <a:gd name="connsiteX217" fmla="*/ 623641 w 3785641"/>
                <a:gd name="connsiteY217" fmla="*/ 476235 h 481526"/>
                <a:gd name="connsiteX218" fmla="*/ 607270 w 3785641"/>
                <a:gd name="connsiteY218" fmla="*/ 477227 h 481526"/>
                <a:gd name="connsiteX219" fmla="*/ 590900 w 3785641"/>
                <a:gd name="connsiteY219" fmla="*/ 477723 h 481526"/>
                <a:gd name="connsiteX220" fmla="*/ 574529 w 3785641"/>
                <a:gd name="connsiteY220" fmla="*/ 476731 h 481526"/>
                <a:gd name="connsiteX221" fmla="*/ 558158 w 3785641"/>
                <a:gd name="connsiteY221" fmla="*/ 477723 h 481526"/>
                <a:gd name="connsiteX222" fmla="*/ 541788 w 3785641"/>
                <a:gd name="connsiteY222" fmla="*/ 478219 h 481526"/>
                <a:gd name="connsiteX223" fmla="*/ 525417 w 3785641"/>
                <a:gd name="connsiteY223" fmla="*/ 476731 h 481526"/>
                <a:gd name="connsiteX224" fmla="*/ 509047 w 3785641"/>
                <a:gd name="connsiteY224" fmla="*/ 476235 h 481526"/>
                <a:gd name="connsiteX225" fmla="*/ 492676 w 3785641"/>
                <a:gd name="connsiteY225" fmla="*/ 476235 h 481526"/>
                <a:gd name="connsiteX226" fmla="*/ 476306 w 3785641"/>
                <a:gd name="connsiteY226" fmla="*/ 477227 h 481526"/>
                <a:gd name="connsiteX227" fmla="*/ 459935 w 3785641"/>
                <a:gd name="connsiteY227" fmla="*/ 476235 h 481526"/>
                <a:gd name="connsiteX228" fmla="*/ 443565 w 3785641"/>
                <a:gd name="connsiteY228" fmla="*/ 477227 h 481526"/>
                <a:gd name="connsiteX229" fmla="*/ 427194 w 3785641"/>
                <a:gd name="connsiteY229" fmla="*/ 476731 h 481526"/>
                <a:gd name="connsiteX230" fmla="*/ 410823 w 3785641"/>
                <a:gd name="connsiteY230" fmla="*/ 475739 h 481526"/>
                <a:gd name="connsiteX231" fmla="*/ 394453 w 3785641"/>
                <a:gd name="connsiteY231" fmla="*/ 478219 h 481526"/>
                <a:gd name="connsiteX232" fmla="*/ 378082 w 3785641"/>
                <a:gd name="connsiteY232" fmla="*/ 477723 h 481526"/>
                <a:gd name="connsiteX233" fmla="*/ 361712 w 3785641"/>
                <a:gd name="connsiteY233" fmla="*/ 477227 h 481526"/>
                <a:gd name="connsiteX234" fmla="*/ 345341 w 3785641"/>
                <a:gd name="connsiteY234" fmla="*/ 478715 h 481526"/>
                <a:gd name="connsiteX235" fmla="*/ 328970 w 3785641"/>
                <a:gd name="connsiteY235" fmla="*/ 476731 h 481526"/>
                <a:gd name="connsiteX236" fmla="*/ 312600 w 3785641"/>
                <a:gd name="connsiteY236" fmla="*/ 477723 h 481526"/>
                <a:gd name="connsiteX237" fmla="*/ 296229 w 3785641"/>
                <a:gd name="connsiteY237" fmla="*/ 476731 h 481526"/>
                <a:gd name="connsiteX238" fmla="*/ 279859 w 3785641"/>
                <a:gd name="connsiteY238" fmla="*/ 478219 h 481526"/>
                <a:gd name="connsiteX239" fmla="*/ 263488 w 3785641"/>
                <a:gd name="connsiteY239" fmla="*/ 478715 h 481526"/>
                <a:gd name="connsiteX240" fmla="*/ 247118 w 3785641"/>
                <a:gd name="connsiteY240" fmla="*/ 478715 h 481526"/>
                <a:gd name="connsiteX241" fmla="*/ 230747 w 3785641"/>
                <a:gd name="connsiteY241" fmla="*/ 477227 h 481526"/>
                <a:gd name="connsiteX242" fmla="*/ 214376 w 3785641"/>
                <a:gd name="connsiteY242" fmla="*/ 477227 h 481526"/>
                <a:gd name="connsiteX243" fmla="*/ 198006 w 3785641"/>
                <a:gd name="connsiteY243" fmla="*/ 479211 h 481526"/>
                <a:gd name="connsiteX244" fmla="*/ 181635 w 3785641"/>
                <a:gd name="connsiteY244" fmla="*/ 478715 h 481526"/>
                <a:gd name="connsiteX245" fmla="*/ 165265 w 3785641"/>
                <a:gd name="connsiteY245" fmla="*/ 477227 h 481526"/>
                <a:gd name="connsiteX246" fmla="*/ 148894 w 3785641"/>
                <a:gd name="connsiteY246" fmla="*/ 479211 h 481526"/>
                <a:gd name="connsiteX247" fmla="*/ 132524 w 3785641"/>
                <a:gd name="connsiteY247" fmla="*/ 478715 h 481526"/>
                <a:gd name="connsiteX248" fmla="*/ 116153 w 3785641"/>
                <a:gd name="connsiteY248" fmla="*/ 477723 h 481526"/>
                <a:gd name="connsiteX249" fmla="*/ 99783 w 3785641"/>
                <a:gd name="connsiteY249" fmla="*/ 477723 h 481526"/>
                <a:gd name="connsiteX250" fmla="*/ 83412 w 3785641"/>
                <a:gd name="connsiteY250" fmla="*/ 477723 h 481526"/>
                <a:gd name="connsiteX251" fmla="*/ 67041 w 3785641"/>
                <a:gd name="connsiteY251" fmla="*/ 477227 h 481526"/>
                <a:gd name="connsiteX252" fmla="*/ 50671 w 3785641"/>
                <a:gd name="connsiteY252" fmla="*/ 477723 h 481526"/>
                <a:gd name="connsiteX253" fmla="*/ 34300 w 3785641"/>
                <a:gd name="connsiteY253" fmla="*/ 477723 h 481526"/>
                <a:gd name="connsiteX254" fmla="*/ 17930 w 3785641"/>
                <a:gd name="connsiteY254" fmla="*/ 478219 h 481526"/>
                <a:gd name="connsiteX255" fmla="*/ 567 w 3785641"/>
                <a:gd name="connsiteY255" fmla="*/ 478219 h 481526"/>
                <a:gd name="connsiteX256" fmla="*/ 12969 w 3785641"/>
                <a:gd name="connsiteY256" fmla="*/ 465817 h 481526"/>
                <a:gd name="connsiteX257" fmla="*/ 24379 w 3785641"/>
                <a:gd name="connsiteY257" fmla="*/ 454407 h 481526"/>
                <a:gd name="connsiteX258" fmla="*/ 35788 w 3785641"/>
                <a:gd name="connsiteY258" fmla="*/ 442502 h 481526"/>
                <a:gd name="connsiteX259" fmla="*/ 48686 w 3785641"/>
                <a:gd name="connsiteY259" fmla="*/ 432580 h 481526"/>
                <a:gd name="connsiteX260" fmla="*/ 59600 w 3785641"/>
                <a:gd name="connsiteY260" fmla="*/ 420674 h 481526"/>
                <a:gd name="connsiteX261" fmla="*/ 70514 w 3785641"/>
                <a:gd name="connsiteY261" fmla="*/ 408272 h 481526"/>
                <a:gd name="connsiteX262" fmla="*/ 83412 w 3785641"/>
                <a:gd name="connsiteY262" fmla="*/ 397855 h 481526"/>
                <a:gd name="connsiteX263" fmla="*/ 94822 w 3785641"/>
                <a:gd name="connsiteY263" fmla="*/ 385949 h 481526"/>
                <a:gd name="connsiteX264" fmla="*/ 106728 w 3785641"/>
                <a:gd name="connsiteY264" fmla="*/ 374539 h 481526"/>
                <a:gd name="connsiteX265" fmla="*/ 117145 w 3785641"/>
                <a:gd name="connsiteY265" fmla="*/ 362137 h 481526"/>
                <a:gd name="connsiteX266" fmla="*/ 128555 w 3785641"/>
                <a:gd name="connsiteY266" fmla="*/ 350727 h 481526"/>
                <a:gd name="connsiteX267" fmla="*/ 140461 w 3785641"/>
                <a:gd name="connsiteY267" fmla="*/ 339317 h 481526"/>
                <a:gd name="connsiteX268" fmla="*/ 152863 w 3785641"/>
                <a:gd name="connsiteY268" fmla="*/ 328900 h 481526"/>
                <a:gd name="connsiteX269" fmla="*/ 164769 w 3785641"/>
                <a:gd name="connsiteY269" fmla="*/ 317490 h 481526"/>
                <a:gd name="connsiteX270" fmla="*/ 176178 w 3785641"/>
                <a:gd name="connsiteY270" fmla="*/ 305584 h 481526"/>
                <a:gd name="connsiteX271" fmla="*/ 188084 w 3785641"/>
                <a:gd name="connsiteY271" fmla="*/ 294174 h 481526"/>
                <a:gd name="connsiteX272" fmla="*/ 199494 w 3785641"/>
                <a:gd name="connsiteY272" fmla="*/ 282764 h 481526"/>
                <a:gd name="connsiteX273" fmla="*/ 210904 w 3785641"/>
                <a:gd name="connsiteY273" fmla="*/ 271355 h 481526"/>
                <a:gd name="connsiteX274" fmla="*/ 221818 w 3785641"/>
                <a:gd name="connsiteY274" fmla="*/ 258953 h 481526"/>
                <a:gd name="connsiteX275" fmla="*/ 233724 w 3785641"/>
                <a:gd name="connsiteY275" fmla="*/ 247543 h 481526"/>
                <a:gd name="connsiteX276" fmla="*/ 244141 w 3785641"/>
                <a:gd name="connsiteY276" fmla="*/ 235141 h 481526"/>
                <a:gd name="connsiteX277" fmla="*/ 257039 w 3785641"/>
                <a:gd name="connsiteY277" fmla="*/ 225219 h 481526"/>
                <a:gd name="connsiteX278" fmla="*/ 266961 w 3785641"/>
                <a:gd name="connsiteY278" fmla="*/ 211825 h 481526"/>
                <a:gd name="connsiteX279" fmla="*/ 278371 w 3785641"/>
                <a:gd name="connsiteY279" fmla="*/ 200415 h 481526"/>
                <a:gd name="connsiteX280" fmla="*/ 291269 w 3785641"/>
                <a:gd name="connsiteY280" fmla="*/ 190494 h 481526"/>
                <a:gd name="connsiteX281" fmla="*/ 301686 w 3785641"/>
                <a:gd name="connsiteY281" fmla="*/ 177596 h 481526"/>
                <a:gd name="connsiteX282" fmla="*/ 313592 w 3785641"/>
                <a:gd name="connsiteY282" fmla="*/ 166186 h 481526"/>
                <a:gd name="connsiteX283" fmla="*/ 325994 w 3785641"/>
                <a:gd name="connsiteY283" fmla="*/ 155768 h 481526"/>
                <a:gd name="connsiteX284" fmla="*/ 337404 w 3785641"/>
                <a:gd name="connsiteY284" fmla="*/ 144359 h 481526"/>
                <a:gd name="connsiteX285" fmla="*/ 347325 w 3785641"/>
                <a:gd name="connsiteY285" fmla="*/ 131461 h 481526"/>
                <a:gd name="connsiteX286" fmla="*/ 360224 w 3785641"/>
                <a:gd name="connsiteY286" fmla="*/ 121043 h 481526"/>
                <a:gd name="connsiteX287" fmla="*/ 371137 w 3785641"/>
                <a:gd name="connsiteY287" fmla="*/ 108641 h 481526"/>
                <a:gd name="connsiteX288" fmla="*/ 382051 w 3785641"/>
                <a:gd name="connsiteY288" fmla="*/ 96239 h 481526"/>
                <a:gd name="connsiteX289" fmla="*/ 393957 w 3785641"/>
                <a:gd name="connsiteY289" fmla="*/ 84829 h 481526"/>
                <a:gd name="connsiteX290" fmla="*/ 405366 w 3785641"/>
                <a:gd name="connsiteY290" fmla="*/ 72924 h 481526"/>
                <a:gd name="connsiteX291" fmla="*/ 417272 w 3785641"/>
                <a:gd name="connsiteY291" fmla="*/ 62010 h 481526"/>
                <a:gd name="connsiteX292" fmla="*/ 429674 w 3785641"/>
                <a:gd name="connsiteY292" fmla="*/ 51096 h 481526"/>
                <a:gd name="connsiteX293" fmla="*/ 440092 w 3785641"/>
                <a:gd name="connsiteY293" fmla="*/ 38198 h 481526"/>
                <a:gd name="connsiteX294" fmla="*/ 452494 w 3785641"/>
                <a:gd name="connsiteY294" fmla="*/ 27284 h 481526"/>
                <a:gd name="connsiteX295" fmla="*/ 463904 w 3785641"/>
                <a:gd name="connsiteY295" fmla="*/ 15378 h 481526"/>
                <a:gd name="connsiteX296" fmla="*/ 475313 w 3785641"/>
                <a:gd name="connsiteY296" fmla="*/ 3473 h 481526"/>
                <a:gd name="connsiteX297" fmla="*/ 491684 w 3785641"/>
                <a:gd name="connsiteY297" fmla="*/ 4961 h 481526"/>
                <a:gd name="connsiteX298" fmla="*/ 508055 w 3785641"/>
                <a:gd name="connsiteY298" fmla="*/ 4961 h 481526"/>
                <a:gd name="connsiteX299" fmla="*/ 524425 w 3785641"/>
                <a:gd name="connsiteY299" fmla="*/ 4961 h 481526"/>
                <a:gd name="connsiteX300" fmla="*/ 540796 w 3785641"/>
                <a:gd name="connsiteY300" fmla="*/ 3473 h 481526"/>
                <a:gd name="connsiteX301" fmla="*/ 557166 w 3785641"/>
                <a:gd name="connsiteY301" fmla="*/ 4961 h 481526"/>
                <a:gd name="connsiteX302" fmla="*/ 573537 w 3785641"/>
                <a:gd name="connsiteY302" fmla="*/ 3473 h 481526"/>
                <a:gd name="connsiteX303" fmla="*/ 589908 w 3785641"/>
                <a:gd name="connsiteY303" fmla="*/ 2976 h 481526"/>
                <a:gd name="connsiteX304" fmla="*/ 606278 w 3785641"/>
                <a:gd name="connsiteY304" fmla="*/ 3969 h 481526"/>
                <a:gd name="connsiteX305" fmla="*/ 622649 w 3785641"/>
                <a:gd name="connsiteY305" fmla="*/ 3969 h 481526"/>
                <a:gd name="connsiteX306" fmla="*/ 639019 w 3785641"/>
                <a:gd name="connsiteY306" fmla="*/ 4465 h 481526"/>
                <a:gd name="connsiteX307" fmla="*/ 655390 w 3785641"/>
                <a:gd name="connsiteY307" fmla="*/ 2976 h 481526"/>
                <a:gd name="connsiteX308" fmla="*/ 671760 w 3785641"/>
                <a:gd name="connsiteY308" fmla="*/ 3969 h 481526"/>
                <a:gd name="connsiteX309" fmla="*/ 688131 w 3785641"/>
                <a:gd name="connsiteY309" fmla="*/ 4961 h 481526"/>
                <a:gd name="connsiteX310" fmla="*/ 704501 w 3785641"/>
                <a:gd name="connsiteY310" fmla="*/ 3473 h 481526"/>
                <a:gd name="connsiteX311" fmla="*/ 720872 w 3785641"/>
                <a:gd name="connsiteY311" fmla="*/ 3969 h 481526"/>
                <a:gd name="connsiteX312" fmla="*/ 737243 w 3785641"/>
                <a:gd name="connsiteY312" fmla="*/ 4465 h 481526"/>
                <a:gd name="connsiteX313" fmla="*/ 753613 w 3785641"/>
                <a:gd name="connsiteY313" fmla="*/ 3473 h 481526"/>
                <a:gd name="connsiteX314" fmla="*/ 769984 w 3785641"/>
                <a:gd name="connsiteY314" fmla="*/ 2976 h 481526"/>
                <a:gd name="connsiteX315" fmla="*/ 786354 w 3785641"/>
                <a:gd name="connsiteY315" fmla="*/ 3969 h 481526"/>
                <a:gd name="connsiteX316" fmla="*/ 802725 w 3785641"/>
                <a:gd name="connsiteY316" fmla="*/ 2976 h 481526"/>
                <a:gd name="connsiteX317" fmla="*/ 819096 w 3785641"/>
                <a:gd name="connsiteY317" fmla="*/ 4961 h 481526"/>
                <a:gd name="connsiteX318" fmla="*/ 835466 w 3785641"/>
                <a:gd name="connsiteY318" fmla="*/ 2976 h 481526"/>
                <a:gd name="connsiteX319" fmla="*/ 851837 w 3785641"/>
                <a:gd name="connsiteY319" fmla="*/ 3969 h 481526"/>
                <a:gd name="connsiteX320" fmla="*/ 868207 w 3785641"/>
                <a:gd name="connsiteY320" fmla="*/ 4465 h 481526"/>
                <a:gd name="connsiteX321" fmla="*/ 884578 w 3785641"/>
                <a:gd name="connsiteY321" fmla="*/ 4961 h 481526"/>
                <a:gd name="connsiteX322" fmla="*/ 900948 w 3785641"/>
                <a:gd name="connsiteY322" fmla="*/ 3969 h 481526"/>
                <a:gd name="connsiteX323" fmla="*/ 917319 w 3785641"/>
                <a:gd name="connsiteY323" fmla="*/ 3473 h 481526"/>
                <a:gd name="connsiteX324" fmla="*/ 933689 w 3785641"/>
                <a:gd name="connsiteY324" fmla="*/ 4961 h 481526"/>
                <a:gd name="connsiteX325" fmla="*/ 950060 w 3785641"/>
                <a:gd name="connsiteY325" fmla="*/ 3969 h 481526"/>
                <a:gd name="connsiteX326" fmla="*/ 966431 w 3785641"/>
                <a:gd name="connsiteY326" fmla="*/ 4465 h 481526"/>
                <a:gd name="connsiteX327" fmla="*/ 982801 w 3785641"/>
                <a:gd name="connsiteY327" fmla="*/ 4961 h 481526"/>
                <a:gd name="connsiteX328" fmla="*/ 999172 w 3785641"/>
                <a:gd name="connsiteY328" fmla="*/ 3969 h 481526"/>
                <a:gd name="connsiteX329" fmla="*/ 1015542 w 3785641"/>
                <a:gd name="connsiteY329" fmla="*/ 4961 h 481526"/>
                <a:gd name="connsiteX330" fmla="*/ 1031913 w 3785641"/>
                <a:gd name="connsiteY330" fmla="*/ 3969 h 481526"/>
                <a:gd name="connsiteX331" fmla="*/ 1048283 w 3785641"/>
                <a:gd name="connsiteY331" fmla="*/ 4465 h 481526"/>
                <a:gd name="connsiteX332" fmla="*/ 1064654 w 3785641"/>
                <a:gd name="connsiteY332" fmla="*/ 5953 h 481526"/>
                <a:gd name="connsiteX333" fmla="*/ 1081025 w 3785641"/>
                <a:gd name="connsiteY333" fmla="*/ 4465 h 481526"/>
                <a:gd name="connsiteX334" fmla="*/ 1097395 w 3785641"/>
                <a:gd name="connsiteY334" fmla="*/ 4961 h 481526"/>
                <a:gd name="connsiteX335" fmla="*/ 1113766 w 3785641"/>
                <a:gd name="connsiteY335" fmla="*/ 4961 h 481526"/>
                <a:gd name="connsiteX336" fmla="*/ 1130136 w 3785641"/>
                <a:gd name="connsiteY336" fmla="*/ 5953 h 481526"/>
                <a:gd name="connsiteX337" fmla="*/ 1146507 w 3785641"/>
                <a:gd name="connsiteY337" fmla="*/ 3969 h 481526"/>
                <a:gd name="connsiteX338" fmla="*/ 1162878 w 3785641"/>
                <a:gd name="connsiteY338" fmla="*/ 5457 h 481526"/>
                <a:gd name="connsiteX339" fmla="*/ 1179248 w 3785641"/>
                <a:gd name="connsiteY339" fmla="*/ 6449 h 481526"/>
                <a:gd name="connsiteX340" fmla="*/ 1195619 w 3785641"/>
                <a:gd name="connsiteY340" fmla="*/ 5953 h 481526"/>
                <a:gd name="connsiteX341" fmla="*/ 1211989 w 3785641"/>
                <a:gd name="connsiteY341" fmla="*/ 3969 h 481526"/>
                <a:gd name="connsiteX342" fmla="*/ 1228360 w 3785641"/>
                <a:gd name="connsiteY342" fmla="*/ 5953 h 481526"/>
                <a:gd name="connsiteX343" fmla="*/ 1244730 w 3785641"/>
                <a:gd name="connsiteY343" fmla="*/ 3969 h 481526"/>
                <a:gd name="connsiteX344" fmla="*/ 1261101 w 3785641"/>
                <a:gd name="connsiteY344" fmla="*/ 4961 h 481526"/>
                <a:gd name="connsiteX345" fmla="*/ 1277471 w 3785641"/>
                <a:gd name="connsiteY345" fmla="*/ 5953 h 481526"/>
                <a:gd name="connsiteX346" fmla="*/ 1293842 w 3785641"/>
                <a:gd name="connsiteY346" fmla="*/ 6449 h 481526"/>
                <a:gd name="connsiteX347" fmla="*/ 1310213 w 3785641"/>
                <a:gd name="connsiteY347" fmla="*/ 3969 h 481526"/>
                <a:gd name="connsiteX348" fmla="*/ 1326583 w 3785641"/>
                <a:gd name="connsiteY348" fmla="*/ 4465 h 481526"/>
                <a:gd name="connsiteX349" fmla="*/ 1342954 w 3785641"/>
                <a:gd name="connsiteY349" fmla="*/ 5457 h 481526"/>
                <a:gd name="connsiteX350" fmla="*/ 1359324 w 3785641"/>
                <a:gd name="connsiteY350" fmla="*/ 5457 h 481526"/>
                <a:gd name="connsiteX351" fmla="*/ 1375695 w 3785641"/>
                <a:gd name="connsiteY351" fmla="*/ 4961 h 481526"/>
                <a:gd name="connsiteX352" fmla="*/ 1392066 w 3785641"/>
                <a:gd name="connsiteY352" fmla="*/ 4961 h 481526"/>
                <a:gd name="connsiteX353" fmla="*/ 1408436 w 3785641"/>
                <a:gd name="connsiteY353" fmla="*/ 5953 h 481526"/>
                <a:gd name="connsiteX354" fmla="*/ 1424807 w 3785641"/>
                <a:gd name="connsiteY354" fmla="*/ 5953 h 481526"/>
                <a:gd name="connsiteX355" fmla="*/ 1441177 w 3785641"/>
                <a:gd name="connsiteY355" fmla="*/ 3969 h 481526"/>
                <a:gd name="connsiteX356" fmla="*/ 1457548 w 3785641"/>
                <a:gd name="connsiteY356" fmla="*/ 4961 h 481526"/>
                <a:gd name="connsiteX357" fmla="*/ 1473919 w 3785641"/>
                <a:gd name="connsiteY357" fmla="*/ 4465 h 481526"/>
                <a:gd name="connsiteX358" fmla="*/ 1490289 w 3785641"/>
                <a:gd name="connsiteY358" fmla="*/ 4465 h 481526"/>
                <a:gd name="connsiteX359" fmla="*/ 1506660 w 3785641"/>
                <a:gd name="connsiteY359" fmla="*/ 3969 h 481526"/>
                <a:gd name="connsiteX360" fmla="*/ 1523030 w 3785641"/>
                <a:gd name="connsiteY360" fmla="*/ 5953 h 481526"/>
                <a:gd name="connsiteX361" fmla="*/ 1539401 w 3785641"/>
                <a:gd name="connsiteY361" fmla="*/ 5457 h 481526"/>
                <a:gd name="connsiteX362" fmla="*/ 1555771 w 3785641"/>
                <a:gd name="connsiteY362" fmla="*/ 5457 h 481526"/>
                <a:gd name="connsiteX363" fmla="*/ 1572142 w 3785641"/>
                <a:gd name="connsiteY363" fmla="*/ 4961 h 481526"/>
                <a:gd name="connsiteX364" fmla="*/ 1588512 w 3785641"/>
                <a:gd name="connsiteY364" fmla="*/ 4465 h 481526"/>
                <a:gd name="connsiteX365" fmla="*/ 1604883 w 3785641"/>
                <a:gd name="connsiteY365" fmla="*/ 5457 h 481526"/>
                <a:gd name="connsiteX366" fmla="*/ 1621253 w 3785641"/>
                <a:gd name="connsiteY366" fmla="*/ 5457 h 481526"/>
                <a:gd name="connsiteX367" fmla="*/ 1637624 w 3785641"/>
                <a:gd name="connsiteY367" fmla="*/ 4961 h 481526"/>
                <a:gd name="connsiteX0" fmla="*/ 3785642 w 3785642"/>
                <a:gd name="connsiteY0" fmla="*/ 465057 h 481758"/>
                <a:gd name="connsiteX1" fmla="*/ 3775224 w 3785642"/>
                <a:gd name="connsiteY1" fmla="*/ 452655 h 481758"/>
                <a:gd name="connsiteX2" fmla="*/ 3763318 w 3785642"/>
                <a:gd name="connsiteY2" fmla="*/ 441245 h 481758"/>
                <a:gd name="connsiteX3" fmla="*/ 3751908 w 3785642"/>
                <a:gd name="connsiteY3" fmla="*/ 429836 h 481758"/>
                <a:gd name="connsiteX4" fmla="*/ 3740002 w 3785642"/>
                <a:gd name="connsiteY4" fmla="*/ 418922 h 481758"/>
                <a:gd name="connsiteX5" fmla="*/ 3730081 w 3785642"/>
                <a:gd name="connsiteY5" fmla="*/ 406024 h 481758"/>
                <a:gd name="connsiteX6" fmla="*/ 3716687 w 3785642"/>
                <a:gd name="connsiteY6" fmla="*/ 396102 h 481758"/>
                <a:gd name="connsiteX7" fmla="*/ 3705277 w 3785642"/>
                <a:gd name="connsiteY7" fmla="*/ 384196 h 481758"/>
                <a:gd name="connsiteX8" fmla="*/ 3693867 w 3785642"/>
                <a:gd name="connsiteY8" fmla="*/ 372290 h 481758"/>
                <a:gd name="connsiteX9" fmla="*/ 3682457 w 3785642"/>
                <a:gd name="connsiteY9" fmla="*/ 360385 h 481758"/>
                <a:gd name="connsiteX10" fmla="*/ 3671048 w 3785642"/>
                <a:gd name="connsiteY10" fmla="*/ 348479 h 481758"/>
                <a:gd name="connsiteX11" fmla="*/ 3658646 w 3785642"/>
                <a:gd name="connsiteY11" fmla="*/ 337565 h 481758"/>
                <a:gd name="connsiteX12" fmla="*/ 3647732 w 3785642"/>
                <a:gd name="connsiteY12" fmla="*/ 325659 h 481758"/>
                <a:gd name="connsiteX13" fmla="*/ 3636322 w 3785642"/>
                <a:gd name="connsiteY13" fmla="*/ 313753 h 481758"/>
                <a:gd name="connsiteX14" fmla="*/ 3623920 w 3785642"/>
                <a:gd name="connsiteY14" fmla="*/ 302840 h 481758"/>
                <a:gd name="connsiteX15" fmla="*/ 3613502 w 3785642"/>
                <a:gd name="connsiteY15" fmla="*/ 290438 h 481758"/>
                <a:gd name="connsiteX16" fmla="*/ 3601597 w 3785642"/>
                <a:gd name="connsiteY16" fmla="*/ 279028 h 481758"/>
                <a:gd name="connsiteX17" fmla="*/ 3590187 w 3785642"/>
                <a:gd name="connsiteY17" fmla="*/ 267122 h 481758"/>
                <a:gd name="connsiteX18" fmla="*/ 3578281 w 3785642"/>
                <a:gd name="connsiteY18" fmla="*/ 256208 h 481758"/>
                <a:gd name="connsiteX19" fmla="*/ 3567367 w 3785642"/>
                <a:gd name="connsiteY19" fmla="*/ 243806 h 481758"/>
                <a:gd name="connsiteX20" fmla="*/ 3555957 w 3785642"/>
                <a:gd name="connsiteY20" fmla="*/ 232397 h 481758"/>
                <a:gd name="connsiteX21" fmla="*/ 3544548 w 3785642"/>
                <a:gd name="connsiteY21" fmla="*/ 220491 h 481758"/>
                <a:gd name="connsiteX22" fmla="*/ 3533138 w 3785642"/>
                <a:gd name="connsiteY22" fmla="*/ 209081 h 481758"/>
                <a:gd name="connsiteX23" fmla="*/ 3521728 w 3785642"/>
                <a:gd name="connsiteY23" fmla="*/ 197671 h 481758"/>
                <a:gd name="connsiteX24" fmla="*/ 3509326 w 3785642"/>
                <a:gd name="connsiteY24" fmla="*/ 186757 h 481758"/>
                <a:gd name="connsiteX25" fmla="*/ 3498908 w 3785642"/>
                <a:gd name="connsiteY25" fmla="*/ 174355 h 481758"/>
                <a:gd name="connsiteX26" fmla="*/ 3486506 w 3785642"/>
                <a:gd name="connsiteY26" fmla="*/ 163442 h 481758"/>
                <a:gd name="connsiteX27" fmla="*/ 3474600 w 3785642"/>
                <a:gd name="connsiteY27" fmla="*/ 152528 h 481758"/>
                <a:gd name="connsiteX28" fmla="*/ 3462695 w 3785642"/>
                <a:gd name="connsiteY28" fmla="*/ 141118 h 481758"/>
                <a:gd name="connsiteX29" fmla="*/ 3452774 w 3785642"/>
                <a:gd name="connsiteY29" fmla="*/ 127724 h 481758"/>
                <a:gd name="connsiteX30" fmla="*/ 3440868 w 3785642"/>
                <a:gd name="connsiteY30" fmla="*/ 116810 h 481758"/>
                <a:gd name="connsiteX31" fmla="*/ 3428466 w 3785642"/>
                <a:gd name="connsiteY31" fmla="*/ 105897 h 481758"/>
                <a:gd name="connsiteX32" fmla="*/ 3417552 w 3785642"/>
                <a:gd name="connsiteY32" fmla="*/ 93495 h 481758"/>
                <a:gd name="connsiteX33" fmla="*/ 3405646 w 3785642"/>
                <a:gd name="connsiteY33" fmla="*/ 82085 h 481758"/>
                <a:gd name="connsiteX34" fmla="*/ 3393740 w 3785642"/>
                <a:gd name="connsiteY34" fmla="*/ 71171 h 481758"/>
                <a:gd name="connsiteX35" fmla="*/ 3382330 w 3785642"/>
                <a:gd name="connsiteY35" fmla="*/ 59265 h 481758"/>
                <a:gd name="connsiteX36" fmla="*/ 3370921 w 3785642"/>
                <a:gd name="connsiteY36" fmla="*/ 47359 h 481758"/>
                <a:gd name="connsiteX37" fmla="*/ 3359015 w 3785642"/>
                <a:gd name="connsiteY37" fmla="*/ 35950 h 481758"/>
                <a:gd name="connsiteX38" fmla="*/ 3347109 w 3785642"/>
                <a:gd name="connsiteY38" fmla="*/ 24540 h 481758"/>
                <a:gd name="connsiteX39" fmla="*/ 3324289 w 3785642"/>
                <a:gd name="connsiteY39" fmla="*/ 232 h 481758"/>
                <a:gd name="connsiteX40" fmla="*/ 3313375 w 3785642"/>
                <a:gd name="connsiteY40" fmla="*/ 13626 h 481758"/>
                <a:gd name="connsiteX41" fmla="*/ 3300973 w 3785642"/>
                <a:gd name="connsiteY41" fmla="*/ 24044 h 481758"/>
                <a:gd name="connsiteX42" fmla="*/ 3289068 w 3785642"/>
                <a:gd name="connsiteY42" fmla="*/ 34957 h 481758"/>
                <a:gd name="connsiteX43" fmla="*/ 3277658 w 3785642"/>
                <a:gd name="connsiteY43" fmla="*/ 46367 h 481758"/>
                <a:gd name="connsiteX44" fmla="*/ 3266248 w 3785642"/>
                <a:gd name="connsiteY44" fmla="*/ 58273 h 481758"/>
                <a:gd name="connsiteX45" fmla="*/ 3255830 w 3785642"/>
                <a:gd name="connsiteY45" fmla="*/ 71171 h 481758"/>
                <a:gd name="connsiteX46" fmla="*/ 3243924 w 3785642"/>
                <a:gd name="connsiteY46" fmla="*/ 82581 h 481758"/>
                <a:gd name="connsiteX47" fmla="*/ 3231522 w 3785642"/>
                <a:gd name="connsiteY47" fmla="*/ 93495 h 481758"/>
                <a:gd name="connsiteX48" fmla="*/ 3220609 w 3785642"/>
                <a:gd name="connsiteY48" fmla="*/ 105401 h 481758"/>
                <a:gd name="connsiteX49" fmla="*/ 3208207 w 3785642"/>
                <a:gd name="connsiteY49" fmla="*/ 115818 h 481758"/>
                <a:gd name="connsiteX50" fmla="*/ 3197293 w 3785642"/>
                <a:gd name="connsiteY50" fmla="*/ 127724 h 481758"/>
                <a:gd name="connsiteX51" fmla="*/ 3185387 w 3785642"/>
                <a:gd name="connsiteY51" fmla="*/ 139134 h 481758"/>
                <a:gd name="connsiteX52" fmla="*/ 3174970 w 3785642"/>
                <a:gd name="connsiteY52" fmla="*/ 151536 h 481758"/>
                <a:gd name="connsiteX53" fmla="*/ 3162071 w 3785642"/>
                <a:gd name="connsiteY53" fmla="*/ 161953 h 481758"/>
                <a:gd name="connsiteX54" fmla="*/ 3151158 w 3785642"/>
                <a:gd name="connsiteY54" fmla="*/ 174355 h 481758"/>
                <a:gd name="connsiteX55" fmla="*/ 3139252 w 3785642"/>
                <a:gd name="connsiteY55" fmla="*/ 185269 h 481758"/>
                <a:gd name="connsiteX56" fmla="*/ 3127843 w 3785642"/>
                <a:gd name="connsiteY56" fmla="*/ 197175 h 481758"/>
                <a:gd name="connsiteX57" fmla="*/ 3116432 w 3785642"/>
                <a:gd name="connsiteY57" fmla="*/ 208585 h 481758"/>
                <a:gd name="connsiteX58" fmla="*/ 3105022 w 3785642"/>
                <a:gd name="connsiteY58" fmla="*/ 220491 h 481758"/>
                <a:gd name="connsiteX59" fmla="*/ 3093117 w 3785642"/>
                <a:gd name="connsiteY59" fmla="*/ 231900 h 481758"/>
                <a:gd name="connsiteX60" fmla="*/ 3081707 w 3785642"/>
                <a:gd name="connsiteY60" fmla="*/ 243310 h 481758"/>
                <a:gd name="connsiteX61" fmla="*/ 3069305 w 3785642"/>
                <a:gd name="connsiteY61" fmla="*/ 254224 h 481758"/>
                <a:gd name="connsiteX62" fmla="*/ 3057895 w 3785642"/>
                <a:gd name="connsiteY62" fmla="*/ 266130 h 481758"/>
                <a:gd name="connsiteX63" fmla="*/ 3046486 w 3785642"/>
                <a:gd name="connsiteY63" fmla="*/ 278036 h 481758"/>
                <a:gd name="connsiteX64" fmla="*/ 3035572 w 3785642"/>
                <a:gd name="connsiteY64" fmla="*/ 289941 h 481758"/>
                <a:gd name="connsiteX65" fmla="*/ 3024658 w 3785642"/>
                <a:gd name="connsiteY65" fmla="*/ 301847 h 481758"/>
                <a:gd name="connsiteX66" fmla="*/ 3013248 w 3785642"/>
                <a:gd name="connsiteY66" fmla="*/ 313753 h 481758"/>
                <a:gd name="connsiteX67" fmla="*/ 3000350 w 3785642"/>
                <a:gd name="connsiteY67" fmla="*/ 324171 h 481758"/>
                <a:gd name="connsiteX68" fmla="*/ 2988941 w 3785642"/>
                <a:gd name="connsiteY68" fmla="*/ 336077 h 481758"/>
                <a:gd name="connsiteX69" fmla="*/ 2976539 w 3785642"/>
                <a:gd name="connsiteY69" fmla="*/ 346990 h 481758"/>
                <a:gd name="connsiteX70" fmla="*/ 2965129 w 3785642"/>
                <a:gd name="connsiteY70" fmla="*/ 358896 h 481758"/>
                <a:gd name="connsiteX71" fmla="*/ 2953223 w 3785642"/>
                <a:gd name="connsiteY71" fmla="*/ 370306 h 481758"/>
                <a:gd name="connsiteX72" fmla="*/ 2941813 w 3785642"/>
                <a:gd name="connsiteY72" fmla="*/ 382212 h 481758"/>
                <a:gd name="connsiteX73" fmla="*/ 2931395 w 3785642"/>
                <a:gd name="connsiteY73" fmla="*/ 395110 h 481758"/>
                <a:gd name="connsiteX74" fmla="*/ 2918497 w 3785642"/>
                <a:gd name="connsiteY74" fmla="*/ 405528 h 481758"/>
                <a:gd name="connsiteX75" fmla="*/ 2907584 w 3785642"/>
                <a:gd name="connsiteY75" fmla="*/ 417930 h 481758"/>
                <a:gd name="connsiteX76" fmla="*/ 2896174 w 3785642"/>
                <a:gd name="connsiteY76" fmla="*/ 429339 h 481758"/>
                <a:gd name="connsiteX77" fmla="*/ 2884268 w 3785642"/>
                <a:gd name="connsiteY77" fmla="*/ 440749 h 481758"/>
                <a:gd name="connsiteX78" fmla="*/ 2873354 w 3785642"/>
                <a:gd name="connsiteY78" fmla="*/ 453151 h 481758"/>
                <a:gd name="connsiteX79" fmla="*/ 2860952 w 3785642"/>
                <a:gd name="connsiteY79" fmla="*/ 464065 h 481758"/>
                <a:gd name="connsiteX80" fmla="*/ 2850039 w 3785642"/>
                <a:gd name="connsiteY80" fmla="*/ 476467 h 481758"/>
                <a:gd name="connsiteX81" fmla="*/ 2833668 w 3785642"/>
                <a:gd name="connsiteY81" fmla="*/ 476467 h 481758"/>
                <a:gd name="connsiteX82" fmla="*/ 2817297 w 3785642"/>
                <a:gd name="connsiteY82" fmla="*/ 475971 h 481758"/>
                <a:gd name="connsiteX83" fmla="*/ 2800927 w 3785642"/>
                <a:gd name="connsiteY83" fmla="*/ 475971 h 481758"/>
                <a:gd name="connsiteX84" fmla="*/ 2784556 w 3785642"/>
                <a:gd name="connsiteY84" fmla="*/ 476467 h 481758"/>
                <a:gd name="connsiteX85" fmla="*/ 2768186 w 3785642"/>
                <a:gd name="connsiteY85" fmla="*/ 476963 h 481758"/>
                <a:gd name="connsiteX86" fmla="*/ 2751815 w 3785642"/>
                <a:gd name="connsiteY86" fmla="*/ 476963 h 481758"/>
                <a:gd name="connsiteX87" fmla="*/ 2735444 w 3785642"/>
                <a:gd name="connsiteY87" fmla="*/ 475971 h 481758"/>
                <a:gd name="connsiteX88" fmla="*/ 2719074 w 3785642"/>
                <a:gd name="connsiteY88" fmla="*/ 476963 h 481758"/>
                <a:gd name="connsiteX89" fmla="*/ 2702703 w 3785642"/>
                <a:gd name="connsiteY89" fmla="*/ 474979 h 481758"/>
                <a:gd name="connsiteX90" fmla="*/ 2686333 w 3785642"/>
                <a:gd name="connsiteY90" fmla="*/ 475475 h 481758"/>
                <a:gd name="connsiteX91" fmla="*/ 2669962 w 3785642"/>
                <a:gd name="connsiteY91" fmla="*/ 476963 h 481758"/>
                <a:gd name="connsiteX92" fmla="*/ 2653592 w 3785642"/>
                <a:gd name="connsiteY92" fmla="*/ 474979 h 481758"/>
                <a:gd name="connsiteX93" fmla="*/ 2637221 w 3785642"/>
                <a:gd name="connsiteY93" fmla="*/ 476963 h 481758"/>
                <a:gd name="connsiteX94" fmla="*/ 2620851 w 3785642"/>
                <a:gd name="connsiteY94" fmla="*/ 476963 h 481758"/>
                <a:gd name="connsiteX95" fmla="*/ 2604480 w 3785642"/>
                <a:gd name="connsiteY95" fmla="*/ 474979 h 481758"/>
                <a:gd name="connsiteX96" fmla="*/ 2588109 w 3785642"/>
                <a:gd name="connsiteY96" fmla="*/ 476467 h 481758"/>
                <a:gd name="connsiteX97" fmla="*/ 2571739 w 3785642"/>
                <a:gd name="connsiteY97" fmla="*/ 474979 h 481758"/>
                <a:gd name="connsiteX98" fmla="*/ 2555368 w 3785642"/>
                <a:gd name="connsiteY98" fmla="*/ 475971 h 481758"/>
                <a:gd name="connsiteX99" fmla="*/ 2538998 w 3785642"/>
                <a:gd name="connsiteY99" fmla="*/ 476963 h 481758"/>
                <a:gd name="connsiteX100" fmla="*/ 2522627 w 3785642"/>
                <a:gd name="connsiteY100" fmla="*/ 475971 h 481758"/>
                <a:gd name="connsiteX101" fmla="*/ 2506257 w 3785642"/>
                <a:gd name="connsiteY101" fmla="*/ 476963 h 481758"/>
                <a:gd name="connsiteX102" fmla="*/ 2489886 w 3785642"/>
                <a:gd name="connsiteY102" fmla="*/ 476467 h 481758"/>
                <a:gd name="connsiteX103" fmla="*/ 2473516 w 3785642"/>
                <a:gd name="connsiteY103" fmla="*/ 476963 h 481758"/>
                <a:gd name="connsiteX104" fmla="*/ 2457145 w 3785642"/>
                <a:gd name="connsiteY104" fmla="*/ 475475 h 481758"/>
                <a:gd name="connsiteX105" fmla="*/ 2440775 w 3785642"/>
                <a:gd name="connsiteY105" fmla="*/ 474979 h 481758"/>
                <a:gd name="connsiteX106" fmla="*/ 2424404 w 3785642"/>
                <a:gd name="connsiteY106" fmla="*/ 476467 h 481758"/>
                <a:gd name="connsiteX107" fmla="*/ 2408033 w 3785642"/>
                <a:gd name="connsiteY107" fmla="*/ 475475 h 481758"/>
                <a:gd name="connsiteX108" fmla="*/ 2391663 w 3785642"/>
                <a:gd name="connsiteY108" fmla="*/ 475971 h 481758"/>
                <a:gd name="connsiteX109" fmla="*/ 2375292 w 3785642"/>
                <a:gd name="connsiteY109" fmla="*/ 475971 h 481758"/>
                <a:gd name="connsiteX110" fmla="*/ 2358922 w 3785642"/>
                <a:gd name="connsiteY110" fmla="*/ 475475 h 481758"/>
                <a:gd name="connsiteX111" fmla="*/ 2342551 w 3785642"/>
                <a:gd name="connsiteY111" fmla="*/ 474979 h 481758"/>
                <a:gd name="connsiteX112" fmla="*/ 2326180 w 3785642"/>
                <a:gd name="connsiteY112" fmla="*/ 476467 h 481758"/>
                <a:gd name="connsiteX113" fmla="*/ 2309810 w 3785642"/>
                <a:gd name="connsiteY113" fmla="*/ 476467 h 481758"/>
                <a:gd name="connsiteX114" fmla="*/ 2293439 w 3785642"/>
                <a:gd name="connsiteY114" fmla="*/ 476467 h 481758"/>
                <a:gd name="connsiteX115" fmla="*/ 2277069 w 3785642"/>
                <a:gd name="connsiteY115" fmla="*/ 475475 h 481758"/>
                <a:gd name="connsiteX116" fmla="*/ 2260698 w 3785642"/>
                <a:gd name="connsiteY116" fmla="*/ 476963 h 481758"/>
                <a:gd name="connsiteX117" fmla="*/ 2244327 w 3785642"/>
                <a:gd name="connsiteY117" fmla="*/ 474979 h 481758"/>
                <a:gd name="connsiteX118" fmla="*/ 2227957 w 3785642"/>
                <a:gd name="connsiteY118" fmla="*/ 476963 h 481758"/>
                <a:gd name="connsiteX119" fmla="*/ 2211586 w 3785642"/>
                <a:gd name="connsiteY119" fmla="*/ 475971 h 481758"/>
                <a:gd name="connsiteX120" fmla="*/ 2195216 w 3785642"/>
                <a:gd name="connsiteY120" fmla="*/ 476963 h 481758"/>
                <a:gd name="connsiteX121" fmla="*/ 2178845 w 3785642"/>
                <a:gd name="connsiteY121" fmla="*/ 475475 h 481758"/>
                <a:gd name="connsiteX122" fmla="*/ 2162474 w 3785642"/>
                <a:gd name="connsiteY122" fmla="*/ 477459 h 481758"/>
                <a:gd name="connsiteX123" fmla="*/ 2146104 w 3785642"/>
                <a:gd name="connsiteY123" fmla="*/ 475971 h 481758"/>
                <a:gd name="connsiteX124" fmla="*/ 2129733 w 3785642"/>
                <a:gd name="connsiteY124" fmla="*/ 477459 h 481758"/>
                <a:gd name="connsiteX125" fmla="*/ 2113363 w 3785642"/>
                <a:gd name="connsiteY125" fmla="*/ 477459 h 481758"/>
                <a:gd name="connsiteX126" fmla="*/ 2096992 w 3785642"/>
                <a:gd name="connsiteY126" fmla="*/ 477459 h 481758"/>
                <a:gd name="connsiteX127" fmla="*/ 2080621 w 3785642"/>
                <a:gd name="connsiteY127" fmla="*/ 476963 h 481758"/>
                <a:gd name="connsiteX128" fmla="*/ 2064251 w 3785642"/>
                <a:gd name="connsiteY128" fmla="*/ 475475 h 481758"/>
                <a:gd name="connsiteX129" fmla="*/ 2047880 w 3785642"/>
                <a:gd name="connsiteY129" fmla="*/ 477459 h 481758"/>
                <a:gd name="connsiteX130" fmla="*/ 2031510 w 3785642"/>
                <a:gd name="connsiteY130" fmla="*/ 477459 h 481758"/>
                <a:gd name="connsiteX131" fmla="*/ 2015139 w 3785642"/>
                <a:gd name="connsiteY131" fmla="*/ 477459 h 481758"/>
                <a:gd name="connsiteX132" fmla="*/ 1998769 w 3785642"/>
                <a:gd name="connsiteY132" fmla="*/ 476963 h 481758"/>
                <a:gd name="connsiteX133" fmla="*/ 1982398 w 3785642"/>
                <a:gd name="connsiteY133" fmla="*/ 476467 h 481758"/>
                <a:gd name="connsiteX134" fmla="*/ 1966028 w 3785642"/>
                <a:gd name="connsiteY134" fmla="*/ 476467 h 481758"/>
                <a:gd name="connsiteX135" fmla="*/ 1949657 w 3785642"/>
                <a:gd name="connsiteY135" fmla="*/ 475475 h 481758"/>
                <a:gd name="connsiteX136" fmla="*/ 1933287 w 3785642"/>
                <a:gd name="connsiteY136" fmla="*/ 475971 h 481758"/>
                <a:gd name="connsiteX137" fmla="*/ 1916916 w 3785642"/>
                <a:gd name="connsiteY137" fmla="*/ 477459 h 481758"/>
                <a:gd name="connsiteX138" fmla="*/ 1900546 w 3785642"/>
                <a:gd name="connsiteY138" fmla="*/ 475475 h 481758"/>
                <a:gd name="connsiteX139" fmla="*/ 1884175 w 3785642"/>
                <a:gd name="connsiteY139" fmla="*/ 476467 h 481758"/>
                <a:gd name="connsiteX140" fmla="*/ 1867804 w 3785642"/>
                <a:gd name="connsiteY140" fmla="*/ 477459 h 481758"/>
                <a:gd name="connsiteX141" fmla="*/ 1851434 w 3785642"/>
                <a:gd name="connsiteY141" fmla="*/ 477459 h 481758"/>
                <a:gd name="connsiteX142" fmla="*/ 1835063 w 3785642"/>
                <a:gd name="connsiteY142" fmla="*/ 477459 h 481758"/>
                <a:gd name="connsiteX143" fmla="*/ 1818693 w 3785642"/>
                <a:gd name="connsiteY143" fmla="*/ 476963 h 481758"/>
                <a:gd name="connsiteX144" fmla="*/ 1802322 w 3785642"/>
                <a:gd name="connsiteY144" fmla="*/ 475475 h 481758"/>
                <a:gd name="connsiteX145" fmla="*/ 1785951 w 3785642"/>
                <a:gd name="connsiteY145" fmla="*/ 476467 h 481758"/>
                <a:gd name="connsiteX146" fmla="*/ 1769581 w 3785642"/>
                <a:gd name="connsiteY146" fmla="*/ 475971 h 481758"/>
                <a:gd name="connsiteX147" fmla="*/ 1753210 w 3785642"/>
                <a:gd name="connsiteY147" fmla="*/ 474979 h 481758"/>
                <a:gd name="connsiteX148" fmla="*/ 1736840 w 3785642"/>
                <a:gd name="connsiteY148" fmla="*/ 475971 h 481758"/>
                <a:gd name="connsiteX149" fmla="*/ 1720469 w 3785642"/>
                <a:gd name="connsiteY149" fmla="*/ 477459 h 481758"/>
                <a:gd name="connsiteX150" fmla="*/ 1704098 w 3785642"/>
                <a:gd name="connsiteY150" fmla="*/ 475475 h 481758"/>
                <a:gd name="connsiteX151" fmla="*/ 1687728 w 3785642"/>
                <a:gd name="connsiteY151" fmla="*/ 477459 h 481758"/>
                <a:gd name="connsiteX152" fmla="*/ 1671357 w 3785642"/>
                <a:gd name="connsiteY152" fmla="*/ 477459 h 481758"/>
                <a:gd name="connsiteX153" fmla="*/ 1654987 w 3785642"/>
                <a:gd name="connsiteY153" fmla="*/ 474979 h 481758"/>
                <a:gd name="connsiteX154" fmla="*/ 1638616 w 3785642"/>
                <a:gd name="connsiteY154" fmla="*/ 475475 h 481758"/>
                <a:gd name="connsiteX155" fmla="*/ 1622246 w 3785642"/>
                <a:gd name="connsiteY155" fmla="*/ 476467 h 481758"/>
                <a:gd name="connsiteX156" fmla="*/ 1605875 w 3785642"/>
                <a:gd name="connsiteY156" fmla="*/ 477459 h 481758"/>
                <a:gd name="connsiteX157" fmla="*/ 1589505 w 3785642"/>
                <a:gd name="connsiteY157" fmla="*/ 475971 h 481758"/>
                <a:gd name="connsiteX158" fmla="*/ 1573134 w 3785642"/>
                <a:gd name="connsiteY158" fmla="*/ 477459 h 481758"/>
                <a:gd name="connsiteX159" fmla="*/ 1556763 w 3785642"/>
                <a:gd name="connsiteY159" fmla="*/ 475475 h 481758"/>
                <a:gd name="connsiteX160" fmla="*/ 1540393 w 3785642"/>
                <a:gd name="connsiteY160" fmla="*/ 475475 h 481758"/>
                <a:gd name="connsiteX161" fmla="*/ 1524022 w 3785642"/>
                <a:gd name="connsiteY161" fmla="*/ 476963 h 481758"/>
                <a:gd name="connsiteX162" fmla="*/ 1507652 w 3785642"/>
                <a:gd name="connsiteY162" fmla="*/ 475475 h 481758"/>
                <a:gd name="connsiteX163" fmla="*/ 1491281 w 3785642"/>
                <a:gd name="connsiteY163" fmla="*/ 476963 h 481758"/>
                <a:gd name="connsiteX164" fmla="*/ 1474910 w 3785642"/>
                <a:gd name="connsiteY164" fmla="*/ 476963 h 481758"/>
                <a:gd name="connsiteX165" fmla="*/ 1458540 w 3785642"/>
                <a:gd name="connsiteY165" fmla="*/ 475475 h 481758"/>
                <a:gd name="connsiteX166" fmla="*/ 1442169 w 3785642"/>
                <a:gd name="connsiteY166" fmla="*/ 474483 h 481758"/>
                <a:gd name="connsiteX167" fmla="*/ 1425799 w 3785642"/>
                <a:gd name="connsiteY167" fmla="*/ 474979 h 481758"/>
                <a:gd name="connsiteX168" fmla="*/ 1409428 w 3785642"/>
                <a:gd name="connsiteY168" fmla="*/ 475475 h 481758"/>
                <a:gd name="connsiteX169" fmla="*/ 1393058 w 3785642"/>
                <a:gd name="connsiteY169" fmla="*/ 476467 h 481758"/>
                <a:gd name="connsiteX170" fmla="*/ 1376687 w 3785642"/>
                <a:gd name="connsiteY170" fmla="*/ 474483 h 481758"/>
                <a:gd name="connsiteX171" fmla="*/ 1360317 w 3785642"/>
                <a:gd name="connsiteY171" fmla="*/ 476467 h 481758"/>
                <a:gd name="connsiteX172" fmla="*/ 1343946 w 3785642"/>
                <a:gd name="connsiteY172" fmla="*/ 476467 h 481758"/>
                <a:gd name="connsiteX173" fmla="*/ 1327576 w 3785642"/>
                <a:gd name="connsiteY173" fmla="*/ 475475 h 481758"/>
                <a:gd name="connsiteX174" fmla="*/ 1311205 w 3785642"/>
                <a:gd name="connsiteY174" fmla="*/ 476467 h 481758"/>
                <a:gd name="connsiteX175" fmla="*/ 1294834 w 3785642"/>
                <a:gd name="connsiteY175" fmla="*/ 476467 h 481758"/>
                <a:gd name="connsiteX176" fmla="*/ 1278464 w 3785642"/>
                <a:gd name="connsiteY176" fmla="*/ 476467 h 481758"/>
                <a:gd name="connsiteX177" fmla="*/ 1262093 w 3785642"/>
                <a:gd name="connsiteY177" fmla="*/ 476467 h 481758"/>
                <a:gd name="connsiteX178" fmla="*/ 1245723 w 3785642"/>
                <a:gd name="connsiteY178" fmla="*/ 475971 h 481758"/>
                <a:gd name="connsiteX179" fmla="*/ 1229352 w 3785642"/>
                <a:gd name="connsiteY179" fmla="*/ 475475 h 481758"/>
                <a:gd name="connsiteX180" fmla="*/ 1212981 w 3785642"/>
                <a:gd name="connsiteY180" fmla="*/ 476467 h 481758"/>
                <a:gd name="connsiteX181" fmla="*/ 1196611 w 3785642"/>
                <a:gd name="connsiteY181" fmla="*/ 474979 h 481758"/>
                <a:gd name="connsiteX182" fmla="*/ 1180240 w 3785642"/>
                <a:gd name="connsiteY182" fmla="*/ 475475 h 481758"/>
                <a:gd name="connsiteX183" fmla="*/ 1163870 w 3785642"/>
                <a:gd name="connsiteY183" fmla="*/ 475475 h 481758"/>
                <a:gd name="connsiteX184" fmla="*/ 1147499 w 3785642"/>
                <a:gd name="connsiteY184" fmla="*/ 476467 h 481758"/>
                <a:gd name="connsiteX185" fmla="*/ 1131128 w 3785642"/>
                <a:gd name="connsiteY185" fmla="*/ 476467 h 481758"/>
                <a:gd name="connsiteX186" fmla="*/ 1114758 w 3785642"/>
                <a:gd name="connsiteY186" fmla="*/ 475475 h 481758"/>
                <a:gd name="connsiteX187" fmla="*/ 1098387 w 3785642"/>
                <a:gd name="connsiteY187" fmla="*/ 476467 h 481758"/>
                <a:gd name="connsiteX188" fmla="*/ 1082017 w 3785642"/>
                <a:gd name="connsiteY188" fmla="*/ 477459 h 481758"/>
                <a:gd name="connsiteX189" fmla="*/ 1065646 w 3785642"/>
                <a:gd name="connsiteY189" fmla="*/ 477459 h 481758"/>
                <a:gd name="connsiteX190" fmla="*/ 1049276 w 3785642"/>
                <a:gd name="connsiteY190" fmla="*/ 476963 h 481758"/>
                <a:gd name="connsiteX191" fmla="*/ 1032905 w 3785642"/>
                <a:gd name="connsiteY191" fmla="*/ 475971 h 481758"/>
                <a:gd name="connsiteX192" fmla="*/ 1016535 w 3785642"/>
                <a:gd name="connsiteY192" fmla="*/ 476963 h 481758"/>
                <a:gd name="connsiteX193" fmla="*/ 1000164 w 3785642"/>
                <a:gd name="connsiteY193" fmla="*/ 476963 h 481758"/>
                <a:gd name="connsiteX194" fmla="*/ 983793 w 3785642"/>
                <a:gd name="connsiteY194" fmla="*/ 475475 h 481758"/>
                <a:gd name="connsiteX195" fmla="*/ 967423 w 3785642"/>
                <a:gd name="connsiteY195" fmla="*/ 475475 h 481758"/>
                <a:gd name="connsiteX196" fmla="*/ 951052 w 3785642"/>
                <a:gd name="connsiteY196" fmla="*/ 476467 h 481758"/>
                <a:gd name="connsiteX197" fmla="*/ 934682 w 3785642"/>
                <a:gd name="connsiteY197" fmla="*/ 476963 h 481758"/>
                <a:gd name="connsiteX198" fmla="*/ 918311 w 3785642"/>
                <a:gd name="connsiteY198" fmla="*/ 477459 h 481758"/>
                <a:gd name="connsiteX199" fmla="*/ 901940 w 3785642"/>
                <a:gd name="connsiteY199" fmla="*/ 475971 h 481758"/>
                <a:gd name="connsiteX200" fmla="*/ 885570 w 3785642"/>
                <a:gd name="connsiteY200" fmla="*/ 477459 h 481758"/>
                <a:gd name="connsiteX201" fmla="*/ 869199 w 3785642"/>
                <a:gd name="connsiteY201" fmla="*/ 476963 h 481758"/>
                <a:gd name="connsiteX202" fmla="*/ 852829 w 3785642"/>
                <a:gd name="connsiteY202" fmla="*/ 476467 h 481758"/>
                <a:gd name="connsiteX203" fmla="*/ 836458 w 3785642"/>
                <a:gd name="connsiteY203" fmla="*/ 477459 h 481758"/>
                <a:gd name="connsiteX204" fmla="*/ 820088 w 3785642"/>
                <a:gd name="connsiteY204" fmla="*/ 477955 h 481758"/>
                <a:gd name="connsiteX205" fmla="*/ 803717 w 3785642"/>
                <a:gd name="connsiteY205" fmla="*/ 476467 h 481758"/>
                <a:gd name="connsiteX206" fmla="*/ 787347 w 3785642"/>
                <a:gd name="connsiteY206" fmla="*/ 478451 h 481758"/>
                <a:gd name="connsiteX207" fmla="*/ 770976 w 3785642"/>
                <a:gd name="connsiteY207" fmla="*/ 477459 h 481758"/>
                <a:gd name="connsiteX208" fmla="*/ 754605 w 3785642"/>
                <a:gd name="connsiteY208" fmla="*/ 477955 h 481758"/>
                <a:gd name="connsiteX209" fmla="*/ 738235 w 3785642"/>
                <a:gd name="connsiteY209" fmla="*/ 476467 h 481758"/>
                <a:gd name="connsiteX210" fmla="*/ 721864 w 3785642"/>
                <a:gd name="connsiteY210" fmla="*/ 477955 h 481758"/>
                <a:gd name="connsiteX211" fmla="*/ 705494 w 3785642"/>
                <a:gd name="connsiteY211" fmla="*/ 478451 h 481758"/>
                <a:gd name="connsiteX212" fmla="*/ 689123 w 3785642"/>
                <a:gd name="connsiteY212" fmla="*/ 476963 h 481758"/>
                <a:gd name="connsiteX213" fmla="*/ 672753 w 3785642"/>
                <a:gd name="connsiteY213" fmla="*/ 477955 h 481758"/>
                <a:gd name="connsiteX214" fmla="*/ 656382 w 3785642"/>
                <a:gd name="connsiteY214" fmla="*/ 477459 h 481758"/>
                <a:gd name="connsiteX215" fmla="*/ 640011 w 3785642"/>
                <a:gd name="connsiteY215" fmla="*/ 478451 h 481758"/>
                <a:gd name="connsiteX216" fmla="*/ 623641 w 3785642"/>
                <a:gd name="connsiteY216" fmla="*/ 476467 h 481758"/>
                <a:gd name="connsiteX217" fmla="*/ 607270 w 3785642"/>
                <a:gd name="connsiteY217" fmla="*/ 477459 h 481758"/>
                <a:gd name="connsiteX218" fmla="*/ 590900 w 3785642"/>
                <a:gd name="connsiteY218" fmla="*/ 477955 h 481758"/>
                <a:gd name="connsiteX219" fmla="*/ 574529 w 3785642"/>
                <a:gd name="connsiteY219" fmla="*/ 476963 h 481758"/>
                <a:gd name="connsiteX220" fmla="*/ 558158 w 3785642"/>
                <a:gd name="connsiteY220" fmla="*/ 477955 h 481758"/>
                <a:gd name="connsiteX221" fmla="*/ 541788 w 3785642"/>
                <a:gd name="connsiteY221" fmla="*/ 478451 h 481758"/>
                <a:gd name="connsiteX222" fmla="*/ 525417 w 3785642"/>
                <a:gd name="connsiteY222" fmla="*/ 476963 h 481758"/>
                <a:gd name="connsiteX223" fmla="*/ 509047 w 3785642"/>
                <a:gd name="connsiteY223" fmla="*/ 476467 h 481758"/>
                <a:gd name="connsiteX224" fmla="*/ 492676 w 3785642"/>
                <a:gd name="connsiteY224" fmla="*/ 476467 h 481758"/>
                <a:gd name="connsiteX225" fmla="*/ 476306 w 3785642"/>
                <a:gd name="connsiteY225" fmla="*/ 477459 h 481758"/>
                <a:gd name="connsiteX226" fmla="*/ 459935 w 3785642"/>
                <a:gd name="connsiteY226" fmla="*/ 476467 h 481758"/>
                <a:gd name="connsiteX227" fmla="*/ 443565 w 3785642"/>
                <a:gd name="connsiteY227" fmla="*/ 477459 h 481758"/>
                <a:gd name="connsiteX228" fmla="*/ 427194 w 3785642"/>
                <a:gd name="connsiteY228" fmla="*/ 476963 h 481758"/>
                <a:gd name="connsiteX229" fmla="*/ 410823 w 3785642"/>
                <a:gd name="connsiteY229" fmla="*/ 475971 h 481758"/>
                <a:gd name="connsiteX230" fmla="*/ 394453 w 3785642"/>
                <a:gd name="connsiteY230" fmla="*/ 478451 h 481758"/>
                <a:gd name="connsiteX231" fmla="*/ 378082 w 3785642"/>
                <a:gd name="connsiteY231" fmla="*/ 477955 h 481758"/>
                <a:gd name="connsiteX232" fmla="*/ 361712 w 3785642"/>
                <a:gd name="connsiteY232" fmla="*/ 477459 h 481758"/>
                <a:gd name="connsiteX233" fmla="*/ 345341 w 3785642"/>
                <a:gd name="connsiteY233" fmla="*/ 478947 h 481758"/>
                <a:gd name="connsiteX234" fmla="*/ 328970 w 3785642"/>
                <a:gd name="connsiteY234" fmla="*/ 476963 h 481758"/>
                <a:gd name="connsiteX235" fmla="*/ 312600 w 3785642"/>
                <a:gd name="connsiteY235" fmla="*/ 477955 h 481758"/>
                <a:gd name="connsiteX236" fmla="*/ 296229 w 3785642"/>
                <a:gd name="connsiteY236" fmla="*/ 476963 h 481758"/>
                <a:gd name="connsiteX237" fmla="*/ 279859 w 3785642"/>
                <a:gd name="connsiteY237" fmla="*/ 478451 h 481758"/>
                <a:gd name="connsiteX238" fmla="*/ 263488 w 3785642"/>
                <a:gd name="connsiteY238" fmla="*/ 478947 h 481758"/>
                <a:gd name="connsiteX239" fmla="*/ 247118 w 3785642"/>
                <a:gd name="connsiteY239" fmla="*/ 478947 h 481758"/>
                <a:gd name="connsiteX240" fmla="*/ 230747 w 3785642"/>
                <a:gd name="connsiteY240" fmla="*/ 477459 h 481758"/>
                <a:gd name="connsiteX241" fmla="*/ 214376 w 3785642"/>
                <a:gd name="connsiteY241" fmla="*/ 477459 h 481758"/>
                <a:gd name="connsiteX242" fmla="*/ 198006 w 3785642"/>
                <a:gd name="connsiteY242" fmla="*/ 479443 h 481758"/>
                <a:gd name="connsiteX243" fmla="*/ 181635 w 3785642"/>
                <a:gd name="connsiteY243" fmla="*/ 478947 h 481758"/>
                <a:gd name="connsiteX244" fmla="*/ 165265 w 3785642"/>
                <a:gd name="connsiteY244" fmla="*/ 477459 h 481758"/>
                <a:gd name="connsiteX245" fmla="*/ 148894 w 3785642"/>
                <a:gd name="connsiteY245" fmla="*/ 479443 h 481758"/>
                <a:gd name="connsiteX246" fmla="*/ 132524 w 3785642"/>
                <a:gd name="connsiteY246" fmla="*/ 478947 h 481758"/>
                <a:gd name="connsiteX247" fmla="*/ 116153 w 3785642"/>
                <a:gd name="connsiteY247" fmla="*/ 477955 h 481758"/>
                <a:gd name="connsiteX248" fmla="*/ 99783 w 3785642"/>
                <a:gd name="connsiteY248" fmla="*/ 477955 h 481758"/>
                <a:gd name="connsiteX249" fmla="*/ 83412 w 3785642"/>
                <a:gd name="connsiteY249" fmla="*/ 477955 h 481758"/>
                <a:gd name="connsiteX250" fmla="*/ 67041 w 3785642"/>
                <a:gd name="connsiteY250" fmla="*/ 477459 h 481758"/>
                <a:gd name="connsiteX251" fmla="*/ 50671 w 3785642"/>
                <a:gd name="connsiteY251" fmla="*/ 477955 h 481758"/>
                <a:gd name="connsiteX252" fmla="*/ 34300 w 3785642"/>
                <a:gd name="connsiteY252" fmla="*/ 477955 h 481758"/>
                <a:gd name="connsiteX253" fmla="*/ 17930 w 3785642"/>
                <a:gd name="connsiteY253" fmla="*/ 478451 h 481758"/>
                <a:gd name="connsiteX254" fmla="*/ 567 w 3785642"/>
                <a:gd name="connsiteY254" fmla="*/ 478451 h 481758"/>
                <a:gd name="connsiteX255" fmla="*/ 12969 w 3785642"/>
                <a:gd name="connsiteY255" fmla="*/ 466049 h 481758"/>
                <a:gd name="connsiteX256" fmla="*/ 24379 w 3785642"/>
                <a:gd name="connsiteY256" fmla="*/ 454639 h 481758"/>
                <a:gd name="connsiteX257" fmla="*/ 35788 w 3785642"/>
                <a:gd name="connsiteY257" fmla="*/ 442734 h 481758"/>
                <a:gd name="connsiteX258" fmla="*/ 48686 w 3785642"/>
                <a:gd name="connsiteY258" fmla="*/ 432812 h 481758"/>
                <a:gd name="connsiteX259" fmla="*/ 59600 w 3785642"/>
                <a:gd name="connsiteY259" fmla="*/ 420906 h 481758"/>
                <a:gd name="connsiteX260" fmla="*/ 70514 w 3785642"/>
                <a:gd name="connsiteY260" fmla="*/ 408504 h 481758"/>
                <a:gd name="connsiteX261" fmla="*/ 83412 w 3785642"/>
                <a:gd name="connsiteY261" fmla="*/ 398087 h 481758"/>
                <a:gd name="connsiteX262" fmla="*/ 94822 w 3785642"/>
                <a:gd name="connsiteY262" fmla="*/ 386181 h 481758"/>
                <a:gd name="connsiteX263" fmla="*/ 106728 w 3785642"/>
                <a:gd name="connsiteY263" fmla="*/ 374771 h 481758"/>
                <a:gd name="connsiteX264" fmla="*/ 117145 w 3785642"/>
                <a:gd name="connsiteY264" fmla="*/ 362369 h 481758"/>
                <a:gd name="connsiteX265" fmla="*/ 128555 w 3785642"/>
                <a:gd name="connsiteY265" fmla="*/ 350959 h 481758"/>
                <a:gd name="connsiteX266" fmla="*/ 140461 w 3785642"/>
                <a:gd name="connsiteY266" fmla="*/ 339549 h 481758"/>
                <a:gd name="connsiteX267" fmla="*/ 152863 w 3785642"/>
                <a:gd name="connsiteY267" fmla="*/ 329132 h 481758"/>
                <a:gd name="connsiteX268" fmla="*/ 164769 w 3785642"/>
                <a:gd name="connsiteY268" fmla="*/ 317722 h 481758"/>
                <a:gd name="connsiteX269" fmla="*/ 176178 w 3785642"/>
                <a:gd name="connsiteY269" fmla="*/ 305816 h 481758"/>
                <a:gd name="connsiteX270" fmla="*/ 188084 w 3785642"/>
                <a:gd name="connsiteY270" fmla="*/ 294406 h 481758"/>
                <a:gd name="connsiteX271" fmla="*/ 199494 w 3785642"/>
                <a:gd name="connsiteY271" fmla="*/ 282996 h 481758"/>
                <a:gd name="connsiteX272" fmla="*/ 210904 w 3785642"/>
                <a:gd name="connsiteY272" fmla="*/ 271587 h 481758"/>
                <a:gd name="connsiteX273" fmla="*/ 221818 w 3785642"/>
                <a:gd name="connsiteY273" fmla="*/ 259185 h 481758"/>
                <a:gd name="connsiteX274" fmla="*/ 233724 w 3785642"/>
                <a:gd name="connsiteY274" fmla="*/ 247775 h 481758"/>
                <a:gd name="connsiteX275" fmla="*/ 244141 w 3785642"/>
                <a:gd name="connsiteY275" fmla="*/ 235373 h 481758"/>
                <a:gd name="connsiteX276" fmla="*/ 257039 w 3785642"/>
                <a:gd name="connsiteY276" fmla="*/ 225451 h 481758"/>
                <a:gd name="connsiteX277" fmla="*/ 266961 w 3785642"/>
                <a:gd name="connsiteY277" fmla="*/ 212057 h 481758"/>
                <a:gd name="connsiteX278" fmla="*/ 278371 w 3785642"/>
                <a:gd name="connsiteY278" fmla="*/ 200647 h 481758"/>
                <a:gd name="connsiteX279" fmla="*/ 291269 w 3785642"/>
                <a:gd name="connsiteY279" fmla="*/ 190726 h 481758"/>
                <a:gd name="connsiteX280" fmla="*/ 301686 w 3785642"/>
                <a:gd name="connsiteY280" fmla="*/ 177828 h 481758"/>
                <a:gd name="connsiteX281" fmla="*/ 313592 w 3785642"/>
                <a:gd name="connsiteY281" fmla="*/ 166418 h 481758"/>
                <a:gd name="connsiteX282" fmla="*/ 325994 w 3785642"/>
                <a:gd name="connsiteY282" fmla="*/ 156000 h 481758"/>
                <a:gd name="connsiteX283" fmla="*/ 337404 w 3785642"/>
                <a:gd name="connsiteY283" fmla="*/ 144591 h 481758"/>
                <a:gd name="connsiteX284" fmla="*/ 347325 w 3785642"/>
                <a:gd name="connsiteY284" fmla="*/ 131693 h 481758"/>
                <a:gd name="connsiteX285" fmla="*/ 360224 w 3785642"/>
                <a:gd name="connsiteY285" fmla="*/ 121275 h 481758"/>
                <a:gd name="connsiteX286" fmla="*/ 371137 w 3785642"/>
                <a:gd name="connsiteY286" fmla="*/ 108873 h 481758"/>
                <a:gd name="connsiteX287" fmla="*/ 382051 w 3785642"/>
                <a:gd name="connsiteY287" fmla="*/ 96471 h 481758"/>
                <a:gd name="connsiteX288" fmla="*/ 393957 w 3785642"/>
                <a:gd name="connsiteY288" fmla="*/ 85061 h 481758"/>
                <a:gd name="connsiteX289" fmla="*/ 405366 w 3785642"/>
                <a:gd name="connsiteY289" fmla="*/ 73156 h 481758"/>
                <a:gd name="connsiteX290" fmla="*/ 417272 w 3785642"/>
                <a:gd name="connsiteY290" fmla="*/ 62242 h 481758"/>
                <a:gd name="connsiteX291" fmla="*/ 429674 w 3785642"/>
                <a:gd name="connsiteY291" fmla="*/ 51328 h 481758"/>
                <a:gd name="connsiteX292" fmla="*/ 440092 w 3785642"/>
                <a:gd name="connsiteY292" fmla="*/ 38430 h 481758"/>
                <a:gd name="connsiteX293" fmla="*/ 452494 w 3785642"/>
                <a:gd name="connsiteY293" fmla="*/ 27516 h 481758"/>
                <a:gd name="connsiteX294" fmla="*/ 463904 w 3785642"/>
                <a:gd name="connsiteY294" fmla="*/ 15610 h 481758"/>
                <a:gd name="connsiteX295" fmla="*/ 475313 w 3785642"/>
                <a:gd name="connsiteY295" fmla="*/ 3705 h 481758"/>
                <a:gd name="connsiteX296" fmla="*/ 491684 w 3785642"/>
                <a:gd name="connsiteY296" fmla="*/ 5193 h 481758"/>
                <a:gd name="connsiteX297" fmla="*/ 508055 w 3785642"/>
                <a:gd name="connsiteY297" fmla="*/ 5193 h 481758"/>
                <a:gd name="connsiteX298" fmla="*/ 524425 w 3785642"/>
                <a:gd name="connsiteY298" fmla="*/ 5193 h 481758"/>
                <a:gd name="connsiteX299" fmla="*/ 540796 w 3785642"/>
                <a:gd name="connsiteY299" fmla="*/ 3705 h 481758"/>
                <a:gd name="connsiteX300" fmla="*/ 557166 w 3785642"/>
                <a:gd name="connsiteY300" fmla="*/ 5193 h 481758"/>
                <a:gd name="connsiteX301" fmla="*/ 573537 w 3785642"/>
                <a:gd name="connsiteY301" fmla="*/ 3705 h 481758"/>
                <a:gd name="connsiteX302" fmla="*/ 589908 w 3785642"/>
                <a:gd name="connsiteY302" fmla="*/ 3208 h 481758"/>
                <a:gd name="connsiteX303" fmla="*/ 606278 w 3785642"/>
                <a:gd name="connsiteY303" fmla="*/ 4201 h 481758"/>
                <a:gd name="connsiteX304" fmla="*/ 622649 w 3785642"/>
                <a:gd name="connsiteY304" fmla="*/ 4201 h 481758"/>
                <a:gd name="connsiteX305" fmla="*/ 639019 w 3785642"/>
                <a:gd name="connsiteY305" fmla="*/ 4697 h 481758"/>
                <a:gd name="connsiteX306" fmla="*/ 655390 w 3785642"/>
                <a:gd name="connsiteY306" fmla="*/ 3208 h 481758"/>
                <a:gd name="connsiteX307" fmla="*/ 671760 w 3785642"/>
                <a:gd name="connsiteY307" fmla="*/ 4201 h 481758"/>
                <a:gd name="connsiteX308" fmla="*/ 688131 w 3785642"/>
                <a:gd name="connsiteY308" fmla="*/ 5193 h 481758"/>
                <a:gd name="connsiteX309" fmla="*/ 704501 w 3785642"/>
                <a:gd name="connsiteY309" fmla="*/ 3705 h 481758"/>
                <a:gd name="connsiteX310" fmla="*/ 720872 w 3785642"/>
                <a:gd name="connsiteY310" fmla="*/ 4201 h 481758"/>
                <a:gd name="connsiteX311" fmla="*/ 737243 w 3785642"/>
                <a:gd name="connsiteY311" fmla="*/ 4697 h 481758"/>
                <a:gd name="connsiteX312" fmla="*/ 753613 w 3785642"/>
                <a:gd name="connsiteY312" fmla="*/ 3705 h 481758"/>
                <a:gd name="connsiteX313" fmla="*/ 769984 w 3785642"/>
                <a:gd name="connsiteY313" fmla="*/ 3208 h 481758"/>
                <a:gd name="connsiteX314" fmla="*/ 786354 w 3785642"/>
                <a:gd name="connsiteY314" fmla="*/ 4201 h 481758"/>
                <a:gd name="connsiteX315" fmla="*/ 802725 w 3785642"/>
                <a:gd name="connsiteY315" fmla="*/ 3208 h 481758"/>
                <a:gd name="connsiteX316" fmla="*/ 819096 w 3785642"/>
                <a:gd name="connsiteY316" fmla="*/ 5193 h 481758"/>
                <a:gd name="connsiteX317" fmla="*/ 835466 w 3785642"/>
                <a:gd name="connsiteY317" fmla="*/ 3208 h 481758"/>
                <a:gd name="connsiteX318" fmla="*/ 851837 w 3785642"/>
                <a:gd name="connsiteY318" fmla="*/ 4201 h 481758"/>
                <a:gd name="connsiteX319" fmla="*/ 868207 w 3785642"/>
                <a:gd name="connsiteY319" fmla="*/ 4697 h 481758"/>
                <a:gd name="connsiteX320" fmla="*/ 884578 w 3785642"/>
                <a:gd name="connsiteY320" fmla="*/ 5193 h 481758"/>
                <a:gd name="connsiteX321" fmla="*/ 900948 w 3785642"/>
                <a:gd name="connsiteY321" fmla="*/ 4201 h 481758"/>
                <a:gd name="connsiteX322" fmla="*/ 917319 w 3785642"/>
                <a:gd name="connsiteY322" fmla="*/ 3705 h 481758"/>
                <a:gd name="connsiteX323" fmla="*/ 933689 w 3785642"/>
                <a:gd name="connsiteY323" fmla="*/ 5193 h 481758"/>
                <a:gd name="connsiteX324" fmla="*/ 950060 w 3785642"/>
                <a:gd name="connsiteY324" fmla="*/ 4201 h 481758"/>
                <a:gd name="connsiteX325" fmla="*/ 966431 w 3785642"/>
                <a:gd name="connsiteY325" fmla="*/ 4697 h 481758"/>
                <a:gd name="connsiteX326" fmla="*/ 982801 w 3785642"/>
                <a:gd name="connsiteY326" fmla="*/ 5193 h 481758"/>
                <a:gd name="connsiteX327" fmla="*/ 999172 w 3785642"/>
                <a:gd name="connsiteY327" fmla="*/ 4201 h 481758"/>
                <a:gd name="connsiteX328" fmla="*/ 1015542 w 3785642"/>
                <a:gd name="connsiteY328" fmla="*/ 5193 h 481758"/>
                <a:gd name="connsiteX329" fmla="*/ 1031913 w 3785642"/>
                <a:gd name="connsiteY329" fmla="*/ 4201 h 481758"/>
                <a:gd name="connsiteX330" fmla="*/ 1048283 w 3785642"/>
                <a:gd name="connsiteY330" fmla="*/ 4697 h 481758"/>
                <a:gd name="connsiteX331" fmla="*/ 1064654 w 3785642"/>
                <a:gd name="connsiteY331" fmla="*/ 6185 h 481758"/>
                <a:gd name="connsiteX332" fmla="*/ 1081025 w 3785642"/>
                <a:gd name="connsiteY332" fmla="*/ 4697 h 481758"/>
                <a:gd name="connsiteX333" fmla="*/ 1097395 w 3785642"/>
                <a:gd name="connsiteY333" fmla="*/ 5193 h 481758"/>
                <a:gd name="connsiteX334" fmla="*/ 1113766 w 3785642"/>
                <a:gd name="connsiteY334" fmla="*/ 5193 h 481758"/>
                <a:gd name="connsiteX335" fmla="*/ 1130136 w 3785642"/>
                <a:gd name="connsiteY335" fmla="*/ 6185 h 481758"/>
                <a:gd name="connsiteX336" fmla="*/ 1146507 w 3785642"/>
                <a:gd name="connsiteY336" fmla="*/ 4201 h 481758"/>
                <a:gd name="connsiteX337" fmla="*/ 1162878 w 3785642"/>
                <a:gd name="connsiteY337" fmla="*/ 5689 h 481758"/>
                <a:gd name="connsiteX338" fmla="*/ 1179248 w 3785642"/>
                <a:gd name="connsiteY338" fmla="*/ 6681 h 481758"/>
                <a:gd name="connsiteX339" fmla="*/ 1195619 w 3785642"/>
                <a:gd name="connsiteY339" fmla="*/ 6185 h 481758"/>
                <a:gd name="connsiteX340" fmla="*/ 1211989 w 3785642"/>
                <a:gd name="connsiteY340" fmla="*/ 4201 h 481758"/>
                <a:gd name="connsiteX341" fmla="*/ 1228360 w 3785642"/>
                <a:gd name="connsiteY341" fmla="*/ 6185 h 481758"/>
                <a:gd name="connsiteX342" fmla="*/ 1244730 w 3785642"/>
                <a:gd name="connsiteY342" fmla="*/ 4201 h 481758"/>
                <a:gd name="connsiteX343" fmla="*/ 1261101 w 3785642"/>
                <a:gd name="connsiteY343" fmla="*/ 5193 h 481758"/>
                <a:gd name="connsiteX344" fmla="*/ 1277471 w 3785642"/>
                <a:gd name="connsiteY344" fmla="*/ 6185 h 481758"/>
                <a:gd name="connsiteX345" fmla="*/ 1293842 w 3785642"/>
                <a:gd name="connsiteY345" fmla="*/ 6681 h 481758"/>
                <a:gd name="connsiteX346" fmla="*/ 1310213 w 3785642"/>
                <a:gd name="connsiteY346" fmla="*/ 4201 h 481758"/>
                <a:gd name="connsiteX347" fmla="*/ 1326583 w 3785642"/>
                <a:gd name="connsiteY347" fmla="*/ 4697 h 481758"/>
                <a:gd name="connsiteX348" fmla="*/ 1342954 w 3785642"/>
                <a:gd name="connsiteY348" fmla="*/ 5689 h 481758"/>
                <a:gd name="connsiteX349" fmla="*/ 1359324 w 3785642"/>
                <a:gd name="connsiteY349" fmla="*/ 5689 h 481758"/>
                <a:gd name="connsiteX350" fmla="*/ 1375695 w 3785642"/>
                <a:gd name="connsiteY350" fmla="*/ 5193 h 481758"/>
                <a:gd name="connsiteX351" fmla="*/ 1392066 w 3785642"/>
                <a:gd name="connsiteY351" fmla="*/ 5193 h 481758"/>
                <a:gd name="connsiteX352" fmla="*/ 1408436 w 3785642"/>
                <a:gd name="connsiteY352" fmla="*/ 6185 h 481758"/>
                <a:gd name="connsiteX353" fmla="*/ 1424807 w 3785642"/>
                <a:gd name="connsiteY353" fmla="*/ 6185 h 481758"/>
                <a:gd name="connsiteX354" fmla="*/ 1441177 w 3785642"/>
                <a:gd name="connsiteY354" fmla="*/ 4201 h 481758"/>
                <a:gd name="connsiteX355" fmla="*/ 1457548 w 3785642"/>
                <a:gd name="connsiteY355" fmla="*/ 5193 h 481758"/>
                <a:gd name="connsiteX356" fmla="*/ 1473919 w 3785642"/>
                <a:gd name="connsiteY356" fmla="*/ 4697 h 481758"/>
                <a:gd name="connsiteX357" fmla="*/ 1490289 w 3785642"/>
                <a:gd name="connsiteY357" fmla="*/ 4697 h 481758"/>
                <a:gd name="connsiteX358" fmla="*/ 1506660 w 3785642"/>
                <a:gd name="connsiteY358" fmla="*/ 4201 h 481758"/>
                <a:gd name="connsiteX359" fmla="*/ 1523030 w 3785642"/>
                <a:gd name="connsiteY359" fmla="*/ 6185 h 481758"/>
                <a:gd name="connsiteX360" fmla="*/ 1539401 w 3785642"/>
                <a:gd name="connsiteY360" fmla="*/ 5689 h 481758"/>
                <a:gd name="connsiteX361" fmla="*/ 1555771 w 3785642"/>
                <a:gd name="connsiteY361" fmla="*/ 5689 h 481758"/>
                <a:gd name="connsiteX362" fmla="*/ 1572142 w 3785642"/>
                <a:gd name="connsiteY362" fmla="*/ 5193 h 481758"/>
                <a:gd name="connsiteX363" fmla="*/ 1588512 w 3785642"/>
                <a:gd name="connsiteY363" fmla="*/ 4697 h 481758"/>
                <a:gd name="connsiteX364" fmla="*/ 1604883 w 3785642"/>
                <a:gd name="connsiteY364" fmla="*/ 5689 h 481758"/>
                <a:gd name="connsiteX365" fmla="*/ 1621253 w 3785642"/>
                <a:gd name="connsiteY365" fmla="*/ 5689 h 481758"/>
                <a:gd name="connsiteX366" fmla="*/ 1637624 w 3785642"/>
                <a:gd name="connsiteY366" fmla="*/ 5193 h 481758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47109 w 3785642"/>
                <a:gd name="connsiteY38" fmla="*/ 21859 h 479077"/>
                <a:gd name="connsiteX39" fmla="*/ 3313375 w 3785642"/>
                <a:gd name="connsiteY39" fmla="*/ 10945 h 479077"/>
                <a:gd name="connsiteX40" fmla="*/ 3300973 w 3785642"/>
                <a:gd name="connsiteY40" fmla="*/ 21363 h 479077"/>
                <a:gd name="connsiteX41" fmla="*/ 3289068 w 3785642"/>
                <a:gd name="connsiteY41" fmla="*/ 32276 h 479077"/>
                <a:gd name="connsiteX42" fmla="*/ 3277658 w 3785642"/>
                <a:gd name="connsiteY42" fmla="*/ 43686 h 479077"/>
                <a:gd name="connsiteX43" fmla="*/ 3266248 w 3785642"/>
                <a:gd name="connsiteY43" fmla="*/ 55592 h 479077"/>
                <a:gd name="connsiteX44" fmla="*/ 3255830 w 3785642"/>
                <a:gd name="connsiteY44" fmla="*/ 68490 h 479077"/>
                <a:gd name="connsiteX45" fmla="*/ 3243924 w 3785642"/>
                <a:gd name="connsiteY45" fmla="*/ 79900 h 479077"/>
                <a:gd name="connsiteX46" fmla="*/ 3231522 w 3785642"/>
                <a:gd name="connsiteY46" fmla="*/ 90814 h 479077"/>
                <a:gd name="connsiteX47" fmla="*/ 3220609 w 3785642"/>
                <a:gd name="connsiteY47" fmla="*/ 102720 h 479077"/>
                <a:gd name="connsiteX48" fmla="*/ 3208207 w 3785642"/>
                <a:gd name="connsiteY48" fmla="*/ 113137 h 479077"/>
                <a:gd name="connsiteX49" fmla="*/ 3197293 w 3785642"/>
                <a:gd name="connsiteY49" fmla="*/ 125043 h 479077"/>
                <a:gd name="connsiteX50" fmla="*/ 3185387 w 3785642"/>
                <a:gd name="connsiteY50" fmla="*/ 136453 h 479077"/>
                <a:gd name="connsiteX51" fmla="*/ 3174970 w 3785642"/>
                <a:gd name="connsiteY51" fmla="*/ 148855 h 479077"/>
                <a:gd name="connsiteX52" fmla="*/ 3162071 w 3785642"/>
                <a:gd name="connsiteY52" fmla="*/ 159272 h 479077"/>
                <a:gd name="connsiteX53" fmla="*/ 3151158 w 3785642"/>
                <a:gd name="connsiteY53" fmla="*/ 171674 h 479077"/>
                <a:gd name="connsiteX54" fmla="*/ 3139252 w 3785642"/>
                <a:gd name="connsiteY54" fmla="*/ 182588 h 479077"/>
                <a:gd name="connsiteX55" fmla="*/ 3127843 w 3785642"/>
                <a:gd name="connsiteY55" fmla="*/ 194494 h 479077"/>
                <a:gd name="connsiteX56" fmla="*/ 3116432 w 3785642"/>
                <a:gd name="connsiteY56" fmla="*/ 205904 h 479077"/>
                <a:gd name="connsiteX57" fmla="*/ 3105022 w 3785642"/>
                <a:gd name="connsiteY57" fmla="*/ 217810 h 479077"/>
                <a:gd name="connsiteX58" fmla="*/ 3093117 w 3785642"/>
                <a:gd name="connsiteY58" fmla="*/ 229219 h 479077"/>
                <a:gd name="connsiteX59" fmla="*/ 3081707 w 3785642"/>
                <a:gd name="connsiteY59" fmla="*/ 240629 h 479077"/>
                <a:gd name="connsiteX60" fmla="*/ 3069305 w 3785642"/>
                <a:gd name="connsiteY60" fmla="*/ 251543 h 479077"/>
                <a:gd name="connsiteX61" fmla="*/ 3057895 w 3785642"/>
                <a:gd name="connsiteY61" fmla="*/ 263449 h 479077"/>
                <a:gd name="connsiteX62" fmla="*/ 3046486 w 3785642"/>
                <a:gd name="connsiteY62" fmla="*/ 275355 h 479077"/>
                <a:gd name="connsiteX63" fmla="*/ 3035572 w 3785642"/>
                <a:gd name="connsiteY63" fmla="*/ 287260 h 479077"/>
                <a:gd name="connsiteX64" fmla="*/ 3024658 w 3785642"/>
                <a:gd name="connsiteY64" fmla="*/ 299166 h 479077"/>
                <a:gd name="connsiteX65" fmla="*/ 3013248 w 3785642"/>
                <a:gd name="connsiteY65" fmla="*/ 311072 h 479077"/>
                <a:gd name="connsiteX66" fmla="*/ 3000350 w 3785642"/>
                <a:gd name="connsiteY66" fmla="*/ 321490 h 479077"/>
                <a:gd name="connsiteX67" fmla="*/ 2988941 w 3785642"/>
                <a:gd name="connsiteY67" fmla="*/ 333396 h 479077"/>
                <a:gd name="connsiteX68" fmla="*/ 2976539 w 3785642"/>
                <a:gd name="connsiteY68" fmla="*/ 344309 h 479077"/>
                <a:gd name="connsiteX69" fmla="*/ 2965129 w 3785642"/>
                <a:gd name="connsiteY69" fmla="*/ 356215 h 479077"/>
                <a:gd name="connsiteX70" fmla="*/ 2953223 w 3785642"/>
                <a:gd name="connsiteY70" fmla="*/ 367625 h 479077"/>
                <a:gd name="connsiteX71" fmla="*/ 2941813 w 3785642"/>
                <a:gd name="connsiteY71" fmla="*/ 379531 h 479077"/>
                <a:gd name="connsiteX72" fmla="*/ 2931395 w 3785642"/>
                <a:gd name="connsiteY72" fmla="*/ 392429 h 479077"/>
                <a:gd name="connsiteX73" fmla="*/ 2918497 w 3785642"/>
                <a:gd name="connsiteY73" fmla="*/ 402847 h 479077"/>
                <a:gd name="connsiteX74" fmla="*/ 2907584 w 3785642"/>
                <a:gd name="connsiteY74" fmla="*/ 415249 h 479077"/>
                <a:gd name="connsiteX75" fmla="*/ 2896174 w 3785642"/>
                <a:gd name="connsiteY75" fmla="*/ 426658 h 479077"/>
                <a:gd name="connsiteX76" fmla="*/ 2884268 w 3785642"/>
                <a:gd name="connsiteY76" fmla="*/ 438068 h 479077"/>
                <a:gd name="connsiteX77" fmla="*/ 2873354 w 3785642"/>
                <a:gd name="connsiteY77" fmla="*/ 450470 h 479077"/>
                <a:gd name="connsiteX78" fmla="*/ 2860952 w 3785642"/>
                <a:gd name="connsiteY78" fmla="*/ 461384 h 479077"/>
                <a:gd name="connsiteX79" fmla="*/ 2850039 w 3785642"/>
                <a:gd name="connsiteY79" fmla="*/ 473786 h 479077"/>
                <a:gd name="connsiteX80" fmla="*/ 2833668 w 3785642"/>
                <a:gd name="connsiteY80" fmla="*/ 473786 h 479077"/>
                <a:gd name="connsiteX81" fmla="*/ 2817297 w 3785642"/>
                <a:gd name="connsiteY81" fmla="*/ 473290 h 479077"/>
                <a:gd name="connsiteX82" fmla="*/ 2800927 w 3785642"/>
                <a:gd name="connsiteY82" fmla="*/ 473290 h 479077"/>
                <a:gd name="connsiteX83" fmla="*/ 2784556 w 3785642"/>
                <a:gd name="connsiteY83" fmla="*/ 473786 h 479077"/>
                <a:gd name="connsiteX84" fmla="*/ 2768186 w 3785642"/>
                <a:gd name="connsiteY84" fmla="*/ 474282 h 479077"/>
                <a:gd name="connsiteX85" fmla="*/ 2751815 w 3785642"/>
                <a:gd name="connsiteY85" fmla="*/ 474282 h 479077"/>
                <a:gd name="connsiteX86" fmla="*/ 2735444 w 3785642"/>
                <a:gd name="connsiteY86" fmla="*/ 473290 h 479077"/>
                <a:gd name="connsiteX87" fmla="*/ 2719074 w 3785642"/>
                <a:gd name="connsiteY87" fmla="*/ 474282 h 479077"/>
                <a:gd name="connsiteX88" fmla="*/ 2702703 w 3785642"/>
                <a:gd name="connsiteY88" fmla="*/ 472298 h 479077"/>
                <a:gd name="connsiteX89" fmla="*/ 2686333 w 3785642"/>
                <a:gd name="connsiteY89" fmla="*/ 472794 h 479077"/>
                <a:gd name="connsiteX90" fmla="*/ 2669962 w 3785642"/>
                <a:gd name="connsiteY90" fmla="*/ 474282 h 479077"/>
                <a:gd name="connsiteX91" fmla="*/ 2653592 w 3785642"/>
                <a:gd name="connsiteY91" fmla="*/ 472298 h 479077"/>
                <a:gd name="connsiteX92" fmla="*/ 2637221 w 3785642"/>
                <a:gd name="connsiteY92" fmla="*/ 474282 h 479077"/>
                <a:gd name="connsiteX93" fmla="*/ 2620851 w 3785642"/>
                <a:gd name="connsiteY93" fmla="*/ 474282 h 479077"/>
                <a:gd name="connsiteX94" fmla="*/ 2604480 w 3785642"/>
                <a:gd name="connsiteY94" fmla="*/ 472298 h 479077"/>
                <a:gd name="connsiteX95" fmla="*/ 2588109 w 3785642"/>
                <a:gd name="connsiteY95" fmla="*/ 473786 h 479077"/>
                <a:gd name="connsiteX96" fmla="*/ 2571739 w 3785642"/>
                <a:gd name="connsiteY96" fmla="*/ 472298 h 479077"/>
                <a:gd name="connsiteX97" fmla="*/ 2555368 w 3785642"/>
                <a:gd name="connsiteY97" fmla="*/ 473290 h 479077"/>
                <a:gd name="connsiteX98" fmla="*/ 2538998 w 3785642"/>
                <a:gd name="connsiteY98" fmla="*/ 474282 h 479077"/>
                <a:gd name="connsiteX99" fmla="*/ 2522627 w 3785642"/>
                <a:gd name="connsiteY99" fmla="*/ 473290 h 479077"/>
                <a:gd name="connsiteX100" fmla="*/ 2506257 w 3785642"/>
                <a:gd name="connsiteY100" fmla="*/ 474282 h 479077"/>
                <a:gd name="connsiteX101" fmla="*/ 2489886 w 3785642"/>
                <a:gd name="connsiteY101" fmla="*/ 473786 h 479077"/>
                <a:gd name="connsiteX102" fmla="*/ 2473516 w 3785642"/>
                <a:gd name="connsiteY102" fmla="*/ 474282 h 479077"/>
                <a:gd name="connsiteX103" fmla="*/ 2457145 w 3785642"/>
                <a:gd name="connsiteY103" fmla="*/ 472794 h 479077"/>
                <a:gd name="connsiteX104" fmla="*/ 2440775 w 3785642"/>
                <a:gd name="connsiteY104" fmla="*/ 472298 h 479077"/>
                <a:gd name="connsiteX105" fmla="*/ 2424404 w 3785642"/>
                <a:gd name="connsiteY105" fmla="*/ 473786 h 479077"/>
                <a:gd name="connsiteX106" fmla="*/ 2408033 w 3785642"/>
                <a:gd name="connsiteY106" fmla="*/ 472794 h 479077"/>
                <a:gd name="connsiteX107" fmla="*/ 2391663 w 3785642"/>
                <a:gd name="connsiteY107" fmla="*/ 473290 h 479077"/>
                <a:gd name="connsiteX108" fmla="*/ 2375292 w 3785642"/>
                <a:gd name="connsiteY108" fmla="*/ 473290 h 479077"/>
                <a:gd name="connsiteX109" fmla="*/ 2358922 w 3785642"/>
                <a:gd name="connsiteY109" fmla="*/ 472794 h 479077"/>
                <a:gd name="connsiteX110" fmla="*/ 2342551 w 3785642"/>
                <a:gd name="connsiteY110" fmla="*/ 472298 h 479077"/>
                <a:gd name="connsiteX111" fmla="*/ 2326180 w 3785642"/>
                <a:gd name="connsiteY111" fmla="*/ 473786 h 479077"/>
                <a:gd name="connsiteX112" fmla="*/ 2309810 w 3785642"/>
                <a:gd name="connsiteY112" fmla="*/ 473786 h 479077"/>
                <a:gd name="connsiteX113" fmla="*/ 2293439 w 3785642"/>
                <a:gd name="connsiteY113" fmla="*/ 473786 h 479077"/>
                <a:gd name="connsiteX114" fmla="*/ 2277069 w 3785642"/>
                <a:gd name="connsiteY114" fmla="*/ 472794 h 479077"/>
                <a:gd name="connsiteX115" fmla="*/ 2260698 w 3785642"/>
                <a:gd name="connsiteY115" fmla="*/ 474282 h 479077"/>
                <a:gd name="connsiteX116" fmla="*/ 2244327 w 3785642"/>
                <a:gd name="connsiteY116" fmla="*/ 472298 h 479077"/>
                <a:gd name="connsiteX117" fmla="*/ 2227957 w 3785642"/>
                <a:gd name="connsiteY117" fmla="*/ 474282 h 479077"/>
                <a:gd name="connsiteX118" fmla="*/ 2211586 w 3785642"/>
                <a:gd name="connsiteY118" fmla="*/ 473290 h 479077"/>
                <a:gd name="connsiteX119" fmla="*/ 2195216 w 3785642"/>
                <a:gd name="connsiteY119" fmla="*/ 474282 h 479077"/>
                <a:gd name="connsiteX120" fmla="*/ 2178845 w 3785642"/>
                <a:gd name="connsiteY120" fmla="*/ 472794 h 479077"/>
                <a:gd name="connsiteX121" fmla="*/ 2162474 w 3785642"/>
                <a:gd name="connsiteY121" fmla="*/ 474778 h 479077"/>
                <a:gd name="connsiteX122" fmla="*/ 2146104 w 3785642"/>
                <a:gd name="connsiteY122" fmla="*/ 473290 h 479077"/>
                <a:gd name="connsiteX123" fmla="*/ 2129733 w 3785642"/>
                <a:gd name="connsiteY123" fmla="*/ 474778 h 479077"/>
                <a:gd name="connsiteX124" fmla="*/ 2113363 w 3785642"/>
                <a:gd name="connsiteY124" fmla="*/ 474778 h 479077"/>
                <a:gd name="connsiteX125" fmla="*/ 2096992 w 3785642"/>
                <a:gd name="connsiteY125" fmla="*/ 474778 h 479077"/>
                <a:gd name="connsiteX126" fmla="*/ 2080621 w 3785642"/>
                <a:gd name="connsiteY126" fmla="*/ 474282 h 479077"/>
                <a:gd name="connsiteX127" fmla="*/ 2064251 w 3785642"/>
                <a:gd name="connsiteY127" fmla="*/ 472794 h 479077"/>
                <a:gd name="connsiteX128" fmla="*/ 2047880 w 3785642"/>
                <a:gd name="connsiteY128" fmla="*/ 474778 h 479077"/>
                <a:gd name="connsiteX129" fmla="*/ 2031510 w 3785642"/>
                <a:gd name="connsiteY129" fmla="*/ 474778 h 479077"/>
                <a:gd name="connsiteX130" fmla="*/ 2015139 w 3785642"/>
                <a:gd name="connsiteY130" fmla="*/ 474778 h 479077"/>
                <a:gd name="connsiteX131" fmla="*/ 1998769 w 3785642"/>
                <a:gd name="connsiteY131" fmla="*/ 474282 h 479077"/>
                <a:gd name="connsiteX132" fmla="*/ 1982398 w 3785642"/>
                <a:gd name="connsiteY132" fmla="*/ 473786 h 479077"/>
                <a:gd name="connsiteX133" fmla="*/ 1966028 w 3785642"/>
                <a:gd name="connsiteY133" fmla="*/ 473786 h 479077"/>
                <a:gd name="connsiteX134" fmla="*/ 1949657 w 3785642"/>
                <a:gd name="connsiteY134" fmla="*/ 472794 h 479077"/>
                <a:gd name="connsiteX135" fmla="*/ 1933287 w 3785642"/>
                <a:gd name="connsiteY135" fmla="*/ 473290 h 479077"/>
                <a:gd name="connsiteX136" fmla="*/ 1916916 w 3785642"/>
                <a:gd name="connsiteY136" fmla="*/ 474778 h 479077"/>
                <a:gd name="connsiteX137" fmla="*/ 1900546 w 3785642"/>
                <a:gd name="connsiteY137" fmla="*/ 472794 h 479077"/>
                <a:gd name="connsiteX138" fmla="*/ 1884175 w 3785642"/>
                <a:gd name="connsiteY138" fmla="*/ 473786 h 479077"/>
                <a:gd name="connsiteX139" fmla="*/ 1867804 w 3785642"/>
                <a:gd name="connsiteY139" fmla="*/ 474778 h 479077"/>
                <a:gd name="connsiteX140" fmla="*/ 1851434 w 3785642"/>
                <a:gd name="connsiteY140" fmla="*/ 474778 h 479077"/>
                <a:gd name="connsiteX141" fmla="*/ 1835063 w 3785642"/>
                <a:gd name="connsiteY141" fmla="*/ 474778 h 479077"/>
                <a:gd name="connsiteX142" fmla="*/ 1818693 w 3785642"/>
                <a:gd name="connsiteY142" fmla="*/ 474282 h 479077"/>
                <a:gd name="connsiteX143" fmla="*/ 1802322 w 3785642"/>
                <a:gd name="connsiteY143" fmla="*/ 472794 h 479077"/>
                <a:gd name="connsiteX144" fmla="*/ 1785951 w 3785642"/>
                <a:gd name="connsiteY144" fmla="*/ 473786 h 479077"/>
                <a:gd name="connsiteX145" fmla="*/ 1769581 w 3785642"/>
                <a:gd name="connsiteY145" fmla="*/ 473290 h 479077"/>
                <a:gd name="connsiteX146" fmla="*/ 1753210 w 3785642"/>
                <a:gd name="connsiteY146" fmla="*/ 472298 h 479077"/>
                <a:gd name="connsiteX147" fmla="*/ 1736840 w 3785642"/>
                <a:gd name="connsiteY147" fmla="*/ 473290 h 479077"/>
                <a:gd name="connsiteX148" fmla="*/ 1720469 w 3785642"/>
                <a:gd name="connsiteY148" fmla="*/ 474778 h 479077"/>
                <a:gd name="connsiteX149" fmla="*/ 1704098 w 3785642"/>
                <a:gd name="connsiteY149" fmla="*/ 472794 h 479077"/>
                <a:gd name="connsiteX150" fmla="*/ 1687728 w 3785642"/>
                <a:gd name="connsiteY150" fmla="*/ 474778 h 479077"/>
                <a:gd name="connsiteX151" fmla="*/ 1671357 w 3785642"/>
                <a:gd name="connsiteY151" fmla="*/ 474778 h 479077"/>
                <a:gd name="connsiteX152" fmla="*/ 1654987 w 3785642"/>
                <a:gd name="connsiteY152" fmla="*/ 472298 h 479077"/>
                <a:gd name="connsiteX153" fmla="*/ 1638616 w 3785642"/>
                <a:gd name="connsiteY153" fmla="*/ 472794 h 479077"/>
                <a:gd name="connsiteX154" fmla="*/ 1622246 w 3785642"/>
                <a:gd name="connsiteY154" fmla="*/ 473786 h 479077"/>
                <a:gd name="connsiteX155" fmla="*/ 1605875 w 3785642"/>
                <a:gd name="connsiteY155" fmla="*/ 474778 h 479077"/>
                <a:gd name="connsiteX156" fmla="*/ 1589505 w 3785642"/>
                <a:gd name="connsiteY156" fmla="*/ 473290 h 479077"/>
                <a:gd name="connsiteX157" fmla="*/ 1573134 w 3785642"/>
                <a:gd name="connsiteY157" fmla="*/ 474778 h 479077"/>
                <a:gd name="connsiteX158" fmla="*/ 1556763 w 3785642"/>
                <a:gd name="connsiteY158" fmla="*/ 472794 h 479077"/>
                <a:gd name="connsiteX159" fmla="*/ 1540393 w 3785642"/>
                <a:gd name="connsiteY159" fmla="*/ 472794 h 479077"/>
                <a:gd name="connsiteX160" fmla="*/ 1524022 w 3785642"/>
                <a:gd name="connsiteY160" fmla="*/ 474282 h 479077"/>
                <a:gd name="connsiteX161" fmla="*/ 1507652 w 3785642"/>
                <a:gd name="connsiteY161" fmla="*/ 472794 h 479077"/>
                <a:gd name="connsiteX162" fmla="*/ 1491281 w 3785642"/>
                <a:gd name="connsiteY162" fmla="*/ 474282 h 479077"/>
                <a:gd name="connsiteX163" fmla="*/ 1474910 w 3785642"/>
                <a:gd name="connsiteY163" fmla="*/ 474282 h 479077"/>
                <a:gd name="connsiteX164" fmla="*/ 1458540 w 3785642"/>
                <a:gd name="connsiteY164" fmla="*/ 472794 h 479077"/>
                <a:gd name="connsiteX165" fmla="*/ 1442169 w 3785642"/>
                <a:gd name="connsiteY165" fmla="*/ 471802 h 479077"/>
                <a:gd name="connsiteX166" fmla="*/ 1425799 w 3785642"/>
                <a:gd name="connsiteY166" fmla="*/ 472298 h 479077"/>
                <a:gd name="connsiteX167" fmla="*/ 1409428 w 3785642"/>
                <a:gd name="connsiteY167" fmla="*/ 472794 h 479077"/>
                <a:gd name="connsiteX168" fmla="*/ 1393058 w 3785642"/>
                <a:gd name="connsiteY168" fmla="*/ 473786 h 479077"/>
                <a:gd name="connsiteX169" fmla="*/ 1376687 w 3785642"/>
                <a:gd name="connsiteY169" fmla="*/ 471802 h 479077"/>
                <a:gd name="connsiteX170" fmla="*/ 1360317 w 3785642"/>
                <a:gd name="connsiteY170" fmla="*/ 473786 h 479077"/>
                <a:gd name="connsiteX171" fmla="*/ 1343946 w 3785642"/>
                <a:gd name="connsiteY171" fmla="*/ 473786 h 479077"/>
                <a:gd name="connsiteX172" fmla="*/ 1327576 w 3785642"/>
                <a:gd name="connsiteY172" fmla="*/ 472794 h 479077"/>
                <a:gd name="connsiteX173" fmla="*/ 1311205 w 3785642"/>
                <a:gd name="connsiteY173" fmla="*/ 473786 h 479077"/>
                <a:gd name="connsiteX174" fmla="*/ 1294834 w 3785642"/>
                <a:gd name="connsiteY174" fmla="*/ 473786 h 479077"/>
                <a:gd name="connsiteX175" fmla="*/ 1278464 w 3785642"/>
                <a:gd name="connsiteY175" fmla="*/ 473786 h 479077"/>
                <a:gd name="connsiteX176" fmla="*/ 1262093 w 3785642"/>
                <a:gd name="connsiteY176" fmla="*/ 473786 h 479077"/>
                <a:gd name="connsiteX177" fmla="*/ 1245723 w 3785642"/>
                <a:gd name="connsiteY177" fmla="*/ 473290 h 479077"/>
                <a:gd name="connsiteX178" fmla="*/ 1229352 w 3785642"/>
                <a:gd name="connsiteY178" fmla="*/ 472794 h 479077"/>
                <a:gd name="connsiteX179" fmla="*/ 1212981 w 3785642"/>
                <a:gd name="connsiteY179" fmla="*/ 473786 h 479077"/>
                <a:gd name="connsiteX180" fmla="*/ 1196611 w 3785642"/>
                <a:gd name="connsiteY180" fmla="*/ 472298 h 479077"/>
                <a:gd name="connsiteX181" fmla="*/ 1180240 w 3785642"/>
                <a:gd name="connsiteY181" fmla="*/ 472794 h 479077"/>
                <a:gd name="connsiteX182" fmla="*/ 1163870 w 3785642"/>
                <a:gd name="connsiteY182" fmla="*/ 472794 h 479077"/>
                <a:gd name="connsiteX183" fmla="*/ 1147499 w 3785642"/>
                <a:gd name="connsiteY183" fmla="*/ 473786 h 479077"/>
                <a:gd name="connsiteX184" fmla="*/ 1131128 w 3785642"/>
                <a:gd name="connsiteY184" fmla="*/ 473786 h 479077"/>
                <a:gd name="connsiteX185" fmla="*/ 1114758 w 3785642"/>
                <a:gd name="connsiteY185" fmla="*/ 472794 h 479077"/>
                <a:gd name="connsiteX186" fmla="*/ 1098387 w 3785642"/>
                <a:gd name="connsiteY186" fmla="*/ 473786 h 479077"/>
                <a:gd name="connsiteX187" fmla="*/ 1082017 w 3785642"/>
                <a:gd name="connsiteY187" fmla="*/ 474778 h 479077"/>
                <a:gd name="connsiteX188" fmla="*/ 1065646 w 3785642"/>
                <a:gd name="connsiteY188" fmla="*/ 474778 h 479077"/>
                <a:gd name="connsiteX189" fmla="*/ 1049276 w 3785642"/>
                <a:gd name="connsiteY189" fmla="*/ 474282 h 479077"/>
                <a:gd name="connsiteX190" fmla="*/ 1032905 w 3785642"/>
                <a:gd name="connsiteY190" fmla="*/ 473290 h 479077"/>
                <a:gd name="connsiteX191" fmla="*/ 1016535 w 3785642"/>
                <a:gd name="connsiteY191" fmla="*/ 474282 h 479077"/>
                <a:gd name="connsiteX192" fmla="*/ 1000164 w 3785642"/>
                <a:gd name="connsiteY192" fmla="*/ 474282 h 479077"/>
                <a:gd name="connsiteX193" fmla="*/ 983793 w 3785642"/>
                <a:gd name="connsiteY193" fmla="*/ 472794 h 479077"/>
                <a:gd name="connsiteX194" fmla="*/ 967423 w 3785642"/>
                <a:gd name="connsiteY194" fmla="*/ 472794 h 479077"/>
                <a:gd name="connsiteX195" fmla="*/ 951052 w 3785642"/>
                <a:gd name="connsiteY195" fmla="*/ 473786 h 479077"/>
                <a:gd name="connsiteX196" fmla="*/ 934682 w 3785642"/>
                <a:gd name="connsiteY196" fmla="*/ 474282 h 479077"/>
                <a:gd name="connsiteX197" fmla="*/ 918311 w 3785642"/>
                <a:gd name="connsiteY197" fmla="*/ 474778 h 479077"/>
                <a:gd name="connsiteX198" fmla="*/ 901940 w 3785642"/>
                <a:gd name="connsiteY198" fmla="*/ 473290 h 479077"/>
                <a:gd name="connsiteX199" fmla="*/ 885570 w 3785642"/>
                <a:gd name="connsiteY199" fmla="*/ 474778 h 479077"/>
                <a:gd name="connsiteX200" fmla="*/ 869199 w 3785642"/>
                <a:gd name="connsiteY200" fmla="*/ 474282 h 479077"/>
                <a:gd name="connsiteX201" fmla="*/ 852829 w 3785642"/>
                <a:gd name="connsiteY201" fmla="*/ 473786 h 479077"/>
                <a:gd name="connsiteX202" fmla="*/ 836458 w 3785642"/>
                <a:gd name="connsiteY202" fmla="*/ 474778 h 479077"/>
                <a:gd name="connsiteX203" fmla="*/ 820088 w 3785642"/>
                <a:gd name="connsiteY203" fmla="*/ 475274 h 479077"/>
                <a:gd name="connsiteX204" fmla="*/ 803717 w 3785642"/>
                <a:gd name="connsiteY204" fmla="*/ 473786 h 479077"/>
                <a:gd name="connsiteX205" fmla="*/ 787347 w 3785642"/>
                <a:gd name="connsiteY205" fmla="*/ 475770 h 479077"/>
                <a:gd name="connsiteX206" fmla="*/ 770976 w 3785642"/>
                <a:gd name="connsiteY206" fmla="*/ 474778 h 479077"/>
                <a:gd name="connsiteX207" fmla="*/ 754605 w 3785642"/>
                <a:gd name="connsiteY207" fmla="*/ 475274 h 479077"/>
                <a:gd name="connsiteX208" fmla="*/ 738235 w 3785642"/>
                <a:gd name="connsiteY208" fmla="*/ 473786 h 479077"/>
                <a:gd name="connsiteX209" fmla="*/ 721864 w 3785642"/>
                <a:gd name="connsiteY209" fmla="*/ 475274 h 479077"/>
                <a:gd name="connsiteX210" fmla="*/ 705494 w 3785642"/>
                <a:gd name="connsiteY210" fmla="*/ 475770 h 479077"/>
                <a:gd name="connsiteX211" fmla="*/ 689123 w 3785642"/>
                <a:gd name="connsiteY211" fmla="*/ 474282 h 479077"/>
                <a:gd name="connsiteX212" fmla="*/ 672753 w 3785642"/>
                <a:gd name="connsiteY212" fmla="*/ 475274 h 479077"/>
                <a:gd name="connsiteX213" fmla="*/ 656382 w 3785642"/>
                <a:gd name="connsiteY213" fmla="*/ 474778 h 479077"/>
                <a:gd name="connsiteX214" fmla="*/ 640011 w 3785642"/>
                <a:gd name="connsiteY214" fmla="*/ 475770 h 479077"/>
                <a:gd name="connsiteX215" fmla="*/ 623641 w 3785642"/>
                <a:gd name="connsiteY215" fmla="*/ 473786 h 479077"/>
                <a:gd name="connsiteX216" fmla="*/ 607270 w 3785642"/>
                <a:gd name="connsiteY216" fmla="*/ 474778 h 479077"/>
                <a:gd name="connsiteX217" fmla="*/ 590900 w 3785642"/>
                <a:gd name="connsiteY217" fmla="*/ 475274 h 479077"/>
                <a:gd name="connsiteX218" fmla="*/ 574529 w 3785642"/>
                <a:gd name="connsiteY218" fmla="*/ 474282 h 479077"/>
                <a:gd name="connsiteX219" fmla="*/ 558158 w 3785642"/>
                <a:gd name="connsiteY219" fmla="*/ 475274 h 479077"/>
                <a:gd name="connsiteX220" fmla="*/ 541788 w 3785642"/>
                <a:gd name="connsiteY220" fmla="*/ 475770 h 479077"/>
                <a:gd name="connsiteX221" fmla="*/ 525417 w 3785642"/>
                <a:gd name="connsiteY221" fmla="*/ 474282 h 479077"/>
                <a:gd name="connsiteX222" fmla="*/ 509047 w 3785642"/>
                <a:gd name="connsiteY222" fmla="*/ 473786 h 479077"/>
                <a:gd name="connsiteX223" fmla="*/ 492676 w 3785642"/>
                <a:gd name="connsiteY223" fmla="*/ 473786 h 479077"/>
                <a:gd name="connsiteX224" fmla="*/ 476306 w 3785642"/>
                <a:gd name="connsiteY224" fmla="*/ 474778 h 479077"/>
                <a:gd name="connsiteX225" fmla="*/ 459935 w 3785642"/>
                <a:gd name="connsiteY225" fmla="*/ 473786 h 479077"/>
                <a:gd name="connsiteX226" fmla="*/ 443565 w 3785642"/>
                <a:gd name="connsiteY226" fmla="*/ 474778 h 479077"/>
                <a:gd name="connsiteX227" fmla="*/ 427194 w 3785642"/>
                <a:gd name="connsiteY227" fmla="*/ 474282 h 479077"/>
                <a:gd name="connsiteX228" fmla="*/ 410823 w 3785642"/>
                <a:gd name="connsiteY228" fmla="*/ 473290 h 479077"/>
                <a:gd name="connsiteX229" fmla="*/ 394453 w 3785642"/>
                <a:gd name="connsiteY229" fmla="*/ 475770 h 479077"/>
                <a:gd name="connsiteX230" fmla="*/ 378082 w 3785642"/>
                <a:gd name="connsiteY230" fmla="*/ 475274 h 479077"/>
                <a:gd name="connsiteX231" fmla="*/ 361712 w 3785642"/>
                <a:gd name="connsiteY231" fmla="*/ 474778 h 479077"/>
                <a:gd name="connsiteX232" fmla="*/ 345341 w 3785642"/>
                <a:gd name="connsiteY232" fmla="*/ 476266 h 479077"/>
                <a:gd name="connsiteX233" fmla="*/ 328970 w 3785642"/>
                <a:gd name="connsiteY233" fmla="*/ 474282 h 479077"/>
                <a:gd name="connsiteX234" fmla="*/ 312600 w 3785642"/>
                <a:gd name="connsiteY234" fmla="*/ 475274 h 479077"/>
                <a:gd name="connsiteX235" fmla="*/ 296229 w 3785642"/>
                <a:gd name="connsiteY235" fmla="*/ 474282 h 479077"/>
                <a:gd name="connsiteX236" fmla="*/ 279859 w 3785642"/>
                <a:gd name="connsiteY236" fmla="*/ 475770 h 479077"/>
                <a:gd name="connsiteX237" fmla="*/ 263488 w 3785642"/>
                <a:gd name="connsiteY237" fmla="*/ 476266 h 479077"/>
                <a:gd name="connsiteX238" fmla="*/ 247118 w 3785642"/>
                <a:gd name="connsiteY238" fmla="*/ 476266 h 479077"/>
                <a:gd name="connsiteX239" fmla="*/ 230747 w 3785642"/>
                <a:gd name="connsiteY239" fmla="*/ 474778 h 479077"/>
                <a:gd name="connsiteX240" fmla="*/ 214376 w 3785642"/>
                <a:gd name="connsiteY240" fmla="*/ 474778 h 479077"/>
                <a:gd name="connsiteX241" fmla="*/ 198006 w 3785642"/>
                <a:gd name="connsiteY241" fmla="*/ 476762 h 479077"/>
                <a:gd name="connsiteX242" fmla="*/ 181635 w 3785642"/>
                <a:gd name="connsiteY242" fmla="*/ 476266 h 479077"/>
                <a:gd name="connsiteX243" fmla="*/ 165265 w 3785642"/>
                <a:gd name="connsiteY243" fmla="*/ 474778 h 479077"/>
                <a:gd name="connsiteX244" fmla="*/ 148894 w 3785642"/>
                <a:gd name="connsiteY244" fmla="*/ 476762 h 479077"/>
                <a:gd name="connsiteX245" fmla="*/ 132524 w 3785642"/>
                <a:gd name="connsiteY245" fmla="*/ 476266 h 479077"/>
                <a:gd name="connsiteX246" fmla="*/ 116153 w 3785642"/>
                <a:gd name="connsiteY246" fmla="*/ 475274 h 479077"/>
                <a:gd name="connsiteX247" fmla="*/ 99783 w 3785642"/>
                <a:gd name="connsiteY247" fmla="*/ 475274 h 479077"/>
                <a:gd name="connsiteX248" fmla="*/ 83412 w 3785642"/>
                <a:gd name="connsiteY248" fmla="*/ 475274 h 479077"/>
                <a:gd name="connsiteX249" fmla="*/ 67041 w 3785642"/>
                <a:gd name="connsiteY249" fmla="*/ 474778 h 479077"/>
                <a:gd name="connsiteX250" fmla="*/ 50671 w 3785642"/>
                <a:gd name="connsiteY250" fmla="*/ 475274 h 479077"/>
                <a:gd name="connsiteX251" fmla="*/ 34300 w 3785642"/>
                <a:gd name="connsiteY251" fmla="*/ 475274 h 479077"/>
                <a:gd name="connsiteX252" fmla="*/ 17930 w 3785642"/>
                <a:gd name="connsiteY252" fmla="*/ 475770 h 479077"/>
                <a:gd name="connsiteX253" fmla="*/ 567 w 3785642"/>
                <a:gd name="connsiteY253" fmla="*/ 475770 h 479077"/>
                <a:gd name="connsiteX254" fmla="*/ 12969 w 3785642"/>
                <a:gd name="connsiteY254" fmla="*/ 463368 h 479077"/>
                <a:gd name="connsiteX255" fmla="*/ 24379 w 3785642"/>
                <a:gd name="connsiteY255" fmla="*/ 451958 h 479077"/>
                <a:gd name="connsiteX256" fmla="*/ 35788 w 3785642"/>
                <a:gd name="connsiteY256" fmla="*/ 440053 h 479077"/>
                <a:gd name="connsiteX257" fmla="*/ 48686 w 3785642"/>
                <a:gd name="connsiteY257" fmla="*/ 430131 h 479077"/>
                <a:gd name="connsiteX258" fmla="*/ 59600 w 3785642"/>
                <a:gd name="connsiteY258" fmla="*/ 418225 h 479077"/>
                <a:gd name="connsiteX259" fmla="*/ 70514 w 3785642"/>
                <a:gd name="connsiteY259" fmla="*/ 405823 h 479077"/>
                <a:gd name="connsiteX260" fmla="*/ 83412 w 3785642"/>
                <a:gd name="connsiteY260" fmla="*/ 395406 h 479077"/>
                <a:gd name="connsiteX261" fmla="*/ 94822 w 3785642"/>
                <a:gd name="connsiteY261" fmla="*/ 383500 h 479077"/>
                <a:gd name="connsiteX262" fmla="*/ 106728 w 3785642"/>
                <a:gd name="connsiteY262" fmla="*/ 372090 h 479077"/>
                <a:gd name="connsiteX263" fmla="*/ 117145 w 3785642"/>
                <a:gd name="connsiteY263" fmla="*/ 359688 h 479077"/>
                <a:gd name="connsiteX264" fmla="*/ 128555 w 3785642"/>
                <a:gd name="connsiteY264" fmla="*/ 348278 h 479077"/>
                <a:gd name="connsiteX265" fmla="*/ 140461 w 3785642"/>
                <a:gd name="connsiteY265" fmla="*/ 336868 h 479077"/>
                <a:gd name="connsiteX266" fmla="*/ 152863 w 3785642"/>
                <a:gd name="connsiteY266" fmla="*/ 326451 h 479077"/>
                <a:gd name="connsiteX267" fmla="*/ 164769 w 3785642"/>
                <a:gd name="connsiteY267" fmla="*/ 315041 h 479077"/>
                <a:gd name="connsiteX268" fmla="*/ 176178 w 3785642"/>
                <a:gd name="connsiteY268" fmla="*/ 303135 h 479077"/>
                <a:gd name="connsiteX269" fmla="*/ 188084 w 3785642"/>
                <a:gd name="connsiteY269" fmla="*/ 291725 h 479077"/>
                <a:gd name="connsiteX270" fmla="*/ 199494 w 3785642"/>
                <a:gd name="connsiteY270" fmla="*/ 280315 h 479077"/>
                <a:gd name="connsiteX271" fmla="*/ 210904 w 3785642"/>
                <a:gd name="connsiteY271" fmla="*/ 268906 h 479077"/>
                <a:gd name="connsiteX272" fmla="*/ 221818 w 3785642"/>
                <a:gd name="connsiteY272" fmla="*/ 256504 h 479077"/>
                <a:gd name="connsiteX273" fmla="*/ 233724 w 3785642"/>
                <a:gd name="connsiteY273" fmla="*/ 245094 h 479077"/>
                <a:gd name="connsiteX274" fmla="*/ 244141 w 3785642"/>
                <a:gd name="connsiteY274" fmla="*/ 232692 h 479077"/>
                <a:gd name="connsiteX275" fmla="*/ 257039 w 3785642"/>
                <a:gd name="connsiteY275" fmla="*/ 222770 h 479077"/>
                <a:gd name="connsiteX276" fmla="*/ 266961 w 3785642"/>
                <a:gd name="connsiteY276" fmla="*/ 209376 h 479077"/>
                <a:gd name="connsiteX277" fmla="*/ 278371 w 3785642"/>
                <a:gd name="connsiteY277" fmla="*/ 197966 h 479077"/>
                <a:gd name="connsiteX278" fmla="*/ 291269 w 3785642"/>
                <a:gd name="connsiteY278" fmla="*/ 188045 h 479077"/>
                <a:gd name="connsiteX279" fmla="*/ 301686 w 3785642"/>
                <a:gd name="connsiteY279" fmla="*/ 175147 h 479077"/>
                <a:gd name="connsiteX280" fmla="*/ 313592 w 3785642"/>
                <a:gd name="connsiteY280" fmla="*/ 163737 h 479077"/>
                <a:gd name="connsiteX281" fmla="*/ 325994 w 3785642"/>
                <a:gd name="connsiteY281" fmla="*/ 153319 h 479077"/>
                <a:gd name="connsiteX282" fmla="*/ 337404 w 3785642"/>
                <a:gd name="connsiteY282" fmla="*/ 141910 h 479077"/>
                <a:gd name="connsiteX283" fmla="*/ 347325 w 3785642"/>
                <a:gd name="connsiteY283" fmla="*/ 129012 h 479077"/>
                <a:gd name="connsiteX284" fmla="*/ 360224 w 3785642"/>
                <a:gd name="connsiteY284" fmla="*/ 118594 h 479077"/>
                <a:gd name="connsiteX285" fmla="*/ 371137 w 3785642"/>
                <a:gd name="connsiteY285" fmla="*/ 106192 h 479077"/>
                <a:gd name="connsiteX286" fmla="*/ 382051 w 3785642"/>
                <a:gd name="connsiteY286" fmla="*/ 93790 h 479077"/>
                <a:gd name="connsiteX287" fmla="*/ 393957 w 3785642"/>
                <a:gd name="connsiteY287" fmla="*/ 82380 h 479077"/>
                <a:gd name="connsiteX288" fmla="*/ 405366 w 3785642"/>
                <a:gd name="connsiteY288" fmla="*/ 70475 h 479077"/>
                <a:gd name="connsiteX289" fmla="*/ 417272 w 3785642"/>
                <a:gd name="connsiteY289" fmla="*/ 59561 h 479077"/>
                <a:gd name="connsiteX290" fmla="*/ 429674 w 3785642"/>
                <a:gd name="connsiteY290" fmla="*/ 48647 h 479077"/>
                <a:gd name="connsiteX291" fmla="*/ 440092 w 3785642"/>
                <a:gd name="connsiteY291" fmla="*/ 35749 h 479077"/>
                <a:gd name="connsiteX292" fmla="*/ 452494 w 3785642"/>
                <a:gd name="connsiteY292" fmla="*/ 24835 h 479077"/>
                <a:gd name="connsiteX293" fmla="*/ 463904 w 3785642"/>
                <a:gd name="connsiteY293" fmla="*/ 12929 h 479077"/>
                <a:gd name="connsiteX294" fmla="*/ 475313 w 3785642"/>
                <a:gd name="connsiteY294" fmla="*/ 1024 h 479077"/>
                <a:gd name="connsiteX295" fmla="*/ 491684 w 3785642"/>
                <a:gd name="connsiteY295" fmla="*/ 2512 h 479077"/>
                <a:gd name="connsiteX296" fmla="*/ 508055 w 3785642"/>
                <a:gd name="connsiteY296" fmla="*/ 2512 h 479077"/>
                <a:gd name="connsiteX297" fmla="*/ 524425 w 3785642"/>
                <a:gd name="connsiteY297" fmla="*/ 2512 h 479077"/>
                <a:gd name="connsiteX298" fmla="*/ 540796 w 3785642"/>
                <a:gd name="connsiteY298" fmla="*/ 1024 h 479077"/>
                <a:gd name="connsiteX299" fmla="*/ 557166 w 3785642"/>
                <a:gd name="connsiteY299" fmla="*/ 2512 h 479077"/>
                <a:gd name="connsiteX300" fmla="*/ 573537 w 3785642"/>
                <a:gd name="connsiteY300" fmla="*/ 1024 h 479077"/>
                <a:gd name="connsiteX301" fmla="*/ 589908 w 3785642"/>
                <a:gd name="connsiteY301" fmla="*/ 527 h 479077"/>
                <a:gd name="connsiteX302" fmla="*/ 606278 w 3785642"/>
                <a:gd name="connsiteY302" fmla="*/ 1520 h 479077"/>
                <a:gd name="connsiteX303" fmla="*/ 622649 w 3785642"/>
                <a:gd name="connsiteY303" fmla="*/ 1520 h 479077"/>
                <a:gd name="connsiteX304" fmla="*/ 639019 w 3785642"/>
                <a:gd name="connsiteY304" fmla="*/ 2016 h 479077"/>
                <a:gd name="connsiteX305" fmla="*/ 655390 w 3785642"/>
                <a:gd name="connsiteY305" fmla="*/ 527 h 479077"/>
                <a:gd name="connsiteX306" fmla="*/ 671760 w 3785642"/>
                <a:gd name="connsiteY306" fmla="*/ 1520 h 479077"/>
                <a:gd name="connsiteX307" fmla="*/ 688131 w 3785642"/>
                <a:gd name="connsiteY307" fmla="*/ 2512 h 479077"/>
                <a:gd name="connsiteX308" fmla="*/ 704501 w 3785642"/>
                <a:gd name="connsiteY308" fmla="*/ 1024 h 479077"/>
                <a:gd name="connsiteX309" fmla="*/ 720872 w 3785642"/>
                <a:gd name="connsiteY309" fmla="*/ 1520 h 479077"/>
                <a:gd name="connsiteX310" fmla="*/ 737243 w 3785642"/>
                <a:gd name="connsiteY310" fmla="*/ 2016 h 479077"/>
                <a:gd name="connsiteX311" fmla="*/ 753613 w 3785642"/>
                <a:gd name="connsiteY311" fmla="*/ 1024 h 479077"/>
                <a:gd name="connsiteX312" fmla="*/ 769984 w 3785642"/>
                <a:gd name="connsiteY312" fmla="*/ 527 h 479077"/>
                <a:gd name="connsiteX313" fmla="*/ 786354 w 3785642"/>
                <a:gd name="connsiteY313" fmla="*/ 1520 h 479077"/>
                <a:gd name="connsiteX314" fmla="*/ 802725 w 3785642"/>
                <a:gd name="connsiteY314" fmla="*/ 527 h 479077"/>
                <a:gd name="connsiteX315" fmla="*/ 819096 w 3785642"/>
                <a:gd name="connsiteY315" fmla="*/ 2512 h 479077"/>
                <a:gd name="connsiteX316" fmla="*/ 835466 w 3785642"/>
                <a:gd name="connsiteY316" fmla="*/ 527 h 479077"/>
                <a:gd name="connsiteX317" fmla="*/ 851837 w 3785642"/>
                <a:gd name="connsiteY317" fmla="*/ 1520 h 479077"/>
                <a:gd name="connsiteX318" fmla="*/ 868207 w 3785642"/>
                <a:gd name="connsiteY318" fmla="*/ 2016 h 479077"/>
                <a:gd name="connsiteX319" fmla="*/ 884578 w 3785642"/>
                <a:gd name="connsiteY319" fmla="*/ 2512 h 479077"/>
                <a:gd name="connsiteX320" fmla="*/ 900948 w 3785642"/>
                <a:gd name="connsiteY320" fmla="*/ 1520 h 479077"/>
                <a:gd name="connsiteX321" fmla="*/ 917319 w 3785642"/>
                <a:gd name="connsiteY321" fmla="*/ 1024 h 479077"/>
                <a:gd name="connsiteX322" fmla="*/ 933689 w 3785642"/>
                <a:gd name="connsiteY322" fmla="*/ 2512 h 479077"/>
                <a:gd name="connsiteX323" fmla="*/ 950060 w 3785642"/>
                <a:gd name="connsiteY323" fmla="*/ 1520 h 479077"/>
                <a:gd name="connsiteX324" fmla="*/ 966431 w 3785642"/>
                <a:gd name="connsiteY324" fmla="*/ 2016 h 479077"/>
                <a:gd name="connsiteX325" fmla="*/ 982801 w 3785642"/>
                <a:gd name="connsiteY325" fmla="*/ 2512 h 479077"/>
                <a:gd name="connsiteX326" fmla="*/ 999172 w 3785642"/>
                <a:gd name="connsiteY326" fmla="*/ 1520 h 479077"/>
                <a:gd name="connsiteX327" fmla="*/ 1015542 w 3785642"/>
                <a:gd name="connsiteY327" fmla="*/ 2512 h 479077"/>
                <a:gd name="connsiteX328" fmla="*/ 1031913 w 3785642"/>
                <a:gd name="connsiteY328" fmla="*/ 1520 h 479077"/>
                <a:gd name="connsiteX329" fmla="*/ 1048283 w 3785642"/>
                <a:gd name="connsiteY329" fmla="*/ 2016 h 479077"/>
                <a:gd name="connsiteX330" fmla="*/ 1064654 w 3785642"/>
                <a:gd name="connsiteY330" fmla="*/ 3504 h 479077"/>
                <a:gd name="connsiteX331" fmla="*/ 1081025 w 3785642"/>
                <a:gd name="connsiteY331" fmla="*/ 2016 h 479077"/>
                <a:gd name="connsiteX332" fmla="*/ 1097395 w 3785642"/>
                <a:gd name="connsiteY332" fmla="*/ 2512 h 479077"/>
                <a:gd name="connsiteX333" fmla="*/ 1113766 w 3785642"/>
                <a:gd name="connsiteY333" fmla="*/ 2512 h 479077"/>
                <a:gd name="connsiteX334" fmla="*/ 1130136 w 3785642"/>
                <a:gd name="connsiteY334" fmla="*/ 3504 h 479077"/>
                <a:gd name="connsiteX335" fmla="*/ 1146507 w 3785642"/>
                <a:gd name="connsiteY335" fmla="*/ 1520 h 479077"/>
                <a:gd name="connsiteX336" fmla="*/ 1162878 w 3785642"/>
                <a:gd name="connsiteY336" fmla="*/ 3008 h 479077"/>
                <a:gd name="connsiteX337" fmla="*/ 1179248 w 3785642"/>
                <a:gd name="connsiteY337" fmla="*/ 4000 h 479077"/>
                <a:gd name="connsiteX338" fmla="*/ 1195619 w 3785642"/>
                <a:gd name="connsiteY338" fmla="*/ 3504 h 479077"/>
                <a:gd name="connsiteX339" fmla="*/ 1211989 w 3785642"/>
                <a:gd name="connsiteY339" fmla="*/ 1520 h 479077"/>
                <a:gd name="connsiteX340" fmla="*/ 1228360 w 3785642"/>
                <a:gd name="connsiteY340" fmla="*/ 3504 h 479077"/>
                <a:gd name="connsiteX341" fmla="*/ 1244730 w 3785642"/>
                <a:gd name="connsiteY341" fmla="*/ 1520 h 479077"/>
                <a:gd name="connsiteX342" fmla="*/ 1261101 w 3785642"/>
                <a:gd name="connsiteY342" fmla="*/ 2512 h 479077"/>
                <a:gd name="connsiteX343" fmla="*/ 1277471 w 3785642"/>
                <a:gd name="connsiteY343" fmla="*/ 3504 h 479077"/>
                <a:gd name="connsiteX344" fmla="*/ 1293842 w 3785642"/>
                <a:gd name="connsiteY344" fmla="*/ 4000 h 479077"/>
                <a:gd name="connsiteX345" fmla="*/ 1310213 w 3785642"/>
                <a:gd name="connsiteY345" fmla="*/ 1520 h 479077"/>
                <a:gd name="connsiteX346" fmla="*/ 1326583 w 3785642"/>
                <a:gd name="connsiteY346" fmla="*/ 2016 h 479077"/>
                <a:gd name="connsiteX347" fmla="*/ 1342954 w 3785642"/>
                <a:gd name="connsiteY347" fmla="*/ 3008 h 479077"/>
                <a:gd name="connsiteX348" fmla="*/ 1359324 w 3785642"/>
                <a:gd name="connsiteY348" fmla="*/ 3008 h 479077"/>
                <a:gd name="connsiteX349" fmla="*/ 1375695 w 3785642"/>
                <a:gd name="connsiteY349" fmla="*/ 2512 h 479077"/>
                <a:gd name="connsiteX350" fmla="*/ 1392066 w 3785642"/>
                <a:gd name="connsiteY350" fmla="*/ 2512 h 479077"/>
                <a:gd name="connsiteX351" fmla="*/ 1408436 w 3785642"/>
                <a:gd name="connsiteY351" fmla="*/ 3504 h 479077"/>
                <a:gd name="connsiteX352" fmla="*/ 1424807 w 3785642"/>
                <a:gd name="connsiteY352" fmla="*/ 3504 h 479077"/>
                <a:gd name="connsiteX353" fmla="*/ 1441177 w 3785642"/>
                <a:gd name="connsiteY353" fmla="*/ 1520 h 479077"/>
                <a:gd name="connsiteX354" fmla="*/ 1457548 w 3785642"/>
                <a:gd name="connsiteY354" fmla="*/ 2512 h 479077"/>
                <a:gd name="connsiteX355" fmla="*/ 1473919 w 3785642"/>
                <a:gd name="connsiteY355" fmla="*/ 2016 h 479077"/>
                <a:gd name="connsiteX356" fmla="*/ 1490289 w 3785642"/>
                <a:gd name="connsiteY356" fmla="*/ 2016 h 479077"/>
                <a:gd name="connsiteX357" fmla="*/ 1506660 w 3785642"/>
                <a:gd name="connsiteY357" fmla="*/ 1520 h 479077"/>
                <a:gd name="connsiteX358" fmla="*/ 1523030 w 3785642"/>
                <a:gd name="connsiteY358" fmla="*/ 3504 h 479077"/>
                <a:gd name="connsiteX359" fmla="*/ 1539401 w 3785642"/>
                <a:gd name="connsiteY359" fmla="*/ 3008 h 479077"/>
                <a:gd name="connsiteX360" fmla="*/ 1555771 w 3785642"/>
                <a:gd name="connsiteY360" fmla="*/ 3008 h 479077"/>
                <a:gd name="connsiteX361" fmla="*/ 1572142 w 3785642"/>
                <a:gd name="connsiteY361" fmla="*/ 2512 h 479077"/>
                <a:gd name="connsiteX362" fmla="*/ 1588512 w 3785642"/>
                <a:gd name="connsiteY362" fmla="*/ 2016 h 479077"/>
                <a:gd name="connsiteX363" fmla="*/ 1604883 w 3785642"/>
                <a:gd name="connsiteY363" fmla="*/ 3008 h 479077"/>
                <a:gd name="connsiteX364" fmla="*/ 1621253 w 3785642"/>
                <a:gd name="connsiteY364" fmla="*/ 3008 h 479077"/>
                <a:gd name="connsiteX365" fmla="*/ 1637624 w 3785642"/>
                <a:gd name="connsiteY36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13375 w 3785642"/>
                <a:gd name="connsiteY38" fmla="*/ 10945 h 479077"/>
                <a:gd name="connsiteX39" fmla="*/ 3300973 w 3785642"/>
                <a:gd name="connsiteY39" fmla="*/ 21363 h 479077"/>
                <a:gd name="connsiteX40" fmla="*/ 3289068 w 3785642"/>
                <a:gd name="connsiteY40" fmla="*/ 32276 h 479077"/>
                <a:gd name="connsiteX41" fmla="*/ 3277658 w 3785642"/>
                <a:gd name="connsiteY41" fmla="*/ 43686 h 479077"/>
                <a:gd name="connsiteX42" fmla="*/ 3266248 w 3785642"/>
                <a:gd name="connsiteY42" fmla="*/ 55592 h 479077"/>
                <a:gd name="connsiteX43" fmla="*/ 3255830 w 3785642"/>
                <a:gd name="connsiteY43" fmla="*/ 68490 h 479077"/>
                <a:gd name="connsiteX44" fmla="*/ 3243924 w 3785642"/>
                <a:gd name="connsiteY44" fmla="*/ 79900 h 479077"/>
                <a:gd name="connsiteX45" fmla="*/ 3231522 w 3785642"/>
                <a:gd name="connsiteY45" fmla="*/ 90814 h 479077"/>
                <a:gd name="connsiteX46" fmla="*/ 3220609 w 3785642"/>
                <a:gd name="connsiteY46" fmla="*/ 102720 h 479077"/>
                <a:gd name="connsiteX47" fmla="*/ 3208207 w 3785642"/>
                <a:gd name="connsiteY47" fmla="*/ 113137 h 479077"/>
                <a:gd name="connsiteX48" fmla="*/ 3197293 w 3785642"/>
                <a:gd name="connsiteY48" fmla="*/ 125043 h 479077"/>
                <a:gd name="connsiteX49" fmla="*/ 3185387 w 3785642"/>
                <a:gd name="connsiteY49" fmla="*/ 136453 h 479077"/>
                <a:gd name="connsiteX50" fmla="*/ 3174970 w 3785642"/>
                <a:gd name="connsiteY50" fmla="*/ 148855 h 479077"/>
                <a:gd name="connsiteX51" fmla="*/ 3162071 w 3785642"/>
                <a:gd name="connsiteY51" fmla="*/ 159272 h 479077"/>
                <a:gd name="connsiteX52" fmla="*/ 3151158 w 3785642"/>
                <a:gd name="connsiteY52" fmla="*/ 171674 h 479077"/>
                <a:gd name="connsiteX53" fmla="*/ 3139252 w 3785642"/>
                <a:gd name="connsiteY53" fmla="*/ 182588 h 479077"/>
                <a:gd name="connsiteX54" fmla="*/ 3127843 w 3785642"/>
                <a:gd name="connsiteY54" fmla="*/ 194494 h 479077"/>
                <a:gd name="connsiteX55" fmla="*/ 3116432 w 3785642"/>
                <a:gd name="connsiteY55" fmla="*/ 205904 h 479077"/>
                <a:gd name="connsiteX56" fmla="*/ 3105022 w 3785642"/>
                <a:gd name="connsiteY56" fmla="*/ 217810 h 479077"/>
                <a:gd name="connsiteX57" fmla="*/ 3093117 w 3785642"/>
                <a:gd name="connsiteY57" fmla="*/ 229219 h 479077"/>
                <a:gd name="connsiteX58" fmla="*/ 3081707 w 3785642"/>
                <a:gd name="connsiteY58" fmla="*/ 240629 h 479077"/>
                <a:gd name="connsiteX59" fmla="*/ 3069305 w 3785642"/>
                <a:gd name="connsiteY59" fmla="*/ 251543 h 479077"/>
                <a:gd name="connsiteX60" fmla="*/ 3057895 w 3785642"/>
                <a:gd name="connsiteY60" fmla="*/ 263449 h 479077"/>
                <a:gd name="connsiteX61" fmla="*/ 3046486 w 3785642"/>
                <a:gd name="connsiteY61" fmla="*/ 275355 h 479077"/>
                <a:gd name="connsiteX62" fmla="*/ 3035572 w 3785642"/>
                <a:gd name="connsiteY62" fmla="*/ 287260 h 479077"/>
                <a:gd name="connsiteX63" fmla="*/ 3024658 w 3785642"/>
                <a:gd name="connsiteY63" fmla="*/ 299166 h 479077"/>
                <a:gd name="connsiteX64" fmla="*/ 3013248 w 3785642"/>
                <a:gd name="connsiteY64" fmla="*/ 311072 h 479077"/>
                <a:gd name="connsiteX65" fmla="*/ 3000350 w 3785642"/>
                <a:gd name="connsiteY65" fmla="*/ 321490 h 479077"/>
                <a:gd name="connsiteX66" fmla="*/ 2988941 w 3785642"/>
                <a:gd name="connsiteY66" fmla="*/ 333396 h 479077"/>
                <a:gd name="connsiteX67" fmla="*/ 2976539 w 3785642"/>
                <a:gd name="connsiteY67" fmla="*/ 344309 h 479077"/>
                <a:gd name="connsiteX68" fmla="*/ 2965129 w 3785642"/>
                <a:gd name="connsiteY68" fmla="*/ 356215 h 479077"/>
                <a:gd name="connsiteX69" fmla="*/ 2953223 w 3785642"/>
                <a:gd name="connsiteY69" fmla="*/ 367625 h 479077"/>
                <a:gd name="connsiteX70" fmla="*/ 2941813 w 3785642"/>
                <a:gd name="connsiteY70" fmla="*/ 379531 h 479077"/>
                <a:gd name="connsiteX71" fmla="*/ 2931395 w 3785642"/>
                <a:gd name="connsiteY71" fmla="*/ 392429 h 479077"/>
                <a:gd name="connsiteX72" fmla="*/ 2918497 w 3785642"/>
                <a:gd name="connsiteY72" fmla="*/ 402847 h 479077"/>
                <a:gd name="connsiteX73" fmla="*/ 2907584 w 3785642"/>
                <a:gd name="connsiteY73" fmla="*/ 415249 h 479077"/>
                <a:gd name="connsiteX74" fmla="*/ 2896174 w 3785642"/>
                <a:gd name="connsiteY74" fmla="*/ 426658 h 479077"/>
                <a:gd name="connsiteX75" fmla="*/ 2884268 w 3785642"/>
                <a:gd name="connsiteY75" fmla="*/ 438068 h 479077"/>
                <a:gd name="connsiteX76" fmla="*/ 2873354 w 3785642"/>
                <a:gd name="connsiteY76" fmla="*/ 450470 h 479077"/>
                <a:gd name="connsiteX77" fmla="*/ 2860952 w 3785642"/>
                <a:gd name="connsiteY77" fmla="*/ 461384 h 479077"/>
                <a:gd name="connsiteX78" fmla="*/ 2850039 w 3785642"/>
                <a:gd name="connsiteY78" fmla="*/ 473786 h 479077"/>
                <a:gd name="connsiteX79" fmla="*/ 2833668 w 3785642"/>
                <a:gd name="connsiteY79" fmla="*/ 473786 h 479077"/>
                <a:gd name="connsiteX80" fmla="*/ 2817297 w 3785642"/>
                <a:gd name="connsiteY80" fmla="*/ 473290 h 479077"/>
                <a:gd name="connsiteX81" fmla="*/ 2800927 w 3785642"/>
                <a:gd name="connsiteY81" fmla="*/ 473290 h 479077"/>
                <a:gd name="connsiteX82" fmla="*/ 2784556 w 3785642"/>
                <a:gd name="connsiteY82" fmla="*/ 473786 h 479077"/>
                <a:gd name="connsiteX83" fmla="*/ 2768186 w 3785642"/>
                <a:gd name="connsiteY83" fmla="*/ 474282 h 479077"/>
                <a:gd name="connsiteX84" fmla="*/ 2751815 w 3785642"/>
                <a:gd name="connsiteY84" fmla="*/ 474282 h 479077"/>
                <a:gd name="connsiteX85" fmla="*/ 2735444 w 3785642"/>
                <a:gd name="connsiteY85" fmla="*/ 473290 h 479077"/>
                <a:gd name="connsiteX86" fmla="*/ 2719074 w 3785642"/>
                <a:gd name="connsiteY86" fmla="*/ 474282 h 479077"/>
                <a:gd name="connsiteX87" fmla="*/ 2702703 w 3785642"/>
                <a:gd name="connsiteY87" fmla="*/ 472298 h 479077"/>
                <a:gd name="connsiteX88" fmla="*/ 2686333 w 3785642"/>
                <a:gd name="connsiteY88" fmla="*/ 472794 h 479077"/>
                <a:gd name="connsiteX89" fmla="*/ 2669962 w 3785642"/>
                <a:gd name="connsiteY89" fmla="*/ 474282 h 479077"/>
                <a:gd name="connsiteX90" fmla="*/ 2653592 w 3785642"/>
                <a:gd name="connsiteY90" fmla="*/ 472298 h 479077"/>
                <a:gd name="connsiteX91" fmla="*/ 2637221 w 3785642"/>
                <a:gd name="connsiteY91" fmla="*/ 474282 h 479077"/>
                <a:gd name="connsiteX92" fmla="*/ 2620851 w 3785642"/>
                <a:gd name="connsiteY92" fmla="*/ 474282 h 479077"/>
                <a:gd name="connsiteX93" fmla="*/ 2604480 w 3785642"/>
                <a:gd name="connsiteY93" fmla="*/ 472298 h 479077"/>
                <a:gd name="connsiteX94" fmla="*/ 2588109 w 3785642"/>
                <a:gd name="connsiteY94" fmla="*/ 473786 h 479077"/>
                <a:gd name="connsiteX95" fmla="*/ 2571739 w 3785642"/>
                <a:gd name="connsiteY95" fmla="*/ 472298 h 479077"/>
                <a:gd name="connsiteX96" fmla="*/ 2555368 w 3785642"/>
                <a:gd name="connsiteY96" fmla="*/ 473290 h 479077"/>
                <a:gd name="connsiteX97" fmla="*/ 2538998 w 3785642"/>
                <a:gd name="connsiteY97" fmla="*/ 474282 h 479077"/>
                <a:gd name="connsiteX98" fmla="*/ 2522627 w 3785642"/>
                <a:gd name="connsiteY98" fmla="*/ 473290 h 479077"/>
                <a:gd name="connsiteX99" fmla="*/ 2506257 w 3785642"/>
                <a:gd name="connsiteY99" fmla="*/ 474282 h 479077"/>
                <a:gd name="connsiteX100" fmla="*/ 2489886 w 3785642"/>
                <a:gd name="connsiteY100" fmla="*/ 473786 h 479077"/>
                <a:gd name="connsiteX101" fmla="*/ 2473516 w 3785642"/>
                <a:gd name="connsiteY101" fmla="*/ 474282 h 479077"/>
                <a:gd name="connsiteX102" fmla="*/ 2457145 w 3785642"/>
                <a:gd name="connsiteY102" fmla="*/ 472794 h 479077"/>
                <a:gd name="connsiteX103" fmla="*/ 2440775 w 3785642"/>
                <a:gd name="connsiteY103" fmla="*/ 472298 h 479077"/>
                <a:gd name="connsiteX104" fmla="*/ 2424404 w 3785642"/>
                <a:gd name="connsiteY104" fmla="*/ 473786 h 479077"/>
                <a:gd name="connsiteX105" fmla="*/ 2408033 w 3785642"/>
                <a:gd name="connsiteY105" fmla="*/ 472794 h 479077"/>
                <a:gd name="connsiteX106" fmla="*/ 2391663 w 3785642"/>
                <a:gd name="connsiteY106" fmla="*/ 473290 h 479077"/>
                <a:gd name="connsiteX107" fmla="*/ 2375292 w 3785642"/>
                <a:gd name="connsiteY107" fmla="*/ 473290 h 479077"/>
                <a:gd name="connsiteX108" fmla="*/ 2358922 w 3785642"/>
                <a:gd name="connsiteY108" fmla="*/ 472794 h 479077"/>
                <a:gd name="connsiteX109" fmla="*/ 2342551 w 3785642"/>
                <a:gd name="connsiteY109" fmla="*/ 472298 h 479077"/>
                <a:gd name="connsiteX110" fmla="*/ 2326180 w 3785642"/>
                <a:gd name="connsiteY110" fmla="*/ 473786 h 479077"/>
                <a:gd name="connsiteX111" fmla="*/ 2309810 w 3785642"/>
                <a:gd name="connsiteY111" fmla="*/ 473786 h 479077"/>
                <a:gd name="connsiteX112" fmla="*/ 2293439 w 3785642"/>
                <a:gd name="connsiteY112" fmla="*/ 473786 h 479077"/>
                <a:gd name="connsiteX113" fmla="*/ 2277069 w 3785642"/>
                <a:gd name="connsiteY113" fmla="*/ 472794 h 479077"/>
                <a:gd name="connsiteX114" fmla="*/ 2260698 w 3785642"/>
                <a:gd name="connsiteY114" fmla="*/ 474282 h 479077"/>
                <a:gd name="connsiteX115" fmla="*/ 2244327 w 3785642"/>
                <a:gd name="connsiteY115" fmla="*/ 472298 h 479077"/>
                <a:gd name="connsiteX116" fmla="*/ 2227957 w 3785642"/>
                <a:gd name="connsiteY116" fmla="*/ 474282 h 479077"/>
                <a:gd name="connsiteX117" fmla="*/ 2211586 w 3785642"/>
                <a:gd name="connsiteY117" fmla="*/ 473290 h 479077"/>
                <a:gd name="connsiteX118" fmla="*/ 2195216 w 3785642"/>
                <a:gd name="connsiteY118" fmla="*/ 474282 h 479077"/>
                <a:gd name="connsiteX119" fmla="*/ 2178845 w 3785642"/>
                <a:gd name="connsiteY119" fmla="*/ 472794 h 479077"/>
                <a:gd name="connsiteX120" fmla="*/ 2162474 w 3785642"/>
                <a:gd name="connsiteY120" fmla="*/ 474778 h 479077"/>
                <a:gd name="connsiteX121" fmla="*/ 2146104 w 3785642"/>
                <a:gd name="connsiteY121" fmla="*/ 473290 h 479077"/>
                <a:gd name="connsiteX122" fmla="*/ 2129733 w 3785642"/>
                <a:gd name="connsiteY122" fmla="*/ 474778 h 479077"/>
                <a:gd name="connsiteX123" fmla="*/ 2113363 w 3785642"/>
                <a:gd name="connsiteY123" fmla="*/ 474778 h 479077"/>
                <a:gd name="connsiteX124" fmla="*/ 2096992 w 3785642"/>
                <a:gd name="connsiteY124" fmla="*/ 474778 h 479077"/>
                <a:gd name="connsiteX125" fmla="*/ 2080621 w 3785642"/>
                <a:gd name="connsiteY125" fmla="*/ 474282 h 479077"/>
                <a:gd name="connsiteX126" fmla="*/ 2064251 w 3785642"/>
                <a:gd name="connsiteY126" fmla="*/ 472794 h 479077"/>
                <a:gd name="connsiteX127" fmla="*/ 2047880 w 3785642"/>
                <a:gd name="connsiteY127" fmla="*/ 474778 h 479077"/>
                <a:gd name="connsiteX128" fmla="*/ 2031510 w 3785642"/>
                <a:gd name="connsiteY128" fmla="*/ 474778 h 479077"/>
                <a:gd name="connsiteX129" fmla="*/ 2015139 w 3785642"/>
                <a:gd name="connsiteY129" fmla="*/ 474778 h 479077"/>
                <a:gd name="connsiteX130" fmla="*/ 1998769 w 3785642"/>
                <a:gd name="connsiteY130" fmla="*/ 474282 h 479077"/>
                <a:gd name="connsiteX131" fmla="*/ 1982398 w 3785642"/>
                <a:gd name="connsiteY131" fmla="*/ 473786 h 479077"/>
                <a:gd name="connsiteX132" fmla="*/ 1966028 w 3785642"/>
                <a:gd name="connsiteY132" fmla="*/ 473786 h 479077"/>
                <a:gd name="connsiteX133" fmla="*/ 1949657 w 3785642"/>
                <a:gd name="connsiteY133" fmla="*/ 472794 h 479077"/>
                <a:gd name="connsiteX134" fmla="*/ 1933287 w 3785642"/>
                <a:gd name="connsiteY134" fmla="*/ 473290 h 479077"/>
                <a:gd name="connsiteX135" fmla="*/ 1916916 w 3785642"/>
                <a:gd name="connsiteY135" fmla="*/ 474778 h 479077"/>
                <a:gd name="connsiteX136" fmla="*/ 1900546 w 3785642"/>
                <a:gd name="connsiteY136" fmla="*/ 472794 h 479077"/>
                <a:gd name="connsiteX137" fmla="*/ 1884175 w 3785642"/>
                <a:gd name="connsiteY137" fmla="*/ 473786 h 479077"/>
                <a:gd name="connsiteX138" fmla="*/ 1867804 w 3785642"/>
                <a:gd name="connsiteY138" fmla="*/ 474778 h 479077"/>
                <a:gd name="connsiteX139" fmla="*/ 1851434 w 3785642"/>
                <a:gd name="connsiteY139" fmla="*/ 474778 h 479077"/>
                <a:gd name="connsiteX140" fmla="*/ 1835063 w 3785642"/>
                <a:gd name="connsiteY140" fmla="*/ 474778 h 479077"/>
                <a:gd name="connsiteX141" fmla="*/ 1818693 w 3785642"/>
                <a:gd name="connsiteY141" fmla="*/ 474282 h 479077"/>
                <a:gd name="connsiteX142" fmla="*/ 1802322 w 3785642"/>
                <a:gd name="connsiteY142" fmla="*/ 472794 h 479077"/>
                <a:gd name="connsiteX143" fmla="*/ 1785951 w 3785642"/>
                <a:gd name="connsiteY143" fmla="*/ 473786 h 479077"/>
                <a:gd name="connsiteX144" fmla="*/ 1769581 w 3785642"/>
                <a:gd name="connsiteY144" fmla="*/ 473290 h 479077"/>
                <a:gd name="connsiteX145" fmla="*/ 1753210 w 3785642"/>
                <a:gd name="connsiteY145" fmla="*/ 472298 h 479077"/>
                <a:gd name="connsiteX146" fmla="*/ 1736840 w 3785642"/>
                <a:gd name="connsiteY146" fmla="*/ 473290 h 479077"/>
                <a:gd name="connsiteX147" fmla="*/ 1720469 w 3785642"/>
                <a:gd name="connsiteY147" fmla="*/ 474778 h 479077"/>
                <a:gd name="connsiteX148" fmla="*/ 1704098 w 3785642"/>
                <a:gd name="connsiteY148" fmla="*/ 472794 h 479077"/>
                <a:gd name="connsiteX149" fmla="*/ 1687728 w 3785642"/>
                <a:gd name="connsiteY149" fmla="*/ 474778 h 479077"/>
                <a:gd name="connsiteX150" fmla="*/ 1671357 w 3785642"/>
                <a:gd name="connsiteY150" fmla="*/ 474778 h 479077"/>
                <a:gd name="connsiteX151" fmla="*/ 1654987 w 3785642"/>
                <a:gd name="connsiteY151" fmla="*/ 472298 h 479077"/>
                <a:gd name="connsiteX152" fmla="*/ 1638616 w 3785642"/>
                <a:gd name="connsiteY152" fmla="*/ 472794 h 479077"/>
                <a:gd name="connsiteX153" fmla="*/ 1622246 w 3785642"/>
                <a:gd name="connsiteY153" fmla="*/ 473786 h 479077"/>
                <a:gd name="connsiteX154" fmla="*/ 1605875 w 3785642"/>
                <a:gd name="connsiteY154" fmla="*/ 474778 h 479077"/>
                <a:gd name="connsiteX155" fmla="*/ 1589505 w 3785642"/>
                <a:gd name="connsiteY155" fmla="*/ 473290 h 479077"/>
                <a:gd name="connsiteX156" fmla="*/ 1573134 w 3785642"/>
                <a:gd name="connsiteY156" fmla="*/ 474778 h 479077"/>
                <a:gd name="connsiteX157" fmla="*/ 1556763 w 3785642"/>
                <a:gd name="connsiteY157" fmla="*/ 472794 h 479077"/>
                <a:gd name="connsiteX158" fmla="*/ 1540393 w 3785642"/>
                <a:gd name="connsiteY158" fmla="*/ 472794 h 479077"/>
                <a:gd name="connsiteX159" fmla="*/ 1524022 w 3785642"/>
                <a:gd name="connsiteY159" fmla="*/ 474282 h 479077"/>
                <a:gd name="connsiteX160" fmla="*/ 1507652 w 3785642"/>
                <a:gd name="connsiteY160" fmla="*/ 472794 h 479077"/>
                <a:gd name="connsiteX161" fmla="*/ 1491281 w 3785642"/>
                <a:gd name="connsiteY161" fmla="*/ 474282 h 479077"/>
                <a:gd name="connsiteX162" fmla="*/ 1474910 w 3785642"/>
                <a:gd name="connsiteY162" fmla="*/ 474282 h 479077"/>
                <a:gd name="connsiteX163" fmla="*/ 1458540 w 3785642"/>
                <a:gd name="connsiteY163" fmla="*/ 472794 h 479077"/>
                <a:gd name="connsiteX164" fmla="*/ 1442169 w 3785642"/>
                <a:gd name="connsiteY164" fmla="*/ 471802 h 479077"/>
                <a:gd name="connsiteX165" fmla="*/ 1425799 w 3785642"/>
                <a:gd name="connsiteY165" fmla="*/ 472298 h 479077"/>
                <a:gd name="connsiteX166" fmla="*/ 1409428 w 3785642"/>
                <a:gd name="connsiteY166" fmla="*/ 472794 h 479077"/>
                <a:gd name="connsiteX167" fmla="*/ 1393058 w 3785642"/>
                <a:gd name="connsiteY167" fmla="*/ 473786 h 479077"/>
                <a:gd name="connsiteX168" fmla="*/ 1376687 w 3785642"/>
                <a:gd name="connsiteY168" fmla="*/ 471802 h 479077"/>
                <a:gd name="connsiteX169" fmla="*/ 1360317 w 3785642"/>
                <a:gd name="connsiteY169" fmla="*/ 473786 h 479077"/>
                <a:gd name="connsiteX170" fmla="*/ 1343946 w 3785642"/>
                <a:gd name="connsiteY170" fmla="*/ 473786 h 479077"/>
                <a:gd name="connsiteX171" fmla="*/ 1327576 w 3785642"/>
                <a:gd name="connsiteY171" fmla="*/ 472794 h 479077"/>
                <a:gd name="connsiteX172" fmla="*/ 1311205 w 3785642"/>
                <a:gd name="connsiteY172" fmla="*/ 473786 h 479077"/>
                <a:gd name="connsiteX173" fmla="*/ 1294834 w 3785642"/>
                <a:gd name="connsiteY173" fmla="*/ 473786 h 479077"/>
                <a:gd name="connsiteX174" fmla="*/ 1278464 w 3785642"/>
                <a:gd name="connsiteY174" fmla="*/ 473786 h 479077"/>
                <a:gd name="connsiteX175" fmla="*/ 1262093 w 3785642"/>
                <a:gd name="connsiteY175" fmla="*/ 473786 h 479077"/>
                <a:gd name="connsiteX176" fmla="*/ 1245723 w 3785642"/>
                <a:gd name="connsiteY176" fmla="*/ 473290 h 479077"/>
                <a:gd name="connsiteX177" fmla="*/ 1229352 w 3785642"/>
                <a:gd name="connsiteY177" fmla="*/ 472794 h 479077"/>
                <a:gd name="connsiteX178" fmla="*/ 1212981 w 3785642"/>
                <a:gd name="connsiteY178" fmla="*/ 473786 h 479077"/>
                <a:gd name="connsiteX179" fmla="*/ 1196611 w 3785642"/>
                <a:gd name="connsiteY179" fmla="*/ 472298 h 479077"/>
                <a:gd name="connsiteX180" fmla="*/ 1180240 w 3785642"/>
                <a:gd name="connsiteY180" fmla="*/ 472794 h 479077"/>
                <a:gd name="connsiteX181" fmla="*/ 1163870 w 3785642"/>
                <a:gd name="connsiteY181" fmla="*/ 472794 h 479077"/>
                <a:gd name="connsiteX182" fmla="*/ 1147499 w 3785642"/>
                <a:gd name="connsiteY182" fmla="*/ 473786 h 479077"/>
                <a:gd name="connsiteX183" fmla="*/ 1131128 w 3785642"/>
                <a:gd name="connsiteY183" fmla="*/ 473786 h 479077"/>
                <a:gd name="connsiteX184" fmla="*/ 1114758 w 3785642"/>
                <a:gd name="connsiteY184" fmla="*/ 472794 h 479077"/>
                <a:gd name="connsiteX185" fmla="*/ 1098387 w 3785642"/>
                <a:gd name="connsiteY185" fmla="*/ 473786 h 479077"/>
                <a:gd name="connsiteX186" fmla="*/ 1082017 w 3785642"/>
                <a:gd name="connsiteY186" fmla="*/ 474778 h 479077"/>
                <a:gd name="connsiteX187" fmla="*/ 1065646 w 3785642"/>
                <a:gd name="connsiteY187" fmla="*/ 474778 h 479077"/>
                <a:gd name="connsiteX188" fmla="*/ 1049276 w 3785642"/>
                <a:gd name="connsiteY188" fmla="*/ 474282 h 479077"/>
                <a:gd name="connsiteX189" fmla="*/ 1032905 w 3785642"/>
                <a:gd name="connsiteY189" fmla="*/ 473290 h 479077"/>
                <a:gd name="connsiteX190" fmla="*/ 1016535 w 3785642"/>
                <a:gd name="connsiteY190" fmla="*/ 474282 h 479077"/>
                <a:gd name="connsiteX191" fmla="*/ 1000164 w 3785642"/>
                <a:gd name="connsiteY191" fmla="*/ 474282 h 479077"/>
                <a:gd name="connsiteX192" fmla="*/ 983793 w 3785642"/>
                <a:gd name="connsiteY192" fmla="*/ 472794 h 479077"/>
                <a:gd name="connsiteX193" fmla="*/ 967423 w 3785642"/>
                <a:gd name="connsiteY193" fmla="*/ 472794 h 479077"/>
                <a:gd name="connsiteX194" fmla="*/ 951052 w 3785642"/>
                <a:gd name="connsiteY194" fmla="*/ 473786 h 479077"/>
                <a:gd name="connsiteX195" fmla="*/ 934682 w 3785642"/>
                <a:gd name="connsiteY195" fmla="*/ 474282 h 479077"/>
                <a:gd name="connsiteX196" fmla="*/ 918311 w 3785642"/>
                <a:gd name="connsiteY196" fmla="*/ 474778 h 479077"/>
                <a:gd name="connsiteX197" fmla="*/ 901940 w 3785642"/>
                <a:gd name="connsiteY197" fmla="*/ 473290 h 479077"/>
                <a:gd name="connsiteX198" fmla="*/ 885570 w 3785642"/>
                <a:gd name="connsiteY198" fmla="*/ 474778 h 479077"/>
                <a:gd name="connsiteX199" fmla="*/ 869199 w 3785642"/>
                <a:gd name="connsiteY199" fmla="*/ 474282 h 479077"/>
                <a:gd name="connsiteX200" fmla="*/ 852829 w 3785642"/>
                <a:gd name="connsiteY200" fmla="*/ 473786 h 479077"/>
                <a:gd name="connsiteX201" fmla="*/ 836458 w 3785642"/>
                <a:gd name="connsiteY201" fmla="*/ 474778 h 479077"/>
                <a:gd name="connsiteX202" fmla="*/ 820088 w 3785642"/>
                <a:gd name="connsiteY202" fmla="*/ 475274 h 479077"/>
                <a:gd name="connsiteX203" fmla="*/ 803717 w 3785642"/>
                <a:gd name="connsiteY203" fmla="*/ 473786 h 479077"/>
                <a:gd name="connsiteX204" fmla="*/ 787347 w 3785642"/>
                <a:gd name="connsiteY204" fmla="*/ 475770 h 479077"/>
                <a:gd name="connsiteX205" fmla="*/ 770976 w 3785642"/>
                <a:gd name="connsiteY205" fmla="*/ 474778 h 479077"/>
                <a:gd name="connsiteX206" fmla="*/ 754605 w 3785642"/>
                <a:gd name="connsiteY206" fmla="*/ 475274 h 479077"/>
                <a:gd name="connsiteX207" fmla="*/ 738235 w 3785642"/>
                <a:gd name="connsiteY207" fmla="*/ 473786 h 479077"/>
                <a:gd name="connsiteX208" fmla="*/ 721864 w 3785642"/>
                <a:gd name="connsiteY208" fmla="*/ 475274 h 479077"/>
                <a:gd name="connsiteX209" fmla="*/ 705494 w 3785642"/>
                <a:gd name="connsiteY209" fmla="*/ 475770 h 479077"/>
                <a:gd name="connsiteX210" fmla="*/ 689123 w 3785642"/>
                <a:gd name="connsiteY210" fmla="*/ 474282 h 479077"/>
                <a:gd name="connsiteX211" fmla="*/ 672753 w 3785642"/>
                <a:gd name="connsiteY211" fmla="*/ 475274 h 479077"/>
                <a:gd name="connsiteX212" fmla="*/ 656382 w 3785642"/>
                <a:gd name="connsiteY212" fmla="*/ 474778 h 479077"/>
                <a:gd name="connsiteX213" fmla="*/ 640011 w 3785642"/>
                <a:gd name="connsiteY213" fmla="*/ 475770 h 479077"/>
                <a:gd name="connsiteX214" fmla="*/ 623641 w 3785642"/>
                <a:gd name="connsiteY214" fmla="*/ 473786 h 479077"/>
                <a:gd name="connsiteX215" fmla="*/ 607270 w 3785642"/>
                <a:gd name="connsiteY215" fmla="*/ 474778 h 479077"/>
                <a:gd name="connsiteX216" fmla="*/ 590900 w 3785642"/>
                <a:gd name="connsiteY216" fmla="*/ 475274 h 479077"/>
                <a:gd name="connsiteX217" fmla="*/ 574529 w 3785642"/>
                <a:gd name="connsiteY217" fmla="*/ 474282 h 479077"/>
                <a:gd name="connsiteX218" fmla="*/ 558158 w 3785642"/>
                <a:gd name="connsiteY218" fmla="*/ 475274 h 479077"/>
                <a:gd name="connsiteX219" fmla="*/ 541788 w 3785642"/>
                <a:gd name="connsiteY219" fmla="*/ 475770 h 479077"/>
                <a:gd name="connsiteX220" fmla="*/ 525417 w 3785642"/>
                <a:gd name="connsiteY220" fmla="*/ 474282 h 479077"/>
                <a:gd name="connsiteX221" fmla="*/ 509047 w 3785642"/>
                <a:gd name="connsiteY221" fmla="*/ 473786 h 479077"/>
                <a:gd name="connsiteX222" fmla="*/ 492676 w 3785642"/>
                <a:gd name="connsiteY222" fmla="*/ 473786 h 479077"/>
                <a:gd name="connsiteX223" fmla="*/ 476306 w 3785642"/>
                <a:gd name="connsiteY223" fmla="*/ 474778 h 479077"/>
                <a:gd name="connsiteX224" fmla="*/ 459935 w 3785642"/>
                <a:gd name="connsiteY224" fmla="*/ 473786 h 479077"/>
                <a:gd name="connsiteX225" fmla="*/ 443565 w 3785642"/>
                <a:gd name="connsiteY225" fmla="*/ 474778 h 479077"/>
                <a:gd name="connsiteX226" fmla="*/ 427194 w 3785642"/>
                <a:gd name="connsiteY226" fmla="*/ 474282 h 479077"/>
                <a:gd name="connsiteX227" fmla="*/ 410823 w 3785642"/>
                <a:gd name="connsiteY227" fmla="*/ 473290 h 479077"/>
                <a:gd name="connsiteX228" fmla="*/ 394453 w 3785642"/>
                <a:gd name="connsiteY228" fmla="*/ 475770 h 479077"/>
                <a:gd name="connsiteX229" fmla="*/ 378082 w 3785642"/>
                <a:gd name="connsiteY229" fmla="*/ 475274 h 479077"/>
                <a:gd name="connsiteX230" fmla="*/ 361712 w 3785642"/>
                <a:gd name="connsiteY230" fmla="*/ 474778 h 479077"/>
                <a:gd name="connsiteX231" fmla="*/ 345341 w 3785642"/>
                <a:gd name="connsiteY231" fmla="*/ 476266 h 479077"/>
                <a:gd name="connsiteX232" fmla="*/ 328970 w 3785642"/>
                <a:gd name="connsiteY232" fmla="*/ 474282 h 479077"/>
                <a:gd name="connsiteX233" fmla="*/ 312600 w 3785642"/>
                <a:gd name="connsiteY233" fmla="*/ 475274 h 479077"/>
                <a:gd name="connsiteX234" fmla="*/ 296229 w 3785642"/>
                <a:gd name="connsiteY234" fmla="*/ 474282 h 479077"/>
                <a:gd name="connsiteX235" fmla="*/ 279859 w 3785642"/>
                <a:gd name="connsiteY235" fmla="*/ 475770 h 479077"/>
                <a:gd name="connsiteX236" fmla="*/ 263488 w 3785642"/>
                <a:gd name="connsiteY236" fmla="*/ 476266 h 479077"/>
                <a:gd name="connsiteX237" fmla="*/ 247118 w 3785642"/>
                <a:gd name="connsiteY237" fmla="*/ 476266 h 479077"/>
                <a:gd name="connsiteX238" fmla="*/ 230747 w 3785642"/>
                <a:gd name="connsiteY238" fmla="*/ 474778 h 479077"/>
                <a:gd name="connsiteX239" fmla="*/ 214376 w 3785642"/>
                <a:gd name="connsiteY239" fmla="*/ 474778 h 479077"/>
                <a:gd name="connsiteX240" fmla="*/ 198006 w 3785642"/>
                <a:gd name="connsiteY240" fmla="*/ 476762 h 479077"/>
                <a:gd name="connsiteX241" fmla="*/ 181635 w 3785642"/>
                <a:gd name="connsiteY241" fmla="*/ 476266 h 479077"/>
                <a:gd name="connsiteX242" fmla="*/ 165265 w 3785642"/>
                <a:gd name="connsiteY242" fmla="*/ 474778 h 479077"/>
                <a:gd name="connsiteX243" fmla="*/ 148894 w 3785642"/>
                <a:gd name="connsiteY243" fmla="*/ 476762 h 479077"/>
                <a:gd name="connsiteX244" fmla="*/ 132524 w 3785642"/>
                <a:gd name="connsiteY244" fmla="*/ 476266 h 479077"/>
                <a:gd name="connsiteX245" fmla="*/ 116153 w 3785642"/>
                <a:gd name="connsiteY245" fmla="*/ 475274 h 479077"/>
                <a:gd name="connsiteX246" fmla="*/ 99783 w 3785642"/>
                <a:gd name="connsiteY246" fmla="*/ 475274 h 479077"/>
                <a:gd name="connsiteX247" fmla="*/ 83412 w 3785642"/>
                <a:gd name="connsiteY247" fmla="*/ 475274 h 479077"/>
                <a:gd name="connsiteX248" fmla="*/ 67041 w 3785642"/>
                <a:gd name="connsiteY248" fmla="*/ 474778 h 479077"/>
                <a:gd name="connsiteX249" fmla="*/ 50671 w 3785642"/>
                <a:gd name="connsiteY249" fmla="*/ 475274 h 479077"/>
                <a:gd name="connsiteX250" fmla="*/ 34300 w 3785642"/>
                <a:gd name="connsiteY250" fmla="*/ 475274 h 479077"/>
                <a:gd name="connsiteX251" fmla="*/ 17930 w 3785642"/>
                <a:gd name="connsiteY251" fmla="*/ 475770 h 479077"/>
                <a:gd name="connsiteX252" fmla="*/ 567 w 3785642"/>
                <a:gd name="connsiteY252" fmla="*/ 475770 h 479077"/>
                <a:gd name="connsiteX253" fmla="*/ 12969 w 3785642"/>
                <a:gd name="connsiteY253" fmla="*/ 463368 h 479077"/>
                <a:gd name="connsiteX254" fmla="*/ 24379 w 3785642"/>
                <a:gd name="connsiteY254" fmla="*/ 451958 h 479077"/>
                <a:gd name="connsiteX255" fmla="*/ 35788 w 3785642"/>
                <a:gd name="connsiteY255" fmla="*/ 440053 h 479077"/>
                <a:gd name="connsiteX256" fmla="*/ 48686 w 3785642"/>
                <a:gd name="connsiteY256" fmla="*/ 430131 h 479077"/>
                <a:gd name="connsiteX257" fmla="*/ 59600 w 3785642"/>
                <a:gd name="connsiteY257" fmla="*/ 418225 h 479077"/>
                <a:gd name="connsiteX258" fmla="*/ 70514 w 3785642"/>
                <a:gd name="connsiteY258" fmla="*/ 405823 h 479077"/>
                <a:gd name="connsiteX259" fmla="*/ 83412 w 3785642"/>
                <a:gd name="connsiteY259" fmla="*/ 395406 h 479077"/>
                <a:gd name="connsiteX260" fmla="*/ 94822 w 3785642"/>
                <a:gd name="connsiteY260" fmla="*/ 383500 h 479077"/>
                <a:gd name="connsiteX261" fmla="*/ 106728 w 3785642"/>
                <a:gd name="connsiteY261" fmla="*/ 372090 h 479077"/>
                <a:gd name="connsiteX262" fmla="*/ 117145 w 3785642"/>
                <a:gd name="connsiteY262" fmla="*/ 359688 h 479077"/>
                <a:gd name="connsiteX263" fmla="*/ 128555 w 3785642"/>
                <a:gd name="connsiteY263" fmla="*/ 348278 h 479077"/>
                <a:gd name="connsiteX264" fmla="*/ 140461 w 3785642"/>
                <a:gd name="connsiteY264" fmla="*/ 336868 h 479077"/>
                <a:gd name="connsiteX265" fmla="*/ 152863 w 3785642"/>
                <a:gd name="connsiteY265" fmla="*/ 326451 h 479077"/>
                <a:gd name="connsiteX266" fmla="*/ 164769 w 3785642"/>
                <a:gd name="connsiteY266" fmla="*/ 315041 h 479077"/>
                <a:gd name="connsiteX267" fmla="*/ 176178 w 3785642"/>
                <a:gd name="connsiteY267" fmla="*/ 303135 h 479077"/>
                <a:gd name="connsiteX268" fmla="*/ 188084 w 3785642"/>
                <a:gd name="connsiteY268" fmla="*/ 291725 h 479077"/>
                <a:gd name="connsiteX269" fmla="*/ 199494 w 3785642"/>
                <a:gd name="connsiteY269" fmla="*/ 280315 h 479077"/>
                <a:gd name="connsiteX270" fmla="*/ 210904 w 3785642"/>
                <a:gd name="connsiteY270" fmla="*/ 268906 h 479077"/>
                <a:gd name="connsiteX271" fmla="*/ 221818 w 3785642"/>
                <a:gd name="connsiteY271" fmla="*/ 256504 h 479077"/>
                <a:gd name="connsiteX272" fmla="*/ 233724 w 3785642"/>
                <a:gd name="connsiteY272" fmla="*/ 245094 h 479077"/>
                <a:gd name="connsiteX273" fmla="*/ 244141 w 3785642"/>
                <a:gd name="connsiteY273" fmla="*/ 232692 h 479077"/>
                <a:gd name="connsiteX274" fmla="*/ 257039 w 3785642"/>
                <a:gd name="connsiteY274" fmla="*/ 222770 h 479077"/>
                <a:gd name="connsiteX275" fmla="*/ 266961 w 3785642"/>
                <a:gd name="connsiteY275" fmla="*/ 209376 h 479077"/>
                <a:gd name="connsiteX276" fmla="*/ 278371 w 3785642"/>
                <a:gd name="connsiteY276" fmla="*/ 197966 h 479077"/>
                <a:gd name="connsiteX277" fmla="*/ 291269 w 3785642"/>
                <a:gd name="connsiteY277" fmla="*/ 188045 h 479077"/>
                <a:gd name="connsiteX278" fmla="*/ 301686 w 3785642"/>
                <a:gd name="connsiteY278" fmla="*/ 175147 h 479077"/>
                <a:gd name="connsiteX279" fmla="*/ 313592 w 3785642"/>
                <a:gd name="connsiteY279" fmla="*/ 163737 h 479077"/>
                <a:gd name="connsiteX280" fmla="*/ 325994 w 3785642"/>
                <a:gd name="connsiteY280" fmla="*/ 153319 h 479077"/>
                <a:gd name="connsiteX281" fmla="*/ 337404 w 3785642"/>
                <a:gd name="connsiteY281" fmla="*/ 141910 h 479077"/>
                <a:gd name="connsiteX282" fmla="*/ 347325 w 3785642"/>
                <a:gd name="connsiteY282" fmla="*/ 129012 h 479077"/>
                <a:gd name="connsiteX283" fmla="*/ 360224 w 3785642"/>
                <a:gd name="connsiteY283" fmla="*/ 118594 h 479077"/>
                <a:gd name="connsiteX284" fmla="*/ 371137 w 3785642"/>
                <a:gd name="connsiteY284" fmla="*/ 106192 h 479077"/>
                <a:gd name="connsiteX285" fmla="*/ 382051 w 3785642"/>
                <a:gd name="connsiteY285" fmla="*/ 93790 h 479077"/>
                <a:gd name="connsiteX286" fmla="*/ 393957 w 3785642"/>
                <a:gd name="connsiteY286" fmla="*/ 82380 h 479077"/>
                <a:gd name="connsiteX287" fmla="*/ 405366 w 3785642"/>
                <a:gd name="connsiteY287" fmla="*/ 70475 h 479077"/>
                <a:gd name="connsiteX288" fmla="*/ 417272 w 3785642"/>
                <a:gd name="connsiteY288" fmla="*/ 59561 h 479077"/>
                <a:gd name="connsiteX289" fmla="*/ 429674 w 3785642"/>
                <a:gd name="connsiteY289" fmla="*/ 48647 h 479077"/>
                <a:gd name="connsiteX290" fmla="*/ 440092 w 3785642"/>
                <a:gd name="connsiteY290" fmla="*/ 35749 h 479077"/>
                <a:gd name="connsiteX291" fmla="*/ 452494 w 3785642"/>
                <a:gd name="connsiteY291" fmla="*/ 24835 h 479077"/>
                <a:gd name="connsiteX292" fmla="*/ 463904 w 3785642"/>
                <a:gd name="connsiteY292" fmla="*/ 12929 h 479077"/>
                <a:gd name="connsiteX293" fmla="*/ 475313 w 3785642"/>
                <a:gd name="connsiteY293" fmla="*/ 1024 h 479077"/>
                <a:gd name="connsiteX294" fmla="*/ 491684 w 3785642"/>
                <a:gd name="connsiteY294" fmla="*/ 2512 h 479077"/>
                <a:gd name="connsiteX295" fmla="*/ 508055 w 3785642"/>
                <a:gd name="connsiteY295" fmla="*/ 2512 h 479077"/>
                <a:gd name="connsiteX296" fmla="*/ 524425 w 3785642"/>
                <a:gd name="connsiteY296" fmla="*/ 2512 h 479077"/>
                <a:gd name="connsiteX297" fmla="*/ 540796 w 3785642"/>
                <a:gd name="connsiteY297" fmla="*/ 1024 h 479077"/>
                <a:gd name="connsiteX298" fmla="*/ 557166 w 3785642"/>
                <a:gd name="connsiteY298" fmla="*/ 2512 h 479077"/>
                <a:gd name="connsiteX299" fmla="*/ 573537 w 3785642"/>
                <a:gd name="connsiteY299" fmla="*/ 1024 h 479077"/>
                <a:gd name="connsiteX300" fmla="*/ 589908 w 3785642"/>
                <a:gd name="connsiteY300" fmla="*/ 527 h 479077"/>
                <a:gd name="connsiteX301" fmla="*/ 606278 w 3785642"/>
                <a:gd name="connsiteY301" fmla="*/ 1520 h 479077"/>
                <a:gd name="connsiteX302" fmla="*/ 622649 w 3785642"/>
                <a:gd name="connsiteY302" fmla="*/ 1520 h 479077"/>
                <a:gd name="connsiteX303" fmla="*/ 639019 w 3785642"/>
                <a:gd name="connsiteY303" fmla="*/ 2016 h 479077"/>
                <a:gd name="connsiteX304" fmla="*/ 655390 w 3785642"/>
                <a:gd name="connsiteY304" fmla="*/ 527 h 479077"/>
                <a:gd name="connsiteX305" fmla="*/ 671760 w 3785642"/>
                <a:gd name="connsiteY305" fmla="*/ 1520 h 479077"/>
                <a:gd name="connsiteX306" fmla="*/ 688131 w 3785642"/>
                <a:gd name="connsiteY306" fmla="*/ 2512 h 479077"/>
                <a:gd name="connsiteX307" fmla="*/ 704501 w 3785642"/>
                <a:gd name="connsiteY307" fmla="*/ 1024 h 479077"/>
                <a:gd name="connsiteX308" fmla="*/ 720872 w 3785642"/>
                <a:gd name="connsiteY308" fmla="*/ 1520 h 479077"/>
                <a:gd name="connsiteX309" fmla="*/ 737243 w 3785642"/>
                <a:gd name="connsiteY309" fmla="*/ 2016 h 479077"/>
                <a:gd name="connsiteX310" fmla="*/ 753613 w 3785642"/>
                <a:gd name="connsiteY310" fmla="*/ 1024 h 479077"/>
                <a:gd name="connsiteX311" fmla="*/ 769984 w 3785642"/>
                <a:gd name="connsiteY311" fmla="*/ 527 h 479077"/>
                <a:gd name="connsiteX312" fmla="*/ 786354 w 3785642"/>
                <a:gd name="connsiteY312" fmla="*/ 1520 h 479077"/>
                <a:gd name="connsiteX313" fmla="*/ 802725 w 3785642"/>
                <a:gd name="connsiteY313" fmla="*/ 527 h 479077"/>
                <a:gd name="connsiteX314" fmla="*/ 819096 w 3785642"/>
                <a:gd name="connsiteY314" fmla="*/ 2512 h 479077"/>
                <a:gd name="connsiteX315" fmla="*/ 835466 w 3785642"/>
                <a:gd name="connsiteY315" fmla="*/ 527 h 479077"/>
                <a:gd name="connsiteX316" fmla="*/ 851837 w 3785642"/>
                <a:gd name="connsiteY316" fmla="*/ 1520 h 479077"/>
                <a:gd name="connsiteX317" fmla="*/ 868207 w 3785642"/>
                <a:gd name="connsiteY317" fmla="*/ 2016 h 479077"/>
                <a:gd name="connsiteX318" fmla="*/ 884578 w 3785642"/>
                <a:gd name="connsiteY318" fmla="*/ 2512 h 479077"/>
                <a:gd name="connsiteX319" fmla="*/ 900948 w 3785642"/>
                <a:gd name="connsiteY319" fmla="*/ 1520 h 479077"/>
                <a:gd name="connsiteX320" fmla="*/ 917319 w 3785642"/>
                <a:gd name="connsiteY320" fmla="*/ 1024 h 479077"/>
                <a:gd name="connsiteX321" fmla="*/ 933689 w 3785642"/>
                <a:gd name="connsiteY321" fmla="*/ 2512 h 479077"/>
                <a:gd name="connsiteX322" fmla="*/ 950060 w 3785642"/>
                <a:gd name="connsiteY322" fmla="*/ 1520 h 479077"/>
                <a:gd name="connsiteX323" fmla="*/ 966431 w 3785642"/>
                <a:gd name="connsiteY323" fmla="*/ 2016 h 479077"/>
                <a:gd name="connsiteX324" fmla="*/ 982801 w 3785642"/>
                <a:gd name="connsiteY324" fmla="*/ 2512 h 479077"/>
                <a:gd name="connsiteX325" fmla="*/ 999172 w 3785642"/>
                <a:gd name="connsiteY325" fmla="*/ 1520 h 479077"/>
                <a:gd name="connsiteX326" fmla="*/ 1015542 w 3785642"/>
                <a:gd name="connsiteY326" fmla="*/ 2512 h 479077"/>
                <a:gd name="connsiteX327" fmla="*/ 1031913 w 3785642"/>
                <a:gd name="connsiteY327" fmla="*/ 1520 h 479077"/>
                <a:gd name="connsiteX328" fmla="*/ 1048283 w 3785642"/>
                <a:gd name="connsiteY328" fmla="*/ 2016 h 479077"/>
                <a:gd name="connsiteX329" fmla="*/ 1064654 w 3785642"/>
                <a:gd name="connsiteY329" fmla="*/ 3504 h 479077"/>
                <a:gd name="connsiteX330" fmla="*/ 1081025 w 3785642"/>
                <a:gd name="connsiteY330" fmla="*/ 2016 h 479077"/>
                <a:gd name="connsiteX331" fmla="*/ 1097395 w 3785642"/>
                <a:gd name="connsiteY331" fmla="*/ 2512 h 479077"/>
                <a:gd name="connsiteX332" fmla="*/ 1113766 w 3785642"/>
                <a:gd name="connsiteY332" fmla="*/ 2512 h 479077"/>
                <a:gd name="connsiteX333" fmla="*/ 1130136 w 3785642"/>
                <a:gd name="connsiteY333" fmla="*/ 3504 h 479077"/>
                <a:gd name="connsiteX334" fmla="*/ 1146507 w 3785642"/>
                <a:gd name="connsiteY334" fmla="*/ 1520 h 479077"/>
                <a:gd name="connsiteX335" fmla="*/ 1162878 w 3785642"/>
                <a:gd name="connsiteY335" fmla="*/ 3008 h 479077"/>
                <a:gd name="connsiteX336" fmla="*/ 1179248 w 3785642"/>
                <a:gd name="connsiteY336" fmla="*/ 4000 h 479077"/>
                <a:gd name="connsiteX337" fmla="*/ 1195619 w 3785642"/>
                <a:gd name="connsiteY337" fmla="*/ 3504 h 479077"/>
                <a:gd name="connsiteX338" fmla="*/ 1211989 w 3785642"/>
                <a:gd name="connsiteY338" fmla="*/ 1520 h 479077"/>
                <a:gd name="connsiteX339" fmla="*/ 1228360 w 3785642"/>
                <a:gd name="connsiteY339" fmla="*/ 3504 h 479077"/>
                <a:gd name="connsiteX340" fmla="*/ 1244730 w 3785642"/>
                <a:gd name="connsiteY340" fmla="*/ 1520 h 479077"/>
                <a:gd name="connsiteX341" fmla="*/ 1261101 w 3785642"/>
                <a:gd name="connsiteY341" fmla="*/ 2512 h 479077"/>
                <a:gd name="connsiteX342" fmla="*/ 1277471 w 3785642"/>
                <a:gd name="connsiteY342" fmla="*/ 3504 h 479077"/>
                <a:gd name="connsiteX343" fmla="*/ 1293842 w 3785642"/>
                <a:gd name="connsiteY343" fmla="*/ 4000 h 479077"/>
                <a:gd name="connsiteX344" fmla="*/ 1310213 w 3785642"/>
                <a:gd name="connsiteY344" fmla="*/ 1520 h 479077"/>
                <a:gd name="connsiteX345" fmla="*/ 1326583 w 3785642"/>
                <a:gd name="connsiteY345" fmla="*/ 2016 h 479077"/>
                <a:gd name="connsiteX346" fmla="*/ 1342954 w 3785642"/>
                <a:gd name="connsiteY346" fmla="*/ 3008 h 479077"/>
                <a:gd name="connsiteX347" fmla="*/ 1359324 w 3785642"/>
                <a:gd name="connsiteY347" fmla="*/ 3008 h 479077"/>
                <a:gd name="connsiteX348" fmla="*/ 1375695 w 3785642"/>
                <a:gd name="connsiteY348" fmla="*/ 2512 h 479077"/>
                <a:gd name="connsiteX349" fmla="*/ 1392066 w 3785642"/>
                <a:gd name="connsiteY349" fmla="*/ 2512 h 479077"/>
                <a:gd name="connsiteX350" fmla="*/ 1408436 w 3785642"/>
                <a:gd name="connsiteY350" fmla="*/ 3504 h 479077"/>
                <a:gd name="connsiteX351" fmla="*/ 1424807 w 3785642"/>
                <a:gd name="connsiteY351" fmla="*/ 3504 h 479077"/>
                <a:gd name="connsiteX352" fmla="*/ 1441177 w 3785642"/>
                <a:gd name="connsiteY352" fmla="*/ 1520 h 479077"/>
                <a:gd name="connsiteX353" fmla="*/ 1457548 w 3785642"/>
                <a:gd name="connsiteY353" fmla="*/ 2512 h 479077"/>
                <a:gd name="connsiteX354" fmla="*/ 1473919 w 3785642"/>
                <a:gd name="connsiteY354" fmla="*/ 2016 h 479077"/>
                <a:gd name="connsiteX355" fmla="*/ 1490289 w 3785642"/>
                <a:gd name="connsiteY355" fmla="*/ 2016 h 479077"/>
                <a:gd name="connsiteX356" fmla="*/ 1506660 w 3785642"/>
                <a:gd name="connsiteY356" fmla="*/ 1520 h 479077"/>
                <a:gd name="connsiteX357" fmla="*/ 1523030 w 3785642"/>
                <a:gd name="connsiteY357" fmla="*/ 3504 h 479077"/>
                <a:gd name="connsiteX358" fmla="*/ 1539401 w 3785642"/>
                <a:gd name="connsiteY358" fmla="*/ 3008 h 479077"/>
                <a:gd name="connsiteX359" fmla="*/ 1555771 w 3785642"/>
                <a:gd name="connsiteY359" fmla="*/ 3008 h 479077"/>
                <a:gd name="connsiteX360" fmla="*/ 1572142 w 3785642"/>
                <a:gd name="connsiteY360" fmla="*/ 2512 h 479077"/>
                <a:gd name="connsiteX361" fmla="*/ 1588512 w 3785642"/>
                <a:gd name="connsiteY361" fmla="*/ 2016 h 479077"/>
                <a:gd name="connsiteX362" fmla="*/ 1604883 w 3785642"/>
                <a:gd name="connsiteY362" fmla="*/ 3008 h 479077"/>
                <a:gd name="connsiteX363" fmla="*/ 1621253 w 3785642"/>
                <a:gd name="connsiteY363" fmla="*/ 3008 h 479077"/>
                <a:gd name="connsiteX364" fmla="*/ 1637624 w 3785642"/>
                <a:gd name="connsiteY36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13375 w 3785642"/>
                <a:gd name="connsiteY37" fmla="*/ 10945 h 479077"/>
                <a:gd name="connsiteX38" fmla="*/ 3300973 w 3785642"/>
                <a:gd name="connsiteY38" fmla="*/ 21363 h 479077"/>
                <a:gd name="connsiteX39" fmla="*/ 3289068 w 3785642"/>
                <a:gd name="connsiteY39" fmla="*/ 32276 h 479077"/>
                <a:gd name="connsiteX40" fmla="*/ 3277658 w 3785642"/>
                <a:gd name="connsiteY40" fmla="*/ 43686 h 479077"/>
                <a:gd name="connsiteX41" fmla="*/ 3266248 w 3785642"/>
                <a:gd name="connsiteY41" fmla="*/ 55592 h 479077"/>
                <a:gd name="connsiteX42" fmla="*/ 3255830 w 3785642"/>
                <a:gd name="connsiteY42" fmla="*/ 68490 h 479077"/>
                <a:gd name="connsiteX43" fmla="*/ 3243924 w 3785642"/>
                <a:gd name="connsiteY43" fmla="*/ 79900 h 479077"/>
                <a:gd name="connsiteX44" fmla="*/ 3231522 w 3785642"/>
                <a:gd name="connsiteY44" fmla="*/ 90814 h 479077"/>
                <a:gd name="connsiteX45" fmla="*/ 3220609 w 3785642"/>
                <a:gd name="connsiteY45" fmla="*/ 102720 h 479077"/>
                <a:gd name="connsiteX46" fmla="*/ 3208207 w 3785642"/>
                <a:gd name="connsiteY46" fmla="*/ 113137 h 479077"/>
                <a:gd name="connsiteX47" fmla="*/ 3197293 w 3785642"/>
                <a:gd name="connsiteY47" fmla="*/ 125043 h 479077"/>
                <a:gd name="connsiteX48" fmla="*/ 3185387 w 3785642"/>
                <a:gd name="connsiteY48" fmla="*/ 136453 h 479077"/>
                <a:gd name="connsiteX49" fmla="*/ 3174970 w 3785642"/>
                <a:gd name="connsiteY49" fmla="*/ 148855 h 479077"/>
                <a:gd name="connsiteX50" fmla="*/ 3162071 w 3785642"/>
                <a:gd name="connsiteY50" fmla="*/ 159272 h 479077"/>
                <a:gd name="connsiteX51" fmla="*/ 3151158 w 3785642"/>
                <a:gd name="connsiteY51" fmla="*/ 171674 h 479077"/>
                <a:gd name="connsiteX52" fmla="*/ 3139252 w 3785642"/>
                <a:gd name="connsiteY52" fmla="*/ 182588 h 479077"/>
                <a:gd name="connsiteX53" fmla="*/ 3127843 w 3785642"/>
                <a:gd name="connsiteY53" fmla="*/ 194494 h 479077"/>
                <a:gd name="connsiteX54" fmla="*/ 3116432 w 3785642"/>
                <a:gd name="connsiteY54" fmla="*/ 205904 h 479077"/>
                <a:gd name="connsiteX55" fmla="*/ 3105022 w 3785642"/>
                <a:gd name="connsiteY55" fmla="*/ 217810 h 479077"/>
                <a:gd name="connsiteX56" fmla="*/ 3093117 w 3785642"/>
                <a:gd name="connsiteY56" fmla="*/ 229219 h 479077"/>
                <a:gd name="connsiteX57" fmla="*/ 3081707 w 3785642"/>
                <a:gd name="connsiteY57" fmla="*/ 240629 h 479077"/>
                <a:gd name="connsiteX58" fmla="*/ 3069305 w 3785642"/>
                <a:gd name="connsiteY58" fmla="*/ 251543 h 479077"/>
                <a:gd name="connsiteX59" fmla="*/ 3057895 w 3785642"/>
                <a:gd name="connsiteY59" fmla="*/ 263449 h 479077"/>
                <a:gd name="connsiteX60" fmla="*/ 3046486 w 3785642"/>
                <a:gd name="connsiteY60" fmla="*/ 275355 h 479077"/>
                <a:gd name="connsiteX61" fmla="*/ 3035572 w 3785642"/>
                <a:gd name="connsiteY61" fmla="*/ 287260 h 479077"/>
                <a:gd name="connsiteX62" fmla="*/ 3024658 w 3785642"/>
                <a:gd name="connsiteY62" fmla="*/ 299166 h 479077"/>
                <a:gd name="connsiteX63" fmla="*/ 3013248 w 3785642"/>
                <a:gd name="connsiteY63" fmla="*/ 311072 h 479077"/>
                <a:gd name="connsiteX64" fmla="*/ 3000350 w 3785642"/>
                <a:gd name="connsiteY64" fmla="*/ 321490 h 479077"/>
                <a:gd name="connsiteX65" fmla="*/ 2988941 w 3785642"/>
                <a:gd name="connsiteY65" fmla="*/ 333396 h 479077"/>
                <a:gd name="connsiteX66" fmla="*/ 2976539 w 3785642"/>
                <a:gd name="connsiteY66" fmla="*/ 344309 h 479077"/>
                <a:gd name="connsiteX67" fmla="*/ 2965129 w 3785642"/>
                <a:gd name="connsiteY67" fmla="*/ 356215 h 479077"/>
                <a:gd name="connsiteX68" fmla="*/ 2953223 w 3785642"/>
                <a:gd name="connsiteY68" fmla="*/ 367625 h 479077"/>
                <a:gd name="connsiteX69" fmla="*/ 2941813 w 3785642"/>
                <a:gd name="connsiteY69" fmla="*/ 379531 h 479077"/>
                <a:gd name="connsiteX70" fmla="*/ 2931395 w 3785642"/>
                <a:gd name="connsiteY70" fmla="*/ 392429 h 479077"/>
                <a:gd name="connsiteX71" fmla="*/ 2918497 w 3785642"/>
                <a:gd name="connsiteY71" fmla="*/ 402847 h 479077"/>
                <a:gd name="connsiteX72" fmla="*/ 2907584 w 3785642"/>
                <a:gd name="connsiteY72" fmla="*/ 415249 h 479077"/>
                <a:gd name="connsiteX73" fmla="*/ 2896174 w 3785642"/>
                <a:gd name="connsiteY73" fmla="*/ 426658 h 479077"/>
                <a:gd name="connsiteX74" fmla="*/ 2884268 w 3785642"/>
                <a:gd name="connsiteY74" fmla="*/ 438068 h 479077"/>
                <a:gd name="connsiteX75" fmla="*/ 2873354 w 3785642"/>
                <a:gd name="connsiteY75" fmla="*/ 450470 h 479077"/>
                <a:gd name="connsiteX76" fmla="*/ 2860952 w 3785642"/>
                <a:gd name="connsiteY76" fmla="*/ 461384 h 479077"/>
                <a:gd name="connsiteX77" fmla="*/ 2850039 w 3785642"/>
                <a:gd name="connsiteY77" fmla="*/ 473786 h 479077"/>
                <a:gd name="connsiteX78" fmla="*/ 2833668 w 3785642"/>
                <a:gd name="connsiteY78" fmla="*/ 473786 h 479077"/>
                <a:gd name="connsiteX79" fmla="*/ 2817297 w 3785642"/>
                <a:gd name="connsiteY79" fmla="*/ 473290 h 479077"/>
                <a:gd name="connsiteX80" fmla="*/ 2800927 w 3785642"/>
                <a:gd name="connsiteY80" fmla="*/ 473290 h 479077"/>
                <a:gd name="connsiteX81" fmla="*/ 2784556 w 3785642"/>
                <a:gd name="connsiteY81" fmla="*/ 473786 h 479077"/>
                <a:gd name="connsiteX82" fmla="*/ 2768186 w 3785642"/>
                <a:gd name="connsiteY82" fmla="*/ 474282 h 479077"/>
                <a:gd name="connsiteX83" fmla="*/ 2751815 w 3785642"/>
                <a:gd name="connsiteY83" fmla="*/ 474282 h 479077"/>
                <a:gd name="connsiteX84" fmla="*/ 2735444 w 3785642"/>
                <a:gd name="connsiteY84" fmla="*/ 473290 h 479077"/>
                <a:gd name="connsiteX85" fmla="*/ 2719074 w 3785642"/>
                <a:gd name="connsiteY85" fmla="*/ 474282 h 479077"/>
                <a:gd name="connsiteX86" fmla="*/ 2702703 w 3785642"/>
                <a:gd name="connsiteY86" fmla="*/ 472298 h 479077"/>
                <a:gd name="connsiteX87" fmla="*/ 2686333 w 3785642"/>
                <a:gd name="connsiteY87" fmla="*/ 472794 h 479077"/>
                <a:gd name="connsiteX88" fmla="*/ 2669962 w 3785642"/>
                <a:gd name="connsiteY88" fmla="*/ 474282 h 479077"/>
                <a:gd name="connsiteX89" fmla="*/ 2653592 w 3785642"/>
                <a:gd name="connsiteY89" fmla="*/ 472298 h 479077"/>
                <a:gd name="connsiteX90" fmla="*/ 2637221 w 3785642"/>
                <a:gd name="connsiteY90" fmla="*/ 474282 h 479077"/>
                <a:gd name="connsiteX91" fmla="*/ 2620851 w 3785642"/>
                <a:gd name="connsiteY91" fmla="*/ 474282 h 479077"/>
                <a:gd name="connsiteX92" fmla="*/ 2604480 w 3785642"/>
                <a:gd name="connsiteY92" fmla="*/ 472298 h 479077"/>
                <a:gd name="connsiteX93" fmla="*/ 2588109 w 3785642"/>
                <a:gd name="connsiteY93" fmla="*/ 473786 h 479077"/>
                <a:gd name="connsiteX94" fmla="*/ 2571739 w 3785642"/>
                <a:gd name="connsiteY94" fmla="*/ 472298 h 479077"/>
                <a:gd name="connsiteX95" fmla="*/ 2555368 w 3785642"/>
                <a:gd name="connsiteY95" fmla="*/ 473290 h 479077"/>
                <a:gd name="connsiteX96" fmla="*/ 2538998 w 3785642"/>
                <a:gd name="connsiteY96" fmla="*/ 474282 h 479077"/>
                <a:gd name="connsiteX97" fmla="*/ 2522627 w 3785642"/>
                <a:gd name="connsiteY97" fmla="*/ 473290 h 479077"/>
                <a:gd name="connsiteX98" fmla="*/ 2506257 w 3785642"/>
                <a:gd name="connsiteY98" fmla="*/ 474282 h 479077"/>
                <a:gd name="connsiteX99" fmla="*/ 2489886 w 3785642"/>
                <a:gd name="connsiteY99" fmla="*/ 473786 h 479077"/>
                <a:gd name="connsiteX100" fmla="*/ 2473516 w 3785642"/>
                <a:gd name="connsiteY100" fmla="*/ 474282 h 479077"/>
                <a:gd name="connsiteX101" fmla="*/ 2457145 w 3785642"/>
                <a:gd name="connsiteY101" fmla="*/ 472794 h 479077"/>
                <a:gd name="connsiteX102" fmla="*/ 2440775 w 3785642"/>
                <a:gd name="connsiteY102" fmla="*/ 472298 h 479077"/>
                <a:gd name="connsiteX103" fmla="*/ 2424404 w 3785642"/>
                <a:gd name="connsiteY103" fmla="*/ 473786 h 479077"/>
                <a:gd name="connsiteX104" fmla="*/ 2408033 w 3785642"/>
                <a:gd name="connsiteY104" fmla="*/ 472794 h 479077"/>
                <a:gd name="connsiteX105" fmla="*/ 2391663 w 3785642"/>
                <a:gd name="connsiteY105" fmla="*/ 473290 h 479077"/>
                <a:gd name="connsiteX106" fmla="*/ 2375292 w 3785642"/>
                <a:gd name="connsiteY106" fmla="*/ 473290 h 479077"/>
                <a:gd name="connsiteX107" fmla="*/ 2358922 w 3785642"/>
                <a:gd name="connsiteY107" fmla="*/ 472794 h 479077"/>
                <a:gd name="connsiteX108" fmla="*/ 2342551 w 3785642"/>
                <a:gd name="connsiteY108" fmla="*/ 472298 h 479077"/>
                <a:gd name="connsiteX109" fmla="*/ 2326180 w 3785642"/>
                <a:gd name="connsiteY109" fmla="*/ 473786 h 479077"/>
                <a:gd name="connsiteX110" fmla="*/ 2309810 w 3785642"/>
                <a:gd name="connsiteY110" fmla="*/ 473786 h 479077"/>
                <a:gd name="connsiteX111" fmla="*/ 2293439 w 3785642"/>
                <a:gd name="connsiteY111" fmla="*/ 473786 h 479077"/>
                <a:gd name="connsiteX112" fmla="*/ 2277069 w 3785642"/>
                <a:gd name="connsiteY112" fmla="*/ 472794 h 479077"/>
                <a:gd name="connsiteX113" fmla="*/ 2260698 w 3785642"/>
                <a:gd name="connsiteY113" fmla="*/ 474282 h 479077"/>
                <a:gd name="connsiteX114" fmla="*/ 2244327 w 3785642"/>
                <a:gd name="connsiteY114" fmla="*/ 472298 h 479077"/>
                <a:gd name="connsiteX115" fmla="*/ 2227957 w 3785642"/>
                <a:gd name="connsiteY115" fmla="*/ 474282 h 479077"/>
                <a:gd name="connsiteX116" fmla="*/ 2211586 w 3785642"/>
                <a:gd name="connsiteY116" fmla="*/ 473290 h 479077"/>
                <a:gd name="connsiteX117" fmla="*/ 2195216 w 3785642"/>
                <a:gd name="connsiteY117" fmla="*/ 474282 h 479077"/>
                <a:gd name="connsiteX118" fmla="*/ 2178845 w 3785642"/>
                <a:gd name="connsiteY118" fmla="*/ 472794 h 479077"/>
                <a:gd name="connsiteX119" fmla="*/ 2162474 w 3785642"/>
                <a:gd name="connsiteY119" fmla="*/ 474778 h 479077"/>
                <a:gd name="connsiteX120" fmla="*/ 2146104 w 3785642"/>
                <a:gd name="connsiteY120" fmla="*/ 473290 h 479077"/>
                <a:gd name="connsiteX121" fmla="*/ 2129733 w 3785642"/>
                <a:gd name="connsiteY121" fmla="*/ 474778 h 479077"/>
                <a:gd name="connsiteX122" fmla="*/ 2113363 w 3785642"/>
                <a:gd name="connsiteY122" fmla="*/ 474778 h 479077"/>
                <a:gd name="connsiteX123" fmla="*/ 2096992 w 3785642"/>
                <a:gd name="connsiteY123" fmla="*/ 474778 h 479077"/>
                <a:gd name="connsiteX124" fmla="*/ 2080621 w 3785642"/>
                <a:gd name="connsiteY124" fmla="*/ 474282 h 479077"/>
                <a:gd name="connsiteX125" fmla="*/ 2064251 w 3785642"/>
                <a:gd name="connsiteY125" fmla="*/ 472794 h 479077"/>
                <a:gd name="connsiteX126" fmla="*/ 2047880 w 3785642"/>
                <a:gd name="connsiteY126" fmla="*/ 474778 h 479077"/>
                <a:gd name="connsiteX127" fmla="*/ 2031510 w 3785642"/>
                <a:gd name="connsiteY127" fmla="*/ 474778 h 479077"/>
                <a:gd name="connsiteX128" fmla="*/ 2015139 w 3785642"/>
                <a:gd name="connsiteY128" fmla="*/ 474778 h 479077"/>
                <a:gd name="connsiteX129" fmla="*/ 1998769 w 3785642"/>
                <a:gd name="connsiteY129" fmla="*/ 474282 h 479077"/>
                <a:gd name="connsiteX130" fmla="*/ 1982398 w 3785642"/>
                <a:gd name="connsiteY130" fmla="*/ 473786 h 479077"/>
                <a:gd name="connsiteX131" fmla="*/ 1966028 w 3785642"/>
                <a:gd name="connsiteY131" fmla="*/ 473786 h 479077"/>
                <a:gd name="connsiteX132" fmla="*/ 1949657 w 3785642"/>
                <a:gd name="connsiteY132" fmla="*/ 472794 h 479077"/>
                <a:gd name="connsiteX133" fmla="*/ 1933287 w 3785642"/>
                <a:gd name="connsiteY133" fmla="*/ 473290 h 479077"/>
                <a:gd name="connsiteX134" fmla="*/ 1916916 w 3785642"/>
                <a:gd name="connsiteY134" fmla="*/ 474778 h 479077"/>
                <a:gd name="connsiteX135" fmla="*/ 1900546 w 3785642"/>
                <a:gd name="connsiteY135" fmla="*/ 472794 h 479077"/>
                <a:gd name="connsiteX136" fmla="*/ 1884175 w 3785642"/>
                <a:gd name="connsiteY136" fmla="*/ 473786 h 479077"/>
                <a:gd name="connsiteX137" fmla="*/ 1867804 w 3785642"/>
                <a:gd name="connsiteY137" fmla="*/ 474778 h 479077"/>
                <a:gd name="connsiteX138" fmla="*/ 1851434 w 3785642"/>
                <a:gd name="connsiteY138" fmla="*/ 474778 h 479077"/>
                <a:gd name="connsiteX139" fmla="*/ 1835063 w 3785642"/>
                <a:gd name="connsiteY139" fmla="*/ 474778 h 479077"/>
                <a:gd name="connsiteX140" fmla="*/ 1818693 w 3785642"/>
                <a:gd name="connsiteY140" fmla="*/ 474282 h 479077"/>
                <a:gd name="connsiteX141" fmla="*/ 1802322 w 3785642"/>
                <a:gd name="connsiteY141" fmla="*/ 472794 h 479077"/>
                <a:gd name="connsiteX142" fmla="*/ 1785951 w 3785642"/>
                <a:gd name="connsiteY142" fmla="*/ 473786 h 479077"/>
                <a:gd name="connsiteX143" fmla="*/ 1769581 w 3785642"/>
                <a:gd name="connsiteY143" fmla="*/ 473290 h 479077"/>
                <a:gd name="connsiteX144" fmla="*/ 1753210 w 3785642"/>
                <a:gd name="connsiteY144" fmla="*/ 472298 h 479077"/>
                <a:gd name="connsiteX145" fmla="*/ 1736840 w 3785642"/>
                <a:gd name="connsiteY145" fmla="*/ 473290 h 479077"/>
                <a:gd name="connsiteX146" fmla="*/ 1720469 w 3785642"/>
                <a:gd name="connsiteY146" fmla="*/ 474778 h 479077"/>
                <a:gd name="connsiteX147" fmla="*/ 1704098 w 3785642"/>
                <a:gd name="connsiteY147" fmla="*/ 472794 h 479077"/>
                <a:gd name="connsiteX148" fmla="*/ 1687728 w 3785642"/>
                <a:gd name="connsiteY148" fmla="*/ 474778 h 479077"/>
                <a:gd name="connsiteX149" fmla="*/ 1671357 w 3785642"/>
                <a:gd name="connsiteY149" fmla="*/ 474778 h 479077"/>
                <a:gd name="connsiteX150" fmla="*/ 1654987 w 3785642"/>
                <a:gd name="connsiteY150" fmla="*/ 472298 h 479077"/>
                <a:gd name="connsiteX151" fmla="*/ 1638616 w 3785642"/>
                <a:gd name="connsiteY151" fmla="*/ 472794 h 479077"/>
                <a:gd name="connsiteX152" fmla="*/ 1622246 w 3785642"/>
                <a:gd name="connsiteY152" fmla="*/ 473786 h 479077"/>
                <a:gd name="connsiteX153" fmla="*/ 1605875 w 3785642"/>
                <a:gd name="connsiteY153" fmla="*/ 474778 h 479077"/>
                <a:gd name="connsiteX154" fmla="*/ 1589505 w 3785642"/>
                <a:gd name="connsiteY154" fmla="*/ 473290 h 479077"/>
                <a:gd name="connsiteX155" fmla="*/ 1573134 w 3785642"/>
                <a:gd name="connsiteY155" fmla="*/ 474778 h 479077"/>
                <a:gd name="connsiteX156" fmla="*/ 1556763 w 3785642"/>
                <a:gd name="connsiteY156" fmla="*/ 472794 h 479077"/>
                <a:gd name="connsiteX157" fmla="*/ 1540393 w 3785642"/>
                <a:gd name="connsiteY157" fmla="*/ 472794 h 479077"/>
                <a:gd name="connsiteX158" fmla="*/ 1524022 w 3785642"/>
                <a:gd name="connsiteY158" fmla="*/ 474282 h 479077"/>
                <a:gd name="connsiteX159" fmla="*/ 1507652 w 3785642"/>
                <a:gd name="connsiteY159" fmla="*/ 472794 h 479077"/>
                <a:gd name="connsiteX160" fmla="*/ 1491281 w 3785642"/>
                <a:gd name="connsiteY160" fmla="*/ 474282 h 479077"/>
                <a:gd name="connsiteX161" fmla="*/ 1474910 w 3785642"/>
                <a:gd name="connsiteY161" fmla="*/ 474282 h 479077"/>
                <a:gd name="connsiteX162" fmla="*/ 1458540 w 3785642"/>
                <a:gd name="connsiteY162" fmla="*/ 472794 h 479077"/>
                <a:gd name="connsiteX163" fmla="*/ 1442169 w 3785642"/>
                <a:gd name="connsiteY163" fmla="*/ 471802 h 479077"/>
                <a:gd name="connsiteX164" fmla="*/ 1425799 w 3785642"/>
                <a:gd name="connsiteY164" fmla="*/ 472298 h 479077"/>
                <a:gd name="connsiteX165" fmla="*/ 1409428 w 3785642"/>
                <a:gd name="connsiteY165" fmla="*/ 472794 h 479077"/>
                <a:gd name="connsiteX166" fmla="*/ 1393058 w 3785642"/>
                <a:gd name="connsiteY166" fmla="*/ 473786 h 479077"/>
                <a:gd name="connsiteX167" fmla="*/ 1376687 w 3785642"/>
                <a:gd name="connsiteY167" fmla="*/ 471802 h 479077"/>
                <a:gd name="connsiteX168" fmla="*/ 1360317 w 3785642"/>
                <a:gd name="connsiteY168" fmla="*/ 473786 h 479077"/>
                <a:gd name="connsiteX169" fmla="*/ 1343946 w 3785642"/>
                <a:gd name="connsiteY169" fmla="*/ 473786 h 479077"/>
                <a:gd name="connsiteX170" fmla="*/ 1327576 w 3785642"/>
                <a:gd name="connsiteY170" fmla="*/ 472794 h 479077"/>
                <a:gd name="connsiteX171" fmla="*/ 1311205 w 3785642"/>
                <a:gd name="connsiteY171" fmla="*/ 473786 h 479077"/>
                <a:gd name="connsiteX172" fmla="*/ 1294834 w 3785642"/>
                <a:gd name="connsiteY172" fmla="*/ 473786 h 479077"/>
                <a:gd name="connsiteX173" fmla="*/ 1278464 w 3785642"/>
                <a:gd name="connsiteY173" fmla="*/ 473786 h 479077"/>
                <a:gd name="connsiteX174" fmla="*/ 1262093 w 3785642"/>
                <a:gd name="connsiteY174" fmla="*/ 473786 h 479077"/>
                <a:gd name="connsiteX175" fmla="*/ 1245723 w 3785642"/>
                <a:gd name="connsiteY175" fmla="*/ 473290 h 479077"/>
                <a:gd name="connsiteX176" fmla="*/ 1229352 w 3785642"/>
                <a:gd name="connsiteY176" fmla="*/ 472794 h 479077"/>
                <a:gd name="connsiteX177" fmla="*/ 1212981 w 3785642"/>
                <a:gd name="connsiteY177" fmla="*/ 473786 h 479077"/>
                <a:gd name="connsiteX178" fmla="*/ 1196611 w 3785642"/>
                <a:gd name="connsiteY178" fmla="*/ 472298 h 479077"/>
                <a:gd name="connsiteX179" fmla="*/ 1180240 w 3785642"/>
                <a:gd name="connsiteY179" fmla="*/ 472794 h 479077"/>
                <a:gd name="connsiteX180" fmla="*/ 1163870 w 3785642"/>
                <a:gd name="connsiteY180" fmla="*/ 472794 h 479077"/>
                <a:gd name="connsiteX181" fmla="*/ 1147499 w 3785642"/>
                <a:gd name="connsiteY181" fmla="*/ 473786 h 479077"/>
                <a:gd name="connsiteX182" fmla="*/ 1131128 w 3785642"/>
                <a:gd name="connsiteY182" fmla="*/ 473786 h 479077"/>
                <a:gd name="connsiteX183" fmla="*/ 1114758 w 3785642"/>
                <a:gd name="connsiteY183" fmla="*/ 472794 h 479077"/>
                <a:gd name="connsiteX184" fmla="*/ 1098387 w 3785642"/>
                <a:gd name="connsiteY184" fmla="*/ 473786 h 479077"/>
                <a:gd name="connsiteX185" fmla="*/ 1082017 w 3785642"/>
                <a:gd name="connsiteY185" fmla="*/ 474778 h 479077"/>
                <a:gd name="connsiteX186" fmla="*/ 1065646 w 3785642"/>
                <a:gd name="connsiteY186" fmla="*/ 474778 h 479077"/>
                <a:gd name="connsiteX187" fmla="*/ 1049276 w 3785642"/>
                <a:gd name="connsiteY187" fmla="*/ 474282 h 479077"/>
                <a:gd name="connsiteX188" fmla="*/ 1032905 w 3785642"/>
                <a:gd name="connsiteY188" fmla="*/ 473290 h 479077"/>
                <a:gd name="connsiteX189" fmla="*/ 1016535 w 3785642"/>
                <a:gd name="connsiteY189" fmla="*/ 474282 h 479077"/>
                <a:gd name="connsiteX190" fmla="*/ 1000164 w 3785642"/>
                <a:gd name="connsiteY190" fmla="*/ 474282 h 479077"/>
                <a:gd name="connsiteX191" fmla="*/ 983793 w 3785642"/>
                <a:gd name="connsiteY191" fmla="*/ 472794 h 479077"/>
                <a:gd name="connsiteX192" fmla="*/ 967423 w 3785642"/>
                <a:gd name="connsiteY192" fmla="*/ 472794 h 479077"/>
                <a:gd name="connsiteX193" fmla="*/ 951052 w 3785642"/>
                <a:gd name="connsiteY193" fmla="*/ 473786 h 479077"/>
                <a:gd name="connsiteX194" fmla="*/ 934682 w 3785642"/>
                <a:gd name="connsiteY194" fmla="*/ 474282 h 479077"/>
                <a:gd name="connsiteX195" fmla="*/ 918311 w 3785642"/>
                <a:gd name="connsiteY195" fmla="*/ 474778 h 479077"/>
                <a:gd name="connsiteX196" fmla="*/ 901940 w 3785642"/>
                <a:gd name="connsiteY196" fmla="*/ 473290 h 479077"/>
                <a:gd name="connsiteX197" fmla="*/ 885570 w 3785642"/>
                <a:gd name="connsiteY197" fmla="*/ 474778 h 479077"/>
                <a:gd name="connsiteX198" fmla="*/ 869199 w 3785642"/>
                <a:gd name="connsiteY198" fmla="*/ 474282 h 479077"/>
                <a:gd name="connsiteX199" fmla="*/ 852829 w 3785642"/>
                <a:gd name="connsiteY199" fmla="*/ 473786 h 479077"/>
                <a:gd name="connsiteX200" fmla="*/ 836458 w 3785642"/>
                <a:gd name="connsiteY200" fmla="*/ 474778 h 479077"/>
                <a:gd name="connsiteX201" fmla="*/ 820088 w 3785642"/>
                <a:gd name="connsiteY201" fmla="*/ 475274 h 479077"/>
                <a:gd name="connsiteX202" fmla="*/ 803717 w 3785642"/>
                <a:gd name="connsiteY202" fmla="*/ 473786 h 479077"/>
                <a:gd name="connsiteX203" fmla="*/ 787347 w 3785642"/>
                <a:gd name="connsiteY203" fmla="*/ 475770 h 479077"/>
                <a:gd name="connsiteX204" fmla="*/ 770976 w 3785642"/>
                <a:gd name="connsiteY204" fmla="*/ 474778 h 479077"/>
                <a:gd name="connsiteX205" fmla="*/ 754605 w 3785642"/>
                <a:gd name="connsiteY205" fmla="*/ 475274 h 479077"/>
                <a:gd name="connsiteX206" fmla="*/ 738235 w 3785642"/>
                <a:gd name="connsiteY206" fmla="*/ 473786 h 479077"/>
                <a:gd name="connsiteX207" fmla="*/ 721864 w 3785642"/>
                <a:gd name="connsiteY207" fmla="*/ 475274 h 479077"/>
                <a:gd name="connsiteX208" fmla="*/ 705494 w 3785642"/>
                <a:gd name="connsiteY208" fmla="*/ 475770 h 479077"/>
                <a:gd name="connsiteX209" fmla="*/ 689123 w 3785642"/>
                <a:gd name="connsiteY209" fmla="*/ 474282 h 479077"/>
                <a:gd name="connsiteX210" fmla="*/ 672753 w 3785642"/>
                <a:gd name="connsiteY210" fmla="*/ 475274 h 479077"/>
                <a:gd name="connsiteX211" fmla="*/ 656382 w 3785642"/>
                <a:gd name="connsiteY211" fmla="*/ 474778 h 479077"/>
                <a:gd name="connsiteX212" fmla="*/ 640011 w 3785642"/>
                <a:gd name="connsiteY212" fmla="*/ 475770 h 479077"/>
                <a:gd name="connsiteX213" fmla="*/ 623641 w 3785642"/>
                <a:gd name="connsiteY213" fmla="*/ 473786 h 479077"/>
                <a:gd name="connsiteX214" fmla="*/ 607270 w 3785642"/>
                <a:gd name="connsiteY214" fmla="*/ 474778 h 479077"/>
                <a:gd name="connsiteX215" fmla="*/ 590900 w 3785642"/>
                <a:gd name="connsiteY215" fmla="*/ 475274 h 479077"/>
                <a:gd name="connsiteX216" fmla="*/ 574529 w 3785642"/>
                <a:gd name="connsiteY216" fmla="*/ 474282 h 479077"/>
                <a:gd name="connsiteX217" fmla="*/ 558158 w 3785642"/>
                <a:gd name="connsiteY217" fmla="*/ 475274 h 479077"/>
                <a:gd name="connsiteX218" fmla="*/ 541788 w 3785642"/>
                <a:gd name="connsiteY218" fmla="*/ 475770 h 479077"/>
                <a:gd name="connsiteX219" fmla="*/ 525417 w 3785642"/>
                <a:gd name="connsiteY219" fmla="*/ 474282 h 479077"/>
                <a:gd name="connsiteX220" fmla="*/ 509047 w 3785642"/>
                <a:gd name="connsiteY220" fmla="*/ 473786 h 479077"/>
                <a:gd name="connsiteX221" fmla="*/ 492676 w 3785642"/>
                <a:gd name="connsiteY221" fmla="*/ 473786 h 479077"/>
                <a:gd name="connsiteX222" fmla="*/ 476306 w 3785642"/>
                <a:gd name="connsiteY222" fmla="*/ 474778 h 479077"/>
                <a:gd name="connsiteX223" fmla="*/ 459935 w 3785642"/>
                <a:gd name="connsiteY223" fmla="*/ 473786 h 479077"/>
                <a:gd name="connsiteX224" fmla="*/ 443565 w 3785642"/>
                <a:gd name="connsiteY224" fmla="*/ 474778 h 479077"/>
                <a:gd name="connsiteX225" fmla="*/ 427194 w 3785642"/>
                <a:gd name="connsiteY225" fmla="*/ 474282 h 479077"/>
                <a:gd name="connsiteX226" fmla="*/ 410823 w 3785642"/>
                <a:gd name="connsiteY226" fmla="*/ 473290 h 479077"/>
                <a:gd name="connsiteX227" fmla="*/ 394453 w 3785642"/>
                <a:gd name="connsiteY227" fmla="*/ 475770 h 479077"/>
                <a:gd name="connsiteX228" fmla="*/ 378082 w 3785642"/>
                <a:gd name="connsiteY228" fmla="*/ 475274 h 479077"/>
                <a:gd name="connsiteX229" fmla="*/ 361712 w 3785642"/>
                <a:gd name="connsiteY229" fmla="*/ 474778 h 479077"/>
                <a:gd name="connsiteX230" fmla="*/ 345341 w 3785642"/>
                <a:gd name="connsiteY230" fmla="*/ 476266 h 479077"/>
                <a:gd name="connsiteX231" fmla="*/ 328970 w 3785642"/>
                <a:gd name="connsiteY231" fmla="*/ 474282 h 479077"/>
                <a:gd name="connsiteX232" fmla="*/ 312600 w 3785642"/>
                <a:gd name="connsiteY232" fmla="*/ 475274 h 479077"/>
                <a:gd name="connsiteX233" fmla="*/ 296229 w 3785642"/>
                <a:gd name="connsiteY233" fmla="*/ 474282 h 479077"/>
                <a:gd name="connsiteX234" fmla="*/ 279859 w 3785642"/>
                <a:gd name="connsiteY234" fmla="*/ 475770 h 479077"/>
                <a:gd name="connsiteX235" fmla="*/ 263488 w 3785642"/>
                <a:gd name="connsiteY235" fmla="*/ 476266 h 479077"/>
                <a:gd name="connsiteX236" fmla="*/ 247118 w 3785642"/>
                <a:gd name="connsiteY236" fmla="*/ 476266 h 479077"/>
                <a:gd name="connsiteX237" fmla="*/ 230747 w 3785642"/>
                <a:gd name="connsiteY237" fmla="*/ 474778 h 479077"/>
                <a:gd name="connsiteX238" fmla="*/ 214376 w 3785642"/>
                <a:gd name="connsiteY238" fmla="*/ 474778 h 479077"/>
                <a:gd name="connsiteX239" fmla="*/ 198006 w 3785642"/>
                <a:gd name="connsiteY239" fmla="*/ 476762 h 479077"/>
                <a:gd name="connsiteX240" fmla="*/ 181635 w 3785642"/>
                <a:gd name="connsiteY240" fmla="*/ 476266 h 479077"/>
                <a:gd name="connsiteX241" fmla="*/ 165265 w 3785642"/>
                <a:gd name="connsiteY241" fmla="*/ 474778 h 479077"/>
                <a:gd name="connsiteX242" fmla="*/ 148894 w 3785642"/>
                <a:gd name="connsiteY242" fmla="*/ 476762 h 479077"/>
                <a:gd name="connsiteX243" fmla="*/ 132524 w 3785642"/>
                <a:gd name="connsiteY243" fmla="*/ 476266 h 479077"/>
                <a:gd name="connsiteX244" fmla="*/ 116153 w 3785642"/>
                <a:gd name="connsiteY244" fmla="*/ 475274 h 479077"/>
                <a:gd name="connsiteX245" fmla="*/ 99783 w 3785642"/>
                <a:gd name="connsiteY245" fmla="*/ 475274 h 479077"/>
                <a:gd name="connsiteX246" fmla="*/ 83412 w 3785642"/>
                <a:gd name="connsiteY246" fmla="*/ 475274 h 479077"/>
                <a:gd name="connsiteX247" fmla="*/ 67041 w 3785642"/>
                <a:gd name="connsiteY247" fmla="*/ 474778 h 479077"/>
                <a:gd name="connsiteX248" fmla="*/ 50671 w 3785642"/>
                <a:gd name="connsiteY248" fmla="*/ 475274 h 479077"/>
                <a:gd name="connsiteX249" fmla="*/ 34300 w 3785642"/>
                <a:gd name="connsiteY249" fmla="*/ 475274 h 479077"/>
                <a:gd name="connsiteX250" fmla="*/ 17930 w 3785642"/>
                <a:gd name="connsiteY250" fmla="*/ 475770 h 479077"/>
                <a:gd name="connsiteX251" fmla="*/ 567 w 3785642"/>
                <a:gd name="connsiteY251" fmla="*/ 475770 h 479077"/>
                <a:gd name="connsiteX252" fmla="*/ 12969 w 3785642"/>
                <a:gd name="connsiteY252" fmla="*/ 463368 h 479077"/>
                <a:gd name="connsiteX253" fmla="*/ 24379 w 3785642"/>
                <a:gd name="connsiteY253" fmla="*/ 451958 h 479077"/>
                <a:gd name="connsiteX254" fmla="*/ 35788 w 3785642"/>
                <a:gd name="connsiteY254" fmla="*/ 440053 h 479077"/>
                <a:gd name="connsiteX255" fmla="*/ 48686 w 3785642"/>
                <a:gd name="connsiteY255" fmla="*/ 430131 h 479077"/>
                <a:gd name="connsiteX256" fmla="*/ 59600 w 3785642"/>
                <a:gd name="connsiteY256" fmla="*/ 418225 h 479077"/>
                <a:gd name="connsiteX257" fmla="*/ 70514 w 3785642"/>
                <a:gd name="connsiteY257" fmla="*/ 405823 h 479077"/>
                <a:gd name="connsiteX258" fmla="*/ 83412 w 3785642"/>
                <a:gd name="connsiteY258" fmla="*/ 395406 h 479077"/>
                <a:gd name="connsiteX259" fmla="*/ 94822 w 3785642"/>
                <a:gd name="connsiteY259" fmla="*/ 383500 h 479077"/>
                <a:gd name="connsiteX260" fmla="*/ 106728 w 3785642"/>
                <a:gd name="connsiteY260" fmla="*/ 372090 h 479077"/>
                <a:gd name="connsiteX261" fmla="*/ 117145 w 3785642"/>
                <a:gd name="connsiteY261" fmla="*/ 359688 h 479077"/>
                <a:gd name="connsiteX262" fmla="*/ 128555 w 3785642"/>
                <a:gd name="connsiteY262" fmla="*/ 348278 h 479077"/>
                <a:gd name="connsiteX263" fmla="*/ 140461 w 3785642"/>
                <a:gd name="connsiteY263" fmla="*/ 336868 h 479077"/>
                <a:gd name="connsiteX264" fmla="*/ 152863 w 3785642"/>
                <a:gd name="connsiteY264" fmla="*/ 326451 h 479077"/>
                <a:gd name="connsiteX265" fmla="*/ 164769 w 3785642"/>
                <a:gd name="connsiteY265" fmla="*/ 315041 h 479077"/>
                <a:gd name="connsiteX266" fmla="*/ 176178 w 3785642"/>
                <a:gd name="connsiteY266" fmla="*/ 303135 h 479077"/>
                <a:gd name="connsiteX267" fmla="*/ 188084 w 3785642"/>
                <a:gd name="connsiteY267" fmla="*/ 291725 h 479077"/>
                <a:gd name="connsiteX268" fmla="*/ 199494 w 3785642"/>
                <a:gd name="connsiteY268" fmla="*/ 280315 h 479077"/>
                <a:gd name="connsiteX269" fmla="*/ 210904 w 3785642"/>
                <a:gd name="connsiteY269" fmla="*/ 268906 h 479077"/>
                <a:gd name="connsiteX270" fmla="*/ 221818 w 3785642"/>
                <a:gd name="connsiteY270" fmla="*/ 256504 h 479077"/>
                <a:gd name="connsiteX271" fmla="*/ 233724 w 3785642"/>
                <a:gd name="connsiteY271" fmla="*/ 245094 h 479077"/>
                <a:gd name="connsiteX272" fmla="*/ 244141 w 3785642"/>
                <a:gd name="connsiteY272" fmla="*/ 232692 h 479077"/>
                <a:gd name="connsiteX273" fmla="*/ 257039 w 3785642"/>
                <a:gd name="connsiteY273" fmla="*/ 222770 h 479077"/>
                <a:gd name="connsiteX274" fmla="*/ 266961 w 3785642"/>
                <a:gd name="connsiteY274" fmla="*/ 209376 h 479077"/>
                <a:gd name="connsiteX275" fmla="*/ 278371 w 3785642"/>
                <a:gd name="connsiteY275" fmla="*/ 197966 h 479077"/>
                <a:gd name="connsiteX276" fmla="*/ 291269 w 3785642"/>
                <a:gd name="connsiteY276" fmla="*/ 188045 h 479077"/>
                <a:gd name="connsiteX277" fmla="*/ 301686 w 3785642"/>
                <a:gd name="connsiteY277" fmla="*/ 175147 h 479077"/>
                <a:gd name="connsiteX278" fmla="*/ 313592 w 3785642"/>
                <a:gd name="connsiteY278" fmla="*/ 163737 h 479077"/>
                <a:gd name="connsiteX279" fmla="*/ 325994 w 3785642"/>
                <a:gd name="connsiteY279" fmla="*/ 153319 h 479077"/>
                <a:gd name="connsiteX280" fmla="*/ 337404 w 3785642"/>
                <a:gd name="connsiteY280" fmla="*/ 141910 h 479077"/>
                <a:gd name="connsiteX281" fmla="*/ 347325 w 3785642"/>
                <a:gd name="connsiteY281" fmla="*/ 129012 h 479077"/>
                <a:gd name="connsiteX282" fmla="*/ 360224 w 3785642"/>
                <a:gd name="connsiteY282" fmla="*/ 118594 h 479077"/>
                <a:gd name="connsiteX283" fmla="*/ 371137 w 3785642"/>
                <a:gd name="connsiteY283" fmla="*/ 106192 h 479077"/>
                <a:gd name="connsiteX284" fmla="*/ 382051 w 3785642"/>
                <a:gd name="connsiteY284" fmla="*/ 93790 h 479077"/>
                <a:gd name="connsiteX285" fmla="*/ 393957 w 3785642"/>
                <a:gd name="connsiteY285" fmla="*/ 82380 h 479077"/>
                <a:gd name="connsiteX286" fmla="*/ 405366 w 3785642"/>
                <a:gd name="connsiteY286" fmla="*/ 70475 h 479077"/>
                <a:gd name="connsiteX287" fmla="*/ 417272 w 3785642"/>
                <a:gd name="connsiteY287" fmla="*/ 59561 h 479077"/>
                <a:gd name="connsiteX288" fmla="*/ 429674 w 3785642"/>
                <a:gd name="connsiteY288" fmla="*/ 48647 h 479077"/>
                <a:gd name="connsiteX289" fmla="*/ 440092 w 3785642"/>
                <a:gd name="connsiteY289" fmla="*/ 35749 h 479077"/>
                <a:gd name="connsiteX290" fmla="*/ 452494 w 3785642"/>
                <a:gd name="connsiteY290" fmla="*/ 24835 h 479077"/>
                <a:gd name="connsiteX291" fmla="*/ 463904 w 3785642"/>
                <a:gd name="connsiteY291" fmla="*/ 12929 h 479077"/>
                <a:gd name="connsiteX292" fmla="*/ 475313 w 3785642"/>
                <a:gd name="connsiteY292" fmla="*/ 1024 h 479077"/>
                <a:gd name="connsiteX293" fmla="*/ 491684 w 3785642"/>
                <a:gd name="connsiteY293" fmla="*/ 2512 h 479077"/>
                <a:gd name="connsiteX294" fmla="*/ 508055 w 3785642"/>
                <a:gd name="connsiteY294" fmla="*/ 2512 h 479077"/>
                <a:gd name="connsiteX295" fmla="*/ 524425 w 3785642"/>
                <a:gd name="connsiteY295" fmla="*/ 2512 h 479077"/>
                <a:gd name="connsiteX296" fmla="*/ 540796 w 3785642"/>
                <a:gd name="connsiteY296" fmla="*/ 1024 h 479077"/>
                <a:gd name="connsiteX297" fmla="*/ 557166 w 3785642"/>
                <a:gd name="connsiteY297" fmla="*/ 2512 h 479077"/>
                <a:gd name="connsiteX298" fmla="*/ 573537 w 3785642"/>
                <a:gd name="connsiteY298" fmla="*/ 1024 h 479077"/>
                <a:gd name="connsiteX299" fmla="*/ 589908 w 3785642"/>
                <a:gd name="connsiteY299" fmla="*/ 527 h 479077"/>
                <a:gd name="connsiteX300" fmla="*/ 606278 w 3785642"/>
                <a:gd name="connsiteY300" fmla="*/ 1520 h 479077"/>
                <a:gd name="connsiteX301" fmla="*/ 622649 w 3785642"/>
                <a:gd name="connsiteY301" fmla="*/ 1520 h 479077"/>
                <a:gd name="connsiteX302" fmla="*/ 639019 w 3785642"/>
                <a:gd name="connsiteY302" fmla="*/ 2016 h 479077"/>
                <a:gd name="connsiteX303" fmla="*/ 655390 w 3785642"/>
                <a:gd name="connsiteY303" fmla="*/ 527 h 479077"/>
                <a:gd name="connsiteX304" fmla="*/ 671760 w 3785642"/>
                <a:gd name="connsiteY304" fmla="*/ 1520 h 479077"/>
                <a:gd name="connsiteX305" fmla="*/ 688131 w 3785642"/>
                <a:gd name="connsiteY305" fmla="*/ 2512 h 479077"/>
                <a:gd name="connsiteX306" fmla="*/ 704501 w 3785642"/>
                <a:gd name="connsiteY306" fmla="*/ 1024 h 479077"/>
                <a:gd name="connsiteX307" fmla="*/ 720872 w 3785642"/>
                <a:gd name="connsiteY307" fmla="*/ 1520 h 479077"/>
                <a:gd name="connsiteX308" fmla="*/ 737243 w 3785642"/>
                <a:gd name="connsiteY308" fmla="*/ 2016 h 479077"/>
                <a:gd name="connsiteX309" fmla="*/ 753613 w 3785642"/>
                <a:gd name="connsiteY309" fmla="*/ 1024 h 479077"/>
                <a:gd name="connsiteX310" fmla="*/ 769984 w 3785642"/>
                <a:gd name="connsiteY310" fmla="*/ 527 h 479077"/>
                <a:gd name="connsiteX311" fmla="*/ 786354 w 3785642"/>
                <a:gd name="connsiteY311" fmla="*/ 1520 h 479077"/>
                <a:gd name="connsiteX312" fmla="*/ 802725 w 3785642"/>
                <a:gd name="connsiteY312" fmla="*/ 527 h 479077"/>
                <a:gd name="connsiteX313" fmla="*/ 819096 w 3785642"/>
                <a:gd name="connsiteY313" fmla="*/ 2512 h 479077"/>
                <a:gd name="connsiteX314" fmla="*/ 835466 w 3785642"/>
                <a:gd name="connsiteY314" fmla="*/ 527 h 479077"/>
                <a:gd name="connsiteX315" fmla="*/ 851837 w 3785642"/>
                <a:gd name="connsiteY315" fmla="*/ 1520 h 479077"/>
                <a:gd name="connsiteX316" fmla="*/ 868207 w 3785642"/>
                <a:gd name="connsiteY316" fmla="*/ 2016 h 479077"/>
                <a:gd name="connsiteX317" fmla="*/ 884578 w 3785642"/>
                <a:gd name="connsiteY317" fmla="*/ 2512 h 479077"/>
                <a:gd name="connsiteX318" fmla="*/ 900948 w 3785642"/>
                <a:gd name="connsiteY318" fmla="*/ 1520 h 479077"/>
                <a:gd name="connsiteX319" fmla="*/ 917319 w 3785642"/>
                <a:gd name="connsiteY319" fmla="*/ 1024 h 479077"/>
                <a:gd name="connsiteX320" fmla="*/ 933689 w 3785642"/>
                <a:gd name="connsiteY320" fmla="*/ 2512 h 479077"/>
                <a:gd name="connsiteX321" fmla="*/ 950060 w 3785642"/>
                <a:gd name="connsiteY321" fmla="*/ 1520 h 479077"/>
                <a:gd name="connsiteX322" fmla="*/ 966431 w 3785642"/>
                <a:gd name="connsiteY322" fmla="*/ 2016 h 479077"/>
                <a:gd name="connsiteX323" fmla="*/ 982801 w 3785642"/>
                <a:gd name="connsiteY323" fmla="*/ 2512 h 479077"/>
                <a:gd name="connsiteX324" fmla="*/ 999172 w 3785642"/>
                <a:gd name="connsiteY324" fmla="*/ 1520 h 479077"/>
                <a:gd name="connsiteX325" fmla="*/ 1015542 w 3785642"/>
                <a:gd name="connsiteY325" fmla="*/ 2512 h 479077"/>
                <a:gd name="connsiteX326" fmla="*/ 1031913 w 3785642"/>
                <a:gd name="connsiteY326" fmla="*/ 1520 h 479077"/>
                <a:gd name="connsiteX327" fmla="*/ 1048283 w 3785642"/>
                <a:gd name="connsiteY327" fmla="*/ 2016 h 479077"/>
                <a:gd name="connsiteX328" fmla="*/ 1064654 w 3785642"/>
                <a:gd name="connsiteY328" fmla="*/ 3504 h 479077"/>
                <a:gd name="connsiteX329" fmla="*/ 1081025 w 3785642"/>
                <a:gd name="connsiteY329" fmla="*/ 2016 h 479077"/>
                <a:gd name="connsiteX330" fmla="*/ 1097395 w 3785642"/>
                <a:gd name="connsiteY330" fmla="*/ 2512 h 479077"/>
                <a:gd name="connsiteX331" fmla="*/ 1113766 w 3785642"/>
                <a:gd name="connsiteY331" fmla="*/ 2512 h 479077"/>
                <a:gd name="connsiteX332" fmla="*/ 1130136 w 3785642"/>
                <a:gd name="connsiteY332" fmla="*/ 3504 h 479077"/>
                <a:gd name="connsiteX333" fmla="*/ 1146507 w 3785642"/>
                <a:gd name="connsiteY333" fmla="*/ 1520 h 479077"/>
                <a:gd name="connsiteX334" fmla="*/ 1162878 w 3785642"/>
                <a:gd name="connsiteY334" fmla="*/ 3008 h 479077"/>
                <a:gd name="connsiteX335" fmla="*/ 1179248 w 3785642"/>
                <a:gd name="connsiteY335" fmla="*/ 4000 h 479077"/>
                <a:gd name="connsiteX336" fmla="*/ 1195619 w 3785642"/>
                <a:gd name="connsiteY336" fmla="*/ 3504 h 479077"/>
                <a:gd name="connsiteX337" fmla="*/ 1211989 w 3785642"/>
                <a:gd name="connsiteY337" fmla="*/ 1520 h 479077"/>
                <a:gd name="connsiteX338" fmla="*/ 1228360 w 3785642"/>
                <a:gd name="connsiteY338" fmla="*/ 3504 h 479077"/>
                <a:gd name="connsiteX339" fmla="*/ 1244730 w 3785642"/>
                <a:gd name="connsiteY339" fmla="*/ 1520 h 479077"/>
                <a:gd name="connsiteX340" fmla="*/ 1261101 w 3785642"/>
                <a:gd name="connsiteY340" fmla="*/ 2512 h 479077"/>
                <a:gd name="connsiteX341" fmla="*/ 1277471 w 3785642"/>
                <a:gd name="connsiteY341" fmla="*/ 3504 h 479077"/>
                <a:gd name="connsiteX342" fmla="*/ 1293842 w 3785642"/>
                <a:gd name="connsiteY342" fmla="*/ 4000 h 479077"/>
                <a:gd name="connsiteX343" fmla="*/ 1310213 w 3785642"/>
                <a:gd name="connsiteY343" fmla="*/ 1520 h 479077"/>
                <a:gd name="connsiteX344" fmla="*/ 1326583 w 3785642"/>
                <a:gd name="connsiteY344" fmla="*/ 2016 h 479077"/>
                <a:gd name="connsiteX345" fmla="*/ 1342954 w 3785642"/>
                <a:gd name="connsiteY345" fmla="*/ 3008 h 479077"/>
                <a:gd name="connsiteX346" fmla="*/ 1359324 w 3785642"/>
                <a:gd name="connsiteY346" fmla="*/ 3008 h 479077"/>
                <a:gd name="connsiteX347" fmla="*/ 1375695 w 3785642"/>
                <a:gd name="connsiteY347" fmla="*/ 2512 h 479077"/>
                <a:gd name="connsiteX348" fmla="*/ 1392066 w 3785642"/>
                <a:gd name="connsiteY348" fmla="*/ 2512 h 479077"/>
                <a:gd name="connsiteX349" fmla="*/ 1408436 w 3785642"/>
                <a:gd name="connsiteY349" fmla="*/ 3504 h 479077"/>
                <a:gd name="connsiteX350" fmla="*/ 1424807 w 3785642"/>
                <a:gd name="connsiteY350" fmla="*/ 3504 h 479077"/>
                <a:gd name="connsiteX351" fmla="*/ 1441177 w 3785642"/>
                <a:gd name="connsiteY351" fmla="*/ 1520 h 479077"/>
                <a:gd name="connsiteX352" fmla="*/ 1457548 w 3785642"/>
                <a:gd name="connsiteY352" fmla="*/ 2512 h 479077"/>
                <a:gd name="connsiteX353" fmla="*/ 1473919 w 3785642"/>
                <a:gd name="connsiteY353" fmla="*/ 2016 h 479077"/>
                <a:gd name="connsiteX354" fmla="*/ 1490289 w 3785642"/>
                <a:gd name="connsiteY354" fmla="*/ 2016 h 479077"/>
                <a:gd name="connsiteX355" fmla="*/ 1506660 w 3785642"/>
                <a:gd name="connsiteY355" fmla="*/ 1520 h 479077"/>
                <a:gd name="connsiteX356" fmla="*/ 1523030 w 3785642"/>
                <a:gd name="connsiteY356" fmla="*/ 3504 h 479077"/>
                <a:gd name="connsiteX357" fmla="*/ 1539401 w 3785642"/>
                <a:gd name="connsiteY357" fmla="*/ 3008 h 479077"/>
                <a:gd name="connsiteX358" fmla="*/ 1555771 w 3785642"/>
                <a:gd name="connsiteY358" fmla="*/ 3008 h 479077"/>
                <a:gd name="connsiteX359" fmla="*/ 1572142 w 3785642"/>
                <a:gd name="connsiteY359" fmla="*/ 2512 h 479077"/>
                <a:gd name="connsiteX360" fmla="*/ 1588512 w 3785642"/>
                <a:gd name="connsiteY360" fmla="*/ 2016 h 479077"/>
                <a:gd name="connsiteX361" fmla="*/ 1604883 w 3785642"/>
                <a:gd name="connsiteY361" fmla="*/ 3008 h 479077"/>
                <a:gd name="connsiteX362" fmla="*/ 1621253 w 3785642"/>
                <a:gd name="connsiteY362" fmla="*/ 3008 h 479077"/>
                <a:gd name="connsiteX363" fmla="*/ 1637624 w 3785642"/>
                <a:gd name="connsiteY36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17552 w 3785642"/>
                <a:gd name="connsiteY31" fmla="*/ 90814 h 479077"/>
                <a:gd name="connsiteX32" fmla="*/ 3405646 w 3785642"/>
                <a:gd name="connsiteY32" fmla="*/ 79404 h 479077"/>
                <a:gd name="connsiteX33" fmla="*/ 3393740 w 3785642"/>
                <a:gd name="connsiteY33" fmla="*/ 68490 h 479077"/>
                <a:gd name="connsiteX34" fmla="*/ 3382330 w 3785642"/>
                <a:gd name="connsiteY34" fmla="*/ 56584 h 479077"/>
                <a:gd name="connsiteX35" fmla="*/ 3370921 w 3785642"/>
                <a:gd name="connsiteY35" fmla="*/ 44678 h 479077"/>
                <a:gd name="connsiteX36" fmla="*/ 3313375 w 3785642"/>
                <a:gd name="connsiteY36" fmla="*/ 10945 h 479077"/>
                <a:gd name="connsiteX37" fmla="*/ 3300973 w 3785642"/>
                <a:gd name="connsiteY37" fmla="*/ 21363 h 479077"/>
                <a:gd name="connsiteX38" fmla="*/ 3289068 w 3785642"/>
                <a:gd name="connsiteY38" fmla="*/ 32276 h 479077"/>
                <a:gd name="connsiteX39" fmla="*/ 3277658 w 3785642"/>
                <a:gd name="connsiteY39" fmla="*/ 43686 h 479077"/>
                <a:gd name="connsiteX40" fmla="*/ 3266248 w 3785642"/>
                <a:gd name="connsiteY40" fmla="*/ 55592 h 479077"/>
                <a:gd name="connsiteX41" fmla="*/ 3255830 w 3785642"/>
                <a:gd name="connsiteY41" fmla="*/ 68490 h 479077"/>
                <a:gd name="connsiteX42" fmla="*/ 3243924 w 3785642"/>
                <a:gd name="connsiteY42" fmla="*/ 79900 h 479077"/>
                <a:gd name="connsiteX43" fmla="*/ 3231522 w 3785642"/>
                <a:gd name="connsiteY43" fmla="*/ 90814 h 479077"/>
                <a:gd name="connsiteX44" fmla="*/ 3220609 w 3785642"/>
                <a:gd name="connsiteY44" fmla="*/ 102720 h 479077"/>
                <a:gd name="connsiteX45" fmla="*/ 3208207 w 3785642"/>
                <a:gd name="connsiteY45" fmla="*/ 113137 h 479077"/>
                <a:gd name="connsiteX46" fmla="*/ 3197293 w 3785642"/>
                <a:gd name="connsiteY46" fmla="*/ 125043 h 479077"/>
                <a:gd name="connsiteX47" fmla="*/ 3185387 w 3785642"/>
                <a:gd name="connsiteY47" fmla="*/ 136453 h 479077"/>
                <a:gd name="connsiteX48" fmla="*/ 3174970 w 3785642"/>
                <a:gd name="connsiteY48" fmla="*/ 148855 h 479077"/>
                <a:gd name="connsiteX49" fmla="*/ 3162071 w 3785642"/>
                <a:gd name="connsiteY49" fmla="*/ 159272 h 479077"/>
                <a:gd name="connsiteX50" fmla="*/ 3151158 w 3785642"/>
                <a:gd name="connsiteY50" fmla="*/ 171674 h 479077"/>
                <a:gd name="connsiteX51" fmla="*/ 3139252 w 3785642"/>
                <a:gd name="connsiteY51" fmla="*/ 182588 h 479077"/>
                <a:gd name="connsiteX52" fmla="*/ 3127843 w 3785642"/>
                <a:gd name="connsiteY52" fmla="*/ 194494 h 479077"/>
                <a:gd name="connsiteX53" fmla="*/ 3116432 w 3785642"/>
                <a:gd name="connsiteY53" fmla="*/ 205904 h 479077"/>
                <a:gd name="connsiteX54" fmla="*/ 3105022 w 3785642"/>
                <a:gd name="connsiteY54" fmla="*/ 217810 h 479077"/>
                <a:gd name="connsiteX55" fmla="*/ 3093117 w 3785642"/>
                <a:gd name="connsiteY55" fmla="*/ 229219 h 479077"/>
                <a:gd name="connsiteX56" fmla="*/ 3081707 w 3785642"/>
                <a:gd name="connsiteY56" fmla="*/ 240629 h 479077"/>
                <a:gd name="connsiteX57" fmla="*/ 3069305 w 3785642"/>
                <a:gd name="connsiteY57" fmla="*/ 251543 h 479077"/>
                <a:gd name="connsiteX58" fmla="*/ 3057895 w 3785642"/>
                <a:gd name="connsiteY58" fmla="*/ 263449 h 479077"/>
                <a:gd name="connsiteX59" fmla="*/ 3046486 w 3785642"/>
                <a:gd name="connsiteY59" fmla="*/ 275355 h 479077"/>
                <a:gd name="connsiteX60" fmla="*/ 3035572 w 3785642"/>
                <a:gd name="connsiteY60" fmla="*/ 287260 h 479077"/>
                <a:gd name="connsiteX61" fmla="*/ 3024658 w 3785642"/>
                <a:gd name="connsiteY61" fmla="*/ 299166 h 479077"/>
                <a:gd name="connsiteX62" fmla="*/ 3013248 w 3785642"/>
                <a:gd name="connsiteY62" fmla="*/ 311072 h 479077"/>
                <a:gd name="connsiteX63" fmla="*/ 3000350 w 3785642"/>
                <a:gd name="connsiteY63" fmla="*/ 321490 h 479077"/>
                <a:gd name="connsiteX64" fmla="*/ 2988941 w 3785642"/>
                <a:gd name="connsiteY64" fmla="*/ 333396 h 479077"/>
                <a:gd name="connsiteX65" fmla="*/ 2976539 w 3785642"/>
                <a:gd name="connsiteY65" fmla="*/ 344309 h 479077"/>
                <a:gd name="connsiteX66" fmla="*/ 2965129 w 3785642"/>
                <a:gd name="connsiteY66" fmla="*/ 356215 h 479077"/>
                <a:gd name="connsiteX67" fmla="*/ 2953223 w 3785642"/>
                <a:gd name="connsiteY67" fmla="*/ 367625 h 479077"/>
                <a:gd name="connsiteX68" fmla="*/ 2941813 w 3785642"/>
                <a:gd name="connsiteY68" fmla="*/ 379531 h 479077"/>
                <a:gd name="connsiteX69" fmla="*/ 2931395 w 3785642"/>
                <a:gd name="connsiteY69" fmla="*/ 392429 h 479077"/>
                <a:gd name="connsiteX70" fmla="*/ 2918497 w 3785642"/>
                <a:gd name="connsiteY70" fmla="*/ 402847 h 479077"/>
                <a:gd name="connsiteX71" fmla="*/ 2907584 w 3785642"/>
                <a:gd name="connsiteY71" fmla="*/ 415249 h 479077"/>
                <a:gd name="connsiteX72" fmla="*/ 2896174 w 3785642"/>
                <a:gd name="connsiteY72" fmla="*/ 426658 h 479077"/>
                <a:gd name="connsiteX73" fmla="*/ 2884268 w 3785642"/>
                <a:gd name="connsiteY73" fmla="*/ 438068 h 479077"/>
                <a:gd name="connsiteX74" fmla="*/ 2873354 w 3785642"/>
                <a:gd name="connsiteY74" fmla="*/ 450470 h 479077"/>
                <a:gd name="connsiteX75" fmla="*/ 2860952 w 3785642"/>
                <a:gd name="connsiteY75" fmla="*/ 461384 h 479077"/>
                <a:gd name="connsiteX76" fmla="*/ 2850039 w 3785642"/>
                <a:gd name="connsiteY76" fmla="*/ 473786 h 479077"/>
                <a:gd name="connsiteX77" fmla="*/ 2833668 w 3785642"/>
                <a:gd name="connsiteY77" fmla="*/ 473786 h 479077"/>
                <a:gd name="connsiteX78" fmla="*/ 2817297 w 3785642"/>
                <a:gd name="connsiteY78" fmla="*/ 473290 h 479077"/>
                <a:gd name="connsiteX79" fmla="*/ 2800927 w 3785642"/>
                <a:gd name="connsiteY79" fmla="*/ 473290 h 479077"/>
                <a:gd name="connsiteX80" fmla="*/ 2784556 w 3785642"/>
                <a:gd name="connsiteY80" fmla="*/ 473786 h 479077"/>
                <a:gd name="connsiteX81" fmla="*/ 2768186 w 3785642"/>
                <a:gd name="connsiteY81" fmla="*/ 474282 h 479077"/>
                <a:gd name="connsiteX82" fmla="*/ 2751815 w 3785642"/>
                <a:gd name="connsiteY82" fmla="*/ 474282 h 479077"/>
                <a:gd name="connsiteX83" fmla="*/ 2735444 w 3785642"/>
                <a:gd name="connsiteY83" fmla="*/ 473290 h 479077"/>
                <a:gd name="connsiteX84" fmla="*/ 2719074 w 3785642"/>
                <a:gd name="connsiteY84" fmla="*/ 474282 h 479077"/>
                <a:gd name="connsiteX85" fmla="*/ 2702703 w 3785642"/>
                <a:gd name="connsiteY85" fmla="*/ 472298 h 479077"/>
                <a:gd name="connsiteX86" fmla="*/ 2686333 w 3785642"/>
                <a:gd name="connsiteY86" fmla="*/ 472794 h 479077"/>
                <a:gd name="connsiteX87" fmla="*/ 2669962 w 3785642"/>
                <a:gd name="connsiteY87" fmla="*/ 474282 h 479077"/>
                <a:gd name="connsiteX88" fmla="*/ 2653592 w 3785642"/>
                <a:gd name="connsiteY88" fmla="*/ 472298 h 479077"/>
                <a:gd name="connsiteX89" fmla="*/ 2637221 w 3785642"/>
                <a:gd name="connsiteY89" fmla="*/ 474282 h 479077"/>
                <a:gd name="connsiteX90" fmla="*/ 2620851 w 3785642"/>
                <a:gd name="connsiteY90" fmla="*/ 474282 h 479077"/>
                <a:gd name="connsiteX91" fmla="*/ 2604480 w 3785642"/>
                <a:gd name="connsiteY91" fmla="*/ 472298 h 479077"/>
                <a:gd name="connsiteX92" fmla="*/ 2588109 w 3785642"/>
                <a:gd name="connsiteY92" fmla="*/ 473786 h 479077"/>
                <a:gd name="connsiteX93" fmla="*/ 2571739 w 3785642"/>
                <a:gd name="connsiteY93" fmla="*/ 472298 h 479077"/>
                <a:gd name="connsiteX94" fmla="*/ 2555368 w 3785642"/>
                <a:gd name="connsiteY94" fmla="*/ 473290 h 479077"/>
                <a:gd name="connsiteX95" fmla="*/ 2538998 w 3785642"/>
                <a:gd name="connsiteY95" fmla="*/ 474282 h 479077"/>
                <a:gd name="connsiteX96" fmla="*/ 2522627 w 3785642"/>
                <a:gd name="connsiteY96" fmla="*/ 473290 h 479077"/>
                <a:gd name="connsiteX97" fmla="*/ 2506257 w 3785642"/>
                <a:gd name="connsiteY97" fmla="*/ 474282 h 479077"/>
                <a:gd name="connsiteX98" fmla="*/ 2489886 w 3785642"/>
                <a:gd name="connsiteY98" fmla="*/ 473786 h 479077"/>
                <a:gd name="connsiteX99" fmla="*/ 2473516 w 3785642"/>
                <a:gd name="connsiteY99" fmla="*/ 474282 h 479077"/>
                <a:gd name="connsiteX100" fmla="*/ 2457145 w 3785642"/>
                <a:gd name="connsiteY100" fmla="*/ 472794 h 479077"/>
                <a:gd name="connsiteX101" fmla="*/ 2440775 w 3785642"/>
                <a:gd name="connsiteY101" fmla="*/ 472298 h 479077"/>
                <a:gd name="connsiteX102" fmla="*/ 2424404 w 3785642"/>
                <a:gd name="connsiteY102" fmla="*/ 473786 h 479077"/>
                <a:gd name="connsiteX103" fmla="*/ 2408033 w 3785642"/>
                <a:gd name="connsiteY103" fmla="*/ 472794 h 479077"/>
                <a:gd name="connsiteX104" fmla="*/ 2391663 w 3785642"/>
                <a:gd name="connsiteY104" fmla="*/ 473290 h 479077"/>
                <a:gd name="connsiteX105" fmla="*/ 2375292 w 3785642"/>
                <a:gd name="connsiteY105" fmla="*/ 473290 h 479077"/>
                <a:gd name="connsiteX106" fmla="*/ 2358922 w 3785642"/>
                <a:gd name="connsiteY106" fmla="*/ 472794 h 479077"/>
                <a:gd name="connsiteX107" fmla="*/ 2342551 w 3785642"/>
                <a:gd name="connsiteY107" fmla="*/ 472298 h 479077"/>
                <a:gd name="connsiteX108" fmla="*/ 2326180 w 3785642"/>
                <a:gd name="connsiteY108" fmla="*/ 473786 h 479077"/>
                <a:gd name="connsiteX109" fmla="*/ 2309810 w 3785642"/>
                <a:gd name="connsiteY109" fmla="*/ 473786 h 479077"/>
                <a:gd name="connsiteX110" fmla="*/ 2293439 w 3785642"/>
                <a:gd name="connsiteY110" fmla="*/ 473786 h 479077"/>
                <a:gd name="connsiteX111" fmla="*/ 2277069 w 3785642"/>
                <a:gd name="connsiteY111" fmla="*/ 472794 h 479077"/>
                <a:gd name="connsiteX112" fmla="*/ 2260698 w 3785642"/>
                <a:gd name="connsiteY112" fmla="*/ 474282 h 479077"/>
                <a:gd name="connsiteX113" fmla="*/ 2244327 w 3785642"/>
                <a:gd name="connsiteY113" fmla="*/ 472298 h 479077"/>
                <a:gd name="connsiteX114" fmla="*/ 2227957 w 3785642"/>
                <a:gd name="connsiteY114" fmla="*/ 474282 h 479077"/>
                <a:gd name="connsiteX115" fmla="*/ 2211586 w 3785642"/>
                <a:gd name="connsiteY115" fmla="*/ 473290 h 479077"/>
                <a:gd name="connsiteX116" fmla="*/ 2195216 w 3785642"/>
                <a:gd name="connsiteY116" fmla="*/ 474282 h 479077"/>
                <a:gd name="connsiteX117" fmla="*/ 2178845 w 3785642"/>
                <a:gd name="connsiteY117" fmla="*/ 472794 h 479077"/>
                <a:gd name="connsiteX118" fmla="*/ 2162474 w 3785642"/>
                <a:gd name="connsiteY118" fmla="*/ 474778 h 479077"/>
                <a:gd name="connsiteX119" fmla="*/ 2146104 w 3785642"/>
                <a:gd name="connsiteY119" fmla="*/ 473290 h 479077"/>
                <a:gd name="connsiteX120" fmla="*/ 2129733 w 3785642"/>
                <a:gd name="connsiteY120" fmla="*/ 474778 h 479077"/>
                <a:gd name="connsiteX121" fmla="*/ 2113363 w 3785642"/>
                <a:gd name="connsiteY121" fmla="*/ 474778 h 479077"/>
                <a:gd name="connsiteX122" fmla="*/ 2096992 w 3785642"/>
                <a:gd name="connsiteY122" fmla="*/ 474778 h 479077"/>
                <a:gd name="connsiteX123" fmla="*/ 2080621 w 3785642"/>
                <a:gd name="connsiteY123" fmla="*/ 474282 h 479077"/>
                <a:gd name="connsiteX124" fmla="*/ 2064251 w 3785642"/>
                <a:gd name="connsiteY124" fmla="*/ 472794 h 479077"/>
                <a:gd name="connsiteX125" fmla="*/ 2047880 w 3785642"/>
                <a:gd name="connsiteY125" fmla="*/ 474778 h 479077"/>
                <a:gd name="connsiteX126" fmla="*/ 2031510 w 3785642"/>
                <a:gd name="connsiteY126" fmla="*/ 474778 h 479077"/>
                <a:gd name="connsiteX127" fmla="*/ 2015139 w 3785642"/>
                <a:gd name="connsiteY127" fmla="*/ 474778 h 479077"/>
                <a:gd name="connsiteX128" fmla="*/ 1998769 w 3785642"/>
                <a:gd name="connsiteY128" fmla="*/ 474282 h 479077"/>
                <a:gd name="connsiteX129" fmla="*/ 1982398 w 3785642"/>
                <a:gd name="connsiteY129" fmla="*/ 473786 h 479077"/>
                <a:gd name="connsiteX130" fmla="*/ 1966028 w 3785642"/>
                <a:gd name="connsiteY130" fmla="*/ 473786 h 479077"/>
                <a:gd name="connsiteX131" fmla="*/ 1949657 w 3785642"/>
                <a:gd name="connsiteY131" fmla="*/ 472794 h 479077"/>
                <a:gd name="connsiteX132" fmla="*/ 1933287 w 3785642"/>
                <a:gd name="connsiteY132" fmla="*/ 473290 h 479077"/>
                <a:gd name="connsiteX133" fmla="*/ 1916916 w 3785642"/>
                <a:gd name="connsiteY133" fmla="*/ 474778 h 479077"/>
                <a:gd name="connsiteX134" fmla="*/ 1900546 w 3785642"/>
                <a:gd name="connsiteY134" fmla="*/ 472794 h 479077"/>
                <a:gd name="connsiteX135" fmla="*/ 1884175 w 3785642"/>
                <a:gd name="connsiteY135" fmla="*/ 473786 h 479077"/>
                <a:gd name="connsiteX136" fmla="*/ 1867804 w 3785642"/>
                <a:gd name="connsiteY136" fmla="*/ 474778 h 479077"/>
                <a:gd name="connsiteX137" fmla="*/ 1851434 w 3785642"/>
                <a:gd name="connsiteY137" fmla="*/ 474778 h 479077"/>
                <a:gd name="connsiteX138" fmla="*/ 1835063 w 3785642"/>
                <a:gd name="connsiteY138" fmla="*/ 474778 h 479077"/>
                <a:gd name="connsiteX139" fmla="*/ 1818693 w 3785642"/>
                <a:gd name="connsiteY139" fmla="*/ 474282 h 479077"/>
                <a:gd name="connsiteX140" fmla="*/ 1802322 w 3785642"/>
                <a:gd name="connsiteY140" fmla="*/ 472794 h 479077"/>
                <a:gd name="connsiteX141" fmla="*/ 1785951 w 3785642"/>
                <a:gd name="connsiteY141" fmla="*/ 473786 h 479077"/>
                <a:gd name="connsiteX142" fmla="*/ 1769581 w 3785642"/>
                <a:gd name="connsiteY142" fmla="*/ 473290 h 479077"/>
                <a:gd name="connsiteX143" fmla="*/ 1753210 w 3785642"/>
                <a:gd name="connsiteY143" fmla="*/ 472298 h 479077"/>
                <a:gd name="connsiteX144" fmla="*/ 1736840 w 3785642"/>
                <a:gd name="connsiteY144" fmla="*/ 473290 h 479077"/>
                <a:gd name="connsiteX145" fmla="*/ 1720469 w 3785642"/>
                <a:gd name="connsiteY145" fmla="*/ 474778 h 479077"/>
                <a:gd name="connsiteX146" fmla="*/ 1704098 w 3785642"/>
                <a:gd name="connsiteY146" fmla="*/ 472794 h 479077"/>
                <a:gd name="connsiteX147" fmla="*/ 1687728 w 3785642"/>
                <a:gd name="connsiteY147" fmla="*/ 474778 h 479077"/>
                <a:gd name="connsiteX148" fmla="*/ 1671357 w 3785642"/>
                <a:gd name="connsiteY148" fmla="*/ 474778 h 479077"/>
                <a:gd name="connsiteX149" fmla="*/ 1654987 w 3785642"/>
                <a:gd name="connsiteY149" fmla="*/ 472298 h 479077"/>
                <a:gd name="connsiteX150" fmla="*/ 1638616 w 3785642"/>
                <a:gd name="connsiteY150" fmla="*/ 472794 h 479077"/>
                <a:gd name="connsiteX151" fmla="*/ 1622246 w 3785642"/>
                <a:gd name="connsiteY151" fmla="*/ 473786 h 479077"/>
                <a:gd name="connsiteX152" fmla="*/ 1605875 w 3785642"/>
                <a:gd name="connsiteY152" fmla="*/ 474778 h 479077"/>
                <a:gd name="connsiteX153" fmla="*/ 1589505 w 3785642"/>
                <a:gd name="connsiteY153" fmla="*/ 473290 h 479077"/>
                <a:gd name="connsiteX154" fmla="*/ 1573134 w 3785642"/>
                <a:gd name="connsiteY154" fmla="*/ 474778 h 479077"/>
                <a:gd name="connsiteX155" fmla="*/ 1556763 w 3785642"/>
                <a:gd name="connsiteY155" fmla="*/ 472794 h 479077"/>
                <a:gd name="connsiteX156" fmla="*/ 1540393 w 3785642"/>
                <a:gd name="connsiteY156" fmla="*/ 472794 h 479077"/>
                <a:gd name="connsiteX157" fmla="*/ 1524022 w 3785642"/>
                <a:gd name="connsiteY157" fmla="*/ 474282 h 479077"/>
                <a:gd name="connsiteX158" fmla="*/ 1507652 w 3785642"/>
                <a:gd name="connsiteY158" fmla="*/ 472794 h 479077"/>
                <a:gd name="connsiteX159" fmla="*/ 1491281 w 3785642"/>
                <a:gd name="connsiteY159" fmla="*/ 474282 h 479077"/>
                <a:gd name="connsiteX160" fmla="*/ 1474910 w 3785642"/>
                <a:gd name="connsiteY160" fmla="*/ 474282 h 479077"/>
                <a:gd name="connsiteX161" fmla="*/ 1458540 w 3785642"/>
                <a:gd name="connsiteY161" fmla="*/ 472794 h 479077"/>
                <a:gd name="connsiteX162" fmla="*/ 1442169 w 3785642"/>
                <a:gd name="connsiteY162" fmla="*/ 471802 h 479077"/>
                <a:gd name="connsiteX163" fmla="*/ 1425799 w 3785642"/>
                <a:gd name="connsiteY163" fmla="*/ 472298 h 479077"/>
                <a:gd name="connsiteX164" fmla="*/ 1409428 w 3785642"/>
                <a:gd name="connsiteY164" fmla="*/ 472794 h 479077"/>
                <a:gd name="connsiteX165" fmla="*/ 1393058 w 3785642"/>
                <a:gd name="connsiteY165" fmla="*/ 473786 h 479077"/>
                <a:gd name="connsiteX166" fmla="*/ 1376687 w 3785642"/>
                <a:gd name="connsiteY166" fmla="*/ 471802 h 479077"/>
                <a:gd name="connsiteX167" fmla="*/ 1360317 w 3785642"/>
                <a:gd name="connsiteY167" fmla="*/ 473786 h 479077"/>
                <a:gd name="connsiteX168" fmla="*/ 1343946 w 3785642"/>
                <a:gd name="connsiteY168" fmla="*/ 473786 h 479077"/>
                <a:gd name="connsiteX169" fmla="*/ 1327576 w 3785642"/>
                <a:gd name="connsiteY169" fmla="*/ 472794 h 479077"/>
                <a:gd name="connsiteX170" fmla="*/ 1311205 w 3785642"/>
                <a:gd name="connsiteY170" fmla="*/ 473786 h 479077"/>
                <a:gd name="connsiteX171" fmla="*/ 1294834 w 3785642"/>
                <a:gd name="connsiteY171" fmla="*/ 473786 h 479077"/>
                <a:gd name="connsiteX172" fmla="*/ 1278464 w 3785642"/>
                <a:gd name="connsiteY172" fmla="*/ 473786 h 479077"/>
                <a:gd name="connsiteX173" fmla="*/ 1262093 w 3785642"/>
                <a:gd name="connsiteY173" fmla="*/ 473786 h 479077"/>
                <a:gd name="connsiteX174" fmla="*/ 1245723 w 3785642"/>
                <a:gd name="connsiteY174" fmla="*/ 473290 h 479077"/>
                <a:gd name="connsiteX175" fmla="*/ 1229352 w 3785642"/>
                <a:gd name="connsiteY175" fmla="*/ 472794 h 479077"/>
                <a:gd name="connsiteX176" fmla="*/ 1212981 w 3785642"/>
                <a:gd name="connsiteY176" fmla="*/ 473786 h 479077"/>
                <a:gd name="connsiteX177" fmla="*/ 1196611 w 3785642"/>
                <a:gd name="connsiteY177" fmla="*/ 472298 h 479077"/>
                <a:gd name="connsiteX178" fmla="*/ 1180240 w 3785642"/>
                <a:gd name="connsiteY178" fmla="*/ 472794 h 479077"/>
                <a:gd name="connsiteX179" fmla="*/ 1163870 w 3785642"/>
                <a:gd name="connsiteY179" fmla="*/ 472794 h 479077"/>
                <a:gd name="connsiteX180" fmla="*/ 1147499 w 3785642"/>
                <a:gd name="connsiteY180" fmla="*/ 473786 h 479077"/>
                <a:gd name="connsiteX181" fmla="*/ 1131128 w 3785642"/>
                <a:gd name="connsiteY181" fmla="*/ 473786 h 479077"/>
                <a:gd name="connsiteX182" fmla="*/ 1114758 w 3785642"/>
                <a:gd name="connsiteY182" fmla="*/ 472794 h 479077"/>
                <a:gd name="connsiteX183" fmla="*/ 1098387 w 3785642"/>
                <a:gd name="connsiteY183" fmla="*/ 473786 h 479077"/>
                <a:gd name="connsiteX184" fmla="*/ 1082017 w 3785642"/>
                <a:gd name="connsiteY184" fmla="*/ 474778 h 479077"/>
                <a:gd name="connsiteX185" fmla="*/ 1065646 w 3785642"/>
                <a:gd name="connsiteY185" fmla="*/ 474778 h 479077"/>
                <a:gd name="connsiteX186" fmla="*/ 1049276 w 3785642"/>
                <a:gd name="connsiteY186" fmla="*/ 474282 h 479077"/>
                <a:gd name="connsiteX187" fmla="*/ 1032905 w 3785642"/>
                <a:gd name="connsiteY187" fmla="*/ 473290 h 479077"/>
                <a:gd name="connsiteX188" fmla="*/ 1016535 w 3785642"/>
                <a:gd name="connsiteY188" fmla="*/ 474282 h 479077"/>
                <a:gd name="connsiteX189" fmla="*/ 1000164 w 3785642"/>
                <a:gd name="connsiteY189" fmla="*/ 474282 h 479077"/>
                <a:gd name="connsiteX190" fmla="*/ 983793 w 3785642"/>
                <a:gd name="connsiteY190" fmla="*/ 472794 h 479077"/>
                <a:gd name="connsiteX191" fmla="*/ 967423 w 3785642"/>
                <a:gd name="connsiteY191" fmla="*/ 472794 h 479077"/>
                <a:gd name="connsiteX192" fmla="*/ 951052 w 3785642"/>
                <a:gd name="connsiteY192" fmla="*/ 473786 h 479077"/>
                <a:gd name="connsiteX193" fmla="*/ 934682 w 3785642"/>
                <a:gd name="connsiteY193" fmla="*/ 474282 h 479077"/>
                <a:gd name="connsiteX194" fmla="*/ 918311 w 3785642"/>
                <a:gd name="connsiteY194" fmla="*/ 474778 h 479077"/>
                <a:gd name="connsiteX195" fmla="*/ 901940 w 3785642"/>
                <a:gd name="connsiteY195" fmla="*/ 473290 h 479077"/>
                <a:gd name="connsiteX196" fmla="*/ 885570 w 3785642"/>
                <a:gd name="connsiteY196" fmla="*/ 474778 h 479077"/>
                <a:gd name="connsiteX197" fmla="*/ 869199 w 3785642"/>
                <a:gd name="connsiteY197" fmla="*/ 474282 h 479077"/>
                <a:gd name="connsiteX198" fmla="*/ 852829 w 3785642"/>
                <a:gd name="connsiteY198" fmla="*/ 473786 h 479077"/>
                <a:gd name="connsiteX199" fmla="*/ 836458 w 3785642"/>
                <a:gd name="connsiteY199" fmla="*/ 474778 h 479077"/>
                <a:gd name="connsiteX200" fmla="*/ 820088 w 3785642"/>
                <a:gd name="connsiteY200" fmla="*/ 475274 h 479077"/>
                <a:gd name="connsiteX201" fmla="*/ 803717 w 3785642"/>
                <a:gd name="connsiteY201" fmla="*/ 473786 h 479077"/>
                <a:gd name="connsiteX202" fmla="*/ 787347 w 3785642"/>
                <a:gd name="connsiteY202" fmla="*/ 475770 h 479077"/>
                <a:gd name="connsiteX203" fmla="*/ 770976 w 3785642"/>
                <a:gd name="connsiteY203" fmla="*/ 474778 h 479077"/>
                <a:gd name="connsiteX204" fmla="*/ 754605 w 3785642"/>
                <a:gd name="connsiteY204" fmla="*/ 475274 h 479077"/>
                <a:gd name="connsiteX205" fmla="*/ 738235 w 3785642"/>
                <a:gd name="connsiteY205" fmla="*/ 473786 h 479077"/>
                <a:gd name="connsiteX206" fmla="*/ 721864 w 3785642"/>
                <a:gd name="connsiteY206" fmla="*/ 475274 h 479077"/>
                <a:gd name="connsiteX207" fmla="*/ 705494 w 3785642"/>
                <a:gd name="connsiteY207" fmla="*/ 475770 h 479077"/>
                <a:gd name="connsiteX208" fmla="*/ 689123 w 3785642"/>
                <a:gd name="connsiteY208" fmla="*/ 474282 h 479077"/>
                <a:gd name="connsiteX209" fmla="*/ 672753 w 3785642"/>
                <a:gd name="connsiteY209" fmla="*/ 475274 h 479077"/>
                <a:gd name="connsiteX210" fmla="*/ 656382 w 3785642"/>
                <a:gd name="connsiteY210" fmla="*/ 474778 h 479077"/>
                <a:gd name="connsiteX211" fmla="*/ 640011 w 3785642"/>
                <a:gd name="connsiteY211" fmla="*/ 475770 h 479077"/>
                <a:gd name="connsiteX212" fmla="*/ 623641 w 3785642"/>
                <a:gd name="connsiteY212" fmla="*/ 473786 h 479077"/>
                <a:gd name="connsiteX213" fmla="*/ 607270 w 3785642"/>
                <a:gd name="connsiteY213" fmla="*/ 474778 h 479077"/>
                <a:gd name="connsiteX214" fmla="*/ 590900 w 3785642"/>
                <a:gd name="connsiteY214" fmla="*/ 475274 h 479077"/>
                <a:gd name="connsiteX215" fmla="*/ 574529 w 3785642"/>
                <a:gd name="connsiteY215" fmla="*/ 474282 h 479077"/>
                <a:gd name="connsiteX216" fmla="*/ 558158 w 3785642"/>
                <a:gd name="connsiteY216" fmla="*/ 475274 h 479077"/>
                <a:gd name="connsiteX217" fmla="*/ 541788 w 3785642"/>
                <a:gd name="connsiteY217" fmla="*/ 475770 h 479077"/>
                <a:gd name="connsiteX218" fmla="*/ 525417 w 3785642"/>
                <a:gd name="connsiteY218" fmla="*/ 474282 h 479077"/>
                <a:gd name="connsiteX219" fmla="*/ 509047 w 3785642"/>
                <a:gd name="connsiteY219" fmla="*/ 473786 h 479077"/>
                <a:gd name="connsiteX220" fmla="*/ 492676 w 3785642"/>
                <a:gd name="connsiteY220" fmla="*/ 473786 h 479077"/>
                <a:gd name="connsiteX221" fmla="*/ 476306 w 3785642"/>
                <a:gd name="connsiteY221" fmla="*/ 474778 h 479077"/>
                <a:gd name="connsiteX222" fmla="*/ 459935 w 3785642"/>
                <a:gd name="connsiteY222" fmla="*/ 473786 h 479077"/>
                <a:gd name="connsiteX223" fmla="*/ 443565 w 3785642"/>
                <a:gd name="connsiteY223" fmla="*/ 474778 h 479077"/>
                <a:gd name="connsiteX224" fmla="*/ 427194 w 3785642"/>
                <a:gd name="connsiteY224" fmla="*/ 474282 h 479077"/>
                <a:gd name="connsiteX225" fmla="*/ 410823 w 3785642"/>
                <a:gd name="connsiteY225" fmla="*/ 473290 h 479077"/>
                <a:gd name="connsiteX226" fmla="*/ 394453 w 3785642"/>
                <a:gd name="connsiteY226" fmla="*/ 475770 h 479077"/>
                <a:gd name="connsiteX227" fmla="*/ 378082 w 3785642"/>
                <a:gd name="connsiteY227" fmla="*/ 475274 h 479077"/>
                <a:gd name="connsiteX228" fmla="*/ 361712 w 3785642"/>
                <a:gd name="connsiteY228" fmla="*/ 474778 h 479077"/>
                <a:gd name="connsiteX229" fmla="*/ 345341 w 3785642"/>
                <a:gd name="connsiteY229" fmla="*/ 476266 h 479077"/>
                <a:gd name="connsiteX230" fmla="*/ 328970 w 3785642"/>
                <a:gd name="connsiteY230" fmla="*/ 474282 h 479077"/>
                <a:gd name="connsiteX231" fmla="*/ 312600 w 3785642"/>
                <a:gd name="connsiteY231" fmla="*/ 475274 h 479077"/>
                <a:gd name="connsiteX232" fmla="*/ 296229 w 3785642"/>
                <a:gd name="connsiteY232" fmla="*/ 474282 h 479077"/>
                <a:gd name="connsiteX233" fmla="*/ 279859 w 3785642"/>
                <a:gd name="connsiteY233" fmla="*/ 475770 h 479077"/>
                <a:gd name="connsiteX234" fmla="*/ 263488 w 3785642"/>
                <a:gd name="connsiteY234" fmla="*/ 476266 h 479077"/>
                <a:gd name="connsiteX235" fmla="*/ 247118 w 3785642"/>
                <a:gd name="connsiteY235" fmla="*/ 476266 h 479077"/>
                <a:gd name="connsiteX236" fmla="*/ 230747 w 3785642"/>
                <a:gd name="connsiteY236" fmla="*/ 474778 h 479077"/>
                <a:gd name="connsiteX237" fmla="*/ 214376 w 3785642"/>
                <a:gd name="connsiteY237" fmla="*/ 474778 h 479077"/>
                <a:gd name="connsiteX238" fmla="*/ 198006 w 3785642"/>
                <a:gd name="connsiteY238" fmla="*/ 476762 h 479077"/>
                <a:gd name="connsiteX239" fmla="*/ 181635 w 3785642"/>
                <a:gd name="connsiteY239" fmla="*/ 476266 h 479077"/>
                <a:gd name="connsiteX240" fmla="*/ 165265 w 3785642"/>
                <a:gd name="connsiteY240" fmla="*/ 474778 h 479077"/>
                <a:gd name="connsiteX241" fmla="*/ 148894 w 3785642"/>
                <a:gd name="connsiteY241" fmla="*/ 476762 h 479077"/>
                <a:gd name="connsiteX242" fmla="*/ 132524 w 3785642"/>
                <a:gd name="connsiteY242" fmla="*/ 476266 h 479077"/>
                <a:gd name="connsiteX243" fmla="*/ 116153 w 3785642"/>
                <a:gd name="connsiteY243" fmla="*/ 475274 h 479077"/>
                <a:gd name="connsiteX244" fmla="*/ 99783 w 3785642"/>
                <a:gd name="connsiteY244" fmla="*/ 475274 h 479077"/>
                <a:gd name="connsiteX245" fmla="*/ 83412 w 3785642"/>
                <a:gd name="connsiteY245" fmla="*/ 475274 h 479077"/>
                <a:gd name="connsiteX246" fmla="*/ 67041 w 3785642"/>
                <a:gd name="connsiteY246" fmla="*/ 474778 h 479077"/>
                <a:gd name="connsiteX247" fmla="*/ 50671 w 3785642"/>
                <a:gd name="connsiteY247" fmla="*/ 475274 h 479077"/>
                <a:gd name="connsiteX248" fmla="*/ 34300 w 3785642"/>
                <a:gd name="connsiteY248" fmla="*/ 475274 h 479077"/>
                <a:gd name="connsiteX249" fmla="*/ 17930 w 3785642"/>
                <a:gd name="connsiteY249" fmla="*/ 475770 h 479077"/>
                <a:gd name="connsiteX250" fmla="*/ 567 w 3785642"/>
                <a:gd name="connsiteY250" fmla="*/ 475770 h 479077"/>
                <a:gd name="connsiteX251" fmla="*/ 12969 w 3785642"/>
                <a:gd name="connsiteY251" fmla="*/ 463368 h 479077"/>
                <a:gd name="connsiteX252" fmla="*/ 24379 w 3785642"/>
                <a:gd name="connsiteY252" fmla="*/ 451958 h 479077"/>
                <a:gd name="connsiteX253" fmla="*/ 35788 w 3785642"/>
                <a:gd name="connsiteY253" fmla="*/ 440053 h 479077"/>
                <a:gd name="connsiteX254" fmla="*/ 48686 w 3785642"/>
                <a:gd name="connsiteY254" fmla="*/ 430131 h 479077"/>
                <a:gd name="connsiteX255" fmla="*/ 59600 w 3785642"/>
                <a:gd name="connsiteY255" fmla="*/ 418225 h 479077"/>
                <a:gd name="connsiteX256" fmla="*/ 70514 w 3785642"/>
                <a:gd name="connsiteY256" fmla="*/ 405823 h 479077"/>
                <a:gd name="connsiteX257" fmla="*/ 83412 w 3785642"/>
                <a:gd name="connsiteY257" fmla="*/ 395406 h 479077"/>
                <a:gd name="connsiteX258" fmla="*/ 94822 w 3785642"/>
                <a:gd name="connsiteY258" fmla="*/ 383500 h 479077"/>
                <a:gd name="connsiteX259" fmla="*/ 106728 w 3785642"/>
                <a:gd name="connsiteY259" fmla="*/ 372090 h 479077"/>
                <a:gd name="connsiteX260" fmla="*/ 117145 w 3785642"/>
                <a:gd name="connsiteY260" fmla="*/ 359688 h 479077"/>
                <a:gd name="connsiteX261" fmla="*/ 128555 w 3785642"/>
                <a:gd name="connsiteY261" fmla="*/ 348278 h 479077"/>
                <a:gd name="connsiteX262" fmla="*/ 140461 w 3785642"/>
                <a:gd name="connsiteY262" fmla="*/ 336868 h 479077"/>
                <a:gd name="connsiteX263" fmla="*/ 152863 w 3785642"/>
                <a:gd name="connsiteY263" fmla="*/ 326451 h 479077"/>
                <a:gd name="connsiteX264" fmla="*/ 164769 w 3785642"/>
                <a:gd name="connsiteY264" fmla="*/ 315041 h 479077"/>
                <a:gd name="connsiteX265" fmla="*/ 176178 w 3785642"/>
                <a:gd name="connsiteY265" fmla="*/ 303135 h 479077"/>
                <a:gd name="connsiteX266" fmla="*/ 188084 w 3785642"/>
                <a:gd name="connsiteY266" fmla="*/ 291725 h 479077"/>
                <a:gd name="connsiteX267" fmla="*/ 199494 w 3785642"/>
                <a:gd name="connsiteY267" fmla="*/ 280315 h 479077"/>
                <a:gd name="connsiteX268" fmla="*/ 210904 w 3785642"/>
                <a:gd name="connsiteY268" fmla="*/ 268906 h 479077"/>
                <a:gd name="connsiteX269" fmla="*/ 221818 w 3785642"/>
                <a:gd name="connsiteY269" fmla="*/ 256504 h 479077"/>
                <a:gd name="connsiteX270" fmla="*/ 233724 w 3785642"/>
                <a:gd name="connsiteY270" fmla="*/ 245094 h 479077"/>
                <a:gd name="connsiteX271" fmla="*/ 244141 w 3785642"/>
                <a:gd name="connsiteY271" fmla="*/ 232692 h 479077"/>
                <a:gd name="connsiteX272" fmla="*/ 257039 w 3785642"/>
                <a:gd name="connsiteY272" fmla="*/ 222770 h 479077"/>
                <a:gd name="connsiteX273" fmla="*/ 266961 w 3785642"/>
                <a:gd name="connsiteY273" fmla="*/ 209376 h 479077"/>
                <a:gd name="connsiteX274" fmla="*/ 278371 w 3785642"/>
                <a:gd name="connsiteY274" fmla="*/ 197966 h 479077"/>
                <a:gd name="connsiteX275" fmla="*/ 291269 w 3785642"/>
                <a:gd name="connsiteY275" fmla="*/ 188045 h 479077"/>
                <a:gd name="connsiteX276" fmla="*/ 301686 w 3785642"/>
                <a:gd name="connsiteY276" fmla="*/ 175147 h 479077"/>
                <a:gd name="connsiteX277" fmla="*/ 313592 w 3785642"/>
                <a:gd name="connsiteY277" fmla="*/ 163737 h 479077"/>
                <a:gd name="connsiteX278" fmla="*/ 325994 w 3785642"/>
                <a:gd name="connsiteY278" fmla="*/ 153319 h 479077"/>
                <a:gd name="connsiteX279" fmla="*/ 337404 w 3785642"/>
                <a:gd name="connsiteY279" fmla="*/ 141910 h 479077"/>
                <a:gd name="connsiteX280" fmla="*/ 347325 w 3785642"/>
                <a:gd name="connsiteY280" fmla="*/ 129012 h 479077"/>
                <a:gd name="connsiteX281" fmla="*/ 360224 w 3785642"/>
                <a:gd name="connsiteY281" fmla="*/ 118594 h 479077"/>
                <a:gd name="connsiteX282" fmla="*/ 371137 w 3785642"/>
                <a:gd name="connsiteY282" fmla="*/ 106192 h 479077"/>
                <a:gd name="connsiteX283" fmla="*/ 382051 w 3785642"/>
                <a:gd name="connsiteY283" fmla="*/ 93790 h 479077"/>
                <a:gd name="connsiteX284" fmla="*/ 393957 w 3785642"/>
                <a:gd name="connsiteY284" fmla="*/ 82380 h 479077"/>
                <a:gd name="connsiteX285" fmla="*/ 405366 w 3785642"/>
                <a:gd name="connsiteY285" fmla="*/ 70475 h 479077"/>
                <a:gd name="connsiteX286" fmla="*/ 417272 w 3785642"/>
                <a:gd name="connsiteY286" fmla="*/ 59561 h 479077"/>
                <a:gd name="connsiteX287" fmla="*/ 429674 w 3785642"/>
                <a:gd name="connsiteY287" fmla="*/ 48647 h 479077"/>
                <a:gd name="connsiteX288" fmla="*/ 440092 w 3785642"/>
                <a:gd name="connsiteY288" fmla="*/ 35749 h 479077"/>
                <a:gd name="connsiteX289" fmla="*/ 452494 w 3785642"/>
                <a:gd name="connsiteY289" fmla="*/ 24835 h 479077"/>
                <a:gd name="connsiteX290" fmla="*/ 463904 w 3785642"/>
                <a:gd name="connsiteY290" fmla="*/ 12929 h 479077"/>
                <a:gd name="connsiteX291" fmla="*/ 475313 w 3785642"/>
                <a:gd name="connsiteY291" fmla="*/ 1024 h 479077"/>
                <a:gd name="connsiteX292" fmla="*/ 491684 w 3785642"/>
                <a:gd name="connsiteY292" fmla="*/ 2512 h 479077"/>
                <a:gd name="connsiteX293" fmla="*/ 508055 w 3785642"/>
                <a:gd name="connsiteY293" fmla="*/ 2512 h 479077"/>
                <a:gd name="connsiteX294" fmla="*/ 524425 w 3785642"/>
                <a:gd name="connsiteY294" fmla="*/ 2512 h 479077"/>
                <a:gd name="connsiteX295" fmla="*/ 540796 w 3785642"/>
                <a:gd name="connsiteY295" fmla="*/ 1024 h 479077"/>
                <a:gd name="connsiteX296" fmla="*/ 557166 w 3785642"/>
                <a:gd name="connsiteY296" fmla="*/ 2512 h 479077"/>
                <a:gd name="connsiteX297" fmla="*/ 573537 w 3785642"/>
                <a:gd name="connsiteY297" fmla="*/ 1024 h 479077"/>
                <a:gd name="connsiteX298" fmla="*/ 589908 w 3785642"/>
                <a:gd name="connsiteY298" fmla="*/ 527 h 479077"/>
                <a:gd name="connsiteX299" fmla="*/ 606278 w 3785642"/>
                <a:gd name="connsiteY299" fmla="*/ 1520 h 479077"/>
                <a:gd name="connsiteX300" fmla="*/ 622649 w 3785642"/>
                <a:gd name="connsiteY300" fmla="*/ 1520 h 479077"/>
                <a:gd name="connsiteX301" fmla="*/ 639019 w 3785642"/>
                <a:gd name="connsiteY301" fmla="*/ 2016 h 479077"/>
                <a:gd name="connsiteX302" fmla="*/ 655390 w 3785642"/>
                <a:gd name="connsiteY302" fmla="*/ 527 h 479077"/>
                <a:gd name="connsiteX303" fmla="*/ 671760 w 3785642"/>
                <a:gd name="connsiteY303" fmla="*/ 1520 h 479077"/>
                <a:gd name="connsiteX304" fmla="*/ 688131 w 3785642"/>
                <a:gd name="connsiteY304" fmla="*/ 2512 h 479077"/>
                <a:gd name="connsiteX305" fmla="*/ 704501 w 3785642"/>
                <a:gd name="connsiteY305" fmla="*/ 1024 h 479077"/>
                <a:gd name="connsiteX306" fmla="*/ 720872 w 3785642"/>
                <a:gd name="connsiteY306" fmla="*/ 1520 h 479077"/>
                <a:gd name="connsiteX307" fmla="*/ 737243 w 3785642"/>
                <a:gd name="connsiteY307" fmla="*/ 2016 h 479077"/>
                <a:gd name="connsiteX308" fmla="*/ 753613 w 3785642"/>
                <a:gd name="connsiteY308" fmla="*/ 1024 h 479077"/>
                <a:gd name="connsiteX309" fmla="*/ 769984 w 3785642"/>
                <a:gd name="connsiteY309" fmla="*/ 527 h 479077"/>
                <a:gd name="connsiteX310" fmla="*/ 786354 w 3785642"/>
                <a:gd name="connsiteY310" fmla="*/ 1520 h 479077"/>
                <a:gd name="connsiteX311" fmla="*/ 802725 w 3785642"/>
                <a:gd name="connsiteY311" fmla="*/ 527 h 479077"/>
                <a:gd name="connsiteX312" fmla="*/ 819096 w 3785642"/>
                <a:gd name="connsiteY312" fmla="*/ 2512 h 479077"/>
                <a:gd name="connsiteX313" fmla="*/ 835466 w 3785642"/>
                <a:gd name="connsiteY313" fmla="*/ 527 h 479077"/>
                <a:gd name="connsiteX314" fmla="*/ 851837 w 3785642"/>
                <a:gd name="connsiteY314" fmla="*/ 1520 h 479077"/>
                <a:gd name="connsiteX315" fmla="*/ 868207 w 3785642"/>
                <a:gd name="connsiteY315" fmla="*/ 2016 h 479077"/>
                <a:gd name="connsiteX316" fmla="*/ 884578 w 3785642"/>
                <a:gd name="connsiteY316" fmla="*/ 2512 h 479077"/>
                <a:gd name="connsiteX317" fmla="*/ 900948 w 3785642"/>
                <a:gd name="connsiteY317" fmla="*/ 1520 h 479077"/>
                <a:gd name="connsiteX318" fmla="*/ 917319 w 3785642"/>
                <a:gd name="connsiteY318" fmla="*/ 1024 h 479077"/>
                <a:gd name="connsiteX319" fmla="*/ 933689 w 3785642"/>
                <a:gd name="connsiteY319" fmla="*/ 2512 h 479077"/>
                <a:gd name="connsiteX320" fmla="*/ 950060 w 3785642"/>
                <a:gd name="connsiteY320" fmla="*/ 1520 h 479077"/>
                <a:gd name="connsiteX321" fmla="*/ 966431 w 3785642"/>
                <a:gd name="connsiteY321" fmla="*/ 2016 h 479077"/>
                <a:gd name="connsiteX322" fmla="*/ 982801 w 3785642"/>
                <a:gd name="connsiteY322" fmla="*/ 2512 h 479077"/>
                <a:gd name="connsiteX323" fmla="*/ 999172 w 3785642"/>
                <a:gd name="connsiteY323" fmla="*/ 1520 h 479077"/>
                <a:gd name="connsiteX324" fmla="*/ 1015542 w 3785642"/>
                <a:gd name="connsiteY324" fmla="*/ 2512 h 479077"/>
                <a:gd name="connsiteX325" fmla="*/ 1031913 w 3785642"/>
                <a:gd name="connsiteY325" fmla="*/ 1520 h 479077"/>
                <a:gd name="connsiteX326" fmla="*/ 1048283 w 3785642"/>
                <a:gd name="connsiteY326" fmla="*/ 2016 h 479077"/>
                <a:gd name="connsiteX327" fmla="*/ 1064654 w 3785642"/>
                <a:gd name="connsiteY327" fmla="*/ 3504 h 479077"/>
                <a:gd name="connsiteX328" fmla="*/ 1081025 w 3785642"/>
                <a:gd name="connsiteY328" fmla="*/ 2016 h 479077"/>
                <a:gd name="connsiteX329" fmla="*/ 1097395 w 3785642"/>
                <a:gd name="connsiteY329" fmla="*/ 2512 h 479077"/>
                <a:gd name="connsiteX330" fmla="*/ 1113766 w 3785642"/>
                <a:gd name="connsiteY330" fmla="*/ 2512 h 479077"/>
                <a:gd name="connsiteX331" fmla="*/ 1130136 w 3785642"/>
                <a:gd name="connsiteY331" fmla="*/ 3504 h 479077"/>
                <a:gd name="connsiteX332" fmla="*/ 1146507 w 3785642"/>
                <a:gd name="connsiteY332" fmla="*/ 1520 h 479077"/>
                <a:gd name="connsiteX333" fmla="*/ 1162878 w 3785642"/>
                <a:gd name="connsiteY333" fmla="*/ 3008 h 479077"/>
                <a:gd name="connsiteX334" fmla="*/ 1179248 w 3785642"/>
                <a:gd name="connsiteY334" fmla="*/ 4000 h 479077"/>
                <a:gd name="connsiteX335" fmla="*/ 1195619 w 3785642"/>
                <a:gd name="connsiteY335" fmla="*/ 3504 h 479077"/>
                <a:gd name="connsiteX336" fmla="*/ 1211989 w 3785642"/>
                <a:gd name="connsiteY336" fmla="*/ 1520 h 479077"/>
                <a:gd name="connsiteX337" fmla="*/ 1228360 w 3785642"/>
                <a:gd name="connsiteY337" fmla="*/ 3504 h 479077"/>
                <a:gd name="connsiteX338" fmla="*/ 1244730 w 3785642"/>
                <a:gd name="connsiteY338" fmla="*/ 1520 h 479077"/>
                <a:gd name="connsiteX339" fmla="*/ 1261101 w 3785642"/>
                <a:gd name="connsiteY339" fmla="*/ 2512 h 479077"/>
                <a:gd name="connsiteX340" fmla="*/ 1277471 w 3785642"/>
                <a:gd name="connsiteY340" fmla="*/ 3504 h 479077"/>
                <a:gd name="connsiteX341" fmla="*/ 1293842 w 3785642"/>
                <a:gd name="connsiteY341" fmla="*/ 4000 h 479077"/>
                <a:gd name="connsiteX342" fmla="*/ 1310213 w 3785642"/>
                <a:gd name="connsiteY342" fmla="*/ 1520 h 479077"/>
                <a:gd name="connsiteX343" fmla="*/ 1326583 w 3785642"/>
                <a:gd name="connsiteY343" fmla="*/ 2016 h 479077"/>
                <a:gd name="connsiteX344" fmla="*/ 1342954 w 3785642"/>
                <a:gd name="connsiteY344" fmla="*/ 3008 h 479077"/>
                <a:gd name="connsiteX345" fmla="*/ 1359324 w 3785642"/>
                <a:gd name="connsiteY345" fmla="*/ 3008 h 479077"/>
                <a:gd name="connsiteX346" fmla="*/ 1375695 w 3785642"/>
                <a:gd name="connsiteY346" fmla="*/ 2512 h 479077"/>
                <a:gd name="connsiteX347" fmla="*/ 1392066 w 3785642"/>
                <a:gd name="connsiteY347" fmla="*/ 2512 h 479077"/>
                <a:gd name="connsiteX348" fmla="*/ 1408436 w 3785642"/>
                <a:gd name="connsiteY348" fmla="*/ 3504 h 479077"/>
                <a:gd name="connsiteX349" fmla="*/ 1424807 w 3785642"/>
                <a:gd name="connsiteY349" fmla="*/ 3504 h 479077"/>
                <a:gd name="connsiteX350" fmla="*/ 1441177 w 3785642"/>
                <a:gd name="connsiteY350" fmla="*/ 1520 h 479077"/>
                <a:gd name="connsiteX351" fmla="*/ 1457548 w 3785642"/>
                <a:gd name="connsiteY351" fmla="*/ 2512 h 479077"/>
                <a:gd name="connsiteX352" fmla="*/ 1473919 w 3785642"/>
                <a:gd name="connsiteY352" fmla="*/ 2016 h 479077"/>
                <a:gd name="connsiteX353" fmla="*/ 1490289 w 3785642"/>
                <a:gd name="connsiteY353" fmla="*/ 2016 h 479077"/>
                <a:gd name="connsiteX354" fmla="*/ 1506660 w 3785642"/>
                <a:gd name="connsiteY354" fmla="*/ 1520 h 479077"/>
                <a:gd name="connsiteX355" fmla="*/ 1523030 w 3785642"/>
                <a:gd name="connsiteY355" fmla="*/ 3504 h 479077"/>
                <a:gd name="connsiteX356" fmla="*/ 1539401 w 3785642"/>
                <a:gd name="connsiteY356" fmla="*/ 3008 h 479077"/>
                <a:gd name="connsiteX357" fmla="*/ 1555771 w 3785642"/>
                <a:gd name="connsiteY357" fmla="*/ 3008 h 479077"/>
                <a:gd name="connsiteX358" fmla="*/ 1572142 w 3785642"/>
                <a:gd name="connsiteY358" fmla="*/ 2512 h 479077"/>
                <a:gd name="connsiteX359" fmla="*/ 1588512 w 3785642"/>
                <a:gd name="connsiteY359" fmla="*/ 2016 h 479077"/>
                <a:gd name="connsiteX360" fmla="*/ 1604883 w 3785642"/>
                <a:gd name="connsiteY360" fmla="*/ 3008 h 479077"/>
                <a:gd name="connsiteX361" fmla="*/ 1621253 w 3785642"/>
                <a:gd name="connsiteY361" fmla="*/ 3008 h 479077"/>
                <a:gd name="connsiteX362" fmla="*/ 1637624 w 3785642"/>
                <a:gd name="connsiteY36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05646 w 3785642"/>
                <a:gd name="connsiteY31" fmla="*/ 79404 h 479077"/>
                <a:gd name="connsiteX32" fmla="*/ 3393740 w 3785642"/>
                <a:gd name="connsiteY32" fmla="*/ 68490 h 479077"/>
                <a:gd name="connsiteX33" fmla="*/ 3382330 w 3785642"/>
                <a:gd name="connsiteY33" fmla="*/ 56584 h 479077"/>
                <a:gd name="connsiteX34" fmla="*/ 3370921 w 3785642"/>
                <a:gd name="connsiteY34" fmla="*/ 44678 h 479077"/>
                <a:gd name="connsiteX35" fmla="*/ 3313375 w 3785642"/>
                <a:gd name="connsiteY35" fmla="*/ 10945 h 479077"/>
                <a:gd name="connsiteX36" fmla="*/ 3300973 w 3785642"/>
                <a:gd name="connsiteY36" fmla="*/ 21363 h 479077"/>
                <a:gd name="connsiteX37" fmla="*/ 3289068 w 3785642"/>
                <a:gd name="connsiteY37" fmla="*/ 32276 h 479077"/>
                <a:gd name="connsiteX38" fmla="*/ 3277658 w 3785642"/>
                <a:gd name="connsiteY38" fmla="*/ 43686 h 479077"/>
                <a:gd name="connsiteX39" fmla="*/ 3266248 w 3785642"/>
                <a:gd name="connsiteY39" fmla="*/ 55592 h 479077"/>
                <a:gd name="connsiteX40" fmla="*/ 3255830 w 3785642"/>
                <a:gd name="connsiteY40" fmla="*/ 68490 h 479077"/>
                <a:gd name="connsiteX41" fmla="*/ 3243924 w 3785642"/>
                <a:gd name="connsiteY41" fmla="*/ 79900 h 479077"/>
                <a:gd name="connsiteX42" fmla="*/ 3231522 w 3785642"/>
                <a:gd name="connsiteY42" fmla="*/ 90814 h 479077"/>
                <a:gd name="connsiteX43" fmla="*/ 3220609 w 3785642"/>
                <a:gd name="connsiteY43" fmla="*/ 102720 h 479077"/>
                <a:gd name="connsiteX44" fmla="*/ 3208207 w 3785642"/>
                <a:gd name="connsiteY44" fmla="*/ 113137 h 479077"/>
                <a:gd name="connsiteX45" fmla="*/ 3197293 w 3785642"/>
                <a:gd name="connsiteY45" fmla="*/ 125043 h 479077"/>
                <a:gd name="connsiteX46" fmla="*/ 3185387 w 3785642"/>
                <a:gd name="connsiteY46" fmla="*/ 136453 h 479077"/>
                <a:gd name="connsiteX47" fmla="*/ 3174970 w 3785642"/>
                <a:gd name="connsiteY47" fmla="*/ 148855 h 479077"/>
                <a:gd name="connsiteX48" fmla="*/ 3162071 w 3785642"/>
                <a:gd name="connsiteY48" fmla="*/ 159272 h 479077"/>
                <a:gd name="connsiteX49" fmla="*/ 3151158 w 3785642"/>
                <a:gd name="connsiteY49" fmla="*/ 171674 h 479077"/>
                <a:gd name="connsiteX50" fmla="*/ 3139252 w 3785642"/>
                <a:gd name="connsiteY50" fmla="*/ 182588 h 479077"/>
                <a:gd name="connsiteX51" fmla="*/ 3127843 w 3785642"/>
                <a:gd name="connsiteY51" fmla="*/ 194494 h 479077"/>
                <a:gd name="connsiteX52" fmla="*/ 3116432 w 3785642"/>
                <a:gd name="connsiteY52" fmla="*/ 205904 h 479077"/>
                <a:gd name="connsiteX53" fmla="*/ 3105022 w 3785642"/>
                <a:gd name="connsiteY53" fmla="*/ 217810 h 479077"/>
                <a:gd name="connsiteX54" fmla="*/ 3093117 w 3785642"/>
                <a:gd name="connsiteY54" fmla="*/ 229219 h 479077"/>
                <a:gd name="connsiteX55" fmla="*/ 3081707 w 3785642"/>
                <a:gd name="connsiteY55" fmla="*/ 240629 h 479077"/>
                <a:gd name="connsiteX56" fmla="*/ 3069305 w 3785642"/>
                <a:gd name="connsiteY56" fmla="*/ 251543 h 479077"/>
                <a:gd name="connsiteX57" fmla="*/ 3057895 w 3785642"/>
                <a:gd name="connsiteY57" fmla="*/ 263449 h 479077"/>
                <a:gd name="connsiteX58" fmla="*/ 3046486 w 3785642"/>
                <a:gd name="connsiteY58" fmla="*/ 275355 h 479077"/>
                <a:gd name="connsiteX59" fmla="*/ 3035572 w 3785642"/>
                <a:gd name="connsiteY59" fmla="*/ 287260 h 479077"/>
                <a:gd name="connsiteX60" fmla="*/ 3024658 w 3785642"/>
                <a:gd name="connsiteY60" fmla="*/ 299166 h 479077"/>
                <a:gd name="connsiteX61" fmla="*/ 3013248 w 3785642"/>
                <a:gd name="connsiteY61" fmla="*/ 311072 h 479077"/>
                <a:gd name="connsiteX62" fmla="*/ 3000350 w 3785642"/>
                <a:gd name="connsiteY62" fmla="*/ 321490 h 479077"/>
                <a:gd name="connsiteX63" fmla="*/ 2988941 w 3785642"/>
                <a:gd name="connsiteY63" fmla="*/ 333396 h 479077"/>
                <a:gd name="connsiteX64" fmla="*/ 2976539 w 3785642"/>
                <a:gd name="connsiteY64" fmla="*/ 344309 h 479077"/>
                <a:gd name="connsiteX65" fmla="*/ 2965129 w 3785642"/>
                <a:gd name="connsiteY65" fmla="*/ 356215 h 479077"/>
                <a:gd name="connsiteX66" fmla="*/ 2953223 w 3785642"/>
                <a:gd name="connsiteY66" fmla="*/ 367625 h 479077"/>
                <a:gd name="connsiteX67" fmla="*/ 2941813 w 3785642"/>
                <a:gd name="connsiteY67" fmla="*/ 379531 h 479077"/>
                <a:gd name="connsiteX68" fmla="*/ 2931395 w 3785642"/>
                <a:gd name="connsiteY68" fmla="*/ 392429 h 479077"/>
                <a:gd name="connsiteX69" fmla="*/ 2918497 w 3785642"/>
                <a:gd name="connsiteY69" fmla="*/ 402847 h 479077"/>
                <a:gd name="connsiteX70" fmla="*/ 2907584 w 3785642"/>
                <a:gd name="connsiteY70" fmla="*/ 415249 h 479077"/>
                <a:gd name="connsiteX71" fmla="*/ 2896174 w 3785642"/>
                <a:gd name="connsiteY71" fmla="*/ 426658 h 479077"/>
                <a:gd name="connsiteX72" fmla="*/ 2884268 w 3785642"/>
                <a:gd name="connsiteY72" fmla="*/ 438068 h 479077"/>
                <a:gd name="connsiteX73" fmla="*/ 2873354 w 3785642"/>
                <a:gd name="connsiteY73" fmla="*/ 450470 h 479077"/>
                <a:gd name="connsiteX74" fmla="*/ 2860952 w 3785642"/>
                <a:gd name="connsiteY74" fmla="*/ 461384 h 479077"/>
                <a:gd name="connsiteX75" fmla="*/ 2850039 w 3785642"/>
                <a:gd name="connsiteY75" fmla="*/ 473786 h 479077"/>
                <a:gd name="connsiteX76" fmla="*/ 2833668 w 3785642"/>
                <a:gd name="connsiteY76" fmla="*/ 473786 h 479077"/>
                <a:gd name="connsiteX77" fmla="*/ 2817297 w 3785642"/>
                <a:gd name="connsiteY77" fmla="*/ 473290 h 479077"/>
                <a:gd name="connsiteX78" fmla="*/ 2800927 w 3785642"/>
                <a:gd name="connsiteY78" fmla="*/ 473290 h 479077"/>
                <a:gd name="connsiteX79" fmla="*/ 2784556 w 3785642"/>
                <a:gd name="connsiteY79" fmla="*/ 473786 h 479077"/>
                <a:gd name="connsiteX80" fmla="*/ 2768186 w 3785642"/>
                <a:gd name="connsiteY80" fmla="*/ 474282 h 479077"/>
                <a:gd name="connsiteX81" fmla="*/ 2751815 w 3785642"/>
                <a:gd name="connsiteY81" fmla="*/ 474282 h 479077"/>
                <a:gd name="connsiteX82" fmla="*/ 2735444 w 3785642"/>
                <a:gd name="connsiteY82" fmla="*/ 473290 h 479077"/>
                <a:gd name="connsiteX83" fmla="*/ 2719074 w 3785642"/>
                <a:gd name="connsiteY83" fmla="*/ 474282 h 479077"/>
                <a:gd name="connsiteX84" fmla="*/ 2702703 w 3785642"/>
                <a:gd name="connsiteY84" fmla="*/ 472298 h 479077"/>
                <a:gd name="connsiteX85" fmla="*/ 2686333 w 3785642"/>
                <a:gd name="connsiteY85" fmla="*/ 472794 h 479077"/>
                <a:gd name="connsiteX86" fmla="*/ 2669962 w 3785642"/>
                <a:gd name="connsiteY86" fmla="*/ 474282 h 479077"/>
                <a:gd name="connsiteX87" fmla="*/ 2653592 w 3785642"/>
                <a:gd name="connsiteY87" fmla="*/ 472298 h 479077"/>
                <a:gd name="connsiteX88" fmla="*/ 2637221 w 3785642"/>
                <a:gd name="connsiteY88" fmla="*/ 474282 h 479077"/>
                <a:gd name="connsiteX89" fmla="*/ 2620851 w 3785642"/>
                <a:gd name="connsiteY89" fmla="*/ 474282 h 479077"/>
                <a:gd name="connsiteX90" fmla="*/ 2604480 w 3785642"/>
                <a:gd name="connsiteY90" fmla="*/ 472298 h 479077"/>
                <a:gd name="connsiteX91" fmla="*/ 2588109 w 3785642"/>
                <a:gd name="connsiteY91" fmla="*/ 473786 h 479077"/>
                <a:gd name="connsiteX92" fmla="*/ 2571739 w 3785642"/>
                <a:gd name="connsiteY92" fmla="*/ 472298 h 479077"/>
                <a:gd name="connsiteX93" fmla="*/ 2555368 w 3785642"/>
                <a:gd name="connsiteY93" fmla="*/ 473290 h 479077"/>
                <a:gd name="connsiteX94" fmla="*/ 2538998 w 3785642"/>
                <a:gd name="connsiteY94" fmla="*/ 474282 h 479077"/>
                <a:gd name="connsiteX95" fmla="*/ 2522627 w 3785642"/>
                <a:gd name="connsiteY95" fmla="*/ 473290 h 479077"/>
                <a:gd name="connsiteX96" fmla="*/ 2506257 w 3785642"/>
                <a:gd name="connsiteY96" fmla="*/ 474282 h 479077"/>
                <a:gd name="connsiteX97" fmla="*/ 2489886 w 3785642"/>
                <a:gd name="connsiteY97" fmla="*/ 473786 h 479077"/>
                <a:gd name="connsiteX98" fmla="*/ 2473516 w 3785642"/>
                <a:gd name="connsiteY98" fmla="*/ 474282 h 479077"/>
                <a:gd name="connsiteX99" fmla="*/ 2457145 w 3785642"/>
                <a:gd name="connsiteY99" fmla="*/ 472794 h 479077"/>
                <a:gd name="connsiteX100" fmla="*/ 2440775 w 3785642"/>
                <a:gd name="connsiteY100" fmla="*/ 472298 h 479077"/>
                <a:gd name="connsiteX101" fmla="*/ 2424404 w 3785642"/>
                <a:gd name="connsiteY101" fmla="*/ 473786 h 479077"/>
                <a:gd name="connsiteX102" fmla="*/ 2408033 w 3785642"/>
                <a:gd name="connsiteY102" fmla="*/ 472794 h 479077"/>
                <a:gd name="connsiteX103" fmla="*/ 2391663 w 3785642"/>
                <a:gd name="connsiteY103" fmla="*/ 473290 h 479077"/>
                <a:gd name="connsiteX104" fmla="*/ 2375292 w 3785642"/>
                <a:gd name="connsiteY104" fmla="*/ 473290 h 479077"/>
                <a:gd name="connsiteX105" fmla="*/ 2358922 w 3785642"/>
                <a:gd name="connsiteY105" fmla="*/ 472794 h 479077"/>
                <a:gd name="connsiteX106" fmla="*/ 2342551 w 3785642"/>
                <a:gd name="connsiteY106" fmla="*/ 472298 h 479077"/>
                <a:gd name="connsiteX107" fmla="*/ 2326180 w 3785642"/>
                <a:gd name="connsiteY107" fmla="*/ 473786 h 479077"/>
                <a:gd name="connsiteX108" fmla="*/ 2309810 w 3785642"/>
                <a:gd name="connsiteY108" fmla="*/ 473786 h 479077"/>
                <a:gd name="connsiteX109" fmla="*/ 2293439 w 3785642"/>
                <a:gd name="connsiteY109" fmla="*/ 473786 h 479077"/>
                <a:gd name="connsiteX110" fmla="*/ 2277069 w 3785642"/>
                <a:gd name="connsiteY110" fmla="*/ 472794 h 479077"/>
                <a:gd name="connsiteX111" fmla="*/ 2260698 w 3785642"/>
                <a:gd name="connsiteY111" fmla="*/ 474282 h 479077"/>
                <a:gd name="connsiteX112" fmla="*/ 2244327 w 3785642"/>
                <a:gd name="connsiteY112" fmla="*/ 472298 h 479077"/>
                <a:gd name="connsiteX113" fmla="*/ 2227957 w 3785642"/>
                <a:gd name="connsiteY113" fmla="*/ 474282 h 479077"/>
                <a:gd name="connsiteX114" fmla="*/ 2211586 w 3785642"/>
                <a:gd name="connsiteY114" fmla="*/ 473290 h 479077"/>
                <a:gd name="connsiteX115" fmla="*/ 2195216 w 3785642"/>
                <a:gd name="connsiteY115" fmla="*/ 474282 h 479077"/>
                <a:gd name="connsiteX116" fmla="*/ 2178845 w 3785642"/>
                <a:gd name="connsiteY116" fmla="*/ 472794 h 479077"/>
                <a:gd name="connsiteX117" fmla="*/ 2162474 w 3785642"/>
                <a:gd name="connsiteY117" fmla="*/ 474778 h 479077"/>
                <a:gd name="connsiteX118" fmla="*/ 2146104 w 3785642"/>
                <a:gd name="connsiteY118" fmla="*/ 473290 h 479077"/>
                <a:gd name="connsiteX119" fmla="*/ 2129733 w 3785642"/>
                <a:gd name="connsiteY119" fmla="*/ 474778 h 479077"/>
                <a:gd name="connsiteX120" fmla="*/ 2113363 w 3785642"/>
                <a:gd name="connsiteY120" fmla="*/ 474778 h 479077"/>
                <a:gd name="connsiteX121" fmla="*/ 2096992 w 3785642"/>
                <a:gd name="connsiteY121" fmla="*/ 474778 h 479077"/>
                <a:gd name="connsiteX122" fmla="*/ 2080621 w 3785642"/>
                <a:gd name="connsiteY122" fmla="*/ 474282 h 479077"/>
                <a:gd name="connsiteX123" fmla="*/ 2064251 w 3785642"/>
                <a:gd name="connsiteY123" fmla="*/ 472794 h 479077"/>
                <a:gd name="connsiteX124" fmla="*/ 2047880 w 3785642"/>
                <a:gd name="connsiteY124" fmla="*/ 474778 h 479077"/>
                <a:gd name="connsiteX125" fmla="*/ 2031510 w 3785642"/>
                <a:gd name="connsiteY125" fmla="*/ 474778 h 479077"/>
                <a:gd name="connsiteX126" fmla="*/ 2015139 w 3785642"/>
                <a:gd name="connsiteY126" fmla="*/ 474778 h 479077"/>
                <a:gd name="connsiteX127" fmla="*/ 1998769 w 3785642"/>
                <a:gd name="connsiteY127" fmla="*/ 474282 h 479077"/>
                <a:gd name="connsiteX128" fmla="*/ 1982398 w 3785642"/>
                <a:gd name="connsiteY128" fmla="*/ 473786 h 479077"/>
                <a:gd name="connsiteX129" fmla="*/ 1966028 w 3785642"/>
                <a:gd name="connsiteY129" fmla="*/ 473786 h 479077"/>
                <a:gd name="connsiteX130" fmla="*/ 1949657 w 3785642"/>
                <a:gd name="connsiteY130" fmla="*/ 472794 h 479077"/>
                <a:gd name="connsiteX131" fmla="*/ 1933287 w 3785642"/>
                <a:gd name="connsiteY131" fmla="*/ 473290 h 479077"/>
                <a:gd name="connsiteX132" fmla="*/ 1916916 w 3785642"/>
                <a:gd name="connsiteY132" fmla="*/ 474778 h 479077"/>
                <a:gd name="connsiteX133" fmla="*/ 1900546 w 3785642"/>
                <a:gd name="connsiteY133" fmla="*/ 472794 h 479077"/>
                <a:gd name="connsiteX134" fmla="*/ 1884175 w 3785642"/>
                <a:gd name="connsiteY134" fmla="*/ 473786 h 479077"/>
                <a:gd name="connsiteX135" fmla="*/ 1867804 w 3785642"/>
                <a:gd name="connsiteY135" fmla="*/ 474778 h 479077"/>
                <a:gd name="connsiteX136" fmla="*/ 1851434 w 3785642"/>
                <a:gd name="connsiteY136" fmla="*/ 474778 h 479077"/>
                <a:gd name="connsiteX137" fmla="*/ 1835063 w 3785642"/>
                <a:gd name="connsiteY137" fmla="*/ 474778 h 479077"/>
                <a:gd name="connsiteX138" fmla="*/ 1818693 w 3785642"/>
                <a:gd name="connsiteY138" fmla="*/ 474282 h 479077"/>
                <a:gd name="connsiteX139" fmla="*/ 1802322 w 3785642"/>
                <a:gd name="connsiteY139" fmla="*/ 472794 h 479077"/>
                <a:gd name="connsiteX140" fmla="*/ 1785951 w 3785642"/>
                <a:gd name="connsiteY140" fmla="*/ 473786 h 479077"/>
                <a:gd name="connsiteX141" fmla="*/ 1769581 w 3785642"/>
                <a:gd name="connsiteY141" fmla="*/ 473290 h 479077"/>
                <a:gd name="connsiteX142" fmla="*/ 1753210 w 3785642"/>
                <a:gd name="connsiteY142" fmla="*/ 472298 h 479077"/>
                <a:gd name="connsiteX143" fmla="*/ 1736840 w 3785642"/>
                <a:gd name="connsiteY143" fmla="*/ 473290 h 479077"/>
                <a:gd name="connsiteX144" fmla="*/ 1720469 w 3785642"/>
                <a:gd name="connsiteY144" fmla="*/ 474778 h 479077"/>
                <a:gd name="connsiteX145" fmla="*/ 1704098 w 3785642"/>
                <a:gd name="connsiteY145" fmla="*/ 472794 h 479077"/>
                <a:gd name="connsiteX146" fmla="*/ 1687728 w 3785642"/>
                <a:gd name="connsiteY146" fmla="*/ 474778 h 479077"/>
                <a:gd name="connsiteX147" fmla="*/ 1671357 w 3785642"/>
                <a:gd name="connsiteY147" fmla="*/ 474778 h 479077"/>
                <a:gd name="connsiteX148" fmla="*/ 1654987 w 3785642"/>
                <a:gd name="connsiteY148" fmla="*/ 472298 h 479077"/>
                <a:gd name="connsiteX149" fmla="*/ 1638616 w 3785642"/>
                <a:gd name="connsiteY149" fmla="*/ 472794 h 479077"/>
                <a:gd name="connsiteX150" fmla="*/ 1622246 w 3785642"/>
                <a:gd name="connsiteY150" fmla="*/ 473786 h 479077"/>
                <a:gd name="connsiteX151" fmla="*/ 1605875 w 3785642"/>
                <a:gd name="connsiteY151" fmla="*/ 474778 h 479077"/>
                <a:gd name="connsiteX152" fmla="*/ 1589505 w 3785642"/>
                <a:gd name="connsiteY152" fmla="*/ 473290 h 479077"/>
                <a:gd name="connsiteX153" fmla="*/ 1573134 w 3785642"/>
                <a:gd name="connsiteY153" fmla="*/ 474778 h 479077"/>
                <a:gd name="connsiteX154" fmla="*/ 1556763 w 3785642"/>
                <a:gd name="connsiteY154" fmla="*/ 472794 h 479077"/>
                <a:gd name="connsiteX155" fmla="*/ 1540393 w 3785642"/>
                <a:gd name="connsiteY155" fmla="*/ 472794 h 479077"/>
                <a:gd name="connsiteX156" fmla="*/ 1524022 w 3785642"/>
                <a:gd name="connsiteY156" fmla="*/ 474282 h 479077"/>
                <a:gd name="connsiteX157" fmla="*/ 1507652 w 3785642"/>
                <a:gd name="connsiteY157" fmla="*/ 472794 h 479077"/>
                <a:gd name="connsiteX158" fmla="*/ 1491281 w 3785642"/>
                <a:gd name="connsiteY158" fmla="*/ 474282 h 479077"/>
                <a:gd name="connsiteX159" fmla="*/ 1474910 w 3785642"/>
                <a:gd name="connsiteY159" fmla="*/ 474282 h 479077"/>
                <a:gd name="connsiteX160" fmla="*/ 1458540 w 3785642"/>
                <a:gd name="connsiteY160" fmla="*/ 472794 h 479077"/>
                <a:gd name="connsiteX161" fmla="*/ 1442169 w 3785642"/>
                <a:gd name="connsiteY161" fmla="*/ 471802 h 479077"/>
                <a:gd name="connsiteX162" fmla="*/ 1425799 w 3785642"/>
                <a:gd name="connsiteY162" fmla="*/ 472298 h 479077"/>
                <a:gd name="connsiteX163" fmla="*/ 1409428 w 3785642"/>
                <a:gd name="connsiteY163" fmla="*/ 472794 h 479077"/>
                <a:gd name="connsiteX164" fmla="*/ 1393058 w 3785642"/>
                <a:gd name="connsiteY164" fmla="*/ 473786 h 479077"/>
                <a:gd name="connsiteX165" fmla="*/ 1376687 w 3785642"/>
                <a:gd name="connsiteY165" fmla="*/ 471802 h 479077"/>
                <a:gd name="connsiteX166" fmla="*/ 1360317 w 3785642"/>
                <a:gd name="connsiteY166" fmla="*/ 473786 h 479077"/>
                <a:gd name="connsiteX167" fmla="*/ 1343946 w 3785642"/>
                <a:gd name="connsiteY167" fmla="*/ 473786 h 479077"/>
                <a:gd name="connsiteX168" fmla="*/ 1327576 w 3785642"/>
                <a:gd name="connsiteY168" fmla="*/ 472794 h 479077"/>
                <a:gd name="connsiteX169" fmla="*/ 1311205 w 3785642"/>
                <a:gd name="connsiteY169" fmla="*/ 473786 h 479077"/>
                <a:gd name="connsiteX170" fmla="*/ 1294834 w 3785642"/>
                <a:gd name="connsiteY170" fmla="*/ 473786 h 479077"/>
                <a:gd name="connsiteX171" fmla="*/ 1278464 w 3785642"/>
                <a:gd name="connsiteY171" fmla="*/ 473786 h 479077"/>
                <a:gd name="connsiteX172" fmla="*/ 1262093 w 3785642"/>
                <a:gd name="connsiteY172" fmla="*/ 473786 h 479077"/>
                <a:gd name="connsiteX173" fmla="*/ 1245723 w 3785642"/>
                <a:gd name="connsiteY173" fmla="*/ 473290 h 479077"/>
                <a:gd name="connsiteX174" fmla="*/ 1229352 w 3785642"/>
                <a:gd name="connsiteY174" fmla="*/ 472794 h 479077"/>
                <a:gd name="connsiteX175" fmla="*/ 1212981 w 3785642"/>
                <a:gd name="connsiteY175" fmla="*/ 473786 h 479077"/>
                <a:gd name="connsiteX176" fmla="*/ 1196611 w 3785642"/>
                <a:gd name="connsiteY176" fmla="*/ 472298 h 479077"/>
                <a:gd name="connsiteX177" fmla="*/ 1180240 w 3785642"/>
                <a:gd name="connsiteY177" fmla="*/ 472794 h 479077"/>
                <a:gd name="connsiteX178" fmla="*/ 1163870 w 3785642"/>
                <a:gd name="connsiteY178" fmla="*/ 472794 h 479077"/>
                <a:gd name="connsiteX179" fmla="*/ 1147499 w 3785642"/>
                <a:gd name="connsiteY179" fmla="*/ 473786 h 479077"/>
                <a:gd name="connsiteX180" fmla="*/ 1131128 w 3785642"/>
                <a:gd name="connsiteY180" fmla="*/ 473786 h 479077"/>
                <a:gd name="connsiteX181" fmla="*/ 1114758 w 3785642"/>
                <a:gd name="connsiteY181" fmla="*/ 472794 h 479077"/>
                <a:gd name="connsiteX182" fmla="*/ 1098387 w 3785642"/>
                <a:gd name="connsiteY182" fmla="*/ 473786 h 479077"/>
                <a:gd name="connsiteX183" fmla="*/ 1082017 w 3785642"/>
                <a:gd name="connsiteY183" fmla="*/ 474778 h 479077"/>
                <a:gd name="connsiteX184" fmla="*/ 1065646 w 3785642"/>
                <a:gd name="connsiteY184" fmla="*/ 474778 h 479077"/>
                <a:gd name="connsiteX185" fmla="*/ 1049276 w 3785642"/>
                <a:gd name="connsiteY185" fmla="*/ 474282 h 479077"/>
                <a:gd name="connsiteX186" fmla="*/ 1032905 w 3785642"/>
                <a:gd name="connsiteY186" fmla="*/ 473290 h 479077"/>
                <a:gd name="connsiteX187" fmla="*/ 1016535 w 3785642"/>
                <a:gd name="connsiteY187" fmla="*/ 474282 h 479077"/>
                <a:gd name="connsiteX188" fmla="*/ 1000164 w 3785642"/>
                <a:gd name="connsiteY188" fmla="*/ 474282 h 479077"/>
                <a:gd name="connsiteX189" fmla="*/ 983793 w 3785642"/>
                <a:gd name="connsiteY189" fmla="*/ 472794 h 479077"/>
                <a:gd name="connsiteX190" fmla="*/ 967423 w 3785642"/>
                <a:gd name="connsiteY190" fmla="*/ 472794 h 479077"/>
                <a:gd name="connsiteX191" fmla="*/ 951052 w 3785642"/>
                <a:gd name="connsiteY191" fmla="*/ 473786 h 479077"/>
                <a:gd name="connsiteX192" fmla="*/ 934682 w 3785642"/>
                <a:gd name="connsiteY192" fmla="*/ 474282 h 479077"/>
                <a:gd name="connsiteX193" fmla="*/ 918311 w 3785642"/>
                <a:gd name="connsiteY193" fmla="*/ 474778 h 479077"/>
                <a:gd name="connsiteX194" fmla="*/ 901940 w 3785642"/>
                <a:gd name="connsiteY194" fmla="*/ 473290 h 479077"/>
                <a:gd name="connsiteX195" fmla="*/ 885570 w 3785642"/>
                <a:gd name="connsiteY195" fmla="*/ 474778 h 479077"/>
                <a:gd name="connsiteX196" fmla="*/ 869199 w 3785642"/>
                <a:gd name="connsiteY196" fmla="*/ 474282 h 479077"/>
                <a:gd name="connsiteX197" fmla="*/ 852829 w 3785642"/>
                <a:gd name="connsiteY197" fmla="*/ 473786 h 479077"/>
                <a:gd name="connsiteX198" fmla="*/ 836458 w 3785642"/>
                <a:gd name="connsiteY198" fmla="*/ 474778 h 479077"/>
                <a:gd name="connsiteX199" fmla="*/ 820088 w 3785642"/>
                <a:gd name="connsiteY199" fmla="*/ 475274 h 479077"/>
                <a:gd name="connsiteX200" fmla="*/ 803717 w 3785642"/>
                <a:gd name="connsiteY200" fmla="*/ 473786 h 479077"/>
                <a:gd name="connsiteX201" fmla="*/ 787347 w 3785642"/>
                <a:gd name="connsiteY201" fmla="*/ 475770 h 479077"/>
                <a:gd name="connsiteX202" fmla="*/ 770976 w 3785642"/>
                <a:gd name="connsiteY202" fmla="*/ 474778 h 479077"/>
                <a:gd name="connsiteX203" fmla="*/ 754605 w 3785642"/>
                <a:gd name="connsiteY203" fmla="*/ 475274 h 479077"/>
                <a:gd name="connsiteX204" fmla="*/ 738235 w 3785642"/>
                <a:gd name="connsiteY204" fmla="*/ 473786 h 479077"/>
                <a:gd name="connsiteX205" fmla="*/ 721864 w 3785642"/>
                <a:gd name="connsiteY205" fmla="*/ 475274 h 479077"/>
                <a:gd name="connsiteX206" fmla="*/ 705494 w 3785642"/>
                <a:gd name="connsiteY206" fmla="*/ 475770 h 479077"/>
                <a:gd name="connsiteX207" fmla="*/ 689123 w 3785642"/>
                <a:gd name="connsiteY207" fmla="*/ 474282 h 479077"/>
                <a:gd name="connsiteX208" fmla="*/ 672753 w 3785642"/>
                <a:gd name="connsiteY208" fmla="*/ 475274 h 479077"/>
                <a:gd name="connsiteX209" fmla="*/ 656382 w 3785642"/>
                <a:gd name="connsiteY209" fmla="*/ 474778 h 479077"/>
                <a:gd name="connsiteX210" fmla="*/ 640011 w 3785642"/>
                <a:gd name="connsiteY210" fmla="*/ 475770 h 479077"/>
                <a:gd name="connsiteX211" fmla="*/ 623641 w 3785642"/>
                <a:gd name="connsiteY211" fmla="*/ 473786 h 479077"/>
                <a:gd name="connsiteX212" fmla="*/ 607270 w 3785642"/>
                <a:gd name="connsiteY212" fmla="*/ 474778 h 479077"/>
                <a:gd name="connsiteX213" fmla="*/ 590900 w 3785642"/>
                <a:gd name="connsiteY213" fmla="*/ 475274 h 479077"/>
                <a:gd name="connsiteX214" fmla="*/ 574529 w 3785642"/>
                <a:gd name="connsiteY214" fmla="*/ 474282 h 479077"/>
                <a:gd name="connsiteX215" fmla="*/ 558158 w 3785642"/>
                <a:gd name="connsiteY215" fmla="*/ 475274 h 479077"/>
                <a:gd name="connsiteX216" fmla="*/ 541788 w 3785642"/>
                <a:gd name="connsiteY216" fmla="*/ 475770 h 479077"/>
                <a:gd name="connsiteX217" fmla="*/ 525417 w 3785642"/>
                <a:gd name="connsiteY217" fmla="*/ 474282 h 479077"/>
                <a:gd name="connsiteX218" fmla="*/ 509047 w 3785642"/>
                <a:gd name="connsiteY218" fmla="*/ 473786 h 479077"/>
                <a:gd name="connsiteX219" fmla="*/ 492676 w 3785642"/>
                <a:gd name="connsiteY219" fmla="*/ 473786 h 479077"/>
                <a:gd name="connsiteX220" fmla="*/ 476306 w 3785642"/>
                <a:gd name="connsiteY220" fmla="*/ 474778 h 479077"/>
                <a:gd name="connsiteX221" fmla="*/ 459935 w 3785642"/>
                <a:gd name="connsiteY221" fmla="*/ 473786 h 479077"/>
                <a:gd name="connsiteX222" fmla="*/ 443565 w 3785642"/>
                <a:gd name="connsiteY222" fmla="*/ 474778 h 479077"/>
                <a:gd name="connsiteX223" fmla="*/ 427194 w 3785642"/>
                <a:gd name="connsiteY223" fmla="*/ 474282 h 479077"/>
                <a:gd name="connsiteX224" fmla="*/ 410823 w 3785642"/>
                <a:gd name="connsiteY224" fmla="*/ 473290 h 479077"/>
                <a:gd name="connsiteX225" fmla="*/ 394453 w 3785642"/>
                <a:gd name="connsiteY225" fmla="*/ 475770 h 479077"/>
                <a:gd name="connsiteX226" fmla="*/ 378082 w 3785642"/>
                <a:gd name="connsiteY226" fmla="*/ 475274 h 479077"/>
                <a:gd name="connsiteX227" fmla="*/ 361712 w 3785642"/>
                <a:gd name="connsiteY227" fmla="*/ 474778 h 479077"/>
                <a:gd name="connsiteX228" fmla="*/ 345341 w 3785642"/>
                <a:gd name="connsiteY228" fmla="*/ 476266 h 479077"/>
                <a:gd name="connsiteX229" fmla="*/ 328970 w 3785642"/>
                <a:gd name="connsiteY229" fmla="*/ 474282 h 479077"/>
                <a:gd name="connsiteX230" fmla="*/ 312600 w 3785642"/>
                <a:gd name="connsiteY230" fmla="*/ 475274 h 479077"/>
                <a:gd name="connsiteX231" fmla="*/ 296229 w 3785642"/>
                <a:gd name="connsiteY231" fmla="*/ 474282 h 479077"/>
                <a:gd name="connsiteX232" fmla="*/ 279859 w 3785642"/>
                <a:gd name="connsiteY232" fmla="*/ 475770 h 479077"/>
                <a:gd name="connsiteX233" fmla="*/ 263488 w 3785642"/>
                <a:gd name="connsiteY233" fmla="*/ 476266 h 479077"/>
                <a:gd name="connsiteX234" fmla="*/ 247118 w 3785642"/>
                <a:gd name="connsiteY234" fmla="*/ 476266 h 479077"/>
                <a:gd name="connsiteX235" fmla="*/ 230747 w 3785642"/>
                <a:gd name="connsiteY235" fmla="*/ 474778 h 479077"/>
                <a:gd name="connsiteX236" fmla="*/ 214376 w 3785642"/>
                <a:gd name="connsiteY236" fmla="*/ 474778 h 479077"/>
                <a:gd name="connsiteX237" fmla="*/ 198006 w 3785642"/>
                <a:gd name="connsiteY237" fmla="*/ 476762 h 479077"/>
                <a:gd name="connsiteX238" fmla="*/ 181635 w 3785642"/>
                <a:gd name="connsiteY238" fmla="*/ 476266 h 479077"/>
                <a:gd name="connsiteX239" fmla="*/ 165265 w 3785642"/>
                <a:gd name="connsiteY239" fmla="*/ 474778 h 479077"/>
                <a:gd name="connsiteX240" fmla="*/ 148894 w 3785642"/>
                <a:gd name="connsiteY240" fmla="*/ 476762 h 479077"/>
                <a:gd name="connsiteX241" fmla="*/ 132524 w 3785642"/>
                <a:gd name="connsiteY241" fmla="*/ 476266 h 479077"/>
                <a:gd name="connsiteX242" fmla="*/ 116153 w 3785642"/>
                <a:gd name="connsiteY242" fmla="*/ 475274 h 479077"/>
                <a:gd name="connsiteX243" fmla="*/ 99783 w 3785642"/>
                <a:gd name="connsiteY243" fmla="*/ 475274 h 479077"/>
                <a:gd name="connsiteX244" fmla="*/ 83412 w 3785642"/>
                <a:gd name="connsiteY244" fmla="*/ 475274 h 479077"/>
                <a:gd name="connsiteX245" fmla="*/ 67041 w 3785642"/>
                <a:gd name="connsiteY245" fmla="*/ 474778 h 479077"/>
                <a:gd name="connsiteX246" fmla="*/ 50671 w 3785642"/>
                <a:gd name="connsiteY246" fmla="*/ 475274 h 479077"/>
                <a:gd name="connsiteX247" fmla="*/ 34300 w 3785642"/>
                <a:gd name="connsiteY247" fmla="*/ 475274 h 479077"/>
                <a:gd name="connsiteX248" fmla="*/ 17930 w 3785642"/>
                <a:gd name="connsiteY248" fmla="*/ 475770 h 479077"/>
                <a:gd name="connsiteX249" fmla="*/ 567 w 3785642"/>
                <a:gd name="connsiteY249" fmla="*/ 475770 h 479077"/>
                <a:gd name="connsiteX250" fmla="*/ 12969 w 3785642"/>
                <a:gd name="connsiteY250" fmla="*/ 463368 h 479077"/>
                <a:gd name="connsiteX251" fmla="*/ 24379 w 3785642"/>
                <a:gd name="connsiteY251" fmla="*/ 451958 h 479077"/>
                <a:gd name="connsiteX252" fmla="*/ 35788 w 3785642"/>
                <a:gd name="connsiteY252" fmla="*/ 440053 h 479077"/>
                <a:gd name="connsiteX253" fmla="*/ 48686 w 3785642"/>
                <a:gd name="connsiteY253" fmla="*/ 430131 h 479077"/>
                <a:gd name="connsiteX254" fmla="*/ 59600 w 3785642"/>
                <a:gd name="connsiteY254" fmla="*/ 418225 h 479077"/>
                <a:gd name="connsiteX255" fmla="*/ 70514 w 3785642"/>
                <a:gd name="connsiteY255" fmla="*/ 405823 h 479077"/>
                <a:gd name="connsiteX256" fmla="*/ 83412 w 3785642"/>
                <a:gd name="connsiteY256" fmla="*/ 395406 h 479077"/>
                <a:gd name="connsiteX257" fmla="*/ 94822 w 3785642"/>
                <a:gd name="connsiteY257" fmla="*/ 383500 h 479077"/>
                <a:gd name="connsiteX258" fmla="*/ 106728 w 3785642"/>
                <a:gd name="connsiteY258" fmla="*/ 372090 h 479077"/>
                <a:gd name="connsiteX259" fmla="*/ 117145 w 3785642"/>
                <a:gd name="connsiteY259" fmla="*/ 359688 h 479077"/>
                <a:gd name="connsiteX260" fmla="*/ 128555 w 3785642"/>
                <a:gd name="connsiteY260" fmla="*/ 348278 h 479077"/>
                <a:gd name="connsiteX261" fmla="*/ 140461 w 3785642"/>
                <a:gd name="connsiteY261" fmla="*/ 336868 h 479077"/>
                <a:gd name="connsiteX262" fmla="*/ 152863 w 3785642"/>
                <a:gd name="connsiteY262" fmla="*/ 326451 h 479077"/>
                <a:gd name="connsiteX263" fmla="*/ 164769 w 3785642"/>
                <a:gd name="connsiteY263" fmla="*/ 315041 h 479077"/>
                <a:gd name="connsiteX264" fmla="*/ 176178 w 3785642"/>
                <a:gd name="connsiteY264" fmla="*/ 303135 h 479077"/>
                <a:gd name="connsiteX265" fmla="*/ 188084 w 3785642"/>
                <a:gd name="connsiteY265" fmla="*/ 291725 h 479077"/>
                <a:gd name="connsiteX266" fmla="*/ 199494 w 3785642"/>
                <a:gd name="connsiteY266" fmla="*/ 280315 h 479077"/>
                <a:gd name="connsiteX267" fmla="*/ 210904 w 3785642"/>
                <a:gd name="connsiteY267" fmla="*/ 268906 h 479077"/>
                <a:gd name="connsiteX268" fmla="*/ 221818 w 3785642"/>
                <a:gd name="connsiteY268" fmla="*/ 256504 h 479077"/>
                <a:gd name="connsiteX269" fmla="*/ 233724 w 3785642"/>
                <a:gd name="connsiteY269" fmla="*/ 245094 h 479077"/>
                <a:gd name="connsiteX270" fmla="*/ 244141 w 3785642"/>
                <a:gd name="connsiteY270" fmla="*/ 232692 h 479077"/>
                <a:gd name="connsiteX271" fmla="*/ 257039 w 3785642"/>
                <a:gd name="connsiteY271" fmla="*/ 222770 h 479077"/>
                <a:gd name="connsiteX272" fmla="*/ 266961 w 3785642"/>
                <a:gd name="connsiteY272" fmla="*/ 209376 h 479077"/>
                <a:gd name="connsiteX273" fmla="*/ 278371 w 3785642"/>
                <a:gd name="connsiteY273" fmla="*/ 197966 h 479077"/>
                <a:gd name="connsiteX274" fmla="*/ 291269 w 3785642"/>
                <a:gd name="connsiteY274" fmla="*/ 188045 h 479077"/>
                <a:gd name="connsiteX275" fmla="*/ 301686 w 3785642"/>
                <a:gd name="connsiteY275" fmla="*/ 175147 h 479077"/>
                <a:gd name="connsiteX276" fmla="*/ 313592 w 3785642"/>
                <a:gd name="connsiteY276" fmla="*/ 163737 h 479077"/>
                <a:gd name="connsiteX277" fmla="*/ 325994 w 3785642"/>
                <a:gd name="connsiteY277" fmla="*/ 153319 h 479077"/>
                <a:gd name="connsiteX278" fmla="*/ 337404 w 3785642"/>
                <a:gd name="connsiteY278" fmla="*/ 141910 h 479077"/>
                <a:gd name="connsiteX279" fmla="*/ 347325 w 3785642"/>
                <a:gd name="connsiteY279" fmla="*/ 129012 h 479077"/>
                <a:gd name="connsiteX280" fmla="*/ 360224 w 3785642"/>
                <a:gd name="connsiteY280" fmla="*/ 118594 h 479077"/>
                <a:gd name="connsiteX281" fmla="*/ 371137 w 3785642"/>
                <a:gd name="connsiteY281" fmla="*/ 106192 h 479077"/>
                <a:gd name="connsiteX282" fmla="*/ 382051 w 3785642"/>
                <a:gd name="connsiteY282" fmla="*/ 93790 h 479077"/>
                <a:gd name="connsiteX283" fmla="*/ 393957 w 3785642"/>
                <a:gd name="connsiteY283" fmla="*/ 82380 h 479077"/>
                <a:gd name="connsiteX284" fmla="*/ 405366 w 3785642"/>
                <a:gd name="connsiteY284" fmla="*/ 70475 h 479077"/>
                <a:gd name="connsiteX285" fmla="*/ 417272 w 3785642"/>
                <a:gd name="connsiteY285" fmla="*/ 59561 h 479077"/>
                <a:gd name="connsiteX286" fmla="*/ 429674 w 3785642"/>
                <a:gd name="connsiteY286" fmla="*/ 48647 h 479077"/>
                <a:gd name="connsiteX287" fmla="*/ 440092 w 3785642"/>
                <a:gd name="connsiteY287" fmla="*/ 35749 h 479077"/>
                <a:gd name="connsiteX288" fmla="*/ 452494 w 3785642"/>
                <a:gd name="connsiteY288" fmla="*/ 24835 h 479077"/>
                <a:gd name="connsiteX289" fmla="*/ 463904 w 3785642"/>
                <a:gd name="connsiteY289" fmla="*/ 12929 h 479077"/>
                <a:gd name="connsiteX290" fmla="*/ 475313 w 3785642"/>
                <a:gd name="connsiteY290" fmla="*/ 1024 h 479077"/>
                <a:gd name="connsiteX291" fmla="*/ 491684 w 3785642"/>
                <a:gd name="connsiteY291" fmla="*/ 2512 h 479077"/>
                <a:gd name="connsiteX292" fmla="*/ 508055 w 3785642"/>
                <a:gd name="connsiteY292" fmla="*/ 2512 h 479077"/>
                <a:gd name="connsiteX293" fmla="*/ 524425 w 3785642"/>
                <a:gd name="connsiteY293" fmla="*/ 2512 h 479077"/>
                <a:gd name="connsiteX294" fmla="*/ 540796 w 3785642"/>
                <a:gd name="connsiteY294" fmla="*/ 1024 h 479077"/>
                <a:gd name="connsiteX295" fmla="*/ 557166 w 3785642"/>
                <a:gd name="connsiteY295" fmla="*/ 2512 h 479077"/>
                <a:gd name="connsiteX296" fmla="*/ 573537 w 3785642"/>
                <a:gd name="connsiteY296" fmla="*/ 1024 h 479077"/>
                <a:gd name="connsiteX297" fmla="*/ 589908 w 3785642"/>
                <a:gd name="connsiteY297" fmla="*/ 527 h 479077"/>
                <a:gd name="connsiteX298" fmla="*/ 606278 w 3785642"/>
                <a:gd name="connsiteY298" fmla="*/ 1520 h 479077"/>
                <a:gd name="connsiteX299" fmla="*/ 622649 w 3785642"/>
                <a:gd name="connsiteY299" fmla="*/ 1520 h 479077"/>
                <a:gd name="connsiteX300" fmla="*/ 639019 w 3785642"/>
                <a:gd name="connsiteY300" fmla="*/ 2016 h 479077"/>
                <a:gd name="connsiteX301" fmla="*/ 655390 w 3785642"/>
                <a:gd name="connsiteY301" fmla="*/ 527 h 479077"/>
                <a:gd name="connsiteX302" fmla="*/ 671760 w 3785642"/>
                <a:gd name="connsiteY302" fmla="*/ 1520 h 479077"/>
                <a:gd name="connsiteX303" fmla="*/ 688131 w 3785642"/>
                <a:gd name="connsiteY303" fmla="*/ 2512 h 479077"/>
                <a:gd name="connsiteX304" fmla="*/ 704501 w 3785642"/>
                <a:gd name="connsiteY304" fmla="*/ 1024 h 479077"/>
                <a:gd name="connsiteX305" fmla="*/ 720872 w 3785642"/>
                <a:gd name="connsiteY305" fmla="*/ 1520 h 479077"/>
                <a:gd name="connsiteX306" fmla="*/ 737243 w 3785642"/>
                <a:gd name="connsiteY306" fmla="*/ 2016 h 479077"/>
                <a:gd name="connsiteX307" fmla="*/ 753613 w 3785642"/>
                <a:gd name="connsiteY307" fmla="*/ 1024 h 479077"/>
                <a:gd name="connsiteX308" fmla="*/ 769984 w 3785642"/>
                <a:gd name="connsiteY308" fmla="*/ 527 h 479077"/>
                <a:gd name="connsiteX309" fmla="*/ 786354 w 3785642"/>
                <a:gd name="connsiteY309" fmla="*/ 1520 h 479077"/>
                <a:gd name="connsiteX310" fmla="*/ 802725 w 3785642"/>
                <a:gd name="connsiteY310" fmla="*/ 527 h 479077"/>
                <a:gd name="connsiteX311" fmla="*/ 819096 w 3785642"/>
                <a:gd name="connsiteY311" fmla="*/ 2512 h 479077"/>
                <a:gd name="connsiteX312" fmla="*/ 835466 w 3785642"/>
                <a:gd name="connsiteY312" fmla="*/ 527 h 479077"/>
                <a:gd name="connsiteX313" fmla="*/ 851837 w 3785642"/>
                <a:gd name="connsiteY313" fmla="*/ 1520 h 479077"/>
                <a:gd name="connsiteX314" fmla="*/ 868207 w 3785642"/>
                <a:gd name="connsiteY314" fmla="*/ 2016 h 479077"/>
                <a:gd name="connsiteX315" fmla="*/ 884578 w 3785642"/>
                <a:gd name="connsiteY315" fmla="*/ 2512 h 479077"/>
                <a:gd name="connsiteX316" fmla="*/ 900948 w 3785642"/>
                <a:gd name="connsiteY316" fmla="*/ 1520 h 479077"/>
                <a:gd name="connsiteX317" fmla="*/ 917319 w 3785642"/>
                <a:gd name="connsiteY317" fmla="*/ 1024 h 479077"/>
                <a:gd name="connsiteX318" fmla="*/ 933689 w 3785642"/>
                <a:gd name="connsiteY318" fmla="*/ 2512 h 479077"/>
                <a:gd name="connsiteX319" fmla="*/ 950060 w 3785642"/>
                <a:gd name="connsiteY319" fmla="*/ 1520 h 479077"/>
                <a:gd name="connsiteX320" fmla="*/ 966431 w 3785642"/>
                <a:gd name="connsiteY320" fmla="*/ 2016 h 479077"/>
                <a:gd name="connsiteX321" fmla="*/ 982801 w 3785642"/>
                <a:gd name="connsiteY321" fmla="*/ 2512 h 479077"/>
                <a:gd name="connsiteX322" fmla="*/ 999172 w 3785642"/>
                <a:gd name="connsiteY322" fmla="*/ 1520 h 479077"/>
                <a:gd name="connsiteX323" fmla="*/ 1015542 w 3785642"/>
                <a:gd name="connsiteY323" fmla="*/ 2512 h 479077"/>
                <a:gd name="connsiteX324" fmla="*/ 1031913 w 3785642"/>
                <a:gd name="connsiteY324" fmla="*/ 1520 h 479077"/>
                <a:gd name="connsiteX325" fmla="*/ 1048283 w 3785642"/>
                <a:gd name="connsiteY325" fmla="*/ 2016 h 479077"/>
                <a:gd name="connsiteX326" fmla="*/ 1064654 w 3785642"/>
                <a:gd name="connsiteY326" fmla="*/ 3504 h 479077"/>
                <a:gd name="connsiteX327" fmla="*/ 1081025 w 3785642"/>
                <a:gd name="connsiteY327" fmla="*/ 2016 h 479077"/>
                <a:gd name="connsiteX328" fmla="*/ 1097395 w 3785642"/>
                <a:gd name="connsiteY328" fmla="*/ 2512 h 479077"/>
                <a:gd name="connsiteX329" fmla="*/ 1113766 w 3785642"/>
                <a:gd name="connsiteY329" fmla="*/ 2512 h 479077"/>
                <a:gd name="connsiteX330" fmla="*/ 1130136 w 3785642"/>
                <a:gd name="connsiteY330" fmla="*/ 3504 h 479077"/>
                <a:gd name="connsiteX331" fmla="*/ 1146507 w 3785642"/>
                <a:gd name="connsiteY331" fmla="*/ 1520 h 479077"/>
                <a:gd name="connsiteX332" fmla="*/ 1162878 w 3785642"/>
                <a:gd name="connsiteY332" fmla="*/ 3008 h 479077"/>
                <a:gd name="connsiteX333" fmla="*/ 1179248 w 3785642"/>
                <a:gd name="connsiteY333" fmla="*/ 4000 h 479077"/>
                <a:gd name="connsiteX334" fmla="*/ 1195619 w 3785642"/>
                <a:gd name="connsiteY334" fmla="*/ 3504 h 479077"/>
                <a:gd name="connsiteX335" fmla="*/ 1211989 w 3785642"/>
                <a:gd name="connsiteY335" fmla="*/ 1520 h 479077"/>
                <a:gd name="connsiteX336" fmla="*/ 1228360 w 3785642"/>
                <a:gd name="connsiteY336" fmla="*/ 3504 h 479077"/>
                <a:gd name="connsiteX337" fmla="*/ 1244730 w 3785642"/>
                <a:gd name="connsiteY337" fmla="*/ 1520 h 479077"/>
                <a:gd name="connsiteX338" fmla="*/ 1261101 w 3785642"/>
                <a:gd name="connsiteY338" fmla="*/ 2512 h 479077"/>
                <a:gd name="connsiteX339" fmla="*/ 1277471 w 3785642"/>
                <a:gd name="connsiteY339" fmla="*/ 3504 h 479077"/>
                <a:gd name="connsiteX340" fmla="*/ 1293842 w 3785642"/>
                <a:gd name="connsiteY340" fmla="*/ 4000 h 479077"/>
                <a:gd name="connsiteX341" fmla="*/ 1310213 w 3785642"/>
                <a:gd name="connsiteY341" fmla="*/ 1520 h 479077"/>
                <a:gd name="connsiteX342" fmla="*/ 1326583 w 3785642"/>
                <a:gd name="connsiteY342" fmla="*/ 2016 h 479077"/>
                <a:gd name="connsiteX343" fmla="*/ 1342954 w 3785642"/>
                <a:gd name="connsiteY343" fmla="*/ 3008 h 479077"/>
                <a:gd name="connsiteX344" fmla="*/ 1359324 w 3785642"/>
                <a:gd name="connsiteY344" fmla="*/ 3008 h 479077"/>
                <a:gd name="connsiteX345" fmla="*/ 1375695 w 3785642"/>
                <a:gd name="connsiteY345" fmla="*/ 2512 h 479077"/>
                <a:gd name="connsiteX346" fmla="*/ 1392066 w 3785642"/>
                <a:gd name="connsiteY346" fmla="*/ 2512 h 479077"/>
                <a:gd name="connsiteX347" fmla="*/ 1408436 w 3785642"/>
                <a:gd name="connsiteY347" fmla="*/ 3504 h 479077"/>
                <a:gd name="connsiteX348" fmla="*/ 1424807 w 3785642"/>
                <a:gd name="connsiteY348" fmla="*/ 3504 h 479077"/>
                <a:gd name="connsiteX349" fmla="*/ 1441177 w 3785642"/>
                <a:gd name="connsiteY349" fmla="*/ 1520 h 479077"/>
                <a:gd name="connsiteX350" fmla="*/ 1457548 w 3785642"/>
                <a:gd name="connsiteY350" fmla="*/ 2512 h 479077"/>
                <a:gd name="connsiteX351" fmla="*/ 1473919 w 3785642"/>
                <a:gd name="connsiteY351" fmla="*/ 2016 h 479077"/>
                <a:gd name="connsiteX352" fmla="*/ 1490289 w 3785642"/>
                <a:gd name="connsiteY352" fmla="*/ 2016 h 479077"/>
                <a:gd name="connsiteX353" fmla="*/ 1506660 w 3785642"/>
                <a:gd name="connsiteY353" fmla="*/ 1520 h 479077"/>
                <a:gd name="connsiteX354" fmla="*/ 1523030 w 3785642"/>
                <a:gd name="connsiteY354" fmla="*/ 3504 h 479077"/>
                <a:gd name="connsiteX355" fmla="*/ 1539401 w 3785642"/>
                <a:gd name="connsiteY355" fmla="*/ 3008 h 479077"/>
                <a:gd name="connsiteX356" fmla="*/ 1555771 w 3785642"/>
                <a:gd name="connsiteY356" fmla="*/ 3008 h 479077"/>
                <a:gd name="connsiteX357" fmla="*/ 1572142 w 3785642"/>
                <a:gd name="connsiteY357" fmla="*/ 2512 h 479077"/>
                <a:gd name="connsiteX358" fmla="*/ 1588512 w 3785642"/>
                <a:gd name="connsiteY358" fmla="*/ 2016 h 479077"/>
                <a:gd name="connsiteX359" fmla="*/ 1604883 w 3785642"/>
                <a:gd name="connsiteY359" fmla="*/ 3008 h 479077"/>
                <a:gd name="connsiteX360" fmla="*/ 1621253 w 3785642"/>
                <a:gd name="connsiteY360" fmla="*/ 3008 h 479077"/>
                <a:gd name="connsiteX361" fmla="*/ 1637624 w 3785642"/>
                <a:gd name="connsiteY36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05646 w 3785642"/>
                <a:gd name="connsiteY30" fmla="*/ 79404 h 479077"/>
                <a:gd name="connsiteX31" fmla="*/ 3393740 w 3785642"/>
                <a:gd name="connsiteY31" fmla="*/ 68490 h 479077"/>
                <a:gd name="connsiteX32" fmla="*/ 3382330 w 3785642"/>
                <a:gd name="connsiteY32" fmla="*/ 56584 h 479077"/>
                <a:gd name="connsiteX33" fmla="*/ 3370921 w 3785642"/>
                <a:gd name="connsiteY33" fmla="*/ 44678 h 479077"/>
                <a:gd name="connsiteX34" fmla="*/ 3313375 w 3785642"/>
                <a:gd name="connsiteY34" fmla="*/ 10945 h 479077"/>
                <a:gd name="connsiteX35" fmla="*/ 3300973 w 3785642"/>
                <a:gd name="connsiteY35" fmla="*/ 21363 h 479077"/>
                <a:gd name="connsiteX36" fmla="*/ 3289068 w 3785642"/>
                <a:gd name="connsiteY36" fmla="*/ 32276 h 479077"/>
                <a:gd name="connsiteX37" fmla="*/ 3277658 w 3785642"/>
                <a:gd name="connsiteY37" fmla="*/ 43686 h 479077"/>
                <a:gd name="connsiteX38" fmla="*/ 3266248 w 3785642"/>
                <a:gd name="connsiteY38" fmla="*/ 55592 h 479077"/>
                <a:gd name="connsiteX39" fmla="*/ 3255830 w 3785642"/>
                <a:gd name="connsiteY39" fmla="*/ 68490 h 479077"/>
                <a:gd name="connsiteX40" fmla="*/ 3243924 w 3785642"/>
                <a:gd name="connsiteY40" fmla="*/ 79900 h 479077"/>
                <a:gd name="connsiteX41" fmla="*/ 3231522 w 3785642"/>
                <a:gd name="connsiteY41" fmla="*/ 90814 h 479077"/>
                <a:gd name="connsiteX42" fmla="*/ 3220609 w 3785642"/>
                <a:gd name="connsiteY42" fmla="*/ 102720 h 479077"/>
                <a:gd name="connsiteX43" fmla="*/ 3208207 w 3785642"/>
                <a:gd name="connsiteY43" fmla="*/ 113137 h 479077"/>
                <a:gd name="connsiteX44" fmla="*/ 3197293 w 3785642"/>
                <a:gd name="connsiteY44" fmla="*/ 125043 h 479077"/>
                <a:gd name="connsiteX45" fmla="*/ 3185387 w 3785642"/>
                <a:gd name="connsiteY45" fmla="*/ 136453 h 479077"/>
                <a:gd name="connsiteX46" fmla="*/ 3174970 w 3785642"/>
                <a:gd name="connsiteY46" fmla="*/ 148855 h 479077"/>
                <a:gd name="connsiteX47" fmla="*/ 3162071 w 3785642"/>
                <a:gd name="connsiteY47" fmla="*/ 159272 h 479077"/>
                <a:gd name="connsiteX48" fmla="*/ 3151158 w 3785642"/>
                <a:gd name="connsiteY48" fmla="*/ 171674 h 479077"/>
                <a:gd name="connsiteX49" fmla="*/ 3139252 w 3785642"/>
                <a:gd name="connsiteY49" fmla="*/ 182588 h 479077"/>
                <a:gd name="connsiteX50" fmla="*/ 3127843 w 3785642"/>
                <a:gd name="connsiteY50" fmla="*/ 194494 h 479077"/>
                <a:gd name="connsiteX51" fmla="*/ 3116432 w 3785642"/>
                <a:gd name="connsiteY51" fmla="*/ 205904 h 479077"/>
                <a:gd name="connsiteX52" fmla="*/ 3105022 w 3785642"/>
                <a:gd name="connsiteY52" fmla="*/ 217810 h 479077"/>
                <a:gd name="connsiteX53" fmla="*/ 3093117 w 3785642"/>
                <a:gd name="connsiteY53" fmla="*/ 229219 h 479077"/>
                <a:gd name="connsiteX54" fmla="*/ 3081707 w 3785642"/>
                <a:gd name="connsiteY54" fmla="*/ 240629 h 479077"/>
                <a:gd name="connsiteX55" fmla="*/ 3069305 w 3785642"/>
                <a:gd name="connsiteY55" fmla="*/ 251543 h 479077"/>
                <a:gd name="connsiteX56" fmla="*/ 3057895 w 3785642"/>
                <a:gd name="connsiteY56" fmla="*/ 263449 h 479077"/>
                <a:gd name="connsiteX57" fmla="*/ 3046486 w 3785642"/>
                <a:gd name="connsiteY57" fmla="*/ 275355 h 479077"/>
                <a:gd name="connsiteX58" fmla="*/ 3035572 w 3785642"/>
                <a:gd name="connsiteY58" fmla="*/ 287260 h 479077"/>
                <a:gd name="connsiteX59" fmla="*/ 3024658 w 3785642"/>
                <a:gd name="connsiteY59" fmla="*/ 299166 h 479077"/>
                <a:gd name="connsiteX60" fmla="*/ 3013248 w 3785642"/>
                <a:gd name="connsiteY60" fmla="*/ 311072 h 479077"/>
                <a:gd name="connsiteX61" fmla="*/ 3000350 w 3785642"/>
                <a:gd name="connsiteY61" fmla="*/ 321490 h 479077"/>
                <a:gd name="connsiteX62" fmla="*/ 2988941 w 3785642"/>
                <a:gd name="connsiteY62" fmla="*/ 333396 h 479077"/>
                <a:gd name="connsiteX63" fmla="*/ 2976539 w 3785642"/>
                <a:gd name="connsiteY63" fmla="*/ 344309 h 479077"/>
                <a:gd name="connsiteX64" fmla="*/ 2965129 w 3785642"/>
                <a:gd name="connsiteY64" fmla="*/ 356215 h 479077"/>
                <a:gd name="connsiteX65" fmla="*/ 2953223 w 3785642"/>
                <a:gd name="connsiteY65" fmla="*/ 367625 h 479077"/>
                <a:gd name="connsiteX66" fmla="*/ 2941813 w 3785642"/>
                <a:gd name="connsiteY66" fmla="*/ 379531 h 479077"/>
                <a:gd name="connsiteX67" fmla="*/ 2931395 w 3785642"/>
                <a:gd name="connsiteY67" fmla="*/ 392429 h 479077"/>
                <a:gd name="connsiteX68" fmla="*/ 2918497 w 3785642"/>
                <a:gd name="connsiteY68" fmla="*/ 402847 h 479077"/>
                <a:gd name="connsiteX69" fmla="*/ 2907584 w 3785642"/>
                <a:gd name="connsiteY69" fmla="*/ 415249 h 479077"/>
                <a:gd name="connsiteX70" fmla="*/ 2896174 w 3785642"/>
                <a:gd name="connsiteY70" fmla="*/ 426658 h 479077"/>
                <a:gd name="connsiteX71" fmla="*/ 2884268 w 3785642"/>
                <a:gd name="connsiteY71" fmla="*/ 438068 h 479077"/>
                <a:gd name="connsiteX72" fmla="*/ 2873354 w 3785642"/>
                <a:gd name="connsiteY72" fmla="*/ 450470 h 479077"/>
                <a:gd name="connsiteX73" fmla="*/ 2860952 w 3785642"/>
                <a:gd name="connsiteY73" fmla="*/ 461384 h 479077"/>
                <a:gd name="connsiteX74" fmla="*/ 2850039 w 3785642"/>
                <a:gd name="connsiteY74" fmla="*/ 473786 h 479077"/>
                <a:gd name="connsiteX75" fmla="*/ 2833668 w 3785642"/>
                <a:gd name="connsiteY75" fmla="*/ 473786 h 479077"/>
                <a:gd name="connsiteX76" fmla="*/ 2817297 w 3785642"/>
                <a:gd name="connsiteY76" fmla="*/ 473290 h 479077"/>
                <a:gd name="connsiteX77" fmla="*/ 2800927 w 3785642"/>
                <a:gd name="connsiteY77" fmla="*/ 473290 h 479077"/>
                <a:gd name="connsiteX78" fmla="*/ 2784556 w 3785642"/>
                <a:gd name="connsiteY78" fmla="*/ 473786 h 479077"/>
                <a:gd name="connsiteX79" fmla="*/ 2768186 w 3785642"/>
                <a:gd name="connsiteY79" fmla="*/ 474282 h 479077"/>
                <a:gd name="connsiteX80" fmla="*/ 2751815 w 3785642"/>
                <a:gd name="connsiteY80" fmla="*/ 474282 h 479077"/>
                <a:gd name="connsiteX81" fmla="*/ 2735444 w 3785642"/>
                <a:gd name="connsiteY81" fmla="*/ 473290 h 479077"/>
                <a:gd name="connsiteX82" fmla="*/ 2719074 w 3785642"/>
                <a:gd name="connsiteY82" fmla="*/ 474282 h 479077"/>
                <a:gd name="connsiteX83" fmla="*/ 2702703 w 3785642"/>
                <a:gd name="connsiteY83" fmla="*/ 472298 h 479077"/>
                <a:gd name="connsiteX84" fmla="*/ 2686333 w 3785642"/>
                <a:gd name="connsiteY84" fmla="*/ 472794 h 479077"/>
                <a:gd name="connsiteX85" fmla="*/ 2669962 w 3785642"/>
                <a:gd name="connsiteY85" fmla="*/ 474282 h 479077"/>
                <a:gd name="connsiteX86" fmla="*/ 2653592 w 3785642"/>
                <a:gd name="connsiteY86" fmla="*/ 472298 h 479077"/>
                <a:gd name="connsiteX87" fmla="*/ 2637221 w 3785642"/>
                <a:gd name="connsiteY87" fmla="*/ 474282 h 479077"/>
                <a:gd name="connsiteX88" fmla="*/ 2620851 w 3785642"/>
                <a:gd name="connsiteY88" fmla="*/ 474282 h 479077"/>
                <a:gd name="connsiteX89" fmla="*/ 2604480 w 3785642"/>
                <a:gd name="connsiteY89" fmla="*/ 472298 h 479077"/>
                <a:gd name="connsiteX90" fmla="*/ 2588109 w 3785642"/>
                <a:gd name="connsiteY90" fmla="*/ 473786 h 479077"/>
                <a:gd name="connsiteX91" fmla="*/ 2571739 w 3785642"/>
                <a:gd name="connsiteY91" fmla="*/ 472298 h 479077"/>
                <a:gd name="connsiteX92" fmla="*/ 2555368 w 3785642"/>
                <a:gd name="connsiteY92" fmla="*/ 473290 h 479077"/>
                <a:gd name="connsiteX93" fmla="*/ 2538998 w 3785642"/>
                <a:gd name="connsiteY93" fmla="*/ 474282 h 479077"/>
                <a:gd name="connsiteX94" fmla="*/ 2522627 w 3785642"/>
                <a:gd name="connsiteY94" fmla="*/ 473290 h 479077"/>
                <a:gd name="connsiteX95" fmla="*/ 2506257 w 3785642"/>
                <a:gd name="connsiteY95" fmla="*/ 474282 h 479077"/>
                <a:gd name="connsiteX96" fmla="*/ 2489886 w 3785642"/>
                <a:gd name="connsiteY96" fmla="*/ 473786 h 479077"/>
                <a:gd name="connsiteX97" fmla="*/ 2473516 w 3785642"/>
                <a:gd name="connsiteY97" fmla="*/ 474282 h 479077"/>
                <a:gd name="connsiteX98" fmla="*/ 2457145 w 3785642"/>
                <a:gd name="connsiteY98" fmla="*/ 472794 h 479077"/>
                <a:gd name="connsiteX99" fmla="*/ 2440775 w 3785642"/>
                <a:gd name="connsiteY99" fmla="*/ 472298 h 479077"/>
                <a:gd name="connsiteX100" fmla="*/ 2424404 w 3785642"/>
                <a:gd name="connsiteY100" fmla="*/ 473786 h 479077"/>
                <a:gd name="connsiteX101" fmla="*/ 2408033 w 3785642"/>
                <a:gd name="connsiteY101" fmla="*/ 472794 h 479077"/>
                <a:gd name="connsiteX102" fmla="*/ 2391663 w 3785642"/>
                <a:gd name="connsiteY102" fmla="*/ 473290 h 479077"/>
                <a:gd name="connsiteX103" fmla="*/ 2375292 w 3785642"/>
                <a:gd name="connsiteY103" fmla="*/ 473290 h 479077"/>
                <a:gd name="connsiteX104" fmla="*/ 2358922 w 3785642"/>
                <a:gd name="connsiteY104" fmla="*/ 472794 h 479077"/>
                <a:gd name="connsiteX105" fmla="*/ 2342551 w 3785642"/>
                <a:gd name="connsiteY105" fmla="*/ 472298 h 479077"/>
                <a:gd name="connsiteX106" fmla="*/ 2326180 w 3785642"/>
                <a:gd name="connsiteY106" fmla="*/ 473786 h 479077"/>
                <a:gd name="connsiteX107" fmla="*/ 2309810 w 3785642"/>
                <a:gd name="connsiteY107" fmla="*/ 473786 h 479077"/>
                <a:gd name="connsiteX108" fmla="*/ 2293439 w 3785642"/>
                <a:gd name="connsiteY108" fmla="*/ 473786 h 479077"/>
                <a:gd name="connsiteX109" fmla="*/ 2277069 w 3785642"/>
                <a:gd name="connsiteY109" fmla="*/ 472794 h 479077"/>
                <a:gd name="connsiteX110" fmla="*/ 2260698 w 3785642"/>
                <a:gd name="connsiteY110" fmla="*/ 474282 h 479077"/>
                <a:gd name="connsiteX111" fmla="*/ 2244327 w 3785642"/>
                <a:gd name="connsiteY111" fmla="*/ 472298 h 479077"/>
                <a:gd name="connsiteX112" fmla="*/ 2227957 w 3785642"/>
                <a:gd name="connsiteY112" fmla="*/ 474282 h 479077"/>
                <a:gd name="connsiteX113" fmla="*/ 2211586 w 3785642"/>
                <a:gd name="connsiteY113" fmla="*/ 473290 h 479077"/>
                <a:gd name="connsiteX114" fmla="*/ 2195216 w 3785642"/>
                <a:gd name="connsiteY114" fmla="*/ 474282 h 479077"/>
                <a:gd name="connsiteX115" fmla="*/ 2178845 w 3785642"/>
                <a:gd name="connsiteY115" fmla="*/ 472794 h 479077"/>
                <a:gd name="connsiteX116" fmla="*/ 2162474 w 3785642"/>
                <a:gd name="connsiteY116" fmla="*/ 474778 h 479077"/>
                <a:gd name="connsiteX117" fmla="*/ 2146104 w 3785642"/>
                <a:gd name="connsiteY117" fmla="*/ 473290 h 479077"/>
                <a:gd name="connsiteX118" fmla="*/ 2129733 w 3785642"/>
                <a:gd name="connsiteY118" fmla="*/ 474778 h 479077"/>
                <a:gd name="connsiteX119" fmla="*/ 2113363 w 3785642"/>
                <a:gd name="connsiteY119" fmla="*/ 474778 h 479077"/>
                <a:gd name="connsiteX120" fmla="*/ 2096992 w 3785642"/>
                <a:gd name="connsiteY120" fmla="*/ 474778 h 479077"/>
                <a:gd name="connsiteX121" fmla="*/ 2080621 w 3785642"/>
                <a:gd name="connsiteY121" fmla="*/ 474282 h 479077"/>
                <a:gd name="connsiteX122" fmla="*/ 2064251 w 3785642"/>
                <a:gd name="connsiteY122" fmla="*/ 472794 h 479077"/>
                <a:gd name="connsiteX123" fmla="*/ 2047880 w 3785642"/>
                <a:gd name="connsiteY123" fmla="*/ 474778 h 479077"/>
                <a:gd name="connsiteX124" fmla="*/ 2031510 w 3785642"/>
                <a:gd name="connsiteY124" fmla="*/ 474778 h 479077"/>
                <a:gd name="connsiteX125" fmla="*/ 2015139 w 3785642"/>
                <a:gd name="connsiteY125" fmla="*/ 474778 h 479077"/>
                <a:gd name="connsiteX126" fmla="*/ 1998769 w 3785642"/>
                <a:gd name="connsiteY126" fmla="*/ 474282 h 479077"/>
                <a:gd name="connsiteX127" fmla="*/ 1982398 w 3785642"/>
                <a:gd name="connsiteY127" fmla="*/ 473786 h 479077"/>
                <a:gd name="connsiteX128" fmla="*/ 1966028 w 3785642"/>
                <a:gd name="connsiteY128" fmla="*/ 473786 h 479077"/>
                <a:gd name="connsiteX129" fmla="*/ 1949657 w 3785642"/>
                <a:gd name="connsiteY129" fmla="*/ 472794 h 479077"/>
                <a:gd name="connsiteX130" fmla="*/ 1933287 w 3785642"/>
                <a:gd name="connsiteY130" fmla="*/ 473290 h 479077"/>
                <a:gd name="connsiteX131" fmla="*/ 1916916 w 3785642"/>
                <a:gd name="connsiteY131" fmla="*/ 474778 h 479077"/>
                <a:gd name="connsiteX132" fmla="*/ 1900546 w 3785642"/>
                <a:gd name="connsiteY132" fmla="*/ 472794 h 479077"/>
                <a:gd name="connsiteX133" fmla="*/ 1884175 w 3785642"/>
                <a:gd name="connsiteY133" fmla="*/ 473786 h 479077"/>
                <a:gd name="connsiteX134" fmla="*/ 1867804 w 3785642"/>
                <a:gd name="connsiteY134" fmla="*/ 474778 h 479077"/>
                <a:gd name="connsiteX135" fmla="*/ 1851434 w 3785642"/>
                <a:gd name="connsiteY135" fmla="*/ 474778 h 479077"/>
                <a:gd name="connsiteX136" fmla="*/ 1835063 w 3785642"/>
                <a:gd name="connsiteY136" fmla="*/ 474778 h 479077"/>
                <a:gd name="connsiteX137" fmla="*/ 1818693 w 3785642"/>
                <a:gd name="connsiteY137" fmla="*/ 474282 h 479077"/>
                <a:gd name="connsiteX138" fmla="*/ 1802322 w 3785642"/>
                <a:gd name="connsiteY138" fmla="*/ 472794 h 479077"/>
                <a:gd name="connsiteX139" fmla="*/ 1785951 w 3785642"/>
                <a:gd name="connsiteY139" fmla="*/ 473786 h 479077"/>
                <a:gd name="connsiteX140" fmla="*/ 1769581 w 3785642"/>
                <a:gd name="connsiteY140" fmla="*/ 473290 h 479077"/>
                <a:gd name="connsiteX141" fmla="*/ 1753210 w 3785642"/>
                <a:gd name="connsiteY141" fmla="*/ 472298 h 479077"/>
                <a:gd name="connsiteX142" fmla="*/ 1736840 w 3785642"/>
                <a:gd name="connsiteY142" fmla="*/ 473290 h 479077"/>
                <a:gd name="connsiteX143" fmla="*/ 1720469 w 3785642"/>
                <a:gd name="connsiteY143" fmla="*/ 474778 h 479077"/>
                <a:gd name="connsiteX144" fmla="*/ 1704098 w 3785642"/>
                <a:gd name="connsiteY144" fmla="*/ 472794 h 479077"/>
                <a:gd name="connsiteX145" fmla="*/ 1687728 w 3785642"/>
                <a:gd name="connsiteY145" fmla="*/ 474778 h 479077"/>
                <a:gd name="connsiteX146" fmla="*/ 1671357 w 3785642"/>
                <a:gd name="connsiteY146" fmla="*/ 474778 h 479077"/>
                <a:gd name="connsiteX147" fmla="*/ 1654987 w 3785642"/>
                <a:gd name="connsiteY147" fmla="*/ 472298 h 479077"/>
                <a:gd name="connsiteX148" fmla="*/ 1638616 w 3785642"/>
                <a:gd name="connsiteY148" fmla="*/ 472794 h 479077"/>
                <a:gd name="connsiteX149" fmla="*/ 1622246 w 3785642"/>
                <a:gd name="connsiteY149" fmla="*/ 473786 h 479077"/>
                <a:gd name="connsiteX150" fmla="*/ 1605875 w 3785642"/>
                <a:gd name="connsiteY150" fmla="*/ 474778 h 479077"/>
                <a:gd name="connsiteX151" fmla="*/ 1589505 w 3785642"/>
                <a:gd name="connsiteY151" fmla="*/ 473290 h 479077"/>
                <a:gd name="connsiteX152" fmla="*/ 1573134 w 3785642"/>
                <a:gd name="connsiteY152" fmla="*/ 474778 h 479077"/>
                <a:gd name="connsiteX153" fmla="*/ 1556763 w 3785642"/>
                <a:gd name="connsiteY153" fmla="*/ 472794 h 479077"/>
                <a:gd name="connsiteX154" fmla="*/ 1540393 w 3785642"/>
                <a:gd name="connsiteY154" fmla="*/ 472794 h 479077"/>
                <a:gd name="connsiteX155" fmla="*/ 1524022 w 3785642"/>
                <a:gd name="connsiteY155" fmla="*/ 474282 h 479077"/>
                <a:gd name="connsiteX156" fmla="*/ 1507652 w 3785642"/>
                <a:gd name="connsiteY156" fmla="*/ 472794 h 479077"/>
                <a:gd name="connsiteX157" fmla="*/ 1491281 w 3785642"/>
                <a:gd name="connsiteY157" fmla="*/ 474282 h 479077"/>
                <a:gd name="connsiteX158" fmla="*/ 1474910 w 3785642"/>
                <a:gd name="connsiteY158" fmla="*/ 474282 h 479077"/>
                <a:gd name="connsiteX159" fmla="*/ 1458540 w 3785642"/>
                <a:gd name="connsiteY159" fmla="*/ 472794 h 479077"/>
                <a:gd name="connsiteX160" fmla="*/ 1442169 w 3785642"/>
                <a:gd name="connsiteY160" fmla="*/ 471802 h 479077"/>
                <a:gd name="connsiteX161" fmla="*/ 1425799 w 3785642"/>
                <a:gd name="connsiteY161" fmla="*/ 472298 h 479077"/>
                <a:gd name="connsiteX162" fmla="*/ 1409428 w 3785642"/>
                <a:gd name="connsiteY162" fmla="*/ 472794 h 479077"/>
                <a:gd name="connsiteX163" fmla="*/ 1393058 w 3785642"/>
                <a:gd name="connsiteY163" fmla="*/ 473786 h 479077"/>
                <a:gd name="connsiteX164" fmla="*/ 1376687 w 3785642"/>
                <a:gd name="connsiteY164" fmla="*/ 471802 h 479077"/>
                <a:gd name="connsiteX165" fmla="*/ 1360317 w 3785642"/>
                <a:gd name="connsiteY165" fmla="*/ 473786 h 479077"/>
                <a:gd name="connsiteX166" fmla="*/ 1343946 w 3785642"/>
                <a:gd name="connsiteY166" fmla="*/ 473786 h 479077"/>
                <a:gd name="connsiteX167" fmla="*/ 1327576 w 3785642"/>
                <a:gd name="connsiteY167" fmla="*/ 472794 h 479077"/>
                <a:gd name="connsiteX168" fmla="*/ 1311205 w 3785642"/>
                <a:gd name="connsiteY168" fmla="*/ 473786 h 479077"/>
                <a:gd name="connsiteX169" fmla="*/ 1294834 w 3785642"/>
                <a:gd name="connsiteY169" fmla="*/ 473786 h 479077"/>
                <a:gd name="connsiteX170" fmla="*/ 1278464 w 3785642"/>
                <a:gd name="connsiteY170" fmla="*/ 473786 h 479077"/>
                <a:gd name="connsiteX171" fmla="*/ 1262093 w 3785642"/>
                <a:gd name="connsiteY171" fmla="*/ 473786 h 479077"/>
                <a:gd name="connsiteX172" fmla="*/ 1245723 w 3785642"/>
                <a:gd name="connsiteY172" fmla="*/ 473290 h 479077"/>
                <a:gd name="connsiteX173" fmla="*/ 1229352 w 3785642"/>
                <a:gd name="connsiteY173" fmla="*/ 472794 h 479077"/>
                <a:gd name="connsiteX174" fmla="*/ 1212981 w 3785642"/>
                <a:gd name="connsiteY174" fmla="*/ 473786 h 479077"/>
                <a:gd name="connsiteX175" fmla="*/ 1196611 w 3785642"/>
                <a:gd name="connsiteY175" fmla="*/ 472298 h 479077"/>
                <a:gd name="connsiteX176" fmla="*/ 1180240 w 3785642"/>
                <a:gd name="connsiteY176" fmla="*/ 472794 h 479077"/>
                <a:gd name="connsiteX177" fmla="*/ 1163870 w 3785642"/>
                <a:gd name="connsiteY177" fmla="*/ 472794 h 479077"/>
                <a:gd name="connsiteX178" fmla="*/ 1147499 w 3785642"/>
                <a:gd name="connsiteY178" fmla="*/ 473786 h 479077"/>
                <a:gd name="connsiteX179" fmla="*/ 1131128 w 3785642"/>
                <a:gd name="connsiteY179" fmla="*/ 473786 h 479077"/>
                <a:gd name="connsiteX180" fmla="*/ 1114758 w 3785642"/>
                <a:gd name="connsiteY180" fmla="*/ 472794 h 479077"/>
                <a:gd name="connsiteX181" fmla="*/ 1098387 w 3785642"/>
                <a:gd name="connsiteY181" fmla="*/ 473786 h 479077"/>
                <a:gd name="connsiteX182" fmla="*/ 1082017 w 3785642"/>
                <a:gd name="connsiteY182" fmla="*/ 474778 h 479077"/>
                <a:gd name="connsiteX183" fmla="*/ 1065646 w 3785642"/>
                <a:gd name="connsiteY183" fmla="*/ 474778 h 479077"/>
                <a:gd name="connsiteX184" fmla="*/ 1049276 w 3785642"/>
                <a:gd name="connsiteY184" fmla="*/ 474282 h 479077"/>
                <a:gd name="connsiteX185" fmla="*/ 1032905 w 3785642"/>
                <a:gd name="connsiteY185" fmla="*/ 473290 h 479077"/>
                <a:gd name="connsiteX186" fmla="*/ 1016535 w 3785642"/>
                <a:gd name="connsiteY186" fmla="*/ 474282 h 479077"/>
                <a:gd name="connsiteX187" fmla="*/ 1000164 w 3785642"/>
                <a:gd name="connsiteY187" fmla="*/ 474282 h 479077"/>
                <a:gd name="connsiteX188" fmla="*/ 983793 w 3785642"/>
                <a:gd name="connsiteY188" fmla="*/ 472794 h 479077"/>
                <a:gd name="connsiteX189" fmla="*/ 967423 w 3785642"/>
                <a:gd name="connsiteY189" fmla="*/ 472794 h 479077"/>
                <a:gd name="connsiteX190" fmla="*/ 951052 w 3785642"/>
                <a:gd name="connsiteY190" fmla="*/ 473786 h 479077"/>
                <a:gd name="connsiteX191" fmla="*/ 934682 w 3785642"/>
                <a:gd name="connsiteY191" fmla="*/ 474282 h 479077"/>
                <a:gd name="connsiteX192" fmla="*/ 918311 w 3785642"/>
                <a:gd name="connsiteY192" fmla="*/ 474778 h 479077"/>
                <a:gd name="connsiteX193" fmla="*/ 901940 w 3785642"/>
                <a:gd name="connsiteY193" fmla="*/ 473290 h 479077"/>
                <a:gd name="connsiteX194" fmla="*/ 885570 w 3785642"/>
                <a:gd name="connsiteY194" fmla="*/ 474778 h 479077"/>
                <a:gd name="connsiteX195" fmla="*/ 869199 w 3785642"/>
                <a:gd name="connsiteY195" fmla="*/ 474282 h 479077"/>
                <a:gd name="connsiteX196" fmla="*/ 852829 w 3785642"/>
                <a:gd name="connsiteY196" fmla="*/ 473786 h 479077"/>
                <a:gd name="connsiteX197" fmla="*/ 836458 w 3785642"/>
                <a:gd name="connsiteY197" fmla="*/ 474778 h 479077"/>
                <a:gd name="connsiteX198" fmla="*/ 820088 w 3785642"/>
                <a:gd name="connsiteY198" fmla="*/ 475274 h 479077"/>
                <a:gd name="connsiteX199" fmla="*/ 803717 w 3785642"/>
                <a:gd name="connsiteY199" fmla="*/ 473786 h 479077"/>
                <a:gd name="connsiteX200" fmla="*/ 787347 w 3785642"/>
                <a:gd name="connsiteY200" fmla="*/ 475770 h 479077"/>
                <a:gd name="connsiteX201" fmla="*/ 770976 w 3785642"/>
                <a:gd name="connsiteY201" fmla="*/ 474778 h 479077"/>
                <a:gd name="connsiteX202" fmla="*/ 754605 w 3785642"/>
                <a:gd name="connsiteY202" fmla="*/ 475274 h 479077"/>
                <a:gd name="connsiteX203" fmla="*/ 738235 w 3785642"/>
                <a:gd name="connsiteY203" fmla="*/ 473786 h 479077"/>
                <a:gd name="connsiteX204" fmla="*/ 721864 w 3785642"/>
                <a:gd name="connsiteY204" fmla="*/ 475274 h 479077"/>
                <a:gd name="connsiteX205" fmla="*/ 705494 w 3785642"/>
                <a:gd name="connsiteY205" fmla="*/ 475770 h 479077"/>
                <a:gd name="connsiteX206" fmla="*/ 689123 w 3785642"/>
                <a:gd name="connsiteY206" fmla="*/ 474282 h 479077"/>
                <a:gd name="connsiteX207" fmla="*/ 672753 w 3785642"/>
                <a:gd name="connsiteY207" fmla="*/ 475274 h 479077"/>
                <a:gd name="connsiteX208" fmla="*/ 656382 w 3785642"/>
                <a:gd name="connsiteY208" fmla="*/ 474778 h 479077"/>
                <a:gd name="connsiteX209" fmla="*/ 640011 w 3785642"/>
                <a:gd name="connsiteY209" fmla="*/ 475770 h 479077"/>
                <a:gd name="connsiteX210" fmla="*/ 623641 w 3785642"/>
                <a:gd name="connsiteY210" fmla="*/ 473786 h 479077"/>
                <a:gd name="connsiteX211" fmla="*/ 607270 w 3785642"/>
                <a:gd name="connsiteY211" fmla="*/ 474778 h 479077"/>
                <a:gd name="connsiteX212" fmla="*/ 590900 w 3785642"/>
                <a:gd name="connsiteY212" fmla="*/ 475274 h 479077"/>
                <a:gd name="connsiteX213" fmla="*/ 574529 w 3785642"/>
                <a:gd name="connsiteY213" fmla="*/ 474282 h 479077"/>
                <a:gd name="connsiteX214" fmla="*/ 558158 w 3785642"/>
                <a:gd name="connsiteY214" fmla="*/ 475274 h 479077"/>
                <a:gd name="connsiteX215" fmla="*/ 541788 w 3785642"/>
                <a:gd name="connsiteY215" fmla="*/ 475770 h 479077"/>
                <a:gd name="connsiteX216" fmla="*/ 525417 w 3785642"/>
                <a:gd name="connsiteY216" fmla="*/ 474282 h 479077"/>
                <a:gd name="connsiteX217" fmla="*/ 509047 w 3785642"/>
                <a:gd name="connsiteY217" fmla="*/ 473786 h 479077"/>
                <a:gd name="connsiteX218" fmla="*/ 492676 w 3785642"/>
                <a:gd name="connsiteY218" fmla="*/ 473786 h 479077"/>
                <a:gd name="connsiteX219" fmla="*/ 476306 w 3785642"/>
                <a:gd name="connsiteY219" fmla="*/ 474778 h 479077"/>
                <a:gd name="connsiteX220" fmla="*/ 459935 w 3785642"/>
                <a:gd name="connsiteY220" fmla="*/ 473786 h 479077"/>
                <a:gd name="connsiteX221" fmla="*/ 443565 w 3785642"/>
                <a:gd name="connsiteY221" fmla="*/ 474778 h 479077"/>
                <a:gd name="connsiteX222" fmla="*/ 427194 w 3785642"/>
                <a:gd name="connsiteY222" fmla="*/ 474282 h 479077"/>
                <a:gd name="connsiteX223" fmla="*/ 410823 w 3785642"/>
                <a:gd name="connsiteY223" fmla="*/ 473290 h 479077"/>
                <a:gd name="connsiteX224" fmla="*/ 394453 w 3785642"/>
                <a:gd name="connsiteY224" fmla="*/ 475770 h 479077"/>
                <a:gd name="connsiteX225" fmla="*/ 378082 w 3785642"/>
                <a:gd name="connsiteY225" fmla="*/ 475274 h 479077"/>
                <a:gd name="connsiteX226" fmla="*/ 361712 w 3785642"/>
                <a:gd name="connsiteY226" fmla="*/ 474778 h 479077"/>
                <a:gd name="connsiteX227" fmla="*/ 345341 w 3785642"/>
                <a:gd name="connsiteY227" fmla="*/ 476266 h 479077"/>
                <a:gd name="connsiteX228" fmla="*/ 328970 w 3785642"/>
                <a:gd name="connsiteY228" fmla="*/ 474282 h 479077"/>
                <a:gd name="connsiteX229" fmla="*/ 312600 w 3785642"/>
                <a:gd name="connsiteY229" fmla="*/ 475274 h 479077"/>
                <a:gd name="connsiteX230" fmla="*/ 296229 w 3785642"/>
                <a:gd name="connsiteY230" fmla="*/ 474282 h 479077"/>
                <a:gd name="connsiteX231" fmla="*/ 279859 w 3785642"/>
                <a:gd name="connsiteY231" fmla="*/ 475770 h 479077"/>
                <a:gd name="connsiteX232" fmla="*/ 263488 w 3785642"/>
                <a:gd name="connsiteY232" fmla="*/ 476266 h 479077"/>
                <a:gd name="connsiteX233" fmla="*/ 247118 w 3785642"/>
                <a:gd name="connsiteY233" fmla="*/ 476266 h 479077"/>
                <a:gd name="connsiteX234" fmla="*/ 230747 w 3785642"/>
                <a:gd name="connsiteY234" fmla="*/ 474778 h 479077"/>
                <a:gd name="connsiteX235" fmla="*/ 214376 w 3785642"/>
                <a:gd name="connsiteY235" fmla="*/ 474778 h 479077"/>
                <a:gd name="connsiteX236" fmla="*/ 198006 w 3785642"/>
                <a:gd name="connsiteY236" fmla="*/ 476762 h 479077"/>
                <a:gd name="connsiteX237" fmla="*/ 181635 w 3785642"/>
                <a:gd name="connsiteY237" fmla="*/ 476266 h 479077"/>
                <a:gd name="connsiteX238" fmla="*/ 165265 w 3785642"/>
                <a:gd name="connsiteY238" fmla="*/ 474778 h 479077"/>
                <a:gd name="connsiteX239" fmla="*/ 148894 w 3785642"/>
                <a:gd name="connsiteY239" fmla="*/ 476762 h 479077"/>
                <a:gd name="connsiteX240" fmla="*/ 132524 w 3785642"/>
                <a:gd name="connsiteY240" fmla="*/ 476266 h 479077"/>
                <a:gd name="connsiteX241" fmla="*/ 116153 w 3785642"/>
                <a:gd name="connsiteY241" fmla="*/ 475274 h 479077"/>
                <a:gd name="connsiteX242" fmla="*/ 99783 w 3785642"/>
                <a:gd name="connsiteY242" fmla="*/ 475274 h 479077"/>
                <a:gd name="connsiteX243" fmla="*/ 83412 w 3785642"/>
                <a:gd name="connsiteY243" fmla="*/ 475274 h 479077"/>
                <a:gd name="connsiteX244" fmla="*/ 67041 w 3785642"/>
                <a:gd name="connsiteY244" fmla="*/ 474778 h 479077"/>
                <a:gd name="connsiteX245" fmla="*/ 50671 w 3785642"/>
                <a:gd name="connsiteY245" fmla="*/ 475274 h 479077"/>
                <a:gd name="connsiteX246" fmla="*/ 34300 w 3785642"/>
                <a:gd name="connsiteY246" fmla="*/ 475274 h 479077"/>
                <a:gd name="connsiteX247" fmla="*/ 17930 w 3785642"/>
                <a:gd name="connsiteY247" fmla="*/ 475770 h 479077"/>
                <a:gd name="connsiteX248" fmla="*/ 567 w 3785642"/>
                <a:gd name="connsiteY248" fmla="*/ 475770 h 479077"/>
                <a:gd name="connsiteX249" fmla="*/ 12969 w 3785642"/>
                <a:gd name="connsiteY249" fmla="*/ 463368 h 479077"/>
                <a:gd name="connsiteX250" fmla="*/ 24379 w 3785642"/>
                <a:gd name="connsiteY250" fmla="*/ 451958 h 479077"/>
                <a:gd name="connsiteX251" fmla="*/ 35788 w 3785642"/>
                <a:gd name="connsiteY251" fmla="*/ 440053 h 479077"/>
                <a:gd name="connsiteX252" fmla="*/ 48686 w 3785642"/>
                <a:gd name="connsiteY252" fmla="*/ 430131 h 479077"/>
                <a:gd name="connsiteX253" fmla="*/ 59600 w 3785642"/>
                <a:gd name="connsiteY253" fmla="*/ 418225 h 479077"/>
                <a:gd name="connsiteX254" fmla="*/ 70514 w 3785642"/>
                <a:gd name="connsiteY254" fmla="*/ 405823 h 479077"/>
                <a:gd name="connsiteX255" fmla="*/ 83412 w 3785642"/>
                <a:gd name="connsiteY255" fmla="*/ 395406 h 479077"/>
                <a:gd name="connsiteX256" fmla="*/ 94822 w 3785642"/>
                <a:gd name="connsiteY256" fmla="*/ 383500 h 479077"/>
                <a:gd name="connsiteX257" fmla="*/ 106728 w 3785642"/>
                <a:gd name="connsiteY257" fmla="*/ 372090 h 479077"/>
                <a:gd name="connsiteX258" fmla="*/ 117145 w 3785642"/>
                <a:gd name="connsiteY258" fmla="*/ 359688 h 479077"/>
                <a:gd name="connsiteX259" fmla="*/ 128555 w 3785642"/>
                <a:gd name="connsiteY259" fmla="*/ 348278 h 479077"/>
                <a:gd name="connsiteX260" fmla="*/ 140461 w 3785642"/>
                <a:gd name="connsiteY260" fmla="*/ 336868 h 479077"/>
                <a:gd name="connsiteX261" fmla="*/ 152863 w 3785642"/>
                <a:gd name="connsiteY261" fmla="*/ 326451 h 479077"/>
                <a:gd name="connsiteX262" fmla="*/ 164769 w 3785642"/>
                <a:gd name="connsiteY262" fmla="*/ 315041 h 479077"/>
                <a:gd name="connsiteX263" fmla="*/ 176178 w 3785642"/>
                <a:gd name="connsiteY263" fmla="*/ 303135 h 479077"/>
                <a:gd name="connsiteX264" fmla="*/ 188084 w 3785642"/>
                <a:gd name="connsiteY264" fmla="*/ 291725 h 479077"/>
                <a:gd name="connsiteX265" fmla="*/ 199494 w 3785642"/>
                <a:gd name="connsiteY265" fmla="*/ 280315 h 479077"/>
                <a:gd name="connsiteX266" fmla="*/ 210904 w 3785642"/>
                <a:gd name="connsiteY266" fmla="*/ 268906 h 479077"/>
                <a:gd name="connsiteX267" fmla="*/ 221818 w 3785642"/>
                <a:gd name="connsiteY267" fmla="*/ 256504 h 479077"/>
                <a:gd name="connsiteX268" fmla="*/ 233724 w 3785642"/>
                <a:gd name="connsiteY268" fmla="*/ 245094 h 479077"/>
                <a:gd name="connsiteX269" fmla="*/ 244141 w 3785642"/>
                <a:gd name="connsiteY269" fmla="*/ 232692 h 479077"/>
                <a:gd name="connsiteX270" fmla="*/ 257039 w 3785642"/>
                <a:gd name="connsiteY270" fmla="*/ 222770 h 479077"/>
                <a:gd name="connsiteX271" fmla="*/ 266961 w 3785642"/>
                <a:gd name="connsiteY271" fmla="*/ 209376 h 479077"/>
                <a:gd name="connsiteX272" fmla="*/ 278371 w 3785642"/>
                <a:gd name="connsiteY272" fmla="*/ 197966 h 479077"/>
                <a:gd name="connsiteX273" fmla="*/ 291269 w 3785642"/>
                <a:gd name="connsiteY273" fmla="*/ 188045 h 479077"/>
                <a:gd name="connsiteX274" fmla="*/ 301686 w 3785642"/>
                <a:gd name="connsiteY274" fmla="*/ 175147 h 479077"/>
                <a:gd name="connsiteX275" fmla="*/ 313592 w 3785642"/>
                <a:gd name="connsiteY275" fmla="*/ 163737 h 479077"/>
                <a:gd name="connsiteX276" fmla="*/ 325994 w 3785642"/>
                <a:gd name="connsiteY276" fmla="*/ 153319 h 479077"/>
                <a:gd name="connsiteX277" fmla="*/ 337404 w 3785642"/>
                <a:gd name="connsiteY277" fmla="*/ 141910 h 479077"/>
                <a:gd name="connsiteX278" fmla="*/ 347325 w 3785642"/>
                <a:gd name="connsiteY278" fmla="*/ 129012 h 479077"/>
                <a:gd name="connsiteX279" fmla="*/ 360224 w 3785642"/>
                <a:gd name="connsiteY279" fmla="*/ 118594 h 479077"/>
                <a:gd name="connsiteX280" fmla="*/ 371137 w 3785642"/>
                <a:gd name="connsiteY280" fmla="*/ 106192 h 479077"/>
                <a:gd name="connsiteX281" fmla="*/ 382051 w 3785642"/>
                <a:gd name="connsiteY281" fmla="*/ 93790 h 479077"/>
                <a:gd name="connsiteX282" fmla="*/ 393957 w 3785642"/>
                <a:gd name="connsiteY282" fmla="*/ 82380 h 479077"/>
                <a:gd name="connsiteX283" fmla="*/ 405366 w 3785642"/>
                <a:gd name="connsiteY283" fmla="*/ 70475 h 479077"/>
                <a:gd name="connsiteX284" fmla="*/ 417272 w 3785642"/>
                <a:gd name="connsiteY284" fmla="*/ 59561 h 479077"/>
                <a:gd name="connsiteX285" fmla="*/ 429674 w 3785642"/>
                <a:gd name="connsiteY285" fmla="*/ 48647 h 479077"/>
                <a:gd name="connsiteX286" fmla="*/ 440092 w 3785642"/>
                <a:gd name="connsiteY286" fmla="*/ 35749 h 479077"/>
                <a:gd name="connsiteX287" fmla="*/ 452494 w 3785642"/>
                <a:gd name="connsiteY287" fmla="*/ 24835 h 479077"/>
                <a:gd name="connsiteX288" fmla="*/ 463904 w 3785642"/>
                <a:gd name="connsiteY288" fmla="*/ 12929 h 479077"/>
                <a:gd name="connsiteX289" fmla="*/ 475313 w 3785642"/>
                <a:gd name="connsiteY289" fmla="*/ 1024 h 479077"/>
                <a:gd name="connsiteX290" fmla="*/ 491684 w 3785642"/>
                <a:gd name="connsiteY290" fmla="*/ 2512 h 479077"/>
                <a:gd name="connsiteX291" fmla="*/ 508055 w 3785642"/>
                <a:gd name="connsiteY291" fmla="*/ 2512 h 479077"/>
                <a:gd name="connsiteX292" fmla="*/ 524425 w 3785642"/>
                <a:gd name="connsiteY292" fmla="*/ 2512 h 479077"/>
                <a:gd name="connsiteX293" fmla="*/ 540796 w 3785642"/>
                <a:gd name="connsiteY293" fmla="*/ 1024 h 479077"/>
                <a:gd name="connsiteX294" fmla="*/ 557166 w 3785642"/>
                <a:gd name="connsiteY294" fmla="*/ 2512 h 479077"/>
                <a:gd name="connsiteX295" fmla="*/ 573537 w 3785642"/>
                <a:gd name="connsiteY295" fmla="*/ 1024 h 479077"/>
                <a:gd name="connsiteX296" fmla="*/ 589908 w 3785642"/>
                <a:gd name="connsiteY296" fmla="*/ 527 h 479077"/>
                <a:gd name="connsiteX297" fmla="*/ 606278 w 3785642"/>
                <a:gd name="connsiteY297" fmla="*/ 1520 h 479077"/>
                <a:gd name="connsiteX298" fmla="*/ 622649 w 3785642"/>
                <a:gd name="connsiteY298" fmla="*/ 1520 h 479077"/>
                <a:gd name="connsiteX299" fmla="*/ 639019 w 3785642"/>
                <a:gd name="connsiteY299" fmla="*/ 2016 h 479077"/>
                <a:gd name="connsiteX300" fmla="*/ 655390 w 3785642"/>
                <a:gd name="connsiteY300" fmla="*/ 527 h 479077"/>
                <a:gd name="connsiteX301" fmla="*/ 671760 w 3785642"/>
                <a:gd name="connsiteY301" fmla="*/ 1520 h 479077"/>
                <a:gd name="connsiteX302" fmla="*/ 688131 w 3785642"/>
                <a:gd name="connsiteY302" fmla="*/ 2512 h 479077"/>
                <a:gd name="connsiteX303" fmla="*/ 704501 w 3785642"/>
                <a:gd name="connsiteY303" fmla="*/ 1024 h 479077"/>
                <a:gd name="connsiteX304" fmla="*/ 720872 w 3785642"/>
                <a:gd name="connsiteY304" fmla="*/ 1520 h 479077"/>
                <a:gd name="connsiteX305" fmla="*/ 737243 w 3785642"/>
                <a:gd name="connsiteY305" fmla="*/ 2016 h 479077"/>
                <a:gd name="connsiteX306" fmla="*/ 753613 w 3785642"/>
                <a:gd name="connsiteY306" fmla="*/ 1024 h 479077"/>
                <a:gd name="connsiteX307" fmla="*/ 769984 w 3785642"/>
                <a:gd name="connsiteY307" fmla="*/ 527 h 479077"/>
                <a:gd name="connsiteX308" fmla="*/ 786354 w 3785642"/>
                <a:gd name="connsiteY308" fmla="*/ 1520 h 479077"/>
                <a:gd name="connsiteX309" fmla="*/ 802725 w 3785642"/>
                <a:gd name="connsiteY309" fmla="*/ 527 h 479077"/>
                <a:gd name="connsiteX310" fmla="*/ 819096 w 3785642"/>
                <a:gd name="connsiteY310" fmla="*/ 2512 h 479077"/>
                <a:gd name="connsiteX311" fmla="*/ 835466 w 3785642"/>
                <a:gd name="connsiteY311" fmla="*/ 527 h 479077"/>
                <a:gd name="connsiteX312" fmla="*/ 851837 w 3785642"/>
                <a:gd name="connsiteY312" fmla="*/ 1520 h 479077"/>
                <a:gd name="connsiteX313" fmla="*/ 868207 w 3785642"/>
                <a:gd name="connsiteY313" fmla="*/ 2016 h 479077"/>
                <a:gd name="connsiteX314" fmla="*/ 884578 w 3785642"/>
                <a:gd name="connsiteY314" fmla="*/ 2512 h 479077"/>
                <a:gd name="connsiteX315" fmla="*/ 900948 w 3785642"/>
                <a:gd name="connsiteY315" fmla="*/ 1520 h 479077"/>
                <a:gd name="connsiteX316" fmla="*/ 917319 w 3785642"/>
                <a:gd name="connsiteY316" fmla="*/ 1024 h 479077"/>
                <a:gd name="connsiteX317" fmla="*/ 933689 w 3785642"/>
                <a:gd name="connsiteY317" fmla="*/ 2512 h 479077"/>
                <a:gd name="connsiteX318" fmla="*/ 950060 w 3785642"/>
                <a:gd name="connsiteY318" fmla="*/ 1520 h 479077"/>
                <a:gd name="connsiteX319" fmla="*/ 966431 w 3785642"/>
                <a:gd name="connsiteY319" fmla="*/ 2016 h 479077"/>
                <a:gd name="connsiteX320" fmla="*/ 982801 w 3785642"/>
                <a:gd name="connsiteY320" fmla="*/ 2512 h 479077"/>
                <a:gd name="connsiteX321" fmla="*/ 999172 w 3785642"/>
                <a:gd name="connsiteY321" fmla="*/ 1520 h 479077"/>
                <a:gd name="connsiteX322" fmla="*/ 1015542 w 3785642"/>
                <a:gd name="connsiteY322" fmla="*/ 2512 h 479077"/>
                <a:gd name="connsiteX323" fmla="*/ 1031913 w 3785642"/>
                <a:gd name="connsiteY323" fmla="*/ 1520 h 479077"/>
                <a:gd name="connsiteX324" fmla="*/ 1048283 w 3785642"/>
                <a:gd name="connsiteY324" fmla="*/ 2016 h 479077"/>
                <a:gd name="connsiteX325" fmla="*/ 1064654 w 3785642"/>
                <a:gd name="connsiteY325" fmla="*/ 3504 h 479077"/>
                <a:gd name="connsiteX326" fmla="*/ 1081025 w 3785642"/>
                <a:gd name="connsiteY326" fmla="*/ 2016 h 479077"/>
                <a:gd name="connsiteX327" fmla="*/ 1097395 w 3785642"/>
                <a:gd name="connsiteY327" fmla="*/ 2512 h 479077"/>
                <a:gd name="connsiteX328" fmla="*/ 1113766 w 3785642"/>
                <a:gd name="connsiteY328" fmla="*/ 2512 h 479077"/>
                <a:gd name="connsiteX329" fmla="*/ 1130136 w 3785642"/>
                <a:gd name="connsiteY329" fmla="*/ 3504 h 479077"/>
                <a:gd name="connsiteX330" fmla="*/ 1146507 w 3785642"/>
                <a:gd name="connsiteY330" fmla="*/ 1520 h 479077"/>
                <a:gd name="connsiteX331" fmla="*/ 1162878 w 3785642"/>
                <a:gd name="connsiteY331" fmla="*/ 3008 h 479077"/>
                <a:gd name="connsiteX332" fmla="*/ 1179248 w 3785642"/>
                <a:gd name="connsiteY332" fmla="*/ 4000 h 479077"/>
                <a:gd name="connsiteX333" fmla="*/ 1195619 w 3785642"/>
                <a:gd name="connsiteY333" fmla="*/ 3504 h 479077"/>
                <a:gd name="connsiteX334" fmla="*/ 1211989 w 3785642"/>
                <a:gd name="connsiteY334" fmla="*/ 1520 h 479077"/>
                <a:gd name="connsiteX335" fmla="*/ 1228360 w 3785642"/>
                <a:gd name="connsiteY335" fmla="*/ 3504 h 479077"/>
                <a:gd name="connsiteX336" fmla="*/ 1244730 w 3785642"/>
                <a:gd name="connsiteY336" fmla="*/ 1520 h 479077"/>
                <a:gd name="connsiteX337" fmla="*/ 1261101 w 3785642"/>
                <a:gd name="connsiteY337" fmla="*/ 2512 h 479077"/>
                <a:gd name="connsiteX338" fmla="*/ 1277471 w 3785642"/>
                <a:gd name="connsiteY338" fmla="*/ 3504 h 479077"/>
                <a:gd name="connsiteX339" fmla="*/ 1293842 w 3785642"/>
                <a:gd name="connsiteY339" fmla="*/ 4000 h 479077"/>
                <a:gd name="connsiteX340" fmla="*/ 1310213 w 3785642"/>
                <a:gd name="connsiteY340" fmla="*/ 1520 h 479077"/>
                <a:gd name="connsiteX341" fmla="*/ 1326583 w 3785642"/>
                <a:gd name="connsiteY341" fmla="*/ 2016 h 479077"/>
                <a:gd name="connsiteX342" fmla="*/ 1342954 w 3785642"/>
                <a:gd name="connsiteY342" fmla="*/ 3008 h 479077"/>
                <a:gd name="connsiteX343" fmla="*/ 1359324 w 3785642"/>
                <a:gd name="connsiteY343" fmla="*/ 3008 h 479077"/>
                <a:gd name="connsiteX344" fmla="*/ 1375695 w 3785642"/>
                <a:gd name="connsiteY344" fmla="*/ 2512 h 479077"/>
                <a:gd name="connsiteX345" fmla="*/ 1392066 w 3785642"/>
                <a:gd name="connsiteY345" fmla="*/ 2512 h 479077"/>
                <a:gd name="connsiteX346" fmla="*/ 1408436 w 3785642"/>
                <a:gd name="connsiteY346" fmla="*/ 3504 h 479077"/>
                <a:gd name="connsiteX347" fmla="*/ 1424807 w 3785642"/>
                <a:gd name="connsiteY347" fmla="*/ 3504 h 479077"/>
                <a:gd name="connsiteX348" fmla="*/ 1441177 w 3785642"/>
                <a:gd name="connsiteY348" fmla="*/ 1520 h 479077"/>
                <a:gd name="connsiteX349" fmla="*/ 1457548 w 3785642"/>
                <a:gd name="connsiteY349" fmla="*/ 2512 h 479077"/>
                <a:gd name="connsiteX350" fmla="*/ 1473919 w 3785642"/>
                <a:gd name="connsiteY350" fmla="*/ 2016 h 479077"/>
                <a:gd name="connsiteX351" fmla="*/ 1490289 w 3785642"/>
                <a:gd name="connsiteY351" fmla="*/ 2016 h 479077"/>
                <a:gd name="connsiteX352" fmla="*/ 1506660 w 3785642"/>
                <a:gd name="connsiteY352" fmla="*/ 1520 h 479077"/>
                <a:gd name="connsiteX353" fmla="*/ 1523030 w 3785642"/>
                <a:gd name="connsiteY353" fmla="*/ 3504 h 479077"/>
                <a:gd name="connsiteX354" fmla="*/ 1539401 w 3785642"/>
                <a:gd name="connsiteY354" fmla="*/ 3008 h 479077"/>
                <a:gd name="connsiteX355" fmla="*/ 1555771 w 3785642"/>
                <a:gd name="connsiteY355" fmla="*/ 3008 h 479077"/>
                <a:gd name="connsiteX356" fmla="*/ 1572142 w 3785642"/>
                <a:gd name="connsiteY356" fmla="*/ 2512 h 479077"/>
                <a:gd name="connsiteX357" fmla="*/ 1588512 w 3785642"/>
                <a:gd name="connsiteY357" fmla="*/ 2016 h 479077"/>
                <a:gd name="connsiteX358" fmla="*/ 1604883 w 3785642"/>
                <a:gd name="connsiteY358" fmla="*/ 3008 h 479077"/>
                <a:gd name="connsiteX359" fmla="*/ 1621253 w 3785642"/>
                <a:gd name="connsiteY359" fmla="*/ 3008 h 479077"/>
                <a:gd name="connsiteX360" fmla="*/ 1637624 w 3785642"/>
                <a:gd name="connsiteY36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05646 w 3785642"/>
                <a:gd name="connsiteY29" fmla="*/ 79404 h 479077"/>
                <a:gd name="connsiteX30" fmla="*/ 3393740 w 3785642"/>
                <a:gd name="connsiteY30" fmla="*/ 68490 h 479077"/>
                <a:gd name="connsiteX31" fmla="*/ 3382330 w 3785642"/>
                <a:gd name="connsiteY31" fmla="*/ 56584 h 479077"/>
                <a:gd name="connsiteX32" fmla="*/ 3370921 w 3785642"/>
                <a:gd name="connsiteY32" fmla="*/ 44678 h 479077"/>
                <a:gd name="connsiteX33" fmla="*/ 3313375 w 3785642"/>
                <a:gd name="connsiteY33" fmla="*/ 10945 h 479077"/>
                <a:gd name="connsiteX34" fmla="*/ 3300973 w 3785642"/>
                <a:gd name="connsiteY34" fmla="*/ 21363 h 479077"/>
                <a:gd name="connsiteX35" fmla="*/ 3289068 w 3785642"/>
                <a:gd name="connsiteY35" fmla="*/ 32276 h 479077"/>
                <a:gd name="connsiteX36" fmla="*/ 3277658 w 3785642"/>
                <a:gd name="connsiteY36" fmla="*/ 43686 h 479077"/>
                <a:gd name="connsiteX37" fmla="*/ 3266248 w 3785642"/>
                <a:gd name="connsiteY37" fmla="*/ 55592 h 479077"/>
                <a:gd name="connsiteX38" fmla="*/ 3255830 w 3785642"/>
                <a:gd name="connsiteY38" fmla="*/ 68490 h 479077"/>
                <a:gd name="connsiteX39" fmla="*/ 3243924 w 3785642"/>
                <a:gd name="connsiteY39" fmla="*/ 79900 h 479077"/>
                <a:gd name="connsiteX40" fmla="*/ 3231522 w 3785642"/>
                <a:gd name="connsiteY40" fmla="*/ 90814 h 479077"/>
                <a:gd name="connsiteX41" fmla="*/ 3220609 w 3785642"/>
                <a:gd name="connsiteY41" fmla="*/ 102720 h 479077"/>
                <a:gd name="connsiteX42" fmla="*/ 3208207 w 3785642"/>
                <a:gd name="connsiteY42" fmla="*/ 113137 h 479077"/>
                <a:gd name="connsiteX43" fmla="*/ 3197293 w 3785642"/>
                <a:gd name="connsiteY43" fmla="*/ 125043 h 479077"/>
                <a:gd name="connsiteX44" fmla="*/ 3185387 w 3785642"/>
                <a:gd name="connsiteY44" fmla="*/ 136453 h 479077"/>
                <a:gd name="connsiteX45" fmla="*/ 3174970 w 3785642"/>
                <a:gd name="connsiteY45" fmla="*/ 148855 h 479077"/>
                <a:gd name="connsiteX46" fmla="*/ 3162071 w 3785642"/>
                <a:gd name="connsiteY46" fmla="*/ 159272 h 479077"/>
                <a:gd name="connsiteX47" fmla="*/ 3151158 w 3785642"/>
                <a:gd name="connsiteY47" fmla="*/ 171674 h 479077"/>
                <a:gd name="connsiteX48" fmla="*/ 3139252 w 3785642"/>
                <a:gd name="connsiteY48" fmla="*/ 182588 h 479077"/>
                <a:gd name="connsiteX49" fmla="*/ 3127843 w 3785642"/>
                <a:gd name="connsiteY49" fmla="*/ 194494 h 479077"/>
                <a:gd name="connsiteX50" fmla="*/ 3116432 w 3785642"/>
                <a:gd name="connsiteY50" fmla="*/ 205904 h 479077"/>
                <a:gd name="connsiteX51" fmla="*/ 3105022 w 3785642"/>
                <a:gd name="connsiteY51" fmla="*/ 217810 h 479077"/>
                <a:gd name="connsiteX52" fmla="*/ 3093117 w 3785642"/>
                <a:gd name="connsiteY52" fmla="*/ 229219 h 479077"/>
                <a:gd name="connsiteX53" fmla="*/ 3081707 w 3785642"/>
                <a:gd name="connsiteY53" fmla="*/ 240629 h 479077"/>
                <a:gd name="connsiteX54" fmla="*/ 3069305 w 3785642"/>
                <a:gd name="connsiteY54" fmla="*/ 251543 h 479077"/>
                <a:gd name="connsiteX55" fmla="*/ 3057895 w 3785642"/>
                <a:gd name="connsiteY55" fmla="*/ 263449 h 479077"/>
                <a:gd name="connsiteX56" fmla="*/ 3046486 w 3785642"/>
                <a:gd name="connsiteY56" fmla="*/ 275355 h 479077"/>
                <a:gd name="connsiteX57" fmla="*/ 3035572 w 3785642"/>
                <a:gd name="connsiteY57" fmla="*/ 287260 h 479077"/>
                <a:gd name="connsiteX58" fmla="*/ 3024658 w 3785642"/>
                <a:gd name="connsiteY58" fmla="*/ 299166 h 479077"/>
                <a:gd name="connsiteX59" fmla="*/ 3013248 w 3785642"/>
                <a:gd name="connsiteY59" fmla="*/ 311072 h 479077"/>
                <a:gd name="connsiteX60" fmla="*/ 3000350 w 3785642"/>
                <a:gd name="connsiteY60" fmla="*/ 321490 h 479077"/>
                <a:gd name="connsiteX61" fmla="*/ 2988941 w 3785642"/>
                <a:gd name="connsiteY61" fmla="*/ 333396 h 479077"/>
                <a:gd name="connsiteX62" fmla="*/ 2976539 w 3785642"/>
                <a:gd name="connsiteY62" fmla="*/ 344309 h 479077"/>
                <a:gd name="connsiteX63" fmla="*/ 2965129 w 3785642"/>
                <a:gd name="connsiteY63" fmla="*/ 356215 h 479077"/>
                <a:gd name="connsiteX64" fmla="*/ 2953223 w 3785642"/>
                <a:gd name="connsiteY64" fmla="*/ 367625 h 479077"/>
                <a:gd name="connsiteX65" fmla="*/ 2941813 w 3785642"/>
                <a:gd name="connsiteY65" fmla="*/ 379531 h 479077"/>
                <a:gd name="connsiteX66" fmla="*/ 2931395 w 3785642"/>
                <a:gd name="connsiteY66" fmla="*/ 392429 h 479077"/>
                <a:gd name="connsiteX67" fmla="*/ 2918497 w 3785642"/>
                <a:gd name="connsiteY67" fmla="*/ 402847 h 479077"/>
                <a:gd name="connsiteX68" fmla="*/ 2907584 w 3785642"/>
                <a:gd name="connsiteY68" fmla="*/ 415249 h 479077"/>
                <a:gd name="connsiteX69" fmla="*/ 2896174 w 3785642"/>
                <a:gd name="connsiteY69" fmla="*/ 426658 h 479077"/>
                <a:gd name="connsiteX70" fmla="*/ 2884268 w 3785642"/>
                <a:gd name="connsiteY70" fmla="*/ 438068 h 479077"/>
                <a:gd name="connsiteX71" fmla="*/ 2873354 w 3785642"/>
                <a:gd name="connsiteY71" fmla="*/ 450470 h 479077"/>
                <a:gd name="connsiteX72" fmla="*/ 2860952 w 3785642"/>
                <a:gd name="connsiteY72" fmla="*/ 461384 h 479077"/>
                <a:gd name="connsiteX73" fmla="*/ 2850039 w 3785642"/>
                <a:gd name="connsiteY73" fmla="*/ 473786 h 479077"/>
                <a:gd name="connsiteX74" fmla="*/ 2833668 w 3785642"/>
                <a:gd name="connsiteY74" fmla="*/ 473786 h 479077"/>
                <a:gd name="connsiteX75" fmla="*/ 2817297 w 3785642"/>
                <a:gd name="connsiteY75" fmla="*/ 473290 h 479077"/>
                <a:gd name="connsiteX76" fmla="*/ 2800927 w 3785642"/>
                <a:gd name="connsiteY76" fmla="*/ 473290 h 479077"/>
                <a:gd name="connsiteX77" fmla="*/ 2784556 w 3785642"/>
                <a:gd name="connsiteY77" fmla="*/ 473786 h 479077"/>
                <a:gd name="connsiteX78" fmla="*/ 2768186 w 3785642"/>
                <a:gd name="connsiteY78" fmla="*/ 474282 h 479077"/>
                <a:gd name="connsiteX79" fmla="*/ 2751815 w 3785642"/>
                <a:gd name="connsiteY79" fmla="*/ 474282 h 479077"/>
                <a:gd name="connsiteX80" fmla="*/ 2735444 w 3785642"/>
                <a:gd name="connsiteY80" fmla="*/ 473290 h 479077"/>
                <a:gd name="connsiteX81" fmla="*/ 2719074 w 3785642"/>
                <a:gd name="connsiteY81" fmla="*/ 474282 h 479077"/>
                <a:gd name="connsiteX82" fmla="*/ 2702703 w 3785642"/>
                <a:gd name="connsiteY82" fmla="*/ 472298 h 479077"/>
                <a:gd name="connsiteX83" fmla="*/ 2686333 w 3785642"/>
                <a:gd name="connsiteY83" fmla="*/ 472794 h 479077"/>
                <a:gd name="connsiteX84" fmla="*/ 2669962 w 3785642"/>
                <a:gd name="connsiteY84" fmla="*/ 474282 h 479077"/>
                <a:gd name="connsiteX85" fmla="*/ 2653592 w 3785642"/>
                <a:gd name="connsiteY85" fmla="*/ 472298 h 479077"/>
                <a:gd name="connsiteX86" fmla="*/ 2637221 w 3785642"/>
                <a:gd name="connsiteY86" fmla="*/ 474282 h 479077"/>
                <a:gd name="connsiteX87" fmla="*/ 2620851 w 3785642"/>
                <a:gd name="connsiteY87" fmla="*/ 474282 h 479077"/>
                <a:gd name="connsiteX88" fmla="*/ 2604480 w 3785642"/>
                <a:gd name="connsiteY88" fmla="*/ 472298 h 479077"/>
                <a:gd name="connsiteX89" fmla="*/ 2588109 w 3785642"/>
                <a:gd name="connsiteY89" fmla="*/ 473786 h 479077"/>
                <a:gd name="connsiteX90" fmla="*/ 2571739 w 3785642"/>
                <a:gd name="connsiteY90" fmla="*/ 472298 h 479077"/>
                <a:gd name="connsiteX91" fmla="*/ 2555368 w 3785642"/>
                <a:gd name="connsiteY91" fmla="*/ 473290 h 479077"/>
                <a:gd name="connsiteX92" fmla="*/ 2538998 w 3785642"/>
                <a:gd name="connsiteY92" fmla="*/ 474282 h 479077"/>
                <a:gd name="connsiteX93" fmla="*/ 2522627 w 3785642"/>
                <a:gd name="connsiteY93" fmla="*/ 473290 h 479077"/>
                <a:gd name="connsiteX94" fmla="*/ 2506257 w 3785642"/>
                <a:gd name="connsiteY94" fmla="*/ 474282 h 479077"/>
                <a:gd name="connsiteX95" fmla="*/ 2489886 w 3785642"/>
                <a:gd name="connsiteY95" fmla="*/ 473786 h 479077"/>
                <a:gd name="connsiteX96" fmla="*/ 2473516 w 3785642"/>
                <a:gd name="connsiteY96" fmla="*/ 474282 h 479077"/>
                <a:gd name="connsiteX97" fmla="*/ 2457145 w 3785642"/>
                <a:gd name="connsiteY97" fmla="*/ 472794 h 479077"/>
                <a:gd name="connsiteX98" fmla="*/ 2440775 w 3785642"/>
                <a:gd name="connsiteY98" fmla="*/ 472298 h 479077"/>
                <a:gd name="connsiteX99" fmla="*/ 2424404 w 3785642"/>
                <a:gd name="connsiteY99" fmla="*/ 473786 h 479077"/>
                <a:gd name="connsiteX100" fmla="*/ 2408033 w 3785642"/>
                <a:gd name="connsiteY100" fmla="*/ 472794 h 479077"/>
                <a:gd name="connsiteX101" fmla="*/ 2391663 w 3785642"/>
                <a:gd name="connsiteY101" fmla="*/ 473290 h 479077"/>
                <a:gd name="connsiteX102" fmla="*/ 2375292 w 3785642"/>
                <a:gd name="connsiteY102" fmla="*/ 473290 h 479077"/>
                <a:gd name="connsiteX103" fmla="*/ 2358922 w 3785642"/>
                <a:gd name="connsiteY103" fmla="*/ 472794 h 479077"/>
                <a:gd name="connsiteX104" fmla="*/ 2342551 w 3785642"/>
                <a:gd name="connsiteY104" fmla="*/ 472298 h 479077"/>
                <a:gd name="connsiteX105" fmla="*/ 2326180 w 3785642"/>
                <a:gd name="connsiteY105" fmla="*/ 473786 h 479077"/>
                <a:gd name="connsiteX106" fmla="*/ 2309810 w 3785642"/>
                <a:gd name="connsiteY106" fmla="*/ 473786 h 479077"/>
                <a:gd name="connsiteX107" fmla="*/ 2293439 w 3785642"/>
                <a:gd name="connsiteY107" fmla="*/ 473786 h 479077"/>
                <a:gd name="connsiteX108" fmla="*/ 2277069 w 3785642"/>
                <a:gd name="connsiteY108" fmla="*/ 472794 h 479077"/>
                <a:gd name="connsiteX109" fmla="*/ 2260698 w 3785642"/>
                <a:gd name="connsiteY109" fmla="*/ 474282 h 479077"/>
                <a:gd name="connsiteX110" fmla="*/ 2244327 w 3785642"/>
                <a:gd name="connsiteY110" fmla="*/ 472298 h 479077"/>
                <a:gd name="connsiteX111" fmla="*/ 2227957 w 3785642"/>
                <a:gd name="connsiteY111" fmla="*/ 474282 h 479077"/>
                <a:gd name="connsiteX112" fmla="*/ 2211586 w 3785642"/>
                <a:gd name="connsiteY112" fmla="*/ 473290 h 479077"/>
                <a:gd name="connsiteX113" fmla="*/ 2195216 w 3785642"/>
                <a:gd name="connsiteY113" fmla="*/ 474282 h 479077"/>
                <a:gd name="connsiteX114" fmla="*/ 2178845 w 3785642"/>
                <a:gd name="connsiteY114" fmla="*/ 472794 h 479077"/>
                <a:gd name="connsiteX115" fmla="*/ 2162474 w 3785642"/>
                <a:gd name="connsiteY115" fmla="*/ 474778 h 479077"/>
                <a:gd name="connsiteX116" fmla="*/ 2146104 w 3785642"/>
                <a:gd name="connsiteY116" fmla="*/ 473290 h 479077"/>
                <a:gd name="connsiteX117" fmla="*/ 2129733 w 3785642"/>
                <a:gd name="connsiteY117" fmla="*/ 474778 h 479077"/>
                <a:gd name="connsiteX118" fmla="*/ 2113363 w 3785642"/>
                <a:gd name="connsiteY118" fmla="*/ 474778 h 479077"/>
                <a:gd name="connsiteX119" fmla="*/ 2096992 w 3785642"/>
                <a:gd name="connsiteY119" fmla="*/ 474778 h 479077"/>
                <a:gd name="connsiteX120" fmla="*/ 2080621 w 3785642"/>
                <a:gd name="connsiteY120" fmla="*/ 474282 h 479077"/>
                <a:gd name="connsiteX121" fmla="*/ 2064251 w 3785642"/>
                <a:gd name="connsiteY121" fmla="*/ 472794 h 479077"/>
                <a:gd name="connsiteX122" fmla="*/ 2047880 w 3785642"/>
                <a:gd name="connsiteY122" fmla="*/ 474778 h 479077"/>
                <a:gd name="connsiteX123" fmla="*/ 2031510 w 3785642"/>
                <a:gd name="connsiteY123" fmla="*/ 474778 h 479077"/>
                <a:gd name="connsiteX124" fmla="*/ 2015139 w 3785642"/>
                <a:gd name="connsiteY124" fmla="*/ 474778 h 479077"/>
                <a:gd name="connsiteX125" fmla="*/ 1998769 w 3785642"/>
                <a:gd name="connsiteY125" fmla="*/ 474282 h 479077"/>
                <a:gd name="connsiteX126" fmla="*/ 1982398 w 3785642"/>
                <a:gd name="connsiteY126" fmla="*/ 473786 h 479077"/>
                <a:gd name="connsiteX127" fmla="*/ 1966028 w 3785642"/>
                <a:gd name="connsiteY127" fmla="*/ 473786 h 479077"/>
                <a:gd name="connsiteX128" fmla="*/ 1949657 w 3785642"/>
                <a:gd name="connsiteY128" fmla="*/ 472794 h 479077"/>
                <a:gd name="connsiteX129" fmla="*/ 1933287 w 3785642"/>
                <a:gd name="connsiteY129" fmla="*/ 473290 h 479077"/>
                <a:gd name="connsiteX130" fmla="*/ 1916916 w 3785642"/>
                <a:gd name="connsiteY130" fmla="*/ 474778 h 479077"/>
                <a:gd name="connsiteX131" fmla="*/ 1900546 w 3785642"/>
                <a:gd name="connsiteY131" fmla="*/ 472794 h 479077"/>
                <a:gd name="connsiteX132" fmla="*/ 1884175 w 3785642"/>
                <a:gd name="connsiteY132" fmla="*/ 473786 h 479077"/>
                <a:gd name="connsiteX133" fmla="*/ 1867804 w 3785642"/>
                <a:gd name="connsiteY133" fmla="*/ 474778 h 479077"/>
                <a:gd name="connsiteX134" fmla="*/ 1851434 w 3785642"/>
                <a:gd name="connsiteY134" fmla="*/ 474778 h 479077"/>
                <a:gd name="connsiteX135" fmla="*/ 1835063 w 3785642"/>
                <a:gd name="connsiteY135" fmla="*/ 474778 h 479077"/>
                <a:gd name="connsiteX136" fmla="*/ 1818693 w 3785642"/>
                <a:gd name="connsiteY136" fmla="*/ 474282 h 479077"/>
                <a:gd name="connsiteX137" fmla="*/ 1802322 w 3785642"/>
                <a:gd name="connsiteY137" fmla="*/ 472794 h 479077"/>
                <a:gd name="connsiteX138" fmla="*/ 1785951 w 3785642"/>
                <a:gd name="connsiteY138" fmla="*/ 473786 h 479077"/>
                <a:gd name="connsiteX139" fmla="*/ 1769581 w 3785642"/>
                <a:gd name="connsiteY139" fmla="*/ 473290 h 479077"/>
                <a:gd name="connsiteX140" fmla="*/ 1753210 w 3785642"/>
                <a:gd name="connsiteY140" fmla="*/ 472298 h 479077"/>
                <a:gd name="connsiteX141" fmla="*/ 1736840 w 3785642"/>
                <a:gd name="connsiteY141" fmla="*/ 473290 h 479077"/>
                <a:gd name="connsiteX142" fmla="*/ 1720469 w 3785642"/>
                <a:gd name="connsiteY142" fmla="*/ 474778 h 479077"/>
                <a:gd name="connsiteX143" fmla="*/ 1704098 w 3785642"/>
                <a:gd name="connsiteY143" fmla="*/ 472794 h 479077"/>
                <a:gd name="connsiteX144" fmla="*/ 1687728 w 3785642"/>
                <a:gd name="connsiteY144" fmla="*/ 474778 h 479077"/>
                <a:gd name="connsiteX145" fmla="*/ 1671357 w 3785642"/>
                <a:gd name="connsiteY145" fmla="*/ 474778 h 479077"/>
                <a:gd name="connsiteX146" fmla="*/ 1654987 w 3785642"/>
                <a:gd name="connsiteY146" fmla="*/ 472298 h 479077"/>
                <a:gd name="connsiteX147" fmla="*/ 1638616 w 3785642"/>
                <a:gd name="connsiteY147" fmla="*/ 472794 h 479077"/>
                <a:gd name="connsiteX148" fmla="*/ 1622246 w 3785642"/>
                <a:gd name="connsiteY148" fmla="*/ 473786 h 479077"/>
                <a:gd name="connsiteX149" fmla="*/ 1605875 w 3785642"/>
                <a:gd name="connsiteY149" fmla="*/ 474778 h 479077"/>
                <a:gd name="connsiteX150" fmla="*/ 1589505 w 3785642"/>
                <a:gd name="connsiteY150" fmla="*/ 473290 h 479077"/>
                <a:gd name="connsiteX151" fmla="*/ 1573134 w 3785642"/>
                <a:gd name="connsiteY151" fmla="*/ 474778 h 479077"/>
                <a:gd name="connsiteX152" fmla="*/ 1556763 w 3785642"/>
                <a:gd name="connsiteY152" fmla="*/ 472794 h 479077"/>
                <a:gd name="connsiteX153" fmla="*/ 1540393 w 3785642"/>
                <a:gd name="connsiteY153" fmla="*/ 472794 h 479077"/>
                <a:gd name="connsiteX154" fmla="*/ 1524022 w 3785642"/>
                <a:gd name="connsiteY154" fmla="*/ 474282 h 479077"/>
                <a:gd name="connsiteX155" fmla="*/ 1507652 w 3785642"/>
                <a:gd name="connsiteY155" fmla="*/ 472794 h 479077"/>
                <a:gd name="connsiteX156" fmla="*/ 1491281 w 3785642"/>
                <a:gd name="connsiteY156" fmla="*/ 474282 h 479077"/>
                <a:gd name="connsiteX157" fmla="*/ 1474910 w 3785642"/>
                <a:gd name="connsiteY157" fmla="*/ 474282 h 479077"/>
                <a:gd name="connsiteX158" fmla="*/ 1458540 w 3785642"/>
                <a:gd name="connsiteY158" fmla="*/ 472794 h 479077"/>
                <a:gd name="connsiteX159" fmla="*/ 1442169 w 3785642"/>
                <a:gd name="connsiteY159" fmla="*/ 471802 h 479077"/>
                <a:gd name="connsiteX160" fmla="*/ 1425799 w 3785642"/>
                <a:gd name="connsiteY160" fmla="*/ 472298 h 479077"/>
                <a:gd name="connsiteX161" fmla="*/ 1409428 w 3785642"/>
                <a:gd name="connsiteY161" fmla="*/ 472794 h 479077"/>
                <a:gd name="connsiteX162" fmla="*/ 1393058 w 3785642"/>
                <a:gd name="connsiteY162" fmla="*/ 473786 h 479077"/>
                <a:gd name="connsiteX163" fmla="*/ 1376687 w 3785642"/>
                <a:gd name="connsiteY163" fmla="*/ 471802 h 479077"/>
                <a:gd name="connsiteX164" fmla="*/ 1360317 w 3785642"/>
                <a:gd name="connsiteY164" fmla="*/ 473786 h 479077"/>
                <a:gd name="connsiteX165" fmla="*/ 1343946 w 3785642"/>
                <a:gd name="connsiteY165" fmla="*/ 473786 h 479077"/>
                <a:gd name="connsiteX166" fmla="*/ 1327576 w 3785642"/>
                <a:gd name="connsiteY166" fmla="*/ 472794 h 479077"/>
                <a:gd name="connsiteX167" fmla="*/ 1311205 w 3785642"/>
                <a:gd name="connsiteY167" fmla="*/ 473786 h 479077"/>
                <a:gd name="connsiteX168" fmla="*/ 1294834 w 3785642"/>
                <a:gd name="connsiteY168" fmla="*/ 473786 h 479077"/>
                <a:gd name="connsiteX169" fmla="*/ 1278464 w 3785642"/>
                <a:gd name="connsiteY169" fmla="*/ 473786 h 479077"/>
                <a:gd name="connsiteX170" fmla="*/ 1262093 w 3785642"/>
                <a:gd name="connsiteY170" fmla="*/ 473786 h 479077"/>
                <a:gd name="connsiteX171" fmla="*/ 1245723 w 3785642"/>
                <a:gd name="connsiteY171" fmla="*/ 473290 h 479077"/>
                <a:gd name="connsiteX172" fmla="*/ 1229352 w 3785642"/>
                <a:gd name="connsiteY172" fmla="*/ 472794 h 479077"/>
                <a:gd name="connsiteX173" fmla="*/ 1212981 w 3785642"/>
                <a:gd name="connsiteY173" fmla="*/ 473786 h 479077"/>
                <a:gd name="connsiteX174" fmla="*/ 1196611 w 3785642"/>
                <a:gd name="connsiteY174" fmla="*/ 472298 h 479077"/>
                <a:gd name="connsiteX175" fmla="*/ 1180240 w 3785642"/>
                <a:gd name="connsiteY175" fmla="*/ 472794 h 479077"/>
                <a:gd name="connsiteX176" fmla="*/ 1163870 w 3785642"/>
                <a:gd name="connsiteY176" fmla="*/ 472794 h 479077"/>
                <a:gd name="connsiteX177" fmla="*/ 1147499 w 3785642"/>
                <a:gd name="connsiteY177" fmla="*/ 473786 h 479077"/>
                <a:gd name="connsiteX178" fmla="*/ 1131128 w 3785642"/>
                <a:gd name="connsiteY178" fmla="*/ 473786 h 479077"/>
                <a:gd name="connsiteX179" fmla="*/ 1114758 w 3785642"/>
                <a:gd name="connsiteY179" fmla="*/ 472794 h 479077"/>
                <a:gd name="connsiteX180" fmla="*/ 1098387 w 3785642"/>
                <a:gd name="connsiteY180" fmla="*/ 473786 h 479077"/>
                <a:gd name="connsiteX181" fmla="*/ 1082017 w 3785642"/>
                <a:gd name="connsiteY181" fmla="*/ 474778 h 479077"/>
                <a:gd name="connsiteX182" fmla="*/ 1065646 w 3785642"/>
                <a:gd name="connsiteY182" fmla="*/ 474778 h 479077"/>
                <a:gd name="connsiteX183" fmla="*/ 1049276 w 3785642"/>
                <a:gd name="connsiteY183" fmla="*/ 474282 h 479077"/>
                <a:gd name="connsiteX184" fmla="*/ 1032905 w 3785642"/>
                <a:gd name="connsiteY184" fmla="*/ 473290 h 479077"/>
                <a:gd name="connsiteX185" fmla="*/ 1016535 w 3785642"/>
                <a:gd name="connsiteY185" fmla="*/ 474282 h 479077"/>
                <a:gd name="connsiteX186" fmla="*/ 1000164 w 3785642"/>
                <a:gd name="connsiteY186" fmla="*/ 474282 h 479077"/>
                <a:gd name="connsiteX187" fmla="*/ 983793 w 3785642"/>
                <a:gd name="connsiteY187" fmla="*/ 472794 h 479077"/>
                <a:gd name="connsiteX188" fmla="*/ 967423 w 3785642"/>
                <a:gd name="connsiteY188" fmla="*/ 472794 h 479077"/>
                <a:gd name="connsiteX189" fmla="*/ 951052 w 3785642"/>
                <a:gd name="connsiteY189" fmla="*/ 473786 h 479077"/>
                <a:gd name="connsiteX190" fmla="*/ 934682 w 3785642"/>
                <a:gd name="connsiteY190" fmla="*/ 474282 h 479077"/>
                <a:gd name="connsiteX191" fmla="*/ 918311 w 3785642"/>
                <a:gd name="connsiteY191" fmla="*/ 474778 h 479077"/>
                <a:gd name="connsiteX192" fmla="*/ 901940 w 3785642"/>
                <a:gd name="connsiteY192" fmla="*/ 473290 h 479077"/>
                <a:gd name="connsiteX193" fmla="*/ 885570 w 3785642"/>
                <a:gd name="connsiteY193" fmla="*/ 474778 h 479077"/>
                <a:gd name="connsiteX194" fmla="*/ 869199 w 3785642"/>
                <a:gd name="connsiteY194" fmla="*/ 474282 h 479077"/>
                <a:gd name="connsiteX195" fmla="*/ 852829 w 3785642"/>
                <a:gd name="connsiteY195" fmla="*/ 473786 h 479077"/>
                <a:gd name="connsiteX196" fmla="*/ 836458 w 3785642"/>
                <a:gd name="connsiteY196" fmla="*/ 474778 h 479077"/>
                <a:gd name="connsiteX197" fmla="*/ 820088 w 3785642"/>
                <a:gd name="connsiteY197" fmla="*/ 475274 h 479077"/>
                <a:gd name="connsiteX198" fmla="*/ 803717 w 3785642"/>
                <a:gd name="connsiteY198" fmla="*/ 473786 h 479077"/>
                <a:gd name="connsiteX199" fmla="*/ 787347 w 3785642"/>
                <a:gd name="connsiteY199" fmla="*/ 475770 h 479077"/>
                <a:gd name="connsiteX200" fmla="*/ 770976 w 3785642"/>
                <a:gd name="connsiteY200" fmla="*/ 474778 h 479077"/>
                <a:gd name="connsiteX201" fmla="*/ 754605 w 3785642"/>
                <a:gd name="connsiteY201" fmla="*/ 475274 h 479077"/>
                <a:gd name="connsiteX202" fmla="*/ 738235 w 3785642"/>
                <a:gd name="connsiteY202" fmla="*/ 473786 h 479077"/>
                <a:gd name="connsiteX203" fmla="*/ 721864 w 3785642"/>
                <a:gd name="connsiteY203" fmla="*/ 475274 h 479077"/>
                <a:gd name="connsiteX204" fmla="*/ 705494 w 3785642"/>
                <a:gd name="connsiteY204" fmla="*/ 475770 h 479077"/>
                <a:gd name="connsiteX205" fmla="*/ 689123 w 3785642"/>
                <a:gd name="connsiteY205" fmla="*/ 474282 h 479077"/>
                <a:gd name="connsiteX206" fmla="*/ 672753 w 3785642"/>
                <a:gd name="connsiteY206" fmla="*/ 475274 h 479077"/>
                <a:gd name="connsiteX207" fmla="*/ 656382 w 3785642"/>
                <a:gd name="connsiteY207" fmla="*/ 474778 h 479077"/>
                <a:gd name="connsiteX208" fmla="*/ 640011 w 3785642"/>
                <a:gd name="connsiteY208" fmla="*/ 475770 h 479077"/>
                <a:gd name="connsiteX209" fmla="*/ 623641 w 3785642"/>
                <a:gd name="connsiteY209" fmla="*/ 473786 h 479077"/>
                <a:gd name="connsiteX210" fmla="*/ 607270 w 3785642"/>
                <a:gd name="connsiteY210" fmla="*/ 474778 h 479077"/>
                <a:gd name="connsiteX211" fmla="*/ 590900 w 3785642"/>
                <a:gd name="connsiteY211" fmla="*/ 475274 h 479077"/>
                <a:gd name="connsiteX212" fmla="*/ 574529 w 3785642"/>
                <a:gd name="connsiteY212" fmla="*/ 474282 h 479077"/>
                <a:gd name="connsiteX213" fmla="*/ 558158 w 3785642"/>
                <a:gd name="connsiteY213" fmla="*/ 475274 h 479077"/>
                <a:gd name="connsiteX214" fmla="*/ 541788 w 3785642"/>
                <a:gd name="connsiteY214" fmla="*/ 475770 h 479077"/>
                <a:gd name="connsiteX215" fmla="*/ 525417 w 3785642"/>
                <a:gd name="connsiteY215" fmla="*/ 474282 h 479077"/>
                <a:gd name="connsiteX216" fmla="*/ 509047 w 3785642"/>
                <a:gd name="connsiteY216" fmla="*/ 473786 h 479077"/>
                <a:gd name="connsiteX217" fmla="*/ 492676 w 3785642"/>
                <a:gd name="connsiteY217" fmla="*/ 473786 h 479077"/>
                <a:gd name="connsiteX218" fmla="*/ 476306 w 3785642"/>
                <a:gd name="connsiteY218" fmla="*/ 474778 h 479077"/>
                <a:gd name="connsiteX219" fmla="*/ 459935 w 3785642"/>
                <a:gd name="connsiteY219" fmla="*/ 473786 h 479077"/>
                <a:gd name="connsiteX220" fmla="*/ 443565 w 3785642"/>
                <a:gd name="connsiteY220" fmla="*/ 474778 h 479077"/>
                <a:gd name="connsiteX221" fmla="*/ 427194 w 3785642"/>
                <a:gd name="connsiteY221" fmla="*/ 474282 h 479077"/>
                <a:gd name="connsiteX222" fmla="*/ 410823 w 3785642"/>
                <a:gd name="connsiteY222" fmla="*/ 473290 h 479077"/>
                <a:gd name="connsiteX223" fmla="*/ 394453 w 3785642"/>
                <a:gd name="connsiteY223" fmla="*/ 475770 h 479077"/>
                <a:gd name="connsiteX224" fmla="*/ 378082 w 3785642"/>
                <a:gd name="connsiteY224" fmla="*/ 475274 h 479077"/>
                <a:gd name="connsiteX225" fmla="*/ 361712 w 3785642"/>
                <a:gd name="connsiteY225" fmla="*/ 474778 h 479077"/>
                <a:gd name="connsiteX226" fmla="*/ 345341 w 3785642"/>
                <a:gd name="connsiteY226" fmla="*/ 476266 h 479077"/>
                <a:gd name="connsiteX227" fmla="*/ 328970 w 3785642"/>
                <a:gd name="connsiteY227" fmla="*/ 474282 h 479077"/>
                <a:gd name="connsiteX228" fmla="*/ 312600 w 3785642"/>
                <a:gd name="connsiteY228" fmla="*/ 475274 h 479077"/>
                <a:gd name="connsiteX229" fmla="*/ 296229 w 3785642"/>
                <a:gd name="connsiteY229" fmla="*/ 474282 h 479077"/>
                <a:gd name="connsiteX230" fmla="*/ 279859 w 3785642"/>
                <a:gd name="connsiteY230" fmla="*/ 475770 h 479077"/>
                <a:gd name="connsiteX231" fmla="*/ 263488 w 3785642"/>
                <a:gd name="connsiteY231" fmla="*/ 476266 h 479077"/>
                <a:gd name="connsiteX232" fmla="*/ 247118 w 3785642"/>
                <a:gd name="connsiteY232" fmla="*/ 476266 h 479077"/>
                <a:gd name="connsiteX233" fmla="*/ 230747 w 3785642"/>
                <a:gd name="connsiteY233" fmla="*/ 474778 h 479077"/>
                <a:gd name="connsiteX234" fmla="*/ 214376 w 3785642"/>
                <a:gd name="connsiteY234" fmla="*/ 474778 h 479077"/>
                <a:gd name="connsiteX235" fmla="*/ 198006 w 3785642"/>
                <a:gd name="connsiteY235" fmla="*/ 476762 h 479077"/>
                <a:gd name="connsiteX236" fmla="*/ 181635 w 3785642"/>
                <a:gd name="connsiteY236" fmla="*/ 476266 h 479077"/>
                <a:gd name="connsiteX237" fmla="*/ 165265 w 3785642"/>
                <a:gd name="connsiteY237" fmla="*/ 474778 h 479077"/>
                <a:gd name="connsiteX238" fmla="*/ 148894 w 3785642"/>
                <a:gd name="connsiteY238" fmla="*/ 476762 h 479077"/>
                <a:gd name="connsiteX239" fmla="*/ 132524 w 3785642"/>
                <a:gd name="connsiteY239" fmla="*/ 476266 h 479077"/>
                <a:gd name="connsiteX240" fmla="*/ 116153 w 3785642"/>
                <a:gd name="connsiteY240" fmla="*/ 475274 h 479077"/>
                <a:gd name="connsiteX241" fmla="*/ 99783 w 3785642"/>
                <a:gd name="connsiteY241" fmla="*/ 475274 h 479077"/>
                <a:gd name="connsiteX242" fmla="*/ 83412 w 3785642"/>
                <a:gd name="connsiteY242" fmla="*/ 475274 h 479077"/>
                <a:gd name="connsiteX243" fmla="*/ 67041 w 3785642"/>
                <a:gd name="connsiteY243" fmla="*/ 474778 h 479077"/>
                <a:gd name="connsiteX244" fmla="*/ 50671 w 3785642"/>
                <a:gd name="connsiteY244" fmla="*/ 475274 h 479077"/>
                <a:gd name="connsiteX245" fmla="*/ 34300 w 3785642"/>
                <a:gd name="connsiteY245" fmla="*/ 475274 h 479077"/>
                <a:gd name="connsiteX246" fmla="*/ 17930 w 3785642"/>
                <a:gd name="connsiteY246" fmla="*/ 475770 h 479077"/>
                <a:gd name="connsiteX247" fmla="*/ 567 w 3785642"/>
                <a:gd name="connsiteY247" fmla="*/ 475770 h 479077"/>
                <a:gd name="connsiteX248" fmla="*/ 12969 w 3785642"/>
                <a:gd name="connsiteY248" fmla="*/ 463368 h 479077"/>
                <a:gd name="connsiteX249" fmla="*/ 24379 w 3785642"/>
                <a:gd name="connsiteY249" fmla="*/ 451958 h 479077"/>
                <a:gd name="connsiteX250" fmla="*/ 35788 w 3785642"/>
                <a:gd name="connsiteY250" fmla="*/ 440053 h 479077"/>
                <a:gd name="connsiteX251" fmla="*/ 48686 w 3785642"/>
                <a:gd name="connsiteY251" fmla="*/ 430131 h 479077"/>
                <a:gd name="connsiteX252" fmla="*/ 59600 w 3785642"/>
                <a:gd name="connsiteY252" fmla="*/ 418225 h 479077"/>
                <a:gd name="connsiteX253" fmla="*/ 70514 w 3785642"/>
                <a:gd name="connsiteY253" fmla="*/ 405823 h 479077"/>
                <a:gd name="connsiteX254" fmla="*/ 83412 w 3785642"/>
                <a:gd name="connsiteY254" fmla="*/ 395406 h 479077"/>
                <a:gd name="connsiteX255" fmla="*/ 94822 w 3785642"/>
                <a:gd name="connsiteY255" fmla="*/ 383500 h 479077"/>
                <a:gd name="connsiteX256" fmla="*/ 106728 w 3785642"/>
                <a:gd name="connsiteY256" fmla="*/ 372090 h 479077"/>
                <a:gd name="connsiteX257" fmla="*/ 117145 w 3785642"/>
                <a:gd name="connsiteY257" fmla="*/ 359688 h 479077"/>
                <a:gd name="connsiteX258" fmla="*/ 128555 w 3785642"/>
                <a:gd name="connsiteY258" fmla="*/ 348278 h 479077"/>
                <a:gd name="connsiteX259" fmla="*/ 140461 w 3785642"/>
                <a:gd name="connsiteY259" fmla="*/ 336868 h 479077"/>
                <a:gd name="connsiteX260" fmla="*/ 152863 w 3785642"/>
                <a:gd name="connsiteY260" fmla="*/ 326451 h 479077"/>
                <a:gd name="connsiteX261" fmla="*/ 164769 w 3785642"/>
                <a:gd name="connsiteY261" fmla="*/ 315041 h 479077"/>
                <a:gd name="connsiteX262" fmla="*/ 176178 w 3785642"/>
                <a:gd name="connsiteY262" fmla="*/ 303135 h 479077"/>
                <a:gd name="connsiteX263" fmla="*/ 188084 w 3785642"/>
                <a:gd name="connsiteY263" fmla="*/ 291725 h 479077"/>
                <a:gd name="connsiteX264" fmla="*/ 199494 w 3785642"/>
                <a:gd name="connsiteY264" fmla="*/ 280315 h 479077"/>
                <a:gd name="connsiteX265" fmla="*/ 210904 w 3785642"/>
                <a:gd name="connsiteY265" fmla="*/ 268906 h 479077"/>
                <a:gd name="connsiteX266" fmla="*/ 221818 w 3785642"/>
                <a:gd name="connsiteY266" fmla="*/ 256504 h 479077"/>
                <a:gd name="connsiteX267" fmla="*/ 233724 w 3785642"/>
                <a:gd name="connsiteY267" fmla="*/ 245094 h 479077"/>
                <a:gd name="connsiteX268" fmla="*/ 244141 w 3785642"/>
                <a:gd name="connsiteY268" fmla="*/ 232692 h 479077"/>
                <a:gd name="connsiteX269" fmla="*/ 257039 w 3785642"/>
                <a:gd name="connsiteY269" fmla="*/ 222770 h 479077"/>
                <a:gd name="connsiteX270" fmla="*/ 266961 w 3785642"/>
                <a:gd name="connsiteY270" fmla="*/ 209376 h 479077"/>
                <a:gd name="connsiteX271" fmla="*/ 278371 w 3785642"/>
                <a:gd name="connsiteY271" fmla="*/ 197966 h 479077"/>
                <a:gd name="connsiteX272" fmla="*/ 291269 w 3785642"/>
                <a:gd name="connsiteY272" fmla="*/ 188045 h 479077"/>
                <a:gd name="connsiteX273" fmla="*/ 301686 w 3785642"/>
                <a:gd name="connsiteY273" fmla="*/ 175147 h 479077"/>
                <a:gd name="connsiteX274" fmla="*/ 313592 w 3785642"/>
                <a:gd name="connsiteY274" fmla="*/ 163737 h 479077"/>
                <a:gd name="connsiteX275" fmla="*/ 325994 w 3785642"/>
                <a:gd name="connsiteY275" fmla="*/ 153319 h 479077"/>
                <a:gd name="connsiteX276" fmla="*/ 337404 w 3785642"/>
                <a:gd name="connsiteY276" fmla="*/ 141910 h 479077"/>
                <a:gd name="connsiteX277" fmla="*/ 347325 w 3785642"/>
                <a:gd name="connsiteY277" fmla="*/ 129012 h 479077"/>
                <a:gd name="connsiteX278" fmla="*/ 360224 w 3785642"/>
                <a:gd name="connsiteY278" fmla="*/ 118594 h 479077"/>
                <a:gd name="connsiteX279" fmla="*/ 371137 w 3785642"/>
                <a:gd name="connsiteY279" fmla="*/ 106192 h 479077"/>
                <a:gd name="connsiteX280" fmla="*/ 382051 w 3785642"/>
                <a:gd name="connsiteY280" fmla="*/ 93790 h 479077"/>
                <a:gd name="connsiteX281" fmla="*/ 393957 w 3785642"/>
                <a:gd name="connsiteY281" fmla="*/ 82380 h 479077"/>
                <a:gd name="connsiteX282" fmla="*/ 405366 w 3785642"/>
                <a:gd name="connsiteY282" fmla="*/ 70475 h 479077"/>
                <a:gd name="connsiteX283" fmla="*/ 417272 w 3785642"/>
                <a:gd name="connsiteY283" fmla="*/ 59561 h 479077"/>
                <a:gd name="connsiteX284" fmla="*/ 429674 w 3785642"/>
                <a:gd name="connsiteY284" fmla="*/ 48647 h 479077"/>
                <a:gd name="connsiteX285" fmla="*/ 440092 w 3785642"/>
                <a:gd name="connsiteY285" fmla="*/ 35749 h 479077"/>
                <a:gd name="connsiteX286" fmla="*/ 452494 w 3785642"/>
                <a:gd name="connsiteY286" fmla="*/ 24835 h 479077"/>
                <a:gd name="connsiteX287" fmla="*/ 463904 w 3785642"/>
                <a:gd name="connsiteY287" fmla="*/ 12929 h 479077"/>
                <a:gd name="connsiteX288" fmla="*/ 475313 w 3785642"/>
                <a:gd name="connsiteY288" fmla="*/ 1024 h 479077"/>
                <a:gd name="connsiteX289" fmla="*/ 491684 w 3785642"/>
                <a:gd name="connsiteY289" fmla="*/ 2512 h 479077"/>
                <a:gd name="connsiteX290" fmla="*/ 508055 w 3785642"/>
                <a:gd name="connsiteY290" fmla="*/ 2512 h 479077"/>
                <a:gd name="connsiteX291" fmla="*/ 524425 w 3785642"/>
                <a:gd name="connsiteY291" fmla="*/ 2512 h 479077"/>
                <a:gd name="connsiteX292" fmla="*/ 540796 w 3785642"/>
                <a:gd name="connsiteY292" fmla="*/ 1024 h 479077"/>
                <a:gd name="connsiteX293" fmla="*/ 557166 w 3785642"/>
                <a:gd name="connsiteY293" fmla="*/ 2512 h 479077"/>
                <a:gd name="connsiteX294" fmla="*/ 573537 w 3785642"/>
                <a:gd name="connsiteY294" fmla="*/ 1024 h 479077"/>
                <a:gd name="connsiteX295" fmla="*/ 589908 w 3785642"/>
                <a:gd name="connsiteY295" fmla="*/ 527 h 479077"/>
                <a:gd name="connsiteX296" fmla="*/ 606278 w 3785642"/>
                <a:gd name="connsiteY296" fmla="*/ 1520 h 479077"/>
                <a:gd name="connsiteX297" fmla="*/ 622649 w 3785642"/>
                <a:gd name="connsiteY297" fmla="*/ 1520 h 479077"/>
                <a:gd name="connsiteX298" fmla="*/ 639019 w 3785642"/>
                <a:gd name="connsiteY298" fmla="*/ 2016 h 479077"/>
                <a:gd name="connsiteX299" fmla="*/ 655390 w 3785642"/>
                <a:gd name="connsiteY299" fmla="*/ 527 h 479077"/>
                <a:gd name="connsiteX300" fmla="*/ 671760 w 3785642"/>
                <a:gd name="connsiteY300" fmla="*/ 1520 h 479077"/>
                <a:gd name="connsiteX301" fmla="*/ 688131 w 3785642"/>
                <a:gd name="connsiteY301" fmla="*/ 2512 h 479077"/>
                <a:gd name="connsiteX302" fmla="*/ 704501 w 3785642"/>
                <a:gd name="connsiteY302" fmla="*/ 1024 h 479077"/>
                <a:gd name="connsiteX303" fmla="*/ 720872 w 3785642"/>
                <a:gd name="connsiteY303" fmla="*/ 1520 h 479077"/>
                <a:gd name="connsiteX304" fmla="*/ 737243 w 3785642"/>
                <a:gd name="connsiteY304" fmla="*/ 2016 h 479077"/>
                <a:gd name="connsiteX305" fmla="*/ 753613 w 3785642"/>
                <a:gd name="connsiteY305" fmla="*/ 1024 h 479077"/>
                <a:gd name="connsiteX306" fmla="*/ 769984 w 3785642"/>
                <a:gd name="connsiteY306" fmla="*/ 527 h 479077"/>
                <a:gd name="connsiteX307" fmla="*/ 786354 w 3785642"/>
                <a:gd name="connsiteY307" fmla="*/ 1520 h 479077"/>
                <a:gd name="connsiteX308" fmla="*/ 802725 w 3785642"/>
                <a:gd name="connsiteY308" fmla="*/ 527 h 479077"/>
                <a:gd name="connsiteX309" fmla="*/ 819096 w 3785642"/>
                <a:gd name="connsiteY309" fmla="*/ 2512 h 479077"/>
                <a:gd name="connsiteX310" fmla="*/ 835466 w 3785642"/>
                <a:gd name="connsiteY310" fmla="*/ 527 h 479077"/>
                <a:gd name="connsiteX311" fmla="*/ 851837 w 3785642"/>
                <a:gd name="connsiteY311" fmla="*/ 1520 h 479077"/>
                <a:gd name="connsiteX312" fmla="*/ 868207 w 3785642"/>
                <a:gd name="connsiteY312" fmla="*/ 2016 h 479077"/>
                <a:gd name="connsiteX313" fmla="*/ 884578 w 3785642"/>
                <a:gd name="connsiteY313" fmla="*/ 2512 h 479077"/>
                <a:gd name="connsiteX314" fmla="*/ 900948 w 3785642"/>
                <a:gd name="connsiteY314" fmla="*/ 1520 h 479077"/>
                <a:gd name="connsiteX315" fmla="*/ 917319 w 3785642"/>
                <a:gd name="connsiteY315" fmla="*/ 1024 h 479077"/>
                <a:gd name="connsiteX316" fmla="*/ 933689 w 3785642"/>
                <a:gd name="connsiteY316" fmla="*/ 2512 h 479077"/>
                <a:gd name="connsiteX317" fmla="*/ 950060 w 3785642"/>
                <a:gd name="connsiteY317" fmla="*/ 1520 h 479077"/>
                <a:gd name="connsiteX318" fmla="*/ 966431 w 3785642"/>
                <a:gd name="connsiteY318" fmla="*/ 2016 h 479077"/>
                <a:gd name="connsiteX319" fmla="*/ 982801 w 3785642"/>
                <a:gd name="connsiteY319" fmla="*/ 2512 h 479077"/>
                <a:gd name="connsiteX320" fmla="*/ 999172 w 3785642"/>
                <a:gd name="connsiteY320" fmla="*/ 1520 h 479077"/>
                <a:gd name="connsiteX321" fmla="*/ 1015542 w 3785642"/>
                <a:gd name="connsiteY321" fmla="*/ 2512 h 479077"/>
                <a:gd name="connsiteX322" fmla="*/ 1031913 w 3785642"/>
                <a:gd name="connsiteY322" fmla="*/ 1520 h 479077"/>
                <a:gd name="connsiteX323" fmla="*/ 1048283 w 3785642"/>
                <a:gd name="connsiteY323" fmla="*/ 2016 h 479077"/>
                <a:gd name="connsiteX324" fmla="*/ 1064654 w 3785642"/>
                <a:gd name="connsiteY324" fmla="*/ 3504 h 479077"/>
                <a:gd name="connsiteX325" fmla="*/ 1081025 w 3785642"/>
                <a:gd name="connsiteY325" fmla="*/ 2016 h 479077"/>
                <a:gd name="connsiteX326" fmla="*/ 1097395 w 3785642"/>
                <a:gd name="connsiteY326" fmla="*/ 2512 h 479077"/>
                <a:gd name="connsiteX327" fmla="*/ 1113766 w 3785642"/>
                <a:gd name="connsiteY327" fmla="*/ 2512 h 479077"/>
                <a:gd name="connsiteX328" fmla="*/ 1130136 w 3785642"/>
                <a:gd name="connsiteY328" fmla="*/ 3504 h 479077"/>
                <a:gd name="connsiteX329" fmla="*/ 1146507 w 3785642"/>
                <a:gd name="connsiteY329" fmla="*/ 1520 h 479077"/>
                <a:gd name="connsiteX330" fmla="*/ 1162878 w 3785642"/>
                <a:gd name="connsiteY330" fmla="*/ 3008 h 479077"/>
                <a:gd name="connsiteX331" fmla="*/ 1179248 w 3785642"/>
                <a:gd name="connsiteY331" fmla="*/ 4000 h 479077"/>
                <a:gd name="connsiteX332" fmla="*/ 1195619 w 3785642"/>
                <a:gd name="connsiteY332" fmla="*/ 3504 h 479077"/>
                <a:gd name="connsiteX333" fmla="*/ 1211989 w 3785642"/>
                <a:gd name="connsiteY333" fmla="*/ 1520 h 479077"/>
                <a:gd name="connsiteX334" fmla="*/ 1228360 w 3785642"/>
                <a:gd name="connsiteY334" fmla="*/ 3504 h 479077"/>
                <a:gd name="connsiteX335" fmla="*/ 1244730 w 3785642"/>
                <a:gd name="connsiteY335" fmla="*/ 1520 h 479077"/>
                <a:gd name="connsiteX336" fmla="*/ 1261101 w 3785642"/>
                <a:gd name="connsiteY336" fmla="*/ 2512 h 479077"/>
                <a:gd name="connsiteX337" fmla="*/ 1277471 w 3785642"/>
                <a:gd name="connsiteY337" fmla="*/ 3504 h 479077"/>
                <a:gd name="connsiteX338" fmla="*/ 1293842 w 3785642"/>
                <a:gd name="connsiteY338" fmla="*/ 4000 h 479077"/>
                <a:gd name="connsiteX339" fmla="*/ 1310213 w 3785642"/>
                <a:gd name="connsiteY339" fmla="*/ 1520 h 479077"/>
                <a:gd name="connsiteX340" fmla="*/ 1326583 w 3785642"/>
                <a:gd name="connsiteY340" fmla="*/ 2016 h 479077"/>
                <a:gd name="connsiteX341" fmla="*/ 1342954 w 3785642"/>
                <a:gd name="connsiteY341" fmla="*/ 3008 h 479077"/>
                <a:gd name="connsiteX342" fmla="*/ 1359324 w 3785642"/>
                <a:gd name="connsiteY342" fmla="*/ 3008 h 479077"/>
                <a:gd name="connsiteX343" fmla="*/ 1375695 w 3785642"/>
                <a:gd name="connsiteY343" fmla="*/ 2512 h 479077"/>
                <a:gd name="connsiteX344" fmla="*/ 1392066 w 3785642"/>
                <a:gd name="connsiteY344" fmla="*/ 2512 h 479077"/>
                <a:gd name="connsiteX345" fmla="*/ 1408436 w 3785642"/>
                <a:gd name="connsiteY345" fmla="*/ 3504 h 479077"/>
                <a:gd name="connsiteX346" fmla="*/ 1424807 w 3785642"/>
                <a:gd name="connsiteY346" fmla="*/ 3504 h 479077"/>
                <a:gd name="connsiteX347" fmla="*/ 1441177 w 3785642"/>
                <a:gd name="connsiteY347" fmla="*/ 1520 h 479077"/>
                <a:gd name="connsiteX348" fmla="*/ 1457548 w 3785642"/>
                <a:gd name="connsiteY348" fmla="*/ 2512 h 479077"/>
                <a:gd name="connsiteX349" fmla="*/ 1473919 w 3785642"/>
                <a:gd name="connsiteY349" fmla="*/ 2016 h 479077"/>
                <a:gd name="connsiteX350" fmla="*/ 1490289 w 3785642"/>
                <a:gd name="connsiteY350" fmla="*/ 2016 h 479077"/>
                <a:gd name="connsiteX351" fmla="*/ 1506660 w 3785642"/>
                <a:gd name="connsiteY351" fmla="*/ 1520 h 479077"/>
                <a:gd name="connsiteX352" fmla="*/ 1523030 w 3785642"/>
                <a:gd name="connsiteY352" fmla="*/ 3504 h 479077"/>
                <a:gd name="connsiteX353" fmla="*/ 1539401 w 3785642"/>
                <a:gd name="connsiteY353" fmla="*/ 3008 h 479077"/>
                <a:gd name="connsiteX354" fmla="*/ 1555771 w 3785642"/>
                <a:gd name="connsiteY354" fmla="*/ 3008 h 479077"/>
                <a:gd name="connsiteX355" fmla="*/ 1572142 w 3785642"/>
                <a:gd name="connsiteY355" fmla="*/ 2512 h 479077"/>
                <a:gd name="connsiteX356" fmla="*/ 1588512 w 3785642"/>
                <a:gd name="connsiteY356" fmla="*/ 2016 h 479077"/>
                <a:gd name="connsiteX357" fmla="*/ 1604883 w 3785642"/>
                <a:gd name="connsiteY357" fmla="*/ 3008 h 479077"/>
                <a:gd name="connsiteX358" fmla="*/ 1621253 w 3785642"/>
                <a:gd name="connsiteY358" fmla="*/ 3008 h 479077"/>
                <a:gd name="connsiteX359" fmla="*/ 1637624 w 3785642"/>
                <a:gd name="connsiteY35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05646 w 3785642"/>
                <a:gd name="connsiteY28" fmla="*/ 79404 h 479077"/>
                <a:gd name="connsiteX29" fmla="*/ 3393740 w 3785642"/>
                <a:gd name="connsiteY29" fmla="*/ 68490 h 479077"/>
                <a:gd name="connsiteX30" fmla="*/ 3382330 w 3785642"/>
                <a:gd name="connsiteY30" fmla="*/ 56584 h 479077"/>
                <a:gd name="connsiteX31" fmla="*/ 3370921 w 3785642"/>
                <a:gd name="connsiteY31" fmla="*/ 44678 h 479077"/>
                <a:gd name="connsiteX32" fmla="*/ 3313375 w 3785642"/>
                <a:gd name="connsiteY32" fmla="*/ 10945 h 479077"/>
                <a:gd name="connsiteX33" fmla="*/ 3300973 w 3785642"/>
                <a:gd name="connsiteY33" fmla="*/ 21363 h 479077"/>
                <a:gd name="connsiteX34" fmla="*/ 3289068 w 3785642"/>
                <a:gd name="connsiteY34" fmla="*/ 32276 h 479077"/>
                <a:gd name="connsiteX35" fmla="*/ 3277658 w 3785642"/>
                <a:gd name="connsiteY35" fmla="*/ 43686 h 479077"/>
                <a:gd name="connsiteX36" fmla="*/ 3266248 w 3785642"/>
                <a:gd name="connsiteY36" fmla="*/ 55592 h 479077"/>
                <a:gd name="connsiteX37" fmla="*/ 3255830 w 3785642"/>
                <a:gd name="connsiteY37" fmla="*/ 68490 h 479077"/>
                <a:gd name="connsiteX38" fmla="*/ 3243924 w 3785642"/>
                <a:gd name="connsiteY38" fmla="*/ 79900 h 479077"/>
                <a:gd name="connsiteX39" fmla="*/ 3231522 w 3785642"/>
                <a:gd name="connsiteY39" fmla="*/ 90814 h 479077"/>
                <a:gd name="connsiteX40" fmla="*/ 3220609 w 3785642"/>
                <a:gd name="connsiteY40" fmla="*/ 102720 h 479077"/>
                <a:gd name="connsiteX41" fmla="*/ 3208207 w 3785642"/>
                <a:gd name="connsiteY41" fmla="*/ 113137 h 479077"/>
                <a:gd name="connsiteX42" fmla="*/ 3197293 w 3785642"/>
                <a:gd name="connsiteY42" fmla="*/ 125043 h 479077"/>
                <a:gd name="connsiteX43" fmla="*/ 3185387 w 3785642"/>
                <a:gd name="connsiteY43" fmla="*/ 136453 h 479077"/>
                <a:gd name="connsiteX44" fmla="*/ 3174970 w 3785642"/>
                <a:gd name="connsiteY44" fmla="*/ 148855 h 479077"/>
                <a:gd name="connsiteX45" fmla="*/ 3162071 w 3785642"/>
                <a:gd name="connsiteY45" fmla="*/ 159272 h 479077"/>
                <a:gd name="connsiteX46" fmla="*/ 3151158 w 3785642"/>
                <a:gd name="connsiteY46" fmla="*/ 171674 h 479077"/>
                <a:gd name="connsiteX47" fmla="*/ 3139252 w 3785642"/>
                <a:gd name="connsiteY47" fmla="*/ 182588 h 479077"/>
                <a:gd name="connsiteX48" fmla="*/ 3127843 w 3785642"/>
                <a:gd name="connsiteY48" fmla="*/ 194494 h 479077"/>
                <a:gd name="connsiteX49" fmla="*/ 3116432 w 3785642"/>
                <a:gd name="connsiteY49" fmla="*/ 205904 h 479077"/>
                <a:gd name="connsiteX50" fmla="*/ 3105022 w 3785642"/>
                <a:gd name="connsiteY50" fmla="*/ 217810 h 479077"/>
                <a:gd name="connsiteX51" fmla="*/ 3093117 w 3785642"/>
                <a:gd name="connsiteY51" fmla="*/ 229219 h 479077"/>
                <a:gd name="connsiteX52" fmla="*/ 3081707 w 3785642"/>
                <a:gd name="connsiteY52" fmla="*/ 240629 h 479077"/>
                <a:gd name="connsiteX53" fmla="*/ 3069305 w 3785642"/>
                <a:gd name="connsiteY53" fmla="*/ 251543 h 479077"/>
                <a:gd name="connsiteX54" fmla="*/ 3057895 w 3785642"/>
                <a:gd name="connsiteY54" fmla="*/ 263449 h 479077"/>
                <a:gd name="connsiteX55" fmla="*/ 3046486 w 3785642"/>
                <a:gd name="connsiteY55" fmla="*/ 275355 h 479077"/>
                <a:gd name="connsiteX56" fmla="*/ 3035572 w 3785642"/>
                <a:gd name="connsiteY56" fmla="*/ 287260 h 479077"/>
                <a:gd name="connsiteX57" fmla="*/ 3024658 w 3785642"/>
                <a:gd name="connsiteY57" fmla="*/ 299166 h 479077"/>
                <a:gd name="connsiteX58" fmla="*/ 3013248 w 3785642"/>
                <a:gd name="connsiteY58" fmla="*/ 311072 h 479077"/>
                <a:gd name="connsiteX59" fmla="*/ 3000350 w 3785642"/>
                <a:gd name="connsiteY59" fmla="*/ 321490 h 479077"/>
                <a:gd name="connsiteX60" fmla="*/ 2988941 w 3785642"/>
                <a:gd name="connsiteY60" fmla="*/ 333396 h 479077"/>
                <a:gd name="connsiteX61" fmla="*/ 2976539 w 3785642"/>
                <a:gd name="connsiteY61" fmla="*/ 344309 h 479077"/>
                <a:gd name="connsiteX62" fmla="*/ 2965129 w 3785642"/>
                <a:gd name="connsiteY62" fmla="*/ 356215 h 479077"/>
                <a:gd name="connsiteX63" fmla="*/ 2953223 w 3785642"/>
                <a:gd name="connsiteY63" fmla="*/ 367625 h 479077"/>
                <a:gd name="connsiteX64" fmla="*/ 2941813 w 3785642"/>
                <a:gd name="connsiteY64" fmla="*/ 379531 h 479077"/>
                <a:gd name="connsiteX65" fmla="*/ 2931395 w 3785642"/>
                <a:gd name="connsiteY65" fmla="*/ 392429 h 479077"/>
                <a:gd name="connsiteX66" fmla="*/ 2918497 w 3785642"/>
                <a:gd name="connsiteY66" fmla="*/ 402847 h 479077"/>
                <a:gd name="connsiteX67" fmla="*/ 2907584 w 3785642"/>
                <a:gd name="connsiteY67" fmla="*/ 415249 h 479077"/>
                <a:gd name="connsiteX68" fmla="*/ 2896174 w 3785642"/>
                <a:gd name="connsiteY68" fmla="*/ 426658 h 479077"/>
                <a:gd name="connsiteX69" fmla="*/ 2884268 w 3785642"/>
                <a:gd name="connsiteY69" fmla="*/ 438068 h 479077"/>
                <a:gd name="connsiteX70" fmla="*/ 2873354 w 3785642"/>
                <a:gd name="connsiteY70" fmla="*/ 450470 h 479077"/>
                <a:gd name="connsiteX71" fmla="*/ 2860952 w 3785642"/>
                <a:gd name="connsiteY71" fmla="*/ 461384 h 479077"/>
                <a:gd name="connsiteX72" fmla="*/ 2850039 w 3785642"/>
                <a:gd name="connsiteY72" fmla="*/ 473786 h 479077"/>
                <a:gd name="connsiteX73" fmla="*/ 2833668 w 3785642"/>
                <a:gd name="connsiteY73" fmla="*/ 473786 h 479077"/>
                <a:gd name="connsiteX74" fmla="*/ 2817297 w 3785642"/>
                <a:gd name="connsiteY74" fmla="*/ 473290 h 479077"/>
                <a:gd name="connsiteX75" fmla="*/ 2800927 w 3785642"/>
                <a:gd name="connsiteY75" fmla="*/ 473290 h 479077"/>
                <a:gd name="connsiteX76" fmla="*/ 2784556 w 3785642"/>
                <a:gd name="connsiteY76" fmla="*/ 473786 h 479077"/>
                <a:gd name="connsiteX77" fmla="*/ 2768186 w 3785642"/>
                <a:gd name="connsiteY77" fmla="*/ 474282 h 479077"/>
                <a:gd name="connsiteX78" fmla="*/ 2751815 w 3785642"/>
                <a:gd name="connsiteY78" fmla="*/ 474282 h 479077"/>
                <a:gd name="connsiteX79" fmla="*/ 2735444 w 3785642"/>
                <a:gd name="connsiteY79" fmla="*/ 473290 h 479077"/>
                <a:gd name="connsiteX80" fmla="*/ 2719074 w 3785642"/>
                <a:gd name="connsiteY80" fmla="*/ 474282 h 479077"/>
                <a:gd name="connsiteX81" fmla="*/ 2702703 w 3785642"/>
                <a:gd name="connsiteY81" fmla="*/ 472298 h 479077"/>
                <a:gd name="connsiteX82" fmla="*/ 2686333 w 3785642"/>
                <a:gd name="connsiteY82" fmla="*/ 472794 h 479077"/>
                <a:gd name="connsiteX83" fmla="*/ 2669962 w 3785642"/>
                <a:gd name="connsiteY83" fmla="*/ 474282 h 479077"/>
                <a:gd name="connsiteX84" fmla="*/ 2653592 w 3785642"/>
                <a:gd name="connsiteY84" fmla="*/ 472298 h 479077"/>
                <a:gd name="connsiteX85" fmla="*/ 2637221 w 3785642"/>
                <a:gd name="connsiteY85" fmla="*/ 474282 h 479077"/>
                <a:gd name="connsiteX86" fmla="*/ 2620851 w 3785642"/>
                <a:gd name="connsiteY86" fmla="*/ 474282 h 479077"/>
                <a:gd name="connsiteX87" fmla="*/ 2604480 w 3785642"/>
                <a:gd name="connsiteY87" fmla="*/ 472298 h 479077"/>
                <a:gd name="connsiteX88" fmla="*/ 2588109 w 3785642"/>
                <a:gd name="connsiteY88" fmla="*/ 473786 h 479077"/>
                <a:gd name="connsiteX89" fmla="*/ 2571739 w 3785642"/>
                <a:gd name="connsiteY89" fmla="*/ 472298 h 479077"/>
                <a:gd name="connsiteX90" fmla="*/ 2555368 w 3785642"/>
                <a:gd name="connsiteY90" fmla="*/ 473290 h 479077"/>
                <a:gd name="connsiteX91" fmla="*/ 2538998 w 3785642"/>
                <a:gd name="connsiteY91" fmla="*/ 474282 h 479077"/>
                <a:gd name="connsiteX92" fmla="*/ 2522627 w 3785642"/>
                <a:gd name="connsiteY92" fmla="*/ 473290 h 479077"/>
                <a:gd name="connsiteX93" fmla="*/ 2506257 w 3785642"/>
                <a:gd name="connsiteY93" fmla="*/ 474282 h 479077"/>
                <a:gd name="connsiteX94" fmla="*/ 2489886 w 3785642"/>
                <a:gd name="connsiteY94" fmla="*/ 473786 h 479077"/>
                <a:gd name="connsiteX95" fmla="*/ 2473516 w 3785642"/>
                <a:gd name="connsiteY95" fmla="*/ 474282 h 479077"/>
                <a:gd name="connsiteX96" fmla="*/ 2457145 w 3785642"/>
                <a:gd name="connsiteY96" fmla="*/ 472794 h 479077"/>
                <a:gd name="connsiteX97" fmla="*/ 2440775 w 3785642"/>
                <a:gd name="connsiteY97" fmla="*/ 472298 h 479077"/>
                <a:gd name="connsiteX98" fmla="*/ 2424404 w 3785642"/>
                <a:gd name="connsiteY98" fmla="*/ 473786 h 479077"/>
                <a:gd name="connsiteX99" fmla="*/ 2408033 w 3785642"/>
                <a:gd name="connsiteY99" fmla="*/ 472794 h 479077"/>
                <a:gd name="connsiteX100" fmla="*/ 2391663 w 3785642"/>
                <a:gd name="connsiteY100" fmla="*/ 473290 h 479077"/>
                <a:gd name="connsiteX101" fmla="*/ 2375292 w 3785642"/>
                <a:gd name="connsiteY101" fmla="*/ 473290 h 479077"/>
                <a:gd name="connsiteX102" fmla="*/ 2358922 w 3785642"/>
                <a:gd name="connsiteY102" fmla="*/ 472794 h 479077"/>
                <a:gd name="connsiteX103" fmla="*/ 2342551 w 3785642"/>
                <a:gd name="connsiteY103" fmla="*/ 472298 h 479077"/>
                <a:gd name="connsiteX104" fmla="*/ 2326180 w 3785642"/>
                <a:gd name="connsiteY104" fmla="*/ 473786 h 479077"/>
                <a:gd name="connsiteX105" fmla="*/ 2309810 w 3785642"/>
                <a:gd name="connsiteY105" fmla="*/ 473786 h 479077"/>
                <a:gd name="connsiteX106" fmla="*/ 2293439 w 3785642"/>
                <a:gd name="connsiteY106" fmla="*/ 473786 h 479077"/>
                <a:gd name="connsiteX107" fmla="*/ 2277069 w 3785642"/>
                <a:gd name="connsiteY107" fmla="*/ 472794 h 479077"/>
                <a:gd name="connsiteX108" fmla="*/ 2260698 w 3785642"/>
                <a:gd name="connsiteY108" fmla="*/ 474282 h 479077"/>
                <a:gd name="connsiteX109" fmla="*/ 2244327 w 3785642"/>
                <a:gd name="connsiteY109" fmla="*/ 472298 h 479077"/>
                <a:gd name="connsiteX110" fmla="*/ 2227957 w 3785642"/>
                <a:gd name="connsiteY110" fmla="*/ 474282 h 479077"/>
                <a:gd name="connsiteX111" fmla="*/ 2211586 w 3785642"/>
                <a:gd name="connsiteY111" fmla="*/ 473290 h 479077"/>
                <a:gd name="connsiteX112" fmla="*/ 2195216 w 3785642"/>
                <a:gd name="connsiteY112" fmla="*/ 474282 h 479077"/>
                <a:gd name="connsiteX113" fmla="*/ 2178845 w 3785642"/>
                <a:gd name="connsiteY113" fmla="*/ 472794 h 479077"/>
                <a:gd name="connsiteX114" fmla="*/ 2162474 w 3785642"/>
                <a:gd name="connsiteY114" fmla="*/ 474778 h 479077"/>
                <a:gd name="connsiteX115" fmla="*/ 2146104 w 3785642"/>
                <a:gd name="connsiteY115" fmla="*/ 473290 h 479077"/>
                <a:gd name="connsiteX116" fmla="*/ 2129733 w 3785642"/>
                <a:gd name="connsiteY116" fmla="*/ 474778 h 479077"/>
                <a:gd name="connsiteX117" fmla="*/ 2113363 w 3785642"/>
                <a:gd name="connsiteY117" fmla="*/ 474778 h 479077"/>
                <a:gd name="connsiteX118" fmla="*/ 2096992 w 3785642"/>
                <a:gd name="connsiteY118" fmla="*/ 474778 h 479077"/>
                <a:gd name="connsiteX119" fmla="*/ 2080621 w 3785642"/>
                <a:gd name="connsiteY119" fmla="*/ 474282 h 479077"/>
                <a:gd name="connsiteX120" fmla="*/ 2064251 w 3785642"/>
                <a:gd name="connsiteY120" fmla="*/ 472794 h 479077"/>
                <a:gd name="connsiteX121" fmla="*/ 2047880 w 3785642"/>
                <a:gd name="connsiteY121" fmla="*/ 474778 h 479077"/>
                <a:gd name="connsiteX122" fmla="*/ 2031510 w 3785642"/>
                <a:gd name="connsiteY122" fmla="*/ 474778 h 479077"/>
                <a:gd name="connsiteX123" fmla="*/ 2015139 w 3785642"/>
                <a:gd name="connsiteY123" fmla="*/ 474778 h 479077"/>
                <a:gd name="connsiteX124" fmla="*/ 1998769 w 3785642"/>
                <a:gd name="connsiteY124" fmla="*/ 474282 h 479077"/>
                <a:gd name="connsiteX125" fmla="*/ 1982398 w 3785642"/>
                <a:gd name="connsiteY125" fmla="*/ 473786 h 479077"/>
                <a:gd name="connsiteX126" fmla="*/ 1966028 w 3785642"/>
                <a:gd name="connsiteY126" fmla="*/ 473786 h 479077"/>
                <a:gd name="connsiteX127" fmla="*/ 1949657 w 3785642"/>
                <a:gd name="connsiteY127" fmla="*/ 472794 h 479077"/>
                <a:gd name="connsiteX128" fmla="*/ 1933287 w 3785642"/>
                <a:gd name="connsiteY128" fmla="*/ 473290 h 479077"/>
                <a:gd name="connsiteX129" fmla="*/ 1916916 w 3785642"/>
                <a:gd name="connsiteY129" fmla="*/ 474778 h 479077"/>
                <a:gd name="connsiteX130" fmla="*/ 1900546 w 3785642"/>
                <a:gd name="connsiteY130" fmla="*/ 472794 h 479077"/>
                <a:gd name="connsiteX131" fmla="*/ 1884175 w 3785642"/>
                <a:gd name="connsiteY131" fmla="*/ 473786 h 479077"/>
                <a:gd name="connsiteX132" fmla="*/ 1867804 w 3785642"/>
                <a:gd name="connsiteY132" fmla="*/ 474778 h 479077"/>
                <a:gd name="connsiteX133" fmla="*/ 1851434 w 3785642"/>
                <a:gd name="connsiteY133" fmla="*/ 474778 h 479077"/>
                <a:gd name="connsiteX134" fmla="*/ 1835063 w 3785642"/>
                <a:gd name="connsiteY134" fmla="*/ 474778 h 479077"/>
                <a:gd name="connsiteX135" fmla="*/ 1818693 w 3785642"/>
                <a:gd name="connsiteY135" fmla="*/ 474282 h 479077"/>
                <a:gd name="connsiteX136" fmla="*/ 1802322 w 3785642"/>
                <a:gd name="connsiteY136" fmla="*/ 472794 h 479077"/>
                <a:gd name="connsiteX137" fmla="*/ 1785951 w 3785642"/>
                <a:gd name="connsiteY137" fmla="*/ 473786 h 479077"/>
                <a:gd name="connsiteX138" fmla="*/ 1769581 w 3785642"/>
                <a:gd name="connsiteY138" fmla="*/ 473290 h 479077"/>
                <a:gd name="connsiteX139" fmla="*/ 1753210 w 3785642"/>
                <a:gd name="connsiteY139" fmla="*/ 472298 h 479077"/>
                <a:gd name="connsiteX140" fmla="*/ 1736840 w 3785642"/>
                <a:gd name="connsiteY140" fmla="*/ 473290 h 479077"/>
                <a:gd name="connsiteX141" fmla="*/ 1720469 w 3785642"/>
                <a:gd name="connsiteY141" fmla="*/ 474778 h 479077"/>
                <a:gd name="connsiteX142" fmla="*/ 1704098 w 3785642"/>
                <a:gd name="connsiteY142" fmla="*/ 472794 h 479077"/>
                <a:gd name="connsiteX143" fmla="*/ 1687728 w 3785642"/>
                <a:gd name="connsiteY143" fmla="*/ 474778 h 479077"/>
                <a:gd name="connsiteX144" fmla="*/ 1671357 w 3785642"/>
                <a:gd name="connsiteY144" fmla="*/ 474778 h 479077"/>
                <a:gd name="connsiteX145" fmla="*/ 1654987 w 3785642"/>
                <a:gd name="connsiteY145" fmla="*/ 472298 h 479077"/>
                <a:gd name="connsiteX146" fmla="*/ 1638616 w 3785642"/>
                <a:gd name="connsiteY146" fmla="*/ 472794 h 479077"/>
                <a:gd name="connsiteX147" fmla="*/ 1622246 w 3785642"/>
                <a:gd name="connsiteY147" fmla="*/ 473786 h 479077"/>
                <a:gd name="connsiteX148" fmla="*/ 1605875 w 3785642"/>
                <a:gd name="connsiteY148" fmla="*/ 474778 h 479077"/>
                <a:gd name="connsiteX149" fmla="*/ 1589505 w 3785642"/>
                <a:gd name="connsiteY149" fmla="*/ 473290 h 479077"/>
                <a:gd name="connsiteX150" fmla="*/ 1573134 w 3785642"/>
                <a:gd name="connsiteY150" fmla="*/ 474778 h 479077"/>
                <a:gd name="connsiteX151" fmla="*/ 1556763 w 3785642"/>
                <a:gd name="connsiteY151" fmla="*/ 472794 h 479077"/>
                <a:gd name="connsiteX152" fmla="*/ 1540393 w 3785642"/>
                <a:gd name="connsiteY152" fmla="*/ 472794 h 479077"/>
                <a:gd name="connsiteX153" fmla="*/ 1524022 w 3785642"/>
                <a:gd name="connsiteY153" fmla="*/ 474282 h 479077"/>
                <a:gd name="connsiteX154" fmla="*/ 1507652 w 3785642"/>
                <a:gd name="connsiteY154" fmla="*/ 472794 h 479077"/>
                <a:gd name="connsiteX155" fmla="*/ 1491281 w 3785642"/>
                <a:gd name="connsiteY155" fmla="*/ 474282 h 479077"/>
                <a:gd name="connsiteX156" fmla="*/ 1474910 w 3785642"/>
                <a:gd name="connsiteY156" fmla="*/ 474282 h 479077"/>
                <a:gd name="connsiteX157" fmla="*/ 1458540 w 3785642"/>
                <a:gd name="connsiteY157" fmla="*/ 472794 h 479077"/>
                <a:gd name="connsiteX158" fmla="*/ 1442169 w 3785642"/>
                <a:gd name="connsiteY158" fmla="*/ 471802 h 479077"/>
                <a:gd name="connsiteX159" fmla="*/ 1425799 w 3785642"/>
                <a:gd name="connsiteY159" fmla="*/ 472298 h 479077"/>
                <a:gd name="connsiteX160" fmla="*/ 1409428 w 3785642"/>
                <a:gd name="connsiteY160" fmla="*/ 472794 h 479077"/>
                <a:gd name="connsiteX161" fmla="*/ 1393058 w 3785642"/>
                <a:gd name="connsiteY161" fmla="*/ 473786 h 479077"/>
                <a:gd name="connsiteX162" fmla="*/ 1376687 w 3785642"/>
                <a:gd name="connsiteY162" fmla="*/ 471802 h 479077"/>
                <a:gd name="connsiteX163" fmla="*/ 1360317 w 3785642"/>
                <a:gd name="connsiteY163" fmla="*/ 473786 h 479077"/>
                <a:gd name="connsiteX164" fmla="*/ 1343946 w 3785642"/>
                <a:gd name="connsiteY164" fmla="*/ 473786 h 479077"/>
                <a:gd name="connsiteX165" fmla="*/ 1327576 w 3785642"/>
                <a:gd name="connsiteY165" fmla="*/ 472794 h 479077"/>
                <a:gd name="connsiteX166" fmla="*/ 1311205 w 3785642"/>
                <a:gd name="connsiteY166" fmla="*/ 473786 h 479077"/>
                <a:gd name="connsiteX167" fmla="*/ 1294834 w 3785642"/>
                <a:gd name="connsiteY167" fmla="*/ 473786 h 479077"/>
                <a:gd name="connsiteX168" fmla="*/ 1278464 w 3785642"/>
                <a:gd name="connsiteY168" fmla="*/ 473786 h 479077"/>
                <a:gd name="connsiteX169" fmla="*/ 1262093 w 3785642"/>
                <a:gd name="connsiteY169" fmla="*/ 473786 h 479077"/>
                <a:gd name="connsiteX170" fmla="*/ 1245723 w 3785642"/>
                <a:gd name="connsiteY170" fmla="*/ 473290 h 479077"/>
                <a:gd name="connsiteX171" fmla="*/ 1229352 w 3785642"/>
                <a:gd name="connsiteY171" fmla="*/ 472794 h 479077"/>
                <a:gd name="connsiteX172" fmla="*/ 1212981 w 3785642"/>
                <a:gd name="connsiteY172" fmla="*/ 473786 h 479077"/>
                <a:gd name="connsiteX173" fmla="*/ 1196611 w 3785642"/>
                <a:gd name="connsiteY173" fmla="*/ 472298 h 479077"/>
                <a:gd name="connsiteX174" fmla="*/ 1180240 w 3785642"/>
                <a:gd name="connsiteY174" fmla="*/ 472794 h 479077"/>
                <a:gd name="connsiteX175" fmla="*/ 1163870 w 3785642"/>
                <a:gd name="connsiteY175" fmla="*/ 472794 h 479077"/>
                <a:gd name="connsiteX176" fmla="*/ 1147499 w 3785642"/>
                <a:gd name="connsiteY176" fmla="*/ 473786 h 479077"/>
                <a:gd name="connsiteX177" fmla="*/ 1131128 w 3785642"/>
                <a:gd name="connsiteY177" fmla="*/ 473786 h 479077"/>
                <a:gd name="connsiteX178" fmla="*/ 1114758 w 3785642"/>
                <a:gd name="connsiteY178" fmla="*/ 472794 h 479077"/>
                <a:gd name="connsiteX179" fmla="*/ 1098387 w 3785642"/>
                <a:gd name="connsiteY179" fmla="*/ 473786 h 479077"/>
                <a:gd name="connsiteX180" fmla="*/ 1082017 w 3785642"/>
                <a:gd name="connsiteY180" fmla="*/ 474778 h 479077"/>
                <a:gd name="connsiteX181" fmla="*/ 1065646 w 3785642"/>
                <a:gd name="connsiteY181" fmla="*/ 474778 h 479077"/>
                <a:gd name="connsiteX182" fmla="*/ 1049276 w 3785642"/>
                <a:gd name="connsiteY182" fmla="*/ 474282 h 479077"/>
                <a:gd name="connsiteX183" fmla="*/ 1032905 w 3785642"/>
                <a:gd name="connsiteY183" fmla="*/ 473290 h 479077"/>
                <a:gd name="connsiteX184" fmla="*/ 1016535 w 3785642"/>
                <a:gd name="connsiteY184" fmla="*/ 474282 h 479077"/>
                <a:gd name="connsiteX185" fmla="*/ 1000164 w 3785642"/>
                <a:gd name="connsiteY185" fmla="*/ 474282 h 479077"/>
                <a:gd name="connsiteX186" fmla="*/ 983793 w 3785642"/>
                <a:gd name="connsiteY186" fmla="*/ 472794 h 479077"/>
                <a:gd name="connsiteX187" fmla="*/ 967423 w 3785642"/>
                <a:gd name="connsiteY187" fmla="*/ 472794 h 479077"/>
                <a:gd name="connsiteX188" fmla="*/ 951052 w 3785642"/>
                <a:gd name="connsiteY188" fmla="*/ 473786 h 479077"/>
                <a:gd name="connsiteX189" fmla="*/ 934682 w 3785642"/>
                <a:gd name="connsiteY189" fmla="*/ 474282 h 479077"/>
                <a:gd name="connsiteX190" fmla="*/ 918311 w 3785642"/>
                <a:gd name="connsiteY190" fmla="*/ 474778 h 479077"/>
                <a:gd name="connsiteX191" fmla="*/ 901940 w 3785642"/>
                <a:gd name="connsiteY191" fmla="*/ 473290 h 479077"/>
                <a:gd name="connsiteX192" fmla="*/ 885570 w 3785642"/>
                <a:gd name="connsiteY192" fmla="*/ 474778 h 479077"/>
                <a:gd name="connsiteX193" fmla="*/ 869199 w 3785642"/>
                <a:gd name="connsiteY193" fmla="*/ 474282 h 479077"/>
                <a:gd name="connsiteX194" fmla="*/ 852829 w 3785642"/>
                <a:gd name="connsiteY194" fmla="*/ 473786 h 479077"/>
                <a:gd name="connsiteX195" fmla="*/ 836458 w 3785642"/>
                <a:gd name="connsiteY195" fmla="*/ 474778 h 479077"/>
                <a:gd name="connsiteX196" fmla="*/ 820088 w 3785642"/>
                <a:gd name="connsiteY196" fmla="*/ 475274 h 479077"/>
                <a:gd name="connsiteX197" fmla="*/ 803717 w 3785642"/>
                <a:gd name="connsiteY197" fmla="*/ 473786 h 479077"/>
                <a:gd name="connsiteX198" fmla="*/ 787347 w 3785642"/>
                <a:gd name="connsiteY198" fmla="*/ 475770 h 479077"/>
                <a:gd name="connsiteX199" fmla="*/ 770976 w 3785642"/>
                <a:gd name="connsiteY199" fmla="*/ 474778 h 479077"/>
                <a:gd name="connsiteX200" fmla="*/ 754605 w 3785642"/>
                <a:gd name="connsiteY200" fmla="*/ 475274 h 479077"/>
                <a:gd name="connsiteX201" fmla="*/ 738235 w 3785642"/>
                <a:gd name="connsiteY201" fmla="*/ 473786 h 479077"/>
                <a:gd name="connsiteX202" fmla="*/ 721864 w 3785642"/>
                <a:gd name="connsiteY202" fmla="*/ 475274 h 479077"/>
                <a:gd name="connsiteX203" fmla="*/ 705494 w 3785642"/>
                <a:gd name="connsiteY203" fmla="*/ 475770 h 479077"/>
                <a:gd name="connsiteX204" fmla="*/ 689123 w 3785642"/>
                <a:gd name="connsiteY204" fmla="*/ 474282 h 479077"/>
                <a:gd name="connsiteX205" fmla="*/ 672753 w 3785642"/>
                <a:gd name="connsiteY205" fmla="*/ 475274 h 479077"/>
                <a:gd name="connsiteX206" fmla="*/ 656382 w 3785642"/>
                <a:gd name="connsiteY206" fmla="*/ 474778 h 479077"/>
                <a:gd name="connsiteX207" fmla="*/ 640011 w 3785642"/>
                <a:gd name="connsiteY207" fmla="*/ 475770 h 479077"/>
                <a:gd name="connsiteX208" fmla="*/ 623641 w 3785642"/>
                <a:gd name="connsiteY208" fmla="*/ 473786 h 479077"/>
                <a:gd name="connsiteX209" fmla="*/ 607270 w 3785642"/>
                <a:gd name="connsiteY209" fmla="*/ 474778 h 479077"/>
                <a:gd name="connsiteX210" fmla="*/ 590900 w 3785642"/>
                <a:gd name="connsiteY210" fmla="*/ 475274 h 479077"/>
                <a:gd name="connsiteX211" fmla="*/ 574529 w 3785642"/>
                <a:gd name="connsiteY211" fmla="*/ 474282 h 479077"/>
                <a:gd name="connsiteX212" fmla="*/ 558158 w 3785642"/>
                <a:gd name="connsiteY212" fmla="*/ 475274 h 479077"/>
                <a:gd name="connsiteX213" fmla="*/ 541788 w 3785642"/>
                <a:gd name="connsiteY213" fmla="*/ 475770 h 479077"/>
                <a:gd name="connsiteX214" fmla="*/ 525417 w 3785642"/>
                <a:gd name="connsiteY214" fmla="*/ 474282 h 479077"/>
                <a:gd name="connsiteX215" fmla="*/ 509047 w 3785642"/>
                <a:gd name="connsiteY215" fmla="*/ 473786 h 479077"/>
                <a:gd name="connsiteX216" fmla="*/ 492676 w 3785642"/>
                <a:gd name="connsiteY216" fmla="*/ 473786 h 479077"/>
                <a:gd name="connsiteX217" fmla="*/ 476306 w 3785642"/>
                <a:gd name="connsiteY217" fmla="*/ 474778 h 479077"/>
                <a:gd name="connsiteX218" fmla="*/ 459935 w 3785642"/>
                <a:gd name="connsiteY218" fmla="*/ 473786 h 479077"/>
                <a:gd name="connsiteX219" fmla="*/ 443565 w 3785642"/>
                <a:gd name="connsiteY219" fmla="*/ 474778 h 479077"/>
                <a:gd name="connsiteX220" fmla="*/ 427194 w 3785642"/>
                <a:gd name="connsiteY220" fmla="*/ 474282 h 479077"/>
                <a:gd name="connsiteX221" fmla="*/ 410823 w 3785642"/>
                <a:gd name="connsiteY221" fmla="*/ 473290 h 479077"/>
                <a:gd name="connsiteX222" fmla="*/ 394453 w 3785642"/>
                <a:gd name="connsiteY222" fmla="*/ 475770 h 479077"/>
                <a:gd name="connsiteX223" fmla="*/ 378082 w 3785642"/>
                <a:gd name="connsiteY223" fmla="*/ 475274 h 479077"/>
                <a:gd name="connsiteX224" fmla="*/ 361712 w 3785642"/>
                <a:gd name="connsiteY224" fmla="*/ 474778 h 479077"/>
                <a:gd name="connsiteX225" fmla="*/ 345341 w 3785642"/>
                <a:gd name="connsiteY225" fmla="*/ 476266 h 479077"/>
                <a:gd name="connsiteX226" fmla="*/ 328970 w 3785642"/>
                <a:gd name="connsiteY226" fmla="*/ 474282 h 479077"/>
                <a:gd name="connsiteX227" fmla="*/ 312600 w 3785642"/>
                <a:gd name="connsiteY227" fmla="*/ 475274 h 479077"/>
                <a:gd name="connsiteX228" fmla="*/ 296229 w 3785642"/>
                <a:gd name="connsiteY228" fmla="*/ 474282 h 479077"/>
                <a:gd name="connsiteX229" fmla="*/ 279859 w 3785642"/>
                <a:gd name="connsiteY229" fmla="*/ 475770 h 479077"/>
                <a:gd name="connsiteX230" fmla="*/ 263488 w 3785642"/>
                <a:gd name="connsiteY230" fmla="*/ 476266 h 479077"/>
                <a:gd name="connsiteX231" fmla="*/ 247118 w 3785642"/>
                <a:gd name="connsiteY231" fmla="*/ 476266 h 479077"/>
                <a:gd name="connsiteX232" fmla="*/ 230747 w 3785642"/>
                <a:gd name="connsiteY232" fmla="*/ 474778 h 479077"/>
                <a:gd name="connsiteX233" fmla="*/ 214376 w 3785642"/>
                <a:gd name="connsiteY233" fmla="*/ 474778 h 479077"/>
                <a:gd name="connsiteX234" fmla="*/ 198006 w 3785642"/>
                <a:gd name="connsiteY234" fmla="*/ 476762 h 479077"/>
                <a:gd name="connsiteX235" fmla="*/ 181635 w 3785642"/>
                <a:gd name="connsiteY235" fmla="*/ 476266 h 479077"/>
                <a:gd name="connsiteX236" fmla="*/ 165265 w 3785642"/>
                <a:gd name="connsiteY236" fmla="*/ 474778 h 479077"/>
                <a:gd name="connsiteX237" fmla="*/ 148894 w 3785642"/>
                <a:gd name="connsiteY237" fmla="*/ 476762 h 479077"/>
                <a:gd name="connsiteX238" fmla="*/ 132524 w 3785642"/>
                <a:gd name="connsiteY238" fmla="*/ 476266 h 479077"/>
                <a:gd name="connsiteX239" fmla="*/ 116153 w 3785642"/>
                <a:gd name="connsiteY239" fmla="*/ 475274 h 479077"/>
                <a:gd name="connsiteX240" fmla="*/ 99783 w 3785642"/>
                <a:gd name="connsiteY240" fmla="*/ 475274 h 479077"/>
                <a:gd name="connsiteX241" fmla="*/ 83412 w 3785642"/>
                <a:gd name="connsiteY241" fmla="*/ 475274 h 479077"/>
                <a:gd name="connsiteX242" fmla="*/ 67041 w 3785642"/>
                <a:gd name="connsiteY242" fmla="*/ 474778 h 479077"/>
                <a:gd name="connsiteX243" fmla="*/ 50671 w 3785642"/>
                <a:gd name="connsiteY243" fmla="*/ 475274 h 479077"/>
                <a:gd name="connsiteX244" fmla="*/ 34300 w 3785642"/>
                <a:gd name="connsiteY244" fmla="*/ 475274 h 479077"/>
                <a:gd name="connsiteX245" fmla="*/ 17930 w 3785642"/>
                <a:gd name="connsiteY245" fmla="*/ 475770 h 479077"/>
                <a:gd name="connsiteX246" fmla="*/ 567 w 3785642"/>
                <a:gd name="connsiteY246" fmla="*/ 475770 h 479077"/>
                <a:gd name="connsiteX247" fmla="*/ 12969 w 3785642"/>
                <a:gd name="connsiteY247" fmla="*/ 463368 h 479077"/>
                <a:gd name="connsiteX248" fmla="*/ 24379 w 3785642"/>
                <a:gd name="connsiteY248" fmla="*/ 451958 h 479077"/>
                <a:gd name="connsiteX249" fmla="*/ 35788 w 3785642"/>
                <a:gd name="connsiteY249" fmla="*/ 440053 h 479077"/>
                <a:gd name="connsiteX250" fmla="*/ 48686 w 3785642"/>
                <a:gd name="connsiteY250" fmla="*/ 430131 h 479077"/>
                <a:gd name="connsiteX251" fmla="*/ 59600 w 3785642"/>
                <a:gd name="connsiteY251" fmla="*/ 418225 h 479077"/>
                <a:gd name="connsiteX252" fmla="*/ 70514 w 3785642"/>
                <a:gd name="connsiteY252" fmla="*/ 405823 h 479077"/>
                <a:gd name="connsiteX253" fmla="*/ 83412 w 3785642"/>
                <a:gd name="connsiteY253" fmla="*/ 395406 h 479077"/>
                <a:gd name="connsiteX254" fmla="*/ 94822 w 3785642"/>
                <a:gd name="connsiteY254" fmla="*/ 383500 h 479077"/>
                <a:gd name="connsiteX255" fmla="*/ 106728 w 3785642"/>
                <a:gd name="connsiteY255" fmla="*/ 372090 h 479077"/>
                <a:gd name="connsiteX256" fmla="*/ 117145 w 3785642"/>
                <a:gd name="connsiteY256" fmla="*/ 359688 h 479077"/>
                <a:gd name="connsiteX257" fmla="*/ 128555 w 3785642"/>
                <a:gd name="connsiteY257" fmla="*/ 348278 h 479077"/>
                <a:gd name="connsiteX258" fmla="*/ 140461 w 3785642"/>
                <a:gd name="connsiteY258" fmla="*/ 336868 h 479077"/>
                <a:gd name="connsiteX259" fmla="*/ 152863 w 3785642"/>
                <a:gd name="connsiteY259" fmla="*/ 326451 h 479077"/>
                <a:gd name="connsiteX260" fmla="*/ 164769 w 3785642"/>
                <a:gd name="connsiteY260" fmla="*/ 315041 h 479077"/>
                <a:gd name="connsiteX261" fmla="*/ 176178 w 3785642"/>
                <a:gd name="connsiteY261" fmla="*/ 303135 h 479077"/>
                <a:gd name="connsiteX262" fmla="*/ 188084 w 3785642"/>
                <a:gd name="connsiteY262" fmla="*/ 291725 h 479077"/>
                <a:gd name="connsiteX263" fmla="*/ 199494 w 3785642"/>
                <a:gd name="connsiteY263" fmla="*/ 280315 h 479077"/>
                <a:gd name="connsiteX264" fmla="*/ 210904 w 3785642"/>
                <a:gd name="connsiteY264" fmla="*/ 268906 h 479077"/>
                <a:gd name="connsiteX265" fmla="*/ 221818 w 3785642"/>
                <a:gd name="connsiteY265" fmla="*/ 256504 h 479077"/>
                <a:gd name="connsiteX266" fmla="*/ 233724 w 3785642"/>
                <a:gd name="connsiteY266" fmla="*/ 245094 h 479077"/>
                <a:gd name="connsiteX267" fmla="*/ 244141 w 3785642"/>
                <a:gd name="connsiteY267" fmla="*/ 232692 h 479077"/>
                <a:gd name="connsiteX268" fmla="*/ 257039 w 3785642"/>
                <a:gd name="connsiteY268" fmla="*/ 222770 h 479077"/>
                <a:gd name="connsiteX269" fmla="*/ 266961 w 3785642"/>
                <a:gd name="connsiteY269" fmla="*/ 209376 h 479077"/>
                <a:gd name="connsiteX270" fmla="*/ 278371 w 3785642"/>
                <a:gd name="connsiteY270" fmla="*/ 197966 h 479077"/>
                <a:gd name="connsiteX271" fmla="*/ 291269 w 3785642"/>
                <a:gd name="connsiteY271" fmla="*/ 188045 h 479077"/>
                <a:gd name="connsiteX272" fmla="*/ 301686 w 3785642"/>
                <a:gd name="connsiteY272" fmla="*/ 175147 h 479077"/>
                <a:gd name="connsiteX273" fmla="*/ 313592 w 3785642"/>
                <a:gd name="connsiteY273" fmla="*/ 163737 h 479077"/>
                <a:gd name="connsiteX274" fmla="*/ 325994 w 3785642"/>
                <a:gd name="connsiteY274" fmla="*/ 153319 h 479077"/>
                <a:gd name="connsiteX275" fmla="*/ 337404 w 3785642"/>
                <a:gd name="connsiteY275" fmla="*/ 141910 h 479077"/>
                <a:gd name="connsiteX276" fmla="*/ 347325 w 3785642"/>
                <a:gd name="connsiteY276" fmla="*/ 129012 h 479077"/>
                <a:gd name="connsiteX277" fmla="*/ 360224 w 3785642"/>
                <a:gd name="connsiteY277" fmla="*/ 118594 h 479077"/>
                <a:gd name="connsiteX278" fmla="*/ 371137 w 3785642"/>
                <a:gd name="connsiteY278" fmla="*/ 106192 h 479077"/>
                <a:gd name="connsiteX279" fmla="*/ 382051 w 3785642"/>
                <a:gd name="connsiteY279" fmla="*/ 93790 h 479077"/>
                <a:gd name="connsiteX280" fmla="*/ 393957 w 3785642"/>
                <a:gd name="connsiteY280" fmla="*/ 82380 h 479077"/>
                <a:gd name="connsiteX281" fmla="*/ 405366 w 3785642"/>
                <a:gd name="connsiteY281" fmla="*/ 70475 h 479077"/>
                <a:gd name="connsiteX282" fmla="*/ 417272 w 3785642"/>
                <a:gd name="connsiteY282" fmla="*/ 59561 h 479077"/>
                <a:gd name="connsiteX283" fmla="*/ 429674 w 3785642"/>
                <a:gd name="connsiteY283" fmla="*/ 48647 h 479077"/>
                <a:gd name="connsiteX284" fmla="*/ 440092 w 3785642"/>
                <a:gd name="connsiteY284" fmla="*/ 35749 h 479077"/>
                <a:gd name="connsiteX285" fmla="*/ 452494 w 3785642"/>
                <a:gd name="connsiteY285" fmla="*/ 24835 h 479077"/>
                <a:gd name="connsiteX286" fmla="*/ 463904 w 3785642"/>
                <a:gd name="connsiteY286" fmla="*/ 12929 h 479077"/>
                <a:gd name="connsiteX287" fmla="*/ 475313 w 3785642"/>
                <a:gd name="connsiteY287" fmla="*/ 1024 h 479077"/>
                <a:gd name="connsiteX288" fmla="*/ 491684 w 3785642"/>
                <a:gd name="connsiteY288" fmla="*/ 2512 h 479077"/>
                <a:gd name="connsiteX289" fmla="*/ 508055 w 3785642"/>
                <a:gd name="connsiteY289" fmla="*/ 2512 h 479077"/>
                <a:gd name="connsiteX290" fmla="*/ 524425 w 3785642"/>
                <a:gd name="connsiteY290" fmla="*/ 2512 h 479077"/>
                <a:gd name="connsiteX291" fmla="*/ 540796 w 3785642"/>
                <a:gd name="connsiteY291" fmla="*/ 1024 h 479077"/>
                <a:gd name="connsiteX292" fmla="*/ 557166 w 3785642"/>
                <a:gd name="connsiteY292" fmla="*/ 2512 h 479077"/>
                <a:gd name="connsiteX293" fmla="*/ 573537 w 3785642"/>
                <a:gd name="connsiteY293" fmla="*/ 1024 h 479077"/>
                <a:gd name="connsiteX294" fmla="*/ 589908 w 3785642"/>
                <a:gd name="connsiteY294" fmla="*/ 527 h 479077"/>
                <a:gd name="connsiteX295" fmla="*/ 606278 w 3785642"/>
                <a:gd name="connsiteY295" fmla="*/ 1520 h 479077"/>
                <a:gd name="connsiteX296" fmla="*/ 622649 w 3785642"/>
                <a:gd name="connsiteY296" fmla="*/ 1520 h 479077"/>
                <a:gd name="connsiteX297" fmla="*/ 639019 w 3785642"/>
                <a:gd name="connsiteY297" fmla="*/ 2016 h 479077"/>
                <a:gd name="connsiteX298" fmla="*/ 655390 w 3785642"/>
                <a:gd name="connsiteY298" fmla="*/ 527 h 479077"/>
                <a:gd name="connsiteX299" fmla="*/ 671760 w 3785642"/>
                <a:gd name="connsiteY299" fmla="*/ 1520 h 479077"/>
                <a:gd name="connsiteX300" fmla="*/ 688131 w 3785642"/>
                <a:gd name="connsiteY300" fmla="*/ 2512 h 479077"/>
                <a:gd name="connsiteX301" fmla="*/ 704501 w 3785642"/>
                <a:gd name="connsiteY301" fmla="*/ 1024 h 479077"/>
                <a:gd name="connsiteX302" fmla="*/ 720872 w 3785642"/>
                <a:gd name="connsiteY302" fmla="*/ 1520 h 479077"/>
                <a:gd name="connsiteX303" fmla="*/ 737243 w 3785642"/>
                <a:gd name="connsiteY303" fmla="*/ 2016 h 479077"/>
                <a:gd name="connsiteX304" fmla="*/ 753613 w 3785642"/>
                <a:gd name="connsiteY304" fmla="*/ 1024 h 479077"/>
                <a:gd name="connsiteX305" fmla="*/ 769984 w 3785642"/>
                <a:gd name="connsiteY305" fmla="*/ 527 h 479077"/>
                <a:gd name="connsiteX306" fmla="*/ 786354 w 3785642"/>
                <a:gd name="connsiteY306" fmla="*/ 1520 h 479077"/>
                <a:gd name="connsiteX307" fmla="*/ 802725 w 3785642"/>
                <a:gd name="connsiteY307" fmla="*/ 527 h 479077"/>
                <a:gd name="connsiteX308" fmla="*/ 819096 w 3785642"/>
                <a:gd name="connsiteY308" fmla="*/ 2512 h 479077"/>
                <a:gd name="connsiteX309" fmla="*/ 835466 w 3785642"/>
                <a:gd name="connsiteY309" fmla="*/ 527 h 479077"/>
                <a:gd name="connsiteX310" fmla="*/ 851837 w 3785642"/>
                <a:gd name="connsiteY310" fmla="*/ 1520 h 479077"/>
                <a:gd name="connsiteX311" fmla="*/ 868207 w 3785642"/>
                <a:gd name="connsiteY311" fmla="*/ 2016 h 479077"/>
                <a:gd name="connsiteX312" fmla="*/ 884578 w 3785642"/>
                <a:gd name="connsiteY312" fmla="*/ 2512 h 479077"/>
                <a:gd name="connsiteX313" fmla="*/ 900948 w 3785642"/>
                <a:gd name="connsiteY313" fmla="*/ 1520 h 479077"/>
                <a:gd name="connsiteX314" fmla="*/ 917319 w 3785642"/>
                <a:gd name="connsiteY314" fmla="*/ 1024 h 479077"/>
                <a:gd name="connsiteX315" fmla="*/ 933689 w 3785642"/>
                <a:gd name="connsiteY315" fmla="*/ 2512 h 479077"/>
                <a:gd name="connsiteX316" fmla="*/ 950060 w 3785642"/>
                <a:gd name="connsiteY316" fmla="*/ 1520 h 479077"/>
                <a:gd name="connsiteX317" fmla="*/ 966431 w 3785642"/>
                <a:gd name="connsiteY317" fmla="*/ 2016 h 479077"/>
                <a:gd name="connsiteX318" fmla="*/ 982801 w 3785642"/>
                <a:gd name="connsiteY318" fmla="*/ 2512 h 479077"/>
                <a:gd name="connsiteX319" fmla="*/ 999172 w 3785642"/>
                <a:gd name="connsiteY319" fmla="*/ 1520 h 479077"/>
                <a:gd name="connsiteX320" fmla="*/ 1015542 w 3785642"/>
                <a:gd name="connsiteY320" fmla="*/ 2512 h 479077"/>
                <a:gd name="connsiteX321" fmla="*/ 1031913 w 3785642"/>
                <a:gd name="connsiteY321" fmla="*/ 1520 h 479077"/>
                <a:gd name="connsiteX322" fmla="*/ 1048283 w 3785642"/>
                <a:gd name="connsiteY322" fmla="*/ 2016 h 479077"/>
                <a:gd name="connsiteX323" fmla="*/ 1064654 w 3785642"/>
                <a:gd name="connsiteY323" fmla="*/ 3504 h 479077"/>
                <a:gd name="connsiteX324" fmla="*/ 1081025 w 3785642"/>
                <a:gd name="connsiteY324" fmla="*/ 2016 h 479077"/>
                <a:gd name="connsiteX325" fmla="*/ 1097395 w 3785642"/>
                <a:gd name="connsiteY325" fmla="*/ 2512 h 479077"/>
                <a:gd name="connsiteX326" fmla="*/ 1113766 w 3785642"/>
                <a:gd name="connsiteY326" fmla="*/ 2512 h 479077"/>
                <a:gd name="connsiteX327" fmla="*/ 1130136 w 3785642"/>
                <a:gd name="connsiteY327" fmla="*/ 3504 h 479077"/>
                <a:gd name="connsiteX328" fmla="*/ 1146507 w 3785642"/>
                <a:gd name="connsiteY328" fmla="*/ 1520 h 479077"/>
                <a:gd name="connsiteX329" fmla="*/ 1162878 w 3785642"/>
                <a:gd name="connsiteY329" fmla="*/ 3008 h 479077"/>
                <a:gd name="connsiteX330" fmla="*/ 1179248 w 3785642"/>
                <a:gd name="connsiteY330" fmla="*/ 4000 h 479077"/>
                <a:gd name="connsiteX331" fmla="*/ 1195619 w 3785642"/>
                <a:gd name="connsiteY331" fmla="*/ 3504 h 479077"/>
                <a:gd name="connsiteX332" fmla="*/ 1211989 w 3785642"/>
                <a:gd name="connsiteY332" fmla="*/ 1520 h 479077"/>
                <a:gd name="connsiteX333" fmla="*/ 1228360 w 3785642"/>
                <a:gd name="connsiteY333" fmla="*/ 3504 h 479077"/>
                <a:gd name="connsiteX334" fmla="*/ 1244730 w 3785642"/>
                <a:gd name="connsiteY334" fmla="*/ 1520 h 479077"/>
                <a:gd name="connsiteX335" fmla="*/ 1261101 w 3785642"/>
                <a:gd name="connsiteY335" fmla="*/ 2512 h 479077"/>
                <a:gd name="connsiteX336" fmla="*/ 1277471 w 3785642"/>
                <a:gd name="connsiteY336" fmla="*/ 3504 h 479077"/>
                <a:gd name="connsiteX337" fmla="*/ 1293842 w 3785642"/>
                <a:gd name="connsiteY337" fmla="*/ 4000 h 479077"/>
                <a:gd name="connsiteX338" fmla="*/ 1310213 w 3785642"/>
                <a:gd name="connsiteY338" fmla="*/ 1520 h 479077"/>
                <a:gd name="connsiteX339" fmla="*/ 1326583 w 3785642"/>
                <a:gd name="connsiteY339" fmla="*/ 2016 h 479077"/>
                <a:gd name="connsiteX340" fmla="*/ 1342954 w 3785642"/>
                <a:gd name="connsiteY340" fmla="*/ 3008 h 479077"/>
                <a:gd name="connsiteX341" fmla="*/ 1359324 w 3785642"/>
                <a:gd name="connsiteY341" fmla="*/ 3008 h 479077"/>
                <a:gd name="connsiteX342" fmla="*/ 1375695 w 3785642"/>
                <a:gd name="connsiteY342" fmla="*/ 2512 h 479077"/>
                <a:gd name="connsiteX343" fmla="*/ 1392066 w 3785642"/>
                <a:gd name="connsiteY343" fmla="*/ 2512 h 479077"/>
                <a:gd name="connsiteX344" fmla="*/ 1408436 w 3785642"/>
                <a:gd name="connsiteY344" fmla="*/ 3504 h 479077"/>
                <a:gd name="connsiteX345" fmla="*/ 1424807 w 3785642"/>
                <a:gd name="connsiteY345" fmla="*/ 3504 h 479077"/>
                <a:gd name="connsiteX346" fmla="*/ 1441177 w 3785642"/>
                <a:gd name="connsiteY346" fmla="*/ 1520 h 479077"/>
                <a:gd name="connsiteX347" fmla="*/ 1457548 w 3785642"/>
                <a:gd name="connsiteY347" fmla="*/ 2512 h 479077"/>
                <a:gd name="connsiteX348" fmla="*/ 1473919 w 3785642"/>
                <a:gd name="connsiteY348" fmla="*/ 2016 h 479077"/>
                <a:gd name="connsiteX349" fmla="*/ 1490289 w 3785642"/>
                <a:gd name="connsiteY349" fmla="*/ 2016 h 479077"/>
                <a:gd name="connsiteX350" fmla="*/ 1506660 w 3785642"/>
                <a:gd name="connsiteY350" fmla="*/ 1520 h 479077"/>
                <a:gd name="connsiteX351" fmla="*/ 1523030 w 3785642"/>
                <a:gd name="connsiteY351" fmla="*/ 3504 h 479077"/>
                <a:gd name="connsiteX352" fmla="*/ 1539401 w 3785642"/>
                <a:gd name="connsiteY352" fmla="*/ 3008 h 479077"/>
                <a:gd name="connsiteX353" fmla="*/ 1555771 w 3785642"/>
                <a:gd name="connsiteY353" fmla="*/ 3008 h 479077"/>
                <a:gd name="connsiteX354" fmla="*/ 1572142 w 3785642"/>
                <a:gd name="connsiteY354" fmla="*/ 2512 h 479077"/>
                <a:gd name="connsiteX355" fmla="*/ 1588512 w 3785642"/>
                <a:gd name="connsiteY355" fmla="*/ 2016 h 479077"/>
                <a:gd name="connsiteX356" fmla="*/ 1604883 w 3785642"/>
                <a:gd name="connsiteY356" fmla="*/ 3008 h 479077"/>
                <a:gd name="connsiteX357" fmla="*/ 1621253 w 3785642"/>
                <a:gd name="connsiteY357" fmla="*/ 3008 h 479077"/>
                <a:gd name="connsiteX358" fmla="*/ 1637624 w 3785642"/>
                <a:gd name="connsiteY35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05646 w 3785642"/>
                <a:gd name="connsiteY27" fmla="*/ 79404 h 479077"/>
                <a:gd name="connsiteX28" fmla="*/ 3393740 w 3785642"/>
                <a:gd name="connsiteY28" fmla="*/ 68490 h 479077"/>
                <a:gd name="connsiteX29" fmla="*/ 3382330 w 3785642"/>
                <a:gd name="connsiteY29" fmla="*/ 56584 h 479077"/>
                <a:gd name="connsiteX30" fmla="*/ 3370921 w 3785642"/>
                <a:gd name="connsiteY30" fmla="*/ 44678 h 479077"/>
                <a:gd name="connsiteX31" fmla="*/ 3313375 w 3785642"/>
                <a:gd name="connsiteY31" fmla="*/ 10945 h 479077"/>
                <a:gd name="connsiteX32" fmla="*/ 3300973 w 3785642"/>
                <a:gd name="connsiteY32" fmla="*/ 21363 h 479077"/>
                <a:gd name="connsiteX33" fmla="*/ 3289068 w 3785642"/>
                <a:gd name="connsiteY33" fmla="*/ 32276 h 479077"/>
                <a:gd name="connsiteX34" fmla="*/ 3277658 w 3785642"/>
                <a:gd name="connsiteY34" fmla="*/ 43686 h 479077"/>
                <a:gd name="connsiteX35" fmla="*/ 3266248 w 3785642"/>
                <a:gd name="connsiteY35" fmla="*/ 55592 h 479077"/>
                <a:gd name="connsiteX36" fmla="*/ 3255830 w 3785642"/>
                <a:gd name="connsiteY36" fmla="*/ 68490 h 479077"/>
                <a:gd name="connsiteX37" fmla="*/ 3243924 w 3785642"/>
                <a:gd name="connsiteY37" fmla="*/ 79900 h 479077"/>
                <a:gd name="connsiteX38" fmla="*/ 3231522 w 3785642"/>
                <a:gd name="connsiteY38" fmla="*/ 90814 h 479077"/>
                <a:gd name="connsiteX39" fmla="*/ 3220609 w 3785642"/>
                <a:gd name="connsiteY39" fmla="*/ 102720 h 479077"/>
                <a:gd name="connsiteX40" fmla="*/ 3208207 w 3785642"/>
                <a:gd name="connsiteY40" fmla="*/ 113137 h 479077"/>
                <a:gd name="connsiteX41" fmla="*/ 3197293 w 3785642"/>
                <a:gd name="connsiteY41" fmla="*/ 125043 h 479077"/>
                <a:gd name="connsiteX42" fmla="*/ 3185387 w 3785642"/>
                <a:gd name="connsiteY42" fmla="*/ 136453 h 479077"/>
                <a:gd name="connsiteX43" fmla="*/ 3174970 w 3785642"/>
                <a:gd name="connsiteY43" fmla="*/ 148855 h 479077"/>
                <a:gd name="connsiteX44" fmla="*/ 3162071 w 3785642"/>
                <a:gd name="connsiteY44" fmla="*/ 159272 h 479077"/>
                <a:gd name="connsiteX45" fmla="*/ 3151158 w 3785642"/>
                <a:gd name="connsiteY45" fmla="*/ 171674 h 479077"/>
                <a:gd name="connsiteX46" fmla="*/ 3139252 w 3785642"/>
                <a:gd name="connsiteY46" fmla="*/ 182588 h 479077"/>
                <a:gd name="connsiteX47" fmla="*/ 3127843 w 3785642"/>
                <a:gd name="connsiteY47" fmla="*/ 194494 h 479077"/>
                <a:gd name="connsiteX48" fmla="*/ 3116432 w 3785642"/>
                <a:gd name="connsiteY48" fmla="*/ 205904 h 479077"/>
                <a:gd name="connsiteX49" fmla="*/ 3105022 w 3785642"/>
                <a:gd name="connsiteY49" fmla="*/ 217810 h 479077"/>
                <a:gd name="connsiteX50" fmla="*/ 3093117 w 3785642"/>
                <a:gd name="connsiteY50" fmla="*/ 229219 h 479077"/>
                <a:gd name="connsiteX51" fmla="*/ 3081707 w 3785642"/>
                <a:gd name="connsiteY51" fmla="*/ 240629 h 479077"/>
                <a:gd name="connsiteX52" fmla="*/ 3069305 w 3785642"/>
                <a:gd name="connsiteY52" fmla="*/ 251543 h 479077"/>
                <a:gd name="connsiteX53" fmla="*/ 3057895 w 3785642"/>
                <a:gd name="connsiteY53" fmla="*/ 263449 h 479077"/>
                <a:gd name="connsiteX54" fmla="*/ 3046486 w 3785642"/>
                <a:gd name="connsiteY54" fmla="*/ 275355 h 479077"/>
                <a:gd name="connsiteX55" fmla="*/ 3035572 w 3785642"/>
                <a:gd name="connsiteY55" fmla="*/ 287260 h 479077"/>
                <a:gd name="connsiteX56" fmla="*/ 3024658 w 3785642"/>
                <a:gd name="connsiteY56" fmla="*/ 299166 h 479077"/>
                <a:gd name="connsiteX57" fmla="*/ 3013248 w 3785642"/>
                <a:gd name="connsiteY57" fmla="*/ 311072 h 479077"/>
                <a:gd name="connsiteX58" fmla="*/ 3000350 w 3785642"/>
                <a:gd name="connsiteY58" fmla="*/ 321490 h 479077"/>
                <a:gd name="connsiteX59" fmla="*/ 2988941 w 3785642"/>
                <a:gd name="connsiteY59" fmla="*/ 333396 h 479077"/>
                <a:gd name="connsiteX60" fmla="*/ 2976539 w 3785642"/>
                <a:gd name="connsiteY60" fmla="*/ 344309 h 479077"/>
                <a:gd name="connsiteX61" fmla="*/ 2965129 w 3785642"/>
                <a:gd name="connsiteY61" fmla="*/ 356215 h 479077"/>
                <a:gd name="connsiteX62" fmla="*/ 2953223 w 3785642"/>
                <a:gd name="connsiteY62" fmla="*/ 367625 h 479077"/>
                <a:gd name="connsiteX63" fmla="*/ 2941813 w 3785642"/>
                <a:gd name="connsiteY63" fmla="*/ 379531 h 479077"/>
                <a:gd name="connsiteX64" fmla="*/ 2931395 w 3785642"/>
                <a:gd name="connsiteY64" fmla="*/ 392429 h 479077"/>
                <a:gd name="connsiteX65" fmla="*/ 2918497 w 3785642"/>
                <a:gd name="connsiteY65" fmla="*/ 402847 h 479077"/>
                <a:gd name="connsiteX66" fmla="*/ 2907584 w 3785642"/>
                <a:gd name="connsiteY66" fmla="*/ 415249 h 479077"/>
                <a:gd name="connsiteX67" fmla="*/ 2896174 w 3785642"/>
                <a:gd name="connsiteY67" fmla="*/ 426658 h 479077"/>
                <a:gd name="connsiteX68" fmla="*/ 2884268 w 3785642"/>
                <a:gd name="connsiteY68" fmla="*/ 438068 h 479077"/>
                <a:gd name="connsiteX69" fmla="*/ 2873354 w 3785642"/>
                <a:gd name="connsiteY69" fmla="*/ 450470 h 479077"/>
                <a:gd name="connsiteX70" fmla="*/ 2860952 w 3785642"/>
                <a:gd name="connsiteY70" fmla="*/ 461384 h 479077"/>
                <a:gd name="connsiteX71" fmla="*/ 2850039 w 3785642"/>
                <a:gd name="connsiteY71" fmla="*/ 473786 h 479077"/>
                <a:gd name="connsiteX72" fmla="*/ 2833668 w 3785642"/>
                <a:gd name="connsiteY72" fmla="*/ 473786 h 479077"/>
                <a:gd name="connsiteX73" fmla="*/ 2817297 w 3785642"/>
                <a:gd name="connsiteY73" fmla="*/ 473290 h 479077"/>
                <a:gd name="connsiteX74" fmla="*/ 2800927 w 3785642"/>
                <a:gd name="connsiteY74" fmla="*/ 473290 h 479077"/>
                <a:gd name="connsiteX75" fmla="*/ 2784556 w 3785642"/>
                <a:gd name="connsiteY75" fmla="*/ 473786 h 479077"/>
                <a:gd name="connsiteX76" fmla="*/ 2768186 w 3785642"/>
                <a:gd name="connsiteY76" fmla="*/ 474282 h 479077"/>
                <a:gd name="connsiteX77" fmla="*/ 2751815 w 3785642"/>
                <a:gd name="connsiteY77" fmla="*/ 474282 h 479077"/>
                <a:gd name="connsiteX78" fmla="*/ 2735444 w 3785642"/>
                <a:gd name="connsiteY78" fmla="*/ 473290 h 479077"/>
                <a:gd name="connsiteX79" fmla="*/ 2719074 w 3785642"/>
                <a:gd name="connsiteY79" fmla="*/ 474282 h 479077"/>
                <a:gd name="connsiteX80" fmla="*/ 2702703 w 3785642"/>
                <a:gd name="connsiteY80" fmla="*/ 472298 h 479077"/>
                <a:gd name="connsiteX81" fmla="*/ 2686333 w 3785642"/>
                <a:gd name="connsiteY81" fmla="*/ 472794 h 479077"/>
                <a:gd name="connsiteX82" fmla="*/ 2669962 w 3785642"/>
                <a:gd name="connsiteY82" fmla="*/ 474282 h 479077"/>
                <a:gd name="connsiteX83" fmla="*/ 2653592 w 3785642"/>
                <a:gd name="connsiteY83" fmla="*/ 472298 h 479077"/>
                <a:gd name="connsiteX84" fmla="*/ 2637221 w 3785642"/>
                <a:gd name="connsiteY84" fmla="*/ 474282 h 479077"/>
                <a:gd name="connsiteX85" fmla="*/ 2620851 w 3785642"/>
                <a:gd name="connsiteY85" fmla="*/ 474282 h 479077"/>
                <a:gd name="connsiteX86" fmla="*/ 2604480 w 3785642"/>
                <a:gd name="connsiteY86" fmla="*/ 472298 h 479077"/>
                <a:gd name="connsiteX87" fmla="*/ 2588109 w 3785642"/>
                <a:gd name="connsiteY87" fmla="*/ 473786 h 479077"/>
                <a:gd name="connsiteX88" fmla="*/ 2571739 w 3785642"/>
                <a:gd name="connsiteY88" fmla="*/ 472298 h 479077"/>
                <a:gd name="connsiteX89" fmla="*/ 2555368 w 3785642"/>
                <a:gd name="connsiteY89" fmla="*/ 473290 h 479077"/>
                <a:gd name="connsiteX90" fmla="*/ 2538998 w 3785642"/>
                <a:gd name="connsiteY90" fmla="*/ 474282 h 479077"/>
                <a:gd name="connsiteX91" fmla="*/ 2522627 w 3785642"/>
                <a:gd name="connsiteY91" fmla="*/ 473290 h 479077"/>
                <a:gd name="connsiteX92" fmla="*/ 2506257 w 3785642"/>
                <a:gd name="connsiteY92" fmla="*/ 474282 h 479077"/>
                <a:gd name="connsiteX93" fmla="*/ 2489886 w 3785642"/>
                <a:gd name="connsiteY93" fmla="*/ 473786 h 479077"/>
                <a:gd name="connsiteX94" fmla="*/ 2473516 w 3785642"/>
                <a:gd name="connsiteY94" fmla="*/ 474282 h 479077"/>
                <a:gd name="connsiteX95" fmla="*/ 2457145 w 3785642"/>
                <a:gd name="connsiteY95" fmla="*/ 472794 h 479077"/>
                <a:gd name="connsiteX96" fmla="*/ 2440775 w 3785642"/>
                <a:gd name="connsiteY96" fmla="*/ 472298 h 479077"/>
                <a:gd name="connsiteX97" fmla="*/ 2424404 w 3785642"/>
                <a:gd name="connsiteY97" fmla="*/ 473786 h 479077"/>
                <a:gd name="connsiteX98" fmla="*/ 2408033 w 3785642"/>
                <a:gd name="connsiteY98" fmla="*/ 472794 h 479077"/>
                <a:gd name="connsiteX99" fmla="*/ 2391663 w 3785642"/>
                <a:gd name="connsiteY99" fmla="*/ 473290 h 479077"/>
                <a:gd name="connsiteX100" fmla="*/ 2375292 w 3785642"/>
                <a:gd name="connsiteY100" fmla="*/ 473290 h 479077"/>
                <a:gd name="connsiteX101" fmla="*/ 2358922 w 3785642"/>
                <a:gd name="connsiteY101" fmla="*/ 472794 h 479077"/>
                <a:gd name="connsiteX102" fmla="*/ 2342551 w 3785642"/>
                <a:gd name="connsiteY102" fmla="*/ 472298 h 479077"/>
                <a:gd name="connsiteX103" fmla="*/ 2326180 w 3785642"/>
                <a:gd name="connsiteY103" fmla="*/ 473786 h 479077"/>
                <a:gd name="connsiteX104" fmla="*/ 2309810 w 3785642"/>
                <a:gd name="connsiteY104" fmla="*/ 473786 h 479077"/>
                <a:gd name="connsiteX105" fmla="*/ 2293439 w 3785642"/>
                <a:gd name="connsiteY105" fmla="*/ 473786 h 479077"/>
                <a:gd name="connsiteX106" fmla="*/ 2277069 w 3785642"/>
                <a:gd name="connsiteY106" fmla="*/ 472794 h 479077"/>
                <a:gd name="connsiteX107" fmla="*/ 2260698 w 3785642"/>
                <a:gd name="connsiteY107" fmla="*/ 474282 h 479077"/>
                <a:gd name="connsiteX108" fmla="*/ 2244327 w 3785642"/>
                <a:gd name="connsiteY108" fmla="*/ 472298 h 479077"/>
                <a:gd name="connsiteX109" fmla="*/ 2227957 w 3785642"/>
                <a:gd name="connsiteY109" fmla="*/ 474282 h 479077"/>
                <a:gd name="connsiteX110" fmla="*/ 2211586 w 3785642"/>
                <a:gd name="connsiteY110" fmla="*/ 473290 h 479077"/>
                <a:gd name="connsiteX111" fmla="*/ 2195216 w 3785642"/>
                <a:gd name="connsiteY111" fmla="*/ 474282 h 479077"/>
                <a:gd name="connsiteX112" fmla="*/ 2178845 w 3785642"/>
                <a:gd name="connsiteY112" fmla="*/ 472794 h 479077"/>
                <a:gd name="connsiteX113" fmla="*/ 2162474 w 3785642"/>
                <a:gd name="connsiteY113" fmla="*/ 474778 h 479077"/>
                <a:gd name="connsiteX114" fmla="*/ 2146104 w 3785642"/>
                <a:gd name="connsiteY114" fmla="*/ 473290 h 479077"/>
                <a:gd name="connsiteX115" fmla="*/ 2129733 w 3785642"/>
                <a:gd name="connsiteY115" fmla="*/ 474778 h 479077"/>
                <a:gd name="connsiteX116" fmla="*/ 2113363 w 3785642"/>
                <a:gd name="connsiteY116" fmla="*/ 474778 h 479077"/>
                <a:gd name="connsiteX117" fmla="*/ 2096992 w 3785642"/>
                <a:gd name="connsiteY117" fmla="*/ 474778 h 479077"/>
                <a:gd name="connsiteX118" fmla="*/ 2080621 w 3785642"/>
                <a:gd name="connsiteY118" fmla="*/ 474282 h 479077"/>
                <a:gd name="connsiteX119" fmla="*/ 2064251 w 3785642"/>
                <a:gd name="connsiteY119" fmla="*/ 472794 h 479077"/>
                <a:gd name="connsiteX120" fmla="*/ 2047880 w 3785642"/>
                <a:gd name="connsiteY120" fmla="*/ 474778 h 479077"/>
                <a:gd name="connsiteX121" fmla="*/ 2031510 w 3785642"/>
                <a:gd name="connsiteY121" fmla="*/ 474778 h 479077"/>
                <a:gd name="connsiteX122" fmla="*/ 2015139 w 3785642"/>
                <a:gd name="connsiteY122" fmla="*/ 474778 h 479077"/>
                <a:gd name="connsiteX123" fmla="*/ 1998769 w 3785642"/>
                <a:gd name="connsiteY123" fmla="*/ 474282 h 479077"/>
                <a:gd name="connsiteX124" fmla="*/ 1982398 w 3785642"/>
                <a:gd name="connsiteY124" fmla="*/ 473786 h 479077"/>
                <a:gd name="connsiteX125" fmla="*/ 1966028 w 3785642"/>
                <a:gd name="connsiteY125" fmla="*/ 473786 h 479077"/>
                <a:gd name="connsiteX126" fmla="*/ 1949657 w 3785642"/>
                <a:gd name="connsiteY126" fmla="*/ 472794 h 479077"/>
                <a:gd name="connsiteX127" fmla="*/ 1933287 w 3785642"/>
                <a:gd name="connsiteY127" fmla="*/ 473290 h 479077"/>
                <a:gd name="connsiteX128" fmla="*/ 1916916 w 3785642"/>
                <a:gd name="connsiteY128" fmla="*/ 474778 h 479077"/>
                <a:gd name="connsiteX129" fmla="*/ 1900546 w 3785642"/>
                <a:gd name="connsiteY129" fmla="*/ 472794 h 479077"/>
                <a:gd name="connsiteX130" fmla="*/ 1884175 w 3785642"/>
                <a:gd name="connsiteY130" fmla="*/ 473786 h 479077"/>
                <a:gd name="connsiteX131" fmla="*/ 1867804 w 3785642"/>
                <a:gd name="connsiteY131" fmla="*/ 474778 h 479077"/>
                <a:gd name="connsiteX132" fmla="*/ 1851434 w 3785642"/>
                <a:gd name="connsiteY132" fmla="*/ 474778 h 479077"/>
                <a:gd name="connsiteX133" fmla="*/ 1835063 w 3785642"/>
                <a:gd name="connsiteY133" fmla="*/ 474778 h 479077"/>
                <a:gd name="connsiteX134" fmla="*/ 1818693 w 3785642"/>
                <a:gd name="connsiteY134" fmla="*/ 474282 h 479077"/>
                <a:gd name="connsiteX135" fmla="*/ 1802322 w 3785642"/>
                <a:gd name="connsiteY135" fmla="*/ 472794 h 479077"/>
                <a:gd name="connsiteX136" fmla="*/ 1785951 w 3785642"/>
                <a:gd name="connsiteY136" fmla="*/ 473786 h 479077"/>
                <a:gd name="connsiteX137" fmla="*/ 1769581 w 3785642"/>
                <a:gd name="connsiteY137" fmla="*/ 473290 h 479077"/>
                <a:gd name="connsiteX138" fmla="*/ 1753210 w 3785642"/>
                <a:gd name="connsiteY138" fmla="*/ 472298 h 479077"/>
                <a:gd name="connsiteX139" fmla="*/ 1736840 w 3785642"/>
                <a:gd name="connsiteY139" fmla="*/ 473290 h 479077"/>
                <a:gd name="connsiteX140" fmla="*/ 1720469 w 3785642"/>
                <a:gd name="connsiteY140" fmla="*/ 474778 h 479077"/>
                <a:gd name="connsiteX141" fmla="*/ 1704098 w 3785642"/>
                <a:gd name="connsiteY141" fmla="*/ 472794 h 479077"/>
                <a:gd name="connsiteX142" fmla="*/ 1687728 w 3785642"/>
                <a:gd name="connsiteY142" fmla="*/ 474778 h 479077"/>
                <a:gd name="connsiteX143" fmla="*/ 1671357 w 3785642"/>
                <a:gd name="connsiteY143" fmla="*/ 474778 h 479077"/>
                <a:gd name="connsiteX144" fmla="*/ 1654987 w 3785642"/>
                <a:gd name="connsiteY144" fmla="*/ 472298 h 479077"/>
                <a:gd name="connsiteX145" fmla="*/ 1638616 w 3785642"/>
                <a:gd name="connsiteY145" fmla="*/ 472794 h 479077"/>
                <a:gd name="connsiteX146" fmla="*/ 1622246 w 3785642"/>
                <a:gd name="connsiteY146" fmla="*/ 473786 h 479077"/>
                <a:gd name="connsiteX147" fmla="*/ 1605875 w 3785642"/>
                <a:gd name="connsiteY147" fmla="*/ 474778 h 479077"/>
                <a:gd name="connsiteX148" fmla="*/ 1589505 w 3785642"/>
                <a:gd name="connsiteY148" fmla="*/ 473290 h 479077"/>
                <a:gd name="connsiteX149" fmla="*/ 1573134 w 3785642"/>
                <a:gd name="connsiteY149" fmla="*/ 474778 h 479077"/>
                <a:gd name="connsiteX150" fmla="*/ 1556763 w 3785642"/>
                <a:gd name="connsiteY150" fmla="*/ 472794 h 479077"/>
                <a:gd name="connsiteX151" fmla="*/ 1540393 w 3785642"/>
                <a:gd name="connsiteY151" fmla="*/ 472794 h 479077"/>
                <a:gd name="connsiteX152" fmla="*/ 1524022 w 3785642"/>
                <a:gd name="connsiteY152" fmla="*/ 474282 h 479077"/>
                <a:gd name="connsiteX153" fmla="*/ 1507652 w 3785642"/>
                <a:gd name="connsiteY153" fmla="*/ 472794 h 479077"/>
                <a:gd name="connsiteX154" fmla="*/ 1491281 w 3785642"/>
                <a:gd name="connsiteY154" fmla="*/ 474282 h 479077"/>
                <a:gd name="connsiteX155" fmla="*/ 1474910 w 3785642"/>
                <a:gd name="connsiteY155" fmla="*/ 474282 h 479077"/>
                <a:gd name="connsiteX156" fmla="*/ 1458540 w 3785642"/>
                <a:gd name="connsiteY156" fmla="*/ 472794 h 479077"/>
                <a:gd name="connsiteX157" fmla="*/ 1442169 w 3785642"/>
                <a:gd name="connsiteY157" fmla="*/ 471802 h 479077"/>
                <a:gd name="connsiteX158" fmla="*/ 1425799 w 3785642"/>
                <a:gd name="connsiteY158" fmla="*/ 472298 h 479077"/>
                <a:gd name="connsiteX159" fmla="*/ 1409428 w 3785642"/>
                <a:gd name="connsiteY159" fmla="*/ 472794 h 479077"/>
                <a:gd name="connsiteX160" fmla="*/ 1393058 w 3785642"/>
                <a:gd name="connsiteY160" fmla="*/ 473786 h 479077"/>
                <a:gd name="connsiteX161" fmla="*/ 1376687 w 3785642"/>
                <a:gd name="connsiteY161" fmla="*/ 471802 h 479077"/>
                <a:gd name="connsiteX162" fmla="*/ 1360317 w 3785642"/>
                <a:gd name="connsiteY162" fmla="*/ 473786 h 479077"/>
                <a:gd name="connsiteX163" fmla="*/ 1343946 w 3785642"/>
                <a:gd name="connsiteY163" fmla="*/ 473786 h 479077"/>
                <a:gd name="connsiteX164" fmla="*/ 1327576 w 3785642"/>
                <a:gd name="connsiteY164" fmla="*/ 472794 h 479077"/>
                <a:gd name="connsiteX165" fmla="*/ 1311205 w 3785642"/>
                <a:gd name="connsiteY165" fmla="*/ 473786 h 479077"/>
                <a:gd name="connsiteX166" fmla="*/ 1294834 w 3785642"/>
                <a:gd name="connsiteY166" fmla="*/ 473786 h 479077"/>
                <a:gd name="connsiteX167" fmla="*/ 1278464 w 3785642"/>
                <a:gd name="connsiteY167" fmla="*/ 473786 h 479077"/>
                <a:gd name="connsiteX168" fmla="*/ 1262093 w 3785642"/>
                <a:gd name="connsiteY168" fmla="*/ 473786 h 479077"/>
                <a:gd name="connsiteX169" fmla="*/ 1245723 w 3785642"/>
                <a:gd name="connsiteY169" fmla="*/ 473290 h 479077"/>
                <a:gd name="connsiteX170" fmla="*/ 1229352 w 3785642"/>
                <a:gd name="connsiteY170" fmla="*/ 472794 h 479077"/>
                <a:gd name="connsiteX171" fmla="*/ 1212981 w 3785642"/>
                <a:gd name="connsiteY171" fmla="*/ 473786 h 479077"/>
                <a:gd name="connsiteX172" fmla="*/ 1196611 w 3785642"/>
                <a:gd name="connsiteY172" fmla="*/ 472298 h 479077"/>
                <a:gd name="connsiteX173" fmla="*/ 1180240 w 3785642"/>
                <a:gd name="connsiteY173" fmla="*/ 472794 h 479077"/>
                <a:gd name="connsiteX174" fmla="*/ 1163870 w 3785642"/>
                <a:gd name="connsiteY174" fmla="*/ 472794 h 479077"/>
                <a:gd name="connsiteX175" fmla="*/ 1147499 w 3785642"/>
                <a:gd name="connsiteY175" fmla="*/ 473786 h 479077"/>
                <a:gd name="connsiteX176" fmla="*/ 1131128 w 3785642"/>
                <a:gd name="connsiteY176" fmla="*/ 473786 h 479077"/>
                <a:gd name="connsiteX177" fmla="*/ 1114758 w 3785642"/>
                <a:gd name="connsiteY177" fmla="*/ 472794 h 479077"/>
                <a:gd name="connsiteX178" fmla="*/ 1098387 w 3785642"/>
                <a:gd name="connsiteY178" fmla="*/ 473786 h 479077"/>
                <a:gd name="connsiteX179" fmla="*/ 1082017 w 3785642"/>
                <a:gd name="connsiteY179" fmla="*/ 474778 h 479077"/>
                <a:gd name="connsiteX180" fmla="*/ 1065646 w 3785642"/>
                <a:gd name="connsiteY180" fmla="*/ 474778 h 479077"/>
                <a:gd name="connsiteX181" fmla="*/ 1049276 w 3785642"/>
                <a:gd name="connsiteY181" fmla="*/ 474282 h 479077"/>
                <a:gd name="connsiteX182" fmla="*/ 1032905 w 3785642"/>
                <a:gd name="connsiteY182" fmla="*/ 473290 h 479077"/>
                <a:gd name="connsiteX183" fmla="*/ 1016535 w 3785642"/>
                <a:gd name="connsiteY183" fmla="*/ 474282 h 479077"/>
                <a:gd name="connsiteX184" fmla="*/ 1000164 w 3785642"/>
                <a:gd name="connsiteY184" fmla="*/ 474282 h 479077"/>
                <a:gd name="connsiteX185" fmla="*/ 983793 w 3785642"/>
                <a:gd name="connsiteY185" fmla="*/ 472794 h 479077"/>
                <a:gd name="connsiteX186" fmla="*/ 967423 w 3785642"/>
                <a:gd name="connsiteY186" fmla="*/ 472794 h 479077"/>
                <a:gd name="connsiteX187" fmla="*/ 951052 w 3785642"/>
                <a:gd name="connsiteY187" fmla="*/ 473786 h 479077"/>
                <a:gd name="connsiteX188" fmla="*/ 934682 w 3785642"/>
                <a:gd name="connsiteY188" fmla="*/ 474282 h 479077"/>
                <a:gd name="connsiteX189" fmla="*/ 918311 w 3785642"/>
                <a:gd name="connsiteY189" fmla="*/ 474778 h 479077"/>
                <a:gd name="connsiteX190" fmla="*/ 901940 w 3785642"/>
                <a:gd name="connsiteY190" fmla="*/ 473290 h 479077"/>
                <a:gd name="connsiteX191" fmla="*/ 885570 w 3785642"/>
                <a:gd name="connsiteY191" fmla="*/ 474778 h 479077"/>
                <a:gd name="connsiteX192" fmla="*/ 869199 w 3785642"/>
                <a:gd name="connsiteY192" fmla="*/ 474282 h 479077"/>
                <a:gd name="connsiteX193" fmla="*/ 852829 w 3785642"/>
                <a:gd name="connsiteY193" fmla="*/ 473786 h 479077"/>
                <a:gd name="connsiteX194" fmla="*/ 836458 w 3785642"/>
                <a:gd name="connsiteY194" fmla="*/ 474778 h 479077"/>
                <a:gd name="connsiteX195" fmla="*/ 820088 w 3785642"/>
                <a:gd name="connsiteY195" fmla="*/ 475274 h 479077"/>
                <a:gd name="connsiteX196" fmla="*/ 803717 w 3785642"/>
                <a:gd name="connsiteY196" fmla="*/ 473786 h 479077"/>
                <a:gd name="connsiteX197" fmla="*/ 787347 w 3785642"/>
                <a:gd name="connsiteY197" fmla="*/ 475770 h 479077"/>
                <a:gd name="connsiteX198" fmla="*/ 770976 w 3785642"/>
                <a:gd name="connsiteY198" fmla="*/ 474778 h 479077"/>
                <a:gd name="connsiteX199" fmla="*/ 754605 w 3785642"/>
                <a:gd name="connsiteY199" fmla="*/ 475274 h 479077"/>
                <a:gd name="connsiteX200" fmla="*/ 738235 w 3785642"/>
                <a:gd name="connsiteY200" fmla="*/ 473786 h 479077"/>
                <a:gd name="connsiteX201" fmla="*/ 721864 w 3785642"/>
                <a:gd name="connsiteY201" fmla="*/ 475274 h 479077"/>
                <a:gd name="connsiteX202" fmla="*/ 705494 w 3785642"/>
                <a:gd name="connsiteY202" fmla="*/ 475770 h 479077"/>
                <a:gd name="connsiteX203" fmla="*/ 689123 w 3785642"/>
                <a:gd name="connsiteY203" fmla="*/ 474282 h 479077"/>
                <a:gd name="connsiteX204" fmla="*/ 672753 w 3785642"/>
                <a:gd name="connsiteY204" fmla="*/ 475274 h 479077"/>
                <a:gd name="connsiteX205" fmla="*/ 656382 w 3785642"/>
                <a:gd name="connsiteY205" fmla="*/ 474778 h 479077"/>
                <a:gd name="connsiteX206" fmla="*/ 640011 w 3785642"/>
                <a:gd name="connsiteY206" fmla="*/ 475770 h 479077"/>
                <a:gd name="connsiteX207" fmla="*/ 623641 w 3785642"/>
                <a:gd name="connsiteY207" fmla="*/ 473786 h 479077"/>
                <a:gd name="connsiteX208" fmla="*/ 607270 w 3785642"/>
                <a:gd name="connsiteY208" fmla="*/ 474778 h 479077"/>
                <a:gd name="connsiteX209" fmla="*/ 590900 w 3785642"/>
                <a:gd name="connsiteY209" fmla="*/ 475274 h 479077"/>
                <a:gd name="connsiteX210" fmla="*/ 574529 w 3785642"/>
                <a:gd name="connsiteY210" fmla="*/ 474282 h 479077"/>
                <a:gd name="connsiteX211" fmla="*/ 558158 w 3785642"/>
                <a:gd name="connsiteY211" fmla="*/ 475274 h 479077"/>
                <a:gd name="connsiteX212" fmla="*/ 541788 w 3785642"/>
                <a:gd name="connsiteY212" fmla="*/ 475770 h 479077"/>
                <a:gd name="connsiteX213" fmla="*/ 525417 w 3785642"/>
                <a:gd name="connsiteY213" fmla="*/ 474282 h 479077"/>
                <a:gd name="connsiteX214" fmla="*/ 509047 w 3785642"/>
                <a:gd name="connsiteY214" fmla="*/ 473786 h 479077"/>
                <a:gd name="connsiteX215" fmla="*/ 492676 w 3785642"/>
                <a:gd name="connsiteY215" fmla="*/ 473786 h 479077"/>
                <a:gd name="connsiteX216" fmla="*/ 476306 w 3785642"/>
                <a:gd name="connsiteY216" fmla="*/ 474778 h 479077"/>
                <a:gd name="connsiteX217" fmla="*/ 459935 w 3785642"/>
                <a:gd name="connsiteY217" fmla="*/ 473786 h 479077"/>
                <a:gd name="connsiteX218" fmla="*/ 443565 w 3785642"/>
                <a:gd name="connsiteY218" fmla="*/ 474778 h 479077"/>
                <a:gd name="connsiteX219" fmla="*/ 427194 w 3785642"/>
                <a:gd name="connsiteY219" fmla="*/ 474282 h 479077"/>
                <a:gd name="connsiteX220" fmla="*/ 410823 w 3785642"/>
                <a:gd name="connsiteY220" fmla="*/ 473290 h 479077"/>
                <a:gd name="connsiteX221" fmla="*/ 394453 w 3785642"/>
                <a:gd name="connsiteY221" fmla="*/ 475770 h 479077"/>
                <a:gd name="connsiteX222" fmla="*/ 378082 w 3785642"/>
                <a:gd name="connsiteY222" fmla="*/ 475274 h 479077"/>
                <a:gd name="connsiteX223" fmla="*/ 361712 w 3785642"/>
                <a:gd name="connsiteY223" fmla="*/ 474778 h 479077"/>
                <a:gd name="connsiteX224" fmla="*/ 345341 w 3785642"/>
                <a:gd name="connsiteY224" fmla="*/ 476266 h 479077"/>
                <a:gd name="connsiteX225" fmla="*/ 328970 w 3785642"/>
                <a:gd name="connsiteY225" fmla="*/ 474282 h 479077"/>
                <a:gd name="connsiteX226" fmla="*/ 312600 w 3785642"/>
                <a:gd name="connsiteY226" fmla="*/ 475274 h 479077"/>
                <a:gd name="connsiteX227" fmla="*/ 296229 w 3785642"/>
                <a:gd name="connsiteY227" fmla="*/ 474282 h 479077"/>
                <a:gd name="connsiteX228" fmla="*/ 279859 w 3785642"/>
                <a:gd name="connsiteY228" fmla="*/ 475770 h 479077"/>
                <a:gd name="connsiteX229" fmla="*/ 263488 w 3785642"/>
                <a:gd name="connsiteY229" fmla="*/ 476266 h 479077"/>
                <a:gd name="connsiteX230" fmla="*/ 247118 w 3785642"/>
                <a:gd name="connsiteY230" fmla="*/ 476266 h 479077"/>
                <a:gd name="connsiteX231" fmla="*/ 230747 w 3785642"/>
                <a:gd name="connsiteY231" fmla="*/ 474778 h 479077"/>
                <a:gd name="connsiteX232" fmla="*/ 214376 w 3785642"/>
                <a:gd name="connsiteY232" fmla="*/ 474778 h 479077"/>
                <a:gd name="connsiteX233" fmla="*/ 198006 w 3785642"/>
                <a:gd name="connsiteY233" fmla="*/ 476762 h 479077"/>
                <a:gd name="connsiteX234" fmla="*/ 181635 w 3785642"/>
                <a:gd name="connsiteY234" fmla="*/ 476266 h 479077"/>
                <a:gd name="connsiteX235" fmla="*/ 165265 w 3785642"/>
                <a:gd name="connsiteY235" fmla="*/ 474778 h 479077"/>
                <a:gd name="connsiteX236" fmla="*/ 148894 w 3785642"/>
                <a:gd name="connsiteY236" fmla="*/ 476762 h 479077"/>
                <a:gd name="connsiteX237" fmla="*/ 132524 w 3785642"/>
                <a:gd name="connsiteY237" fmla="*/ 476266 h 479077"/>
                <a:gd name="connsiteX238" fmla="*/ 116153 w 3785642"/>
                <a:gd name="connsiteY238" fmla="*/ 475274 h 479077"/>
                <a:gd name="connsiteX239" fmla="*/ 99783 w 3785642"/>
                <a:gd name="connsiteY239" fmla="*/ 475274 h 479077"/>
                <a:gd name="connsiteX240" fmla="*/ 83412 w 3785642"/>
                <a:gd name="connsiteY240" fmla="*/ 475274 h 479077"/>
                <a:gd name="connsiteX241" fmla="*/ 67041 w 3785642"/>
                <a:gd name="connsiteY241" fmla="*/ 474778 h 479077"/>
                <a:gd name="connsiteX242" fmla="*/ 50671 w 3785642"/>
                <a:gd name="connsiteY242" fmla="*/ 475274 h 479077"/>
                <a:gd name="connsiteX243" fmla="*/ 34300 w 3785642"/>
                <a:gd name="connsiteY243" fmla="*/ 475274 h 479077"/>
                <a:gd name="connsiteX244" fmla="*/ 17930 w 3785642"/>
                <a:gd name="connsiteY244" fmla="*/ 475770 h 479077"/>
                <a:gd name="connsiteX245" fmla="*/ 567 w 3785642"/>
                <a:gd name="connsiteY245" fmla="*/ 475770 h 479077"/>
                <a:gd name="connsiteX246" fmla="*/ 12969 w 3785642"/>
                <a:gd name="connsiteY246" fmla="*/ 463368 h 479077"/>
                <a:gd name="connsiteX247" fmla="*/ 24379 w 3785642"/>
                <a:gd name="connsiteY247" fmla="*/ 451958 h 479077"/>
                <a:gd name="connsiteX248" fmla="*/ 35788 w 3785642"/>
                <a:gd name="connsiteY248" fmla="*/ 440053 h 479077"/>
                <a:gd name="connsiteX249" fmla="*/ 48686 w 3785642"/>
                <a:gd name="connsiteY249" fmla="*/ 430131 h 479077"/>
                <a:gd name="connsiteX250" fmla="*/ 59600 w 3785642"/>
                <a:gd name="connsiteY250" fmla="*/ 418225 h 479077"/>
                <a:gd name="connsiteX251" fmla="*/ 70514 w 3785642"/>
                <a:gd name="connsiteY251" fmla="*/ 405823 h 479077"/>
                <a:gd name="connsiteX252" fmla="*/ 83412 w 3785642"/>
                <a:gd name="connsiteY252" fmla="*/ 395406 h 479077"/>
                <a:gd name="connsiteX253" fmla="*/ 94822 w 3785642"/>
                <a:gd name="connsiteY253" fmla="*/ 383500 h 479077"/>
                <a:gd name="connsiteX254" fmla="*/ 106728 w 3785642"/>
                <a:gd name="connsiteY254" fmla="*/ 372090 h 479077"/>
                <a:gd name="connsiteX255" fmla="*/ 117145 w 3785642"/>
                <a:gd name="connsiteY255" fmla="*/ 359688 h 479077"/>
                <a:gd name="connsiteX256" fmla="*/ 128555 w 3785642"/>
                <a:gd name="connsiteY256" fmla="*/ 348278 h 479077"/>
                <a:gd name="connsiteX257" fmla="*/ 140461 w 3785642"/>
                <a:gd name="connsiteY257" fmla="*/ 336868 h 479077"/>
                <a:gd name="connsiteX258" fmla="*/ 152863 w 3785642"/>
                <a:gd name="connsiteY258" fmla="*/ 326451 h 479077"/>
                <a:gd name="connsiteX259" fmla="*/ 164769 w 3785642"/>
                <a:gd name="connsiteY259" fmla="*/ 315041 h 479077"/>
                <a:gd name="connsiteX260" fmla="*/ 176178 w 3785642"/>
                <a:gd name="connsiteY260" fmla="*/ 303135 h 479077"/>
                <a:gd name="connsiteX261" fmla="*/ 188084 w 3785642"/>
                <a:gd name="connsiteY261" fmla="*/ 291725 h 479077"/>
                <a:gd name="connsiteX262" fmla="*/ 199494 w 3785642"/>
                <a:gd name="connsiteY262" fmla="*/ 280315 h 479077"/>
                <a:gd name="connsiteX263" fmla="*/ 210904 w 3785642"/>
                <a:gd name="connsiteY263" fmla="*/ 268906 h 479077"/>
                <a:gd name="connsiteX264" fmla="*/ 221818 w 3785642"/>
                <a:gd name="connsiteY264" fmla="*/ 256504 h 479077"/>
                <a:gd name="connsiteX265" fmla="*/ 233724 w 3785642"/>
                <a:gd name="connsiteY265" fmla="*/ 245094 h 479077"/>
                <a:gd name="connsiteX266" fmla="*/ 244141 w 3785642"/>
                <a:gd name="connsiteY266" fmla="*/ 232692 h 479077"/>
                <a:gd name="connsiteX267" fmla="*/ 257039 w 3785642"/>
                <a:gd name="connsiteY267" fmla="*/ 222770 h 479077"/>
                <a:gd name="connsiteX268" fmla="*/ 266961 w 3785642"/>
                <a:gd name="connsiteY268" fmla="*/ 209376 h 479077"/>
                <a:gd name="connsiteX269" fmla="*/ 278371 w 3785642"/>
                <a:gd name="connsiteY269" fmla="*/ 197966 h 479077"/>
                <a:gd name="connsiteX270" fmla="*/ 291269 w 3785642"/>
                <a:gd name="connsiteY270" fmla="*/ 188045 h 479077"/>
                <a:gd name="connsiteX271" fmla="*/ 301686 w 3785642"/>
                <a:gd name="connsiteY271" fmla="*/ 175147 h 479077"/>
                <a:gd name="connsiteX272" fmla="*/ 313592 w 3785642"/>
                <a:gd name="connsiteY272" fmla="*/ 163737 h 479077"/>
                <a:gd name="connsiteX273" fmla="*/ 325994 w 3785642"/>
                <a:gd name="connsiteY273" fmla="*/ 153319 h 479077"/>
                <a:gd name="connsiteX274" fmla="*/ 337404 w 3785642"/>
                <a:gd name="connsiteY274" fmla="*/ 141910 h 479077"/>
                <a:gd name="connsiteX275" fmla="*/ 347325 w 3785642"/>
                <a:gd name="connsiteY275" fmla="*/ 129012 h 479077"/>
                <a:gd name="connsiteX276" fmla="*/ 360224 w 3785642"/>
                <a:gd name="connsiteY276" fmla="*/ 118594 h 479077"/>
                <a:gd name="connsiteX277" fmla="*/ 371137 w 3785642"/>
                <a:gd name="connsiteY277" fmla="*/ 106192 h 479077"/>
                <a:gd name="connsiteX278" fmla="*/ 382051 w 3785642"/>
                <a:gd name="connsiteY278" fmla="*/ 93790 h 479077"/>
                <a:gd name="connsiteX279" fmla="*/ 393957 w 3785642"/>
                <a:gd name="connsiteY279" fmla="*/ 82380 h 479077"/>
                <a:gd name="connsiteX280" fmla="*/ 405366 w 3785642"/>
                <a:gd name="connsiteY280" fmla="*/ 70475 h 479077"/>
                <a:gd name="connsiteX281" fmla="*/ 417272 w 3785642"/>
                <a:gd name="connsiteY281" fmla="*/ 59561 h 479077"/>
                <a:gd name="connsiteX282" fmla="*/ 429674 w 3785642"/>
                <a:gd name="connsiteY282" fmla="*/ 48647 h 479077"/>
                <a:gd name="connsiteX283" fmla="*/ 440092 w 3785642"/>
                <a:gd name="connsiteY283" fmla="*/ 35749 h 479077"/>
                <a:gd name="connsiteX284" fmla="*/ 452494 w 3785642"/>
                <a:gd name="connsiteY284" fmla="*/ 24835 h 479077"/>
                <a:gd name="connsiteX285" fmla="*/ 463904 w 3785642"/>
                <a:gd name="connsiteY285" fmla="*/ 12929 h 479077"/>
                <a:gd name="connsiteX286" fmla="*/ 475313 w 3785642"/>
                <a:gd name="connsiteY286" fmla="*/ 1024 h 479077"/>
                <a:gd name="connsiteX287" fmla="*/ 491684 w 3785642"/>
                <a:gd name="connsiteY287" fmla="*/ 2512 h 479077"/>
                <a:gd name="connsiteX288" fmla="*/ 508055 w 3785642"/>
                <a:gd name="connsiteY288" fmla="*/ 2512 h 479077"/>
                <a:gd name="connsiteX289" fmla="*/ 524425 w 3785642"/>
                <a:gd name="connsiteY289" fmla="*/ 2512 h 479077"/>
                <a:gd name="connsiteX290" fmla="*/ 540796 w 3785642"/>
                <a:gd name="connsiteY290" fmla="*/ 1024 h 479077"/>
                <a:gd name="connsiteX291" fmla="*/ 557166 w 3785642"/>
                <a:gd name="connsiteY291" fmla="*/ 2512 h 479077"/>
                <a:gd name="connsiteX292" fmla="*/ 573537 w 3785642"/>
                <a:gd name="connsiteY292" fmla="*/ 1024 h 479077"/>
                <a:gd name="connsiteX293" fmla="*/ 589908 w 3785642"/>
                <a:gd name="connsiteY293" fmla="*/ 527 h 479077"/>
                <a:gd name="connsiteX294" fmla="*/ 606278 w 3785642"/>
                <a:gd name="connsiteY294" fmla="*/ 1520 h 479077"/>
                <a:gd name="connsiteX295" fmla="*/ 622649 w 3785642"/>
                <a:gd name="connsiteY295" fmla="*/ 1520 h 479077"/>
                <a:gd name="connsiteX296" fmla="*/ 639019 w 3785642"/>
                <a:gd name="connsiteY296" fmla="*/ 2016 h 479077"/>
                <a:gd name="connsiteX297" fmla="*/ 655390 w 3785642"/>
                <a:gd name="connsiteY297" fmla="*/ 527 h 479077"/>
                <a:gd name="connsiteX298" fmla="*/ 671760 w 3785642"/>
                <a:gd name="connsiteY298" fmla="*/ 1520 h 479077"/>
                <a:gd name="connsiteX299" fmla="*/ 688131 w 3785642"/>
                <a:gd name="connsiteY299" fmla="*/ 2512 h 479077"/>
                <a:gd name="connsiteX300" fmla="*/ 704501 w 3785642"/>
                <a:gd name="connsiteY300" fmla="*/ 1024 h 479077"/>
                <a:gd name="connsiteX301" fmla="*/ 720872 w 3785642"/>
                <a:gd name="connsiteY301" fmla="*/ 1520 h 479077"/>
                <a:gd name="connsiteX302" fmla="*/ 737243 w 3785642"/>
                <a:gd name="connsiteY302" fmla="*/ 2016 h 479077"/>
                <a:gd name="connsiteX303" fmla="*/ 753613 w 3785642"/>
                <a:gd name="connsiteY303" fmla="*/ 1024 h 479077"/>
                <a:gd name="connsiteX304" fmla="*/ 769984 w 3785642"/>
                <a:gd name="connsiteY304" fmla="*/ 527 h 479077"/>
                <a:gd name="connsiteX305" fmla="*/ 786354 w 3785642"/>
                <a:gd name="connsiteY305" fmla="*/ 1520 h 479077"/>
                <a:gd name="connsiteX306" fmla="*/ 802725 w 3785642"/>
                <a:gd name="connsiteY306" fmla="*/ 527 h 479077"/>
                <a:gd name="connsiteX307" fmla="*/ 819096 w 3785642"/>
                <a:gd name="connsiteY307" fmla="*/ 2512 h 479077"/>
                <a:gd name="connsiteX308" fmla="*/ 835466 w 3785642"/>
                <a:gd name="connsiteY308" fmla="*/ 527 h 479077"/>
                <a:gd name="connsiteX309" fmla="*/ 851837 w 3785642"/>
                <a:gd name="connsiteY309" fmla="*/ 1520 h 479077"/>
                <a:gd name="connsiteX310" fmla="*/ 868207 w 3785642"/>
                <a:gd name="connsiteY310" fmla="*/ 2016 h 479077"/>
                <a:gd name="connsiteX311" fmla="*/ 884578 w 3785642"/>
                <a:gd name="connsiteY311" fmla="*/ 2512 h 479077"/>
                <a:gd name="connsiteX312" fmla="*/ 900948 w 3785642"/>
                <a:gd name="connsiteY312" fmla="*/ 1520 h 479077"/>
                <a:gd name="connsiteX313" fmla="*/ 917319 w 3785642"/>
                <a:gd name="connsiteY313" fmla="*/ 1024 h 479077"/>
                <a:gd name="connsiteX314" fmla="*/ 933689 w 3785642"/>
                <a:gd name="connsiteY314" fmla="*/ 2512 h 479077"/>
                <a:gd name="connsiteX315" fmla="*/ 950060 w 3785642"/>
                <a:gd name="connsiteY315" fmla="*/ 1520 h 479077"/>
                <a:gd name="connsiteX316" fmla="*/ 966431 w 3785642"/>
                <a:gd name="connsiteY316" fmla="*/ 2016 h 479077"/>
                <a:gd name="connsiteX317" fmla="*/ 982801 w 3785642"/>
                <a:gd name="connsiteY317" fmla="*/ 2512 h 479077"/>
                <a:gd name="connsiteX318" fmla="*/ 999172 w 3785642"/>
                <a:gd name="connsiteY318" fmla="*/ 1520 h 479077"/>
                <a:gd name="connsiteX319" fmla="*/ 1015542 w 3785642"/>
                <a:gd name="connsiteY319" fmla="*/ 2512 h 479077"/>
                <a:gd name="connsiteX320" fmla="*/ 1031913 w 3785642"/>
                <a:gd name="connsiteY320" fmla="*/ 1520 h 479077"/>
                <a:gd name="connsiteX321" fmla="*/ 1048283 w 3785642"/>
                <a:gd name="connsiteY321" fmla="*/ 2016 h 479077"/>
                <a:gd name="connsiteX322" fmla="*/ 1064654 w 3785642"/>
                <a:gd name="connsiteY322" fmla="*/ 3504 h 479077"/>
                <a:gd name="connsiteX323" fmla="*/ 1081025 w 3785642"/>
                <a:gd name="connsiteY323" fmla="*/ 2016 h 479077"/>
                <a:gd name="connsiteX324" fmla="*/ 1097395 w 3785642"/>
                <a:gd name="connsiteY324" fmla="*/ 2512 h 479077"/>
                <a:gd name="connsiteX325" fmla="*/ 1113766 w 3785642"/>
                <a:gd name="connsiteY325" fmla="*/ 2512 h 479077"/>
                <a:gd name="connsiteX326" fmla="*/ 1130136 w 3785642"/>
                <a:gd name="connsiteY326" fmla="*/ 3504 h 479077"/>
                <a:gd name="connsiteX327" fmla="*/ 1146507 w 3785642"/>
                <a:gd name="connsiteY327" fmla="*/ 1520 h 479077"/>
                <a:gd name="connsiteX328" fmla="*/ 1162878 w 3785642"/>
                <a:gd name="connsiteY328" fmla="*/ 3008 h 479077"/>
                <a:gd name="connsiteX329" fmla="*/ 1179248 w 3785642"/>
                <a:gd name="connsiteY329" fmla="*/ 4000 h 479077"/>
                <a:gd name="connsiteX330" fmla="*/ 1195619 w 3785642"/>
                <a:gd name="connsiteY330" fmla="*/ 3504 h 479077"/>
                <a:gd name="connsiteX331" fmla="*/ 1211989 w 3785642"/>
                <a:gd name="connsiteY331" fmla="*/ 1520 h 479077"/>
                <a:gd name="connsiteX332" fmla="*/ 1228360 w 3785642"/>
                <a:gd name="connsiteY332" fmla="*/ 3504 h 479077"/>
                <a:gd name="connsiteX333" fmla="*/ 1244730 w 3785642"/>
                <a:gd name="connsiteY333" fmla="*/ 1520 h 479077"/>
                <a:gd name="connsiteX334" fmla="*/ 1261101 w 3785642"/>
                <a:gd name="connsiteY334" fmla="*/ 2512 h 479077"/>
                <a:gd name="connsiteX335" fmla="*/ 1277471 w 3785642"/>
                <a:gd name="connsiteY335" fmla="*/ 3504 h 479077"/>
                <a:gd name="connsiteX336" fmla="*/ 1293842 w 3785642"/>
                <a:gd name="connsiteY336" fmla="*/ 4000 h 479077"/>
                <a:gd name="connsiteX337" fmla="*/ 1310213 w 3785642"/>
                <a:gd name="connsiteY337" fmla="*/ 1520 h 479077"/>
                <a:gd name="connsiteX338" fmla="*/ 1326583 w 3785642"/>
                <a:gd name="connsiteY338" fmla="*/ 2016 h 479077"/>
                <a:gd name="connsiteX339" fmla="*/ 1342954 w 3785642"/>
                <a:gd name="connsiteY339" fmla="*/ 3008 h 479077"/>
                <a:gd name="connsiteX340" fmla="*/ 1359324 w 3785642"/>
                <a:gd name="connsiteY340" fmla="*/ 3008 h 479077"/>
                <a:gd name="connsiteX341" fmla="*/ 1375695 w 3785642"/>
                <a:gd name="connsiteY341" fmla="*/ 2512 h 479077"/>
                <a:gd name="connsiteX342" fmla="*/ 1392066 w 3785642"/>
                <a:gd name="connsiteY342" fmla="*/ 2512 h 479077"/>
                <a:gd name="connsiteX343" fmla="*/ 1408436 w 3785642"/>
                <a:gd name="connsiteY343" fmla="*/ 3504 h 479077"/>
                <a:gd name="connsiteX344" fmla="*/ 1424807 w 3785642"/>
                <a:gd name="connsiteY344" fmla="*/ 3504 h 479077"/>
                <a:gd name="connsiteX345" fmla="*/ 1441177 w 3785642"/>
                <a:gd name="connsiteY345" fmla="*/ 1520 h 479077"/>
                <a:gd name="connsiteX346" fmla="*/ 1457548 w 3785642"/>
                <a:gd name="connsiteY346" fmla="*/ 2512 h 479077"/>
                <a:gd name="connsiteX347" fmla="*/ 1473919 w 3785642"/>
                <a:gd name="connsiteY347" fmla="*/ 2016 h 479077"/>
                <a:gd name="connsiteX348" fmla="*/ 1490289 w 3785642"/>
                <a:gd name="connsiteY348" fmla="*/ 2016 h 479077"/>
                <a:gd name="connsiteX349" fmla="*/ 1506660 w 3785642"/>
                <a:gd name="connsiteY349" fmla="*/ 1520 h 479077"/>
                <a:gd name="connsiteX350" fmla="*/ 1523030 w 3785642"/>
                <a:gd name="connsiteY350" fmla="*/ 3504 h 479077"/>
                <a:gd name="connsiteX351" fmla="*/ 1539401 w 3785642"/>
                <a:gd name="connsiteY351" fmla="*/ 3008 h 479077"/>
                <a:gd name="connsiteX352" fmla="*/ 1555771 w 3785642"/>
                <a:gd name="connsiteY352" fmla="*/ 3008 h 479077"/>
                <a:gd name="connsiteX353" fmla="*/ 1572142 w 3785642"/>
                <a:gd name="connsiteY353" fmla="*/ 2512 h 479077"/>
                <a:gd name="connsiteX354" fmla="*/ 1588512 w 3785642"/>
                <a:gd name="connsiteY354" fmla="*/ 2016 h 479077"/>
                <a:gd name="connsiteX355" fmla="*/ 1604883 w 3785642"/>
                <a:gd name="connsiteY355" fmla="*/ 3008 h 479077"/>
                <a:gd name="connsiteX356" fmla="*/ 1621253 w 3785642"/>
                <a:gd name="connsiteY356" fmla="*/ 3008 h 479077"/>
                <a:gd name="connsiteX357" fmla="*/ 1637624 w 3785642"/>
                <a:gd name="connsiteY35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05646 w 3785642"/>
                <a:gd name="connsiteY26" fmla="*/ 79404 h 479077"/>
                <a:gd name="connsiteX27" fmla="*/ 3393740 w 3785642"/>
                <a:gd name="connsiteY27" fmla="*/ 68490 h 479077"/>
                <a:gd name="connsiteX28" fmla="*/ 3382330 w 3785642"/>
                <a:gd name="connsiteY28" fmla="*/ 56584 h 479077"/>
                <a:gd name="connsiteX29" fmla="*/ 3370921 w 3785642"/>
                <a:gd name="connsiteY29" fmla="*/ 44678 h 479077"/>
                <a:gd name="connsiteX30" fmla="*/ 3313375 w 3785642"/>
                <a:gd name="connsiteY30" fmla="*/ 10945 h 479077"/>
                <a:gd name="connsiteX31" fmla="*/ 3300973 w 3785642"/>
                <a:gd name="connsiteY31" fmla="*/ 21363 h 479077"/>
                <a:gd name="connsiteX32" fmla="*/ 3289068 w 3785642"/>
                <a:gd name="connsiteY32" fmla="*/ 32276 h 479077"/>
                <a:gd name="connsiteX33" fmla="*/ 3277658 w 3785642"/>
                <a:gd name="connsiteY33" fmla="*/ 43686 h 479077"/>
                <a:gd name="connsiteX34" fmla="*/ 3266248 w 3785642"/>
                <a:gd name="connsiteY34" fmla="*/ 55592 h 479077"/>
                <a:gd name="connsiteX35" fmla="*/ 3255830 w 3785642"/>
                <a:gd name="connsiteY35" fmla="*/ 68490 h 479077"/>
                <a:gd name="connsiteX36" fmla="*/ 3243924 w 3785642"/>
                <a:gd name="connsiteY36" fmla="*/ 79900 h 479077"/>
                <a:gd name="connsiteX37" fmla="*/ 3231522 w 3785642"/>
                <a:gd name="connsiteY37" fmla="*/ 90814 h 479077"/>
                <a:gd name="connsiteX38" fmla="*/ 3220609 w 3785642"/>
                <a:gd name="connsiteY38" fmla="*/ 102720 h 479077"/>
                <a:gd name="connsiteX39" fmla="*/ 3208207 w 3785642"/>
                <a:gd name="connsiteY39" fmla="*/ 113137 h 479077"/>
                <a:gd name="connsiteX40" fmla="*/ 3197293 w 3785642"/>
                <a:gd name="connsiteY40" fmla="*/ 125043 h 479077"/>
                <a:gd name="connsiteX41" fmla="*/ 3185387 w 3785642"/>
                <a:gd name="connsiteY41" fmla="*/ 136453 h 479077"/>
                <a:gd name="connsiteX42" fmla="*/ 3174970 w 3785642"/>
                <a:gd name="connsiteY42" fmla="*/ 148855 h 479077"/>
                <a:gd name="connsiteX43" fmla="*/ 3162071 w 3785642"/>
                <a:gd name="connsiteY43" fmla="*/ 159272 h 479077"/>
                <a:gd name="connsiteX44" fmla="*/ 3151158 w 3785642"/>
                <a:gd name="connsiteY44" fmla="*/ 171674 h 479077"/>
                <a:gd name="connsiteX45" fmla="*/ 3139252 w 3785642"/>
                <a:gd name="connsiteY45" fmla="*/ 182588 h 479077"/>
                <a:gd name="connsiteX46" fmla="*/ 3127843 w 3785642"/>
                <a:gd name="connsiteY46" fmla="*/ 194494 h 479077"/>
                <a:gd name="connsiteX47" fmla="*/ 3116432 w 3785642"/>
                <a:gd name="connsiteY47" fmla="*/ 205904 h 479077"/>
                <a:gd name="connsiteX48" fmla="*/ 3105022 w 3785642"/>
                <a:gd name="connsiteY48" fmla="*/ 217810 h 479077"/>
                <a:gd name="connsiteX49" fmla="*/ 3093117 w 3785642"/>
                <a:gd name="connsiteY49" fmla="*/ 229219 h 479077"/>
                <a:gd name="connsiteX50" fmla="*/ 3081707 w 3785642"/>
                <a:gd name="connsiteY50" fmla="*/ 240629 h 479077"/>
                <a:gd name="connsiteX51" fmla="*/ 3069305 w 3785642"/>
                <a:gd name="connsiteY51" fmla="*/ 251543 h 479077"/>
                <a:gd name="connsiteX52" fmla="*/ 3057895 w 3785642"/>
                <a:gd name="connsiteY52" fmla="*/ 263449 h 479077"/>
                <a:gd name="connsiteX53" fmla="*/ 3046486 w 3785642"/>
                <a:gd name="connsiteY53" fmla="*/ 275355 h 479077"/>
                <a:gd name="connsiteX54" fmla="*/ 3035572 w 3785642"/>
                <a:gd name="connsiteY54" fmla="*/ 287260 h 479077"/>
                <a:gd name="connsiteX55" fmla="*/ 3024658 w 3785642"/>
                <a:gd name="connsiteY55" fmla="*/ 299166 h 479077"/>
                <a:gd name="connsiteX56" fmla="*/ 3013248 w 3785642"/>
                <a:gd name="connsiteY56" fmla="*/ 311072 h 479077"/>
                <a:gd name="connsiteX57" fmla="*/ 3000350 w 3785642"/>
                <a:gd name="connsiteY57" fmla="*/ 321490 h 479077"/>
                <a:gd name="connsiteX58" fmla="*/ 2988941 w 3785642"/>
                <a:gd name="connsiteY58" fmla="*/ 333396 h 479077"/>
                <a:gd name="connsiteX59" fmla="*/ 2976539 w 3785642"/>
                <a:gd name="connsiteY59" fmla="*/ 344309 h 479077"/>
                <a:gd name="connsiteX60" fmla="*/ 2965129 w 3785642"/>
                <a:gd name="connsiteY60" fmla="*/ 356215 h 479077"/>
                <a:gd name="connsiteX61" fmla="*/ 2953223 w 3785642"/>
                <a:gd name="connsiteY61" fmla="*/ 367625 h 479077"/>
                <a:gd name="connsiteX62" fmla="*/ 2941813 w 3785642"/>
                <a:gd name="connsiteY62" fmla="*/ 379531 h 479077"/>
                <a:gd name="connsiteX63" fmla="*/ 2931395 w 3785642"/>
                <a:gd name="connsiteY63" fmla="*/ 392429 h 479077"/>
                <a:gd name="connsiteX64" fmla="*/ 2918497 w 3785642"/>
                <a:gd name="connsiteY64" fmla="*/ 402847 h 479077"/>
                <a:gd name="connsiteX65" fmla="*/ 2907584 w 3785642"/>
                <a:gd name="connsiteY65" fmla="*/ 415249 h 479077"/>
                <a:gd name="connsiteX66" fmla="*/ 2896174 w 3785642"/>
                <a:gd name="connsiteY66" fmla="*/ 426658 h 479077"/>
                <a:gd name="connsiteX67" fmla="*/ 2884268 w 3785642"/>
                <a:gd name="connsiteY67" fmla="*/ 438068 h 479077"/>
                <a:gd name="connsiteX68" fmla="*/ 2873354 w 3785642"/>
                <a:gd name="connsiteY68" fmla="*/ 450470 h 479077"/>
                <a:gd name="connsiteX69" fmla="*/ 2860952 w 3785642"/>
                <a:gd name="connsiteY69" fmla="*/ 461384 h 479077"/>
                <a:gd name="connsiteX70" fmla="*/ 2850039 w 3785642"/>
                <a:gd name="connsiteY70" fmla="*/ 473786 h 479077"/>
                <a:gd name="connsiteX71" fmla="*/ 2833668 w 3785642"/>
                <a:gd name="connsiteY71" fmla="*/ 473786 h 479077"/>
                <a:gd name="connsiteX72" fmla="*/ 2817297 w 3785642"/>
                <a:gd name="connsiteY72" fmla="*/ 473290 h 479077"/>
                <a:gd name="connsiteX73" fmla="*/ 2800927 w 3785642"/>
                <a:gd name="connsiteY73" fmla="*/ 473290 h 479077"/>
                <a:gd name="connsiteX74" fmla="*/ 2784556 w 3785642"/>
                <a:gd name="connsiteY74" fmla="*/ 473786 h 479077"/>
                <a:gd name="connsiteX75" fmla="*/ 2768186 w 3785642"/>
                <a:gd name="connsiteY75" fmla="*/ 474282 h 479077"/>
                <a:gd name="connsiteX76" fmla="*/ 2751815 w 3785642"/>
                <a:gd name="connsiteY76" fmla="*/ 474282 h 479077"/>
                <a:gd name="connsiteX77" fmla="*/ 2735444 w 3785642"/>
                <a:gd name="connsiteY77" fmla="*/ 473290 h 479077"/>
                <a:gd name="connsiteX78" fmla="*/ 2719074 w 3785642"/>
                <a:gd name="connsiteY78" fmla="*/ 474282 h 479077"/>
                <a:gd name="connsiteX79" fmla="*/ 2702703 w 3785642"/>
                <a:gd name="connsiteY79" fmla="*/ 472298 h 479077"/>
                <a:gd name="connsiteX80" fmla="*/ 2686333 w 3785642"/>
                <a:gd name="connsiteY80" fmla="*/ 472794 h 479077"/>
                <a:gd name="connsiteX81" fmla="*/ 2669962 w 3785642"/>
                <a:gd name="connsiteY81" fmla="*/ 474282 h 479077"/>
                <a:gd name="connsiteX82" fmla="*/ 2653592 w 3785642"/>
                <a:gd name="connsiteY82" fmla="*/ 472298 h 479077"/>
                <a:gd name="connsiteX83" fmla="*/ 2637221 w 3785642"/>
                <a:gd name="connsiteY83" fmla="*/ 474282 h 479077"/>
                <a:gd name="connsiteX84" fmla="*/ 2620851 w 3785642"/>
                <a:gd name="connsiteY84" fmla="*/ 474282 h 479077"/>
                <a:gd name="connsiteX85" fmla="*/ 2604480 w 3785642"/>
                <a:gd name="connsiteY85" fmla="*/ 472298 h 479077"/>
                <a:gd name="connsiteX86" fmla="*/ 2588109 w 3785642"/>
                <a:gd name="connsiteY86" fmla="*/ 473786 h 479077"/>
                <a:gd name="connsiteX87" fmla="*/ 2571739 w 3785642"/>
                <a:gd name="connsiteY87" fmla="*/ 472298 h 479077"/>
                <a:gd name="connsiteX88" fmla="*/ 2555368 w 3785642"/>
                <a:gd name="connsiteY88" fmla="*/ 473290 h 479077"/>
                <a:gd name="connsiteX89" fmla="*/ 2538998 w 3785642"/>
                <a:gd name="connsiteY89" fmla="*/ 474282 h 479077"/>
                <a:gd name="connsiteX90" fmla="*/ 2522627 w 3785642"/>
                <a:gd name="connsiteY90" fmla="*/ 473290 h 479077"/>
                <a:gd name="connsiteX91" fmla="*/ 2506257 w 3785642"/>
                <a:gd name="connsiteY91" fmla="*/ 474282 h 479077"/>
                <a:gd name="connsiteX92" fmla="*/ 2489886 w 3785642"/>
                <a:gd name="connsiteY92" fmla="*/ 473786 h 479077"/>
                <a:gd name="connsiteX93" fmla="*/ 2473516 w 3785642"/>
                <a:gd name="connsiteY93" fmla="*/ 474282 h 479077"/>
                <a:gd name="connsiteX94" fmla="*/ 2457145 w 3785642"/>
                <a:gd name="connsiteY94" fmla="*/ 472794 h 479077"/>
                <a:gd name="connsiteX95" fmla="*/ 2440775 w 3785642"/>
                <a:gd name="connsiteY95" fmla="*/ 472298 h 479077"/>
                <a:gd name="connsiteX96" fmla="*/ 2424404 w 3785642"/>
                <a:gd name="connsiteY96" fmla="*/ 473786 h 479077"/>
                <a:gd name="connsiteX97" fmla="*/ 2408033 w 3785642"/>
                <a:gd name="connsiteY97" fmla="*/ 472794 h 479077"/>
                <a:gd name="connsiteX98" fmla="*/ 2391663 w 3785642"/>
                <a:gd name="connsiteY98" fmla="*/ 473290 h 479077"/>
                <a:gd name="connsiteX99" fmla="*/ 2375292 w 3785642"/>
                <a:gd name="connsiteY99" fmla="*/ 473290 h 479077"/>
                <a:gd name="connsiteX100" fmla="*/ 2358922 w 3785642"/>
                <a:gd name="connsiteY100" fmla="*/ 472794 h 479077"/>
                <a:gd name="connsiteX101" fmla="*/ 2342551 w 3785642"/>
                <a:gd name="connsiteY101" fmla="*/ 472298 h 479077"/>
                <a:gd name="connsiteX102" fmla="*/ 2326180 w 3785642"/>
                <a:gd name="connsiteY102" fmla="*/ 473786 h 479077"/>
                <a:gd name="connsiteX103" fmla="*/ 2309810 w 3785642"/>
                <a:gd name="connsiteY103" fmla="*/ 473786 h 479077"/>
                <a:gd name="connsiteX104" fmla="*/ 2293439 w 3785642"/>
                <a:gd name="connsiteY104" fmla="*/ 473786 h 479077"/>
                <a:gd name="connsiteX105" fmla="*/ 2277069 w 3785642"/>
                <a:gd name="connsiteY105" fmla="*/ 472794 h 479077"/>
                <a:gd name="connsiteX106" fmla="*/ 2260698 w 3785642"/>
                <a:gd name="connsiteY106" fmla="*/ 474282 h 479077"/>
                <a:gd name="connsiteX107" fmla="*/ 2244327 w 3785642"/>
                <a:gd name="connsiteY107" fmla="*/ 472298 h 479077"/>
                <a:gd name="connsiteX108" fmla="*/ 2227957 w 3785642"/>
                <a:gd name="connsiteY108" fmla="*/ 474282 h 479077"/>
                <a:gd name="connsiteX109" fmla="*/ 2211586 w 3785642"/>
                <a:gd name="connsiteY109" fmla="*/ 473290 h 479077"/>
                <a:gd name="connsiteX110" fmla="*/ 2195216 w 3785642"/>
                <a:gd name="connsiteY110" fmla="*/ 474282 h 479077"/>
                <a:gd name="connsiteX111" fmla="*/ 2178845 w 3785642"/>
                <a:gd name="connsiteY111" fmla="*/ 472794 h 479077"/>
                <a:gd name="connsiteX112" fmla="*/ 2162474 w 3785642"/>
                <a:gd name="connsiteY112" fmla="*/ 474778 h 479077"/>
                <a:gd name="connsiteX113" fmla="*/ 2146104 w 3785642"/>
                <a:gd name="connsiteY113" fmla="*/ 473290 h 479077"/>
                <a:gd name="connsiteX114" fmla="*/ 2129733 w 3785642"/>
                <a:gd name="connsiteY114" fmla="*/ 474778 h 479077"/>
                <a:gd name="connsiteX115" fmla="*/ 2113363 w 3785642"/>
                <a:gd name="connsiteY115" fmla="*/ 474778 h 479077"/>
                <a:gd name="connsiteX116" fmla="*/ 2096992 w 3785642"/>
                <a:gd name="connsiteY116" fmla="*/ 474778 h 479077"/>
                <a:gd name="connsiteX117" fmla="*/ 2080621 w 3785642"/>
                <a:gd name="connsiteY117" fmla="*/ 474282 h 479077"/>
                <a:gd name="connsiteX118" fmla="*/ 2064251 w 3785642"/>
                <a:gd name="connsiteY118" fmla="*/ 472794 h 479077"/>
                <a:gd name="connsiteX119" fmla="*/ 2047880 w 3785642"/>
                <a:gd name="connsiteY119" fmla="*/ 474778 h 479077"/>
                <a:gd name="connsiteX120" fmla="*/ 2031510 w 3785642"/>
                <a:gd name="connsiteY120" fmla="*/ 474778 h 479077"/>
                <a:gd name="connsiteX121" fmla="*/ 2015139 w 3785642"/>
                <a:gd name="connsiteY121" fmla="*/ 474778 h 479077"/>
                <a:gd name="connsiteX122" fmla="*/ 1998769 w 3785642"/>
                <a:gd name="connsiteY122" fmla="*/ 474282 h 479077"/>
                <a:gd name="connsiteX123" fmla="*/ 1982398 w 3785642"/>
                <a:gd name="connsiteY123" fmla="*/ 473786 h 479077"/>
                <a:gd name="connsiteX124" fmla="*/ 1966028 w 3785642"/>
                <a:gd name="connsiteY124" fmla="*/ 473786 h 479077"/>
                <a:gd name="connsiteX125" fmla="*/ 1949657 w 3785642"/>
                <a:gd name="connsiteY125" fmla="*/ 472794 h 479077"/>
                <a:gd name="connsiteX126" fmla="*/ 1933287 w 3785642"/>
                <a:gd name="connsiteY126" fmla="*/ 473290 h 479077"/>
                <a:gd name="connsiteX127" fmla="*/ 1916916 w 3785642"/>
                <a:gd name="connsiteY127" fmla="*/ 474778 h 479077"/>
                <a:gd name="connsiteX128" fmla="*/ 1900546 w 3785642"/>
                <a:gd name="connsiteY128" fmla="*/ 472794 h 479077"/>
                <a:gd name="connsiteX129" fmla="*/ 1884175 w 3785642"/>
                <a:gd name="connsiteY129" fmla="*/ 473786 h 479077"/>
                <a:gd name="connsiteX130" fmla="*/ 1867804 w 3785642"/>
                <a:gd name="connsiteY130" fmla="*/ 474778 h 479077"/>
                <a:gd name="connsiteX131" fmla="*/ 1851434 w 3785642"/>
                <a:gd name="connsiteY131" fmla="*/ 474778 h 479077"/>
                <a:gd name="connsiteX132" fmla="*/ 1835063 w 3785642"/>
                <a:gd name="connsiteY132" fmla="*/ 474778 h 479077"/>
                <a:gd name="connsiteX133" fmla="*/ 1818693 w 3785642"/>
                <a:gd name="connsiteY133" fmla="*/ 474282 h 479077"/>
                <a:gd name="connsiteX134" fmla="*/ 1802322 w 3785642"/>
                <a:gd name="connsiteY134" fmla="*/ 472794 h 479077"/>
                <a:gd name="connsiteX135" fmla="*/ 1785951 w 3785642"/>
                <a:gd name="connsiteY135" fmla="*/ 473786 h 479077"/>
                <a:gd name="connsiteX136" fmla="*/ 1769581 w 3785642"/>
                <a:gd name="connsiteY136" fmla="*/ 473290 h 479077"/>
                <a:gd name="connsiteX137" fmla="*/ 1753210 w 3785642"/>
                <a:gd name="connsiteY137" fmla="*/ 472298 h 479077"/>
                <a:gd name="connsiteX138" fmla="*/ 1736840 w 3785642"/>
                <a:gd name="connsiteY138" fmla="*/ 473290 h 479077"/>
                <a:gd name="connsiteX139" fmla="*/ 1720469 w 3785642"/>
                <a:gd name="connsiteY139" fmla="*/ 474778 h 479077"/>
                <a:gd name="connsiteX140" fmla="*/ 1704098 w 3785642"/>
                <a:gd name="connsiteY140" fmla="*/ 472794 h 479077"/>
                <a:gd name="connsiteX141" fmla="*/ 1687728 w 3785642"/>
                <a:gd name="connsiteY141" fmla="*/ 474778 h 479077"/>
                <a:gd name="connsiteX142" fmla="*/ 1671357 w 3785642"/>
                <a:gd name="connsiteY142" fmla="*/ 474778 h 479077"/>
                <a:gd name="connsiteX143" fmla="*/ 1654987 w 3785642"/>
                <a:gd name="connsiteY143" fmla="*/ 472298 h 479077"/>
                <a:gd name="connsiteX144" fmla="*/ 1638616 w 3785642"/>
                <a:gd name="connsiteY144" fmla="*/ 472794 h 479077"/>
                <a:gd name="connsiteX145" fmla="*/ 1622246 w 3785642"/>
                <a:gd name="connsiteY145" fmla="*/ 473786 h 479077"/>
                <a:gd name="connsiteX146" fmla="*/ 1605875 w 3785642"/>
                <a:gd name="connsiteY146" fmla="*/ 474778 h 479077"/>
                <a:gd name="connsiteX147" fmla="*/ 1589505 w 3785642"/>
                <a:gd name="connsiteY147" fmla="*/ 473290 h 479077"/>
                <a:gd name="connsiteX148" fmla="*/ 1573134 w 3785642"/>
                <a:gd name="connsiteY148" fmla="*/ 474778 h 479077"/>
                <a:gd name="connsiteX149" fmla="*/ 1556763 w 3785642"/>
                <a:gd name="connsiteY149" fmla="*/ 472794 h 479077"/>
                <a:gd name="connsiteX150" fmla="*/ 1540393 w 3785642"/>
                <a:gd name="connsiteY150" fmla="*/ 472794 h 479077"/>
                <a:gd name="connsiteX151" fmla="*/ 1524022 w 3785642"/>
                <a:gd name="connsiteY151" fmla="*/ 474282 h 479077"/>
                <a:gd name="connsiteX152" fmla="*/ 1507652 w 3785642"/>
                <a:gd name="connsiteY152" fmla="*/ 472794 h 479077"/>
                <a:gd name="connsiteX153" fmla="*/ 1491281 w 3785642"/>
                <a:gd name="connsiteY153" fmla="*/ 474282 h 479077"/>
                <a:gd name="connsiteX154" fmla="*/ 1474910 w 3785642"/>
                <a:gd name="connsiteY154" fmla="*/ 474282 h 479077"/>
                <a:gd name="connsiteX155" fmla="*/ 1458540 w 3785642"/>
                <a:gd name="connsiteY155" fmla="*/ 472794 h 479077"/>
                <a:gd name="connsiteX156" fmla="*/ 1442169 w 3785642"/>
                <a:gd name="connsiteY156" fmla="*/ 471802 h 479077"/>
                <a:gd name="connsiteX157" fmla="*/ 1425799 w 3785642"/>
                <a:gd name="connsiteY157" fmla="*/ 472298 h 479077"/>
                <a:gd name="connsiteX158" fmla="*/ 1409428 w 3785642"/>
                <a:gd name="connsiteY158" fmla="*/ 472794 h 479077"/>
                <a:gd name="connsiteX159" fmla="*/ 1393058 w 3785642"/>
                <a:gd name="connsiteY159" fmla="*/ 473786 h 479077"/>
                <a:gd name="connsiteX160" fmla="*/ 1376687 w 3785642"/>
                <a:gd name="connsiteY160" fmla="*/ 471802 h 479077"/>
                <a:gd name="connsiteX161" fmla="*/ 1360317 w 3785642"/>
                <a:gd name="connsiteY161" fmla="*/ 473786 h 479077"/>
                <a:gd name="connsiteX162" fmla="*/ 1343946 w 3785642"/>
                <a:gd name="connsiteY162" fmla="*/ 473786 h 479077"/>
                <a:gd name="connsiteX163" fmla="*/ 1327576 w 3785642"/>
                <a:gd name="connsiteY163" fmla="*/ 472794 h 479077"/>
                <a:gd name="connsiteX164" fmla="*/ 1311205 w 3785642"/>
                <a:gd name="connsiteY164" fmla="*/ 473786 h 479077"/>
                <a:gd name="connsiteX165" fmla="*/ 1294834 w 3785642"/>
                <a:gd name="connsiteY165" fmla="*/ 473786 h 479077"/>
                <a:gd name="connsiteX166" fmla="*/ 1278464 w 3785642"/>
                <a:gd name="connsiteY166" fmla="*/ 473786 h 479077"/>
                <a:gd name="connsiteX167" fmla="*/ 1262093 w 3785642"/>
                <a:gd name="connsiteY167" fmla="*/ 473786 h 479077"/>
                <a:gd name="connsiteX168" fmla="*/ 1245723 w 3785642"/>
                <a:gd name="connsiteY168" fmla="*/ 473290 h 479077"/>
                <a:gd name="connsiteX169" fmla="*/ 1229352 w 3785642"/>
                <a:gd name="connsiteY169" fmla="*/ 472794 h 479077"/>
                <a:gd name="connsiteX170" fmla="*/ 1212981 w 3785642"/>
                <a:gd name="connsiteY170" fmla="*/ 473786 h 479077"/>
                <a:gd name="connsiteX171" fmla="*/ 1196611 w 3785642"/>
                <a:gd name="connsiteY171" fmla="*/ 472298 h 479077"/>
                <a:gd name="connsiteX172" fmla="*/ 1180240 w 3785642"/>
                <a:gd name="connsiteY172" fmla="*/ 472794 h 479077"/>
                <a:gd name="connsiteX173" fmla="*/ 1163870 w 3785642"/>
                <a:gd name="connsiteY173" fmla="*/ 472794 h 479077"/>
                <a:gd name="connsiteX174" fmla="*/ 1147499 w 3785642"/>
                <a:gd name="connsiteY174" fmla="*/ 473786 h 479077"/>
                <a:gd name="connsiteX175" fmla="*/ 1131128 w 3785642"/>
                <a:gd name="connsiteY175" fmla="*/ 473786 h 479077"/>
                <a:gd name="connsiteX176" fmla="*/ 1114758 w 3785642"/>
                <a:gd name="connsiteY176" fmla="*/ 472794 h 479077"/>
                <a:gd name="connsiteX177" fmla="*/ 1098387 w 3785642"/>
                <a:gd name="connsiteY177" fmla="*/ 473786 h 479077"/>
                <a:gd name="connsiteX178" fmla="*/ 1082017 w 3785642"/>
                <a:gd name="connsiteY178" fmla="*/ 474778 h 479077"/>
                <a:gd name="connsiteX179" fmla="*/ 1065646 w 3785642"/>
                <a:gd name="connsiteY179" fmla="*/ 474778 h 479077"/>
                <a:gd name="connsiteX180" fmla="*/ 1049276 w 3785642"/>
                <a:gd name="connsiteY180" fmla="*/ 474282 h 479077"/>
                <a:gd name="connsiteX181" fmla="*/ 1032905 w 3785642"/>
                <a:gd name="connsiteY181" fmla="*/ 473290 h 479077"/>
                <a:gd name="connsiteX182" fmla="*/ 1016535 w 3785642"/>
                <a:gd name="connsiteY182" fmla="*/ 474282 h 479077"/>
                <a:gd name="connsiteX183" fmla="*/ 1000164 w 3785642"/>
                <a:gd name="connsiteY183" fmla="*/ 474282 h 479077"/>
                <a:gd name="connsiteX184" fmla="*/ 983793 w 3785642"/>
                <a:gd name="connsiteY184" fmla="*/ 472794 h 479077"/>
                <a:gd name="connsiteX185" fmla="*/ 967423 w 3785642"/>
                <a:gd name="connsiteY185" fmla="*/ 472794 h 479077"/>
                <a:gd name="connsiteX186" fmla="*/ 951052 w 3785642"/>
                <a:gd name="connsiteY186" fmla="*/ 473786 h 479077"/>
                <a:gd name="connsiteX187" fmla="*/ 934682 w 3785642"/>
                <a:gd name="connsiteY187" fmla="*/ 474282 h 479077"/>
                <a:gd name="connsiteX188" fmla="*/ 918311 w 3785642"/>
                <a:gd name="connsiteY188" fmla="*/ 474778 h 479077"/>
                <a:gd name="connsiteX189" fmla="*/ 901940 w 3785642"/>
                <a:gd name="connsiteY189" fmla="*/ 473290 h 479077"/>
                <a:gd name="connsiteX190" fmla="*/ 885570 w 3785642"/>
                <a:gd name="connsiteY190" fmla="*/ 474778 h 479077"/>
                <a:gd name="connsiteX191" fmla="*/ 869199 w 3785642"/>
                <a:gd name="connsiteY191" fmla="*/ 474282 h 479077"/>
                <a:gd name="connsiteX192" fmla="*/ 852829 w 3785642"/>
                <a:gd name="connsiteY192" fmla="*/ 473786 h 479077"/>
                <a:gd name="connsiteX193" fmla="*/ 836458 w 3785642"/>
                <a:gd name="connsiteY193" fmla="*/ 474778 h 479077"/>
                <a:gd name="connsiteX194" fmla="*/ 820088 w 3785642"/>
                <a:gd name="connsiteY194" fmla="*/ 475274 h 479077"/>
                <a:gd name="connsiteX195" fmla="*/ 803717 w 3785642"/>
                <a:gd name="connsiteY195" fmla="*/ 473786 h 479077"/>
                <a:gd name="connsiteX196" fmla="*/ 787347 w 3785642"/>
                <a:gd name="connsiteY196" fmla="*/ 475770 h 479077"/>
                <a:gd name="connsiteX197" fmla="*/ 770976 w 3785642"/>
                <a:gd name="connsiteY197" fmla="*/ 474778 h 479077"/>
                <a:gd name="connsiteX198" fmla="*/ 754605 w 3785642"/>
                <a:gd name="connsiteY198" fmla="*/ 475274 h 479077"/>
                <a:gd name="connsiteX199" fmla="*/ 738235 w 3785642"/>
                <a:gd name="connsiteY199" fmla="*/ 473786 h 479077"/>
                <a:gd name="connsiteX200" fmla="*/ 721864 w 3785642"/>
                <a:gd name="connsiteY200" fmla="*/ 475274 h 479077"/>
                <a:gd name="connsiteX201" fmla="*/ 705494 w 3785642"/>
                <a:gd name="connsiteY201" fmla="*/ 475770 h 479077"/>
                <a:gd name="connsiteX202" fmla="*/ 689123 w 3785642"/>
                <a:gd name="connsiteY202" fmla="*/ 474282 h 479077"/>
                <a:gd name="connsiteX203" fmla="*/ 672753 w 3785642"/>
                <a:gd name="connsiteY203" fmla="*/ 475274 h 479077"/>
                <a:gd name="connsiteX204" fmla="*/ 656382 w 3785642"/>
                <a:gd name="connsiteY204" fmla="*/ 474778 h 479077"/>
                <a:gd name="connsiteX205" fmla="*/ 640011 w 3785642"/>
                <a:gd name="connsiteY205" fmla="*/ 475770 h 479077"/>
                <a:gd name="connsiteX206" fmla="*/ 623641 w 3785642"/>
                <a:gd name="connsiteY206" fmla="*/ 473786 h 479077"/>
                <a:gd name="connsiteX207" fmla="*/ 607270 w 3785642"/>
                <a:gd name="connsiteY207" fmla="*/ 474778 h 479077"/>
                <a:gd name="connsiteX208" fmla="*/ 590900 w 3785642"/>
                <a:gd name="connsiteY208" fmla="*/ 475274 h 479077"/>
                <a:gd name="connsiteX209" fmla="*/ 574529 w 3785642"/>
                <a:gd name="connsiteY209" fmla="*/ 474282 h 479077"/>
                <a:gd name="connsiteX210" fmla="*/ 558158 w 3785642"/>
                <a:gd name="connsiteY210" fmla="*/ 475274 h 479077"/>
                <a:gd name="connsiteX211" fmla="*/ 541788 w 3785642"/>
                <a:gd name="connsiteY211" fmla="*/ 475770 h 479077"/>
                <a:gd name="connsiteX212" fmla="*/ 525417 w 3785642"/>
                <a:gd name="connsiteY212" fmla="*/ 474282 h 479077"/>
                <a:gd name="connsiteX213" fmla="*/ 509047 w 3785642"/>
                <a:gd name="connsiteY213" fmla="*/ 473786 h 479077"/>
                <a:gd name="connsiteX214" fmla="*/ 492676 w 3785642"/>
                <a:gd name="connsiteY214" fmla="*/ 473786 h 479077"/>
                <a:gd name="connsiteX215" fmla="*/ 476306 w 3785642"/>
                <a:gd name="connsiteY215" fmla="*/ 474778 h 479077"/>
                <a:gd name="connsiteX216" fmla="*/ 459935 w 3785642"/>
                <a:gd name="connsiteY216" fmla="*/ 473786 h 479077"/>
                <a:gd name="connsiteX217" fmla="*/ 443565 w 3785642"/>
                <a:gd name="connsiteY217" fmla="*/ 474778 h 479077"/>
                <a:gd name="connsiteX218" fmla="*/ 427194 w 3785642"/>
                <a:gd name="connsiteY218" fmla="*/ 474282 h 479077"/>
                <a:gd name="connsiteX219" fmla="*/ 410823 w 3785642"/>
                <a:gd name="connsiteY219" fmla="*/ 473290 h 479077"/>
                <a:gd name="connsiteX220" fmla="*/ 394453 w 3785642"/>
                <a:gd name="connsiteY220" fmla="*/ 475770 h 479077"/>
                <a:gd name="connsiteX221" fmla="*/ 378082 w 3785642"/>
                <a:gd name="connsiteY221" fmla="*/ 475274 h 479077"/>
                <a:gd name="connsiteX222" fmla="*/ 361712 w 3785642"/>
                <a:gd name="connsiteY222" fmla="*/ 474778 h 479077"/>
                <a:gd name="connsiteX223" fmla="*/ 345341 w 3785642"/>
                <a:gd name="connsiteY223" fmla="*/ 476266 h 479077"/>
                <a:gd name="connsiteX224" fmla="*/ 328970 w 3785642"/>
                <a:gd name="connsiteY224" fmla="*/ 474282 h 479077"/>
                <a:gd name="connsiteX225" fmla="*/ 312600 w 3785642"/>
                <a:gd name="connsiteY225" fmla="*/ 475274 h 479077"/>
                <a:gd name="connsiteX226" fmla="*/ 296229 w 3785642"/>
                <a:gd name="connsiteY226" fmla="*/ 474282 h 479077"/>
                <a:gd name="connsiteX227" fmla="*/ 279859 w 3785642"/>
                <a:gd name="connsiteY227" fmla="*/ 475770 h 479077"/>
                <a:gd name="connsiteX228" fmla="*/ 263488 w 3785642"/>
                <a:gd name="connsiteY228" fmla="*/ 476266 h 479077"/>
                <a:gd name="connsiteX229" fmla="*/ 247118 w 3785642"/>
                <a:gd name="connsiteY229" fmla="*/ 476266 h 479077"/>
                <a:gd name="connsiteX230" fmla="*/ 230747 w 3785642"/>
                <a:gd name="connsiteY230" fmla="*/ 474778 h 479077"/>
                <a:gd name="connsiteX231" fmla="*/ 214376 w 3785642"/>
                <a:gd name="connsiteY231" fmla="*/ 474778 h 479077"/>
                <a:gd name="connsiteX232" fmla="*/ 198006 w 3785642"/>
                <a:gd name="connsiteY232" fmla="*/ 476762 h 479077"/>
                <a:gd name="connsiteX233" fmla="*/ 181635 w 3785642"/>
                <a:gd name="connsiteY233" fmla="*/ 476266 h 479077"/>
                <a:gd name="connsiteX234" fmla="*/ 165265 w 3785642"/>
                <a:gd name="connsiteY234" fmla="*/ 474778 h 479077"/>
                <a:gd name="connsiteX235" fmla="*/ 148894 w 3785642"/>
                <a:gd name="connsiteY235" fmla="*/ 476762 h 479077"/>
                <a:gd name="connsiteX236" fmla="*/ 132524 w 3785642"/>
                <a:gd name="connsiteY236" fmla="*/ 476266 h 479077"/>
                <a:gd name="connsiteX237" fmla="*/ 116153 w 3785642"/>
                <a:gd name="connsiteY237" fmla="*/ 475274 h 479077"/>
                <a:gd name="connsiteX238" fmla="*/ 99783 w 3785642"/>
                <a:gd name="connsiteY238" fmla="*/ 475274 h 479077"/>
                <a:gd name="connsiteX239" fmla="*/ 83412 w 3785642"/>
                <a:gd name="connsiteY239" fmla="*/ 475274 h 479077"/>
                <a:gd name="connsiteX240" fmla="*/ 67041 w 3785642"/>
                <a:gd name="connsiteY240" fmla="*/ 474778 h 479077"/>
                <a:gd name="connsiteX241" fmla="*/ 50671 w 3785642"/>
                <a:gd name="connsiteY241" fmla="*/ 475274 h 479077"/>
                <a:gd name="connsiteX242" fmla="*/ 34300 w 3785642"/>
                <a:gd name="connsiteY242" fmla="*/ 475274 h 479077"/>
                <a:gd name="connsiteX243" fmla="*/ 17930 w 3785642"/>
                <a:gd name="connsiteY243" fmla="*/ 475770 h 479077"/>
                <a:gd name="connsiteX244" fmla="*/ 567 w 3785642"/>
                <a:gd name="connsiteY244" fmla="*/ 475770 h 479077"/>
                <a:gd name="connsiteX245" fmla="*/ 12969 w 3785642"/>
                <a:gd name="connsiteY245" fmla="*/ 463368 h 479077"/>
                <a:gd name="connsiteX246" fmla="*/ 24379 w 3785642"/>
                <a:gd name="connsiteY246" fmla="*/ 451958 h 479077"/>
                <a:gd name="connsiteX247" fmla="*/ 35788 w 3785642"/>
                <a:gd name="connsiteY247" fmla="*/ 440053 h 479077"/>
                <a:gd name="connsiteX248" fmla="*/ 48686 w 3785642"/>
                <a:gd name="connsiteY248" fmla="*/ 430131 h 479077"/>
                <a:gd name="connsiteX249" fmla="*/ 59600 w 3785642"/>
                <a:gd name="connsiteY249" fmla="*/ 418225 h 479077"/>
                <a:gd name="connsiteX250" fmla="*/ 70514 w 3785642"/>
                <a:gd name="connsiteY250" fmla="*/ 405823 h 479077"/>
                <a:gd name="connsiteX251" fmla="*/ 83412 w 3785642"/>
                <a:gd name="connsiteY251" fmla="*/ 395406 h 479077"/>
                <a:gd name="connsiteX252" fmla="*/ 94822 w 3785642"/>
                <a:gd name="connsiteY252" fmla="*/ 383500 h 479077"/>
                <a:gd name="connsiteX253" fmla="*/ 106728 w 3785642"/>
                <a:gd name="connsiteY253" fmla="*/ 372090 h 479077"/>
                <a:gd name="connsiteX254" fmla="*/ 117145 w 3785642"/>
                <a:gd name="connsiteY254" fmla="*/ 359688 h 479077"/>
                <a:gd name="connsiteX255" fmla="*/ 128555 w 3785642"/>
                <a:gd name="connsiteY255" fmla="*/ 348278 h 479077"/>
                <a:gd name="connsiteX256" fmla="*/ 140461 w 3785642"/>
                <a:gd name="connsiteY256" fmla="*/ 336868 h 479077"/>
                <a:gd name="connsiteX257" fmla="*/ 152863 w 3785642"/>
                <a:gd name="connsiteY257" fmla="*/ 326451 h 479077"/>
                <a:gd name="connsiteX258" fmla="*/ 164769 w 3785642"/>
                <a:gd name="connsiteY258" fmla="*/ 315041 h 479077"/>
                <a:gd name="connsiteX259" fmla="*/ 176178 w 3785642"/>
                <a:gd name="connsiteY259" fmla="*/ 303135 h 479077"/>
                <a:gd name="connsiteX260" fmla="*/ 188084 w 3785642"/>
                <a:gd name="connsiteY260" fmla="*/ 291725 h 479077"/>
                <a:gd name="connsiteX261" fmla="*/ 199494 w 3785642"/>
                <a:gd name="connsiteY261" fmla="*/ 280315 h 479077"/>
                <a:gd name="connsiteX262" fmla="*/ 210904 w 3785642"/>
                <a:gd name="connsiteY262" fmla="*/ 268906 h 479077"/>
                <a:gd name="connsiteX263" fmla="*/ 221818 w 3785642"/>
                <a:gd name="connsiteY263" fmla="*/ 256504 h 479077"/>
                <a:gd name="connsiteX264" fmla="*/ 233724 w 3785642"/>
                <a:gd name="connsiteY264" fmla="*/ 245094 h 479077"/>
                <a:gd name="connsiteX265" fmla="*/ 244141 w 3785642"/>
                <a:gd name="connsiteY265" fmla="*/ 232692 h 479077"/>
                <a:gd name="connsiteX266" fmla="*/ 257039 w 3785642"/>
                <a:gd name="connsiteY266" fmla="*/ 222770 h 479077"/>
                <a:gd name="connsiteX267" fmla="*/ 266961 w 3785642"/>
                <a:gd name="connsiteY267" fmla="*/ 209376 h 479077"/>
                <a:gd name="connsiteX268" fmla="*/ 278371 w 3785642"/>
                <a:gd name="connsiteY268" fmla="*/ 197966 h 479077"/>
                <a:gd name="connsiteX269" fmla="*/ 291269 w 3785642"/>
                <a:gd name="connsiteY269" fmla="*/ 188045 h 479077"/>
                <a:gd name="connsiteX270" fmla="*/ 301686 w 3785642"/>
                <a:gd name="connsiteY270" fmla="*/ 175147 h 479077"/>
                <a:gd name="connsiteX271" fmla="*/ 313592 w 3785642"/>
                <a:gd name="connsiteY271" fmla="*/ 163737 h 479077"/>
                <a:gd name="connsiteX272" fmla="*/ 325994 w 3785642"/>
                <a:gd name="connsiteY272" fmla="*/ 153319 h 479077"/>
                <a:gd name="connsiteX273" fmla="*/ 337404 w 3785642"/>
                <a:gd name="connsiteY273" fmla="*/ 141910 h 479077"/>
                <a:gd name="connsiteX274" fmla="*/ 347325 w 3785642"/>
                <a:gd name="connsiteY274" fmla="*/ 129012 h 479077"/>
                <a:gd name="connsiteX275" fmla="*/ 360224 w 3785642"/>
                <a:gd name="connsiteY275" fmla="*/ 118594 h 479077"/>
                <a:gd name="connsiteX276" fmla="*/ 371137 w 3785642"/>
                <a:gd name="connsiteY276" fmla="*/ 106192 h 479077"/>
                <a:gd name="connsiteX277" fmla="*/ 382051 w 3785642"/>
                <a:gd name="connsiteY277" fmla="*/ 93790 h 479077"/>
                <a:gd name="connsiteX278" fmla="*/ 393957 w 3785642"/>
                <a:gd name="connsiteY278" fmla="*/ 82380 h 479077"/>
                <a:gd name="connsiteX279" fmla="*/ 405366 w 3785642"/>
                <a:gd name="connsiteY279" fmla="*/ 70475 h 479077"/>
                <a:gd name="connsiteX280" fmla="*/ 417272 w 3785642"/>
                <a:gd name="connsiteY280" fmla="*/ 59561 h 479077"/>
                <a:gd name="connsiteX281" fmla="*/ 429674 w 3785642"/>
                <a:gd name="connsiteY281" fmla="*/ 48647 h 479077"/>
                <a:gd name="connsiteX282" fmla="*/ 440092 w 3785642"/>
                <a:gd name="connsiteY282" fmla="*/ 35749 h 479077"/>
                <a:gd name="connsiteX283" fmla="*/ 452494 w 3785642"/>
                <a:gd name="connsiteY283" fmla="*/ 24835 h 479077"/>
                <a:gd name="connsiteX284" fmla="*/ 463904 w 3785642"/>
                <a:gd name="connsiteY284" fmla="*/ 12929 h 479077"/>
                <a:gd name="connsiteX285" fmla="*/ 475313 w 3785642"/>
                <a:gd name="connsiteY285" fmla="*/ 1024 h 479077"/>
                <a:gd name="connsiteX286" fmla="*/ 491684 w 3785642"/>
                <a:gd name="connsiteY286" fmla="*/ 2512 h 479077"/>
                <a:gd name="connsiteX287" fmla="*/ 508055 w 3785642"/>
                <a:gd name="connsiteY287" fmla="*/ 2512 h 479077"/>
                <a:gd name="connsiteX288" fmla="*/ 524425 w 3785642"/>
                <a:gd name="connsiteY288" fmla="*/ 2512 h 479077"/>
                <a:gd name="connsiteX289" fmla="*/ 540796 w 3785642"/>
                <a:gd name="connsiteY289" fmla="*/ 1024 h 479077"/>
                <a:gd name="connsiteX290" fmla="*/ 557166 w 3785642"/>
                <a:gd name="connsiteY290" fmla="*/ 2512 h 479077"/>
                <a:gd name="connsiteX291" fmla="*/ 573537 w 3785642"/>
                <a:gd name="connsiteY291" fmla="*/ 1024 h 479077"/>
                <a:gd name="connsiteX292" fmla="*/ 589908 w 3785642"/>
                <a:gd name="connsiteY292" fmla="*/ 527 h 479077"/>
                <a:gd name="connsiteX293" fmla="*/ 606278 w 3785642"/>
                <a:gd name="connsiteY293" fmla="*/ 1520 h 479077"/>
                <a:gd name="connsiteX294" fmla="*/ 622649 w 3785642"/>
                <a:gd name="connsiteY294" fmla="*/ 1520 h 479077"/>
                <a:gd name="connsiteX295" fmla="*/ 639019 w 3785642"/>
                <a:gd name="connsiteY295" fmla="*/ 2016 h 479077"/>
                <a:gd name="connsiteX296" fmla="*/ 655390 w 3785642"/>
                <a:gd name="connsiteY296" fmla="*/ 527 h 479077"/>
                <a:gd name="connsiteX297" fmla="*/ 671760 w 3785642"/>
                <a:gd name="connsiteY297" fmla="*/ 1520 h 479077"/>
                <a:gd name="connsiteX298" fmla="*/ 688131 w 3785642"/>
                <a:gd name="connsiteY298" fmla="*/ 2512 h 479077"/>
                <a:gd name="connsiteX299" fmla="*/ 704501 w 3785642"/>
                <a:gd name="connsiteY299" fmla="*/ 1024 h 479077"/>
                <a:gd name="connsiteX300" fmla="*/ 720872 w 3785642"/>
                <a:gd name="connsiteY300" fmla="*/ 1520 h 479077"/>
                <a:gd name="connsiteX301" fmla="*/ 737243 w 3785642"/>
                <a:gd name="connsiteY301" fmla="*/ 2016 h 479077"/>
                <a:gd name="connsiteX302" fmla="*/ 753613 w 3785642"/>
                <a:gd name="connsiteY302" fmla="*/ 1024 h 479077"/>
                <a:gd name="connsiteX303" fmla="*/ 769984 w 3785642"/>
                <a:gd name="connsiteY303" fmla="*/ 527 h 479077"/>
                <a:gd name="connsiteX304" fmla="*/ 786354 w 3785642"/>
                <a:gd name="connsiteY304" fmla="*/ 1520 h 479077"/>
                <a:gd name="connsiteX305" fmla="*/ 802725 w 3785642"/>
                <a:gd name="connsiteY305" fmla="*/ 527 h 479077"/>
                <a:gd name="connsiteX306" fmla="*/ 819096 w 3785642"/>
                <a:gd name="connsiteY306" fmla="*/ 2512 h 479077"/>
                <a:gd name="connsiteX307" fmla="*/ 835466 w 3785642"/>
                <a:gd name="connsiteY307" fmla="*/ 527 h 479077"/>
                <a:gd name="connsiteX308" fmla="*/ 851837 w 3785642"/>
                <a:gd name="connsiteY308" fmla="*/ 1520 h 479077"/>
                <a:gd name="connsiteX309" fmla="*/ 868207 w 3785642"/>
                <a:gd name="connsiteY309" fmla="*/ 2016 h 479077"/>
                <a:gd name="connsiteX310" fmla="*/ 884578 w 3785642"/>
                <a:gd name="connsiteY310" fmla="*/ 2512 h 479077"/>
                <a:gd name="connsiteX311" fmla="*/ 900948 w 3785642"/>
                <a:gd name="connsiteY311" fmla="*/ 1520 h 479077"/>
                <a:gd name="connsiteX312" fmla="*/ 917319 w 3785642"/>
                <a:gd name="connsiteY312" fmla="*/ 1024 h 479077"/>
                <a:gd name="connsiteX313" fmla="*/ 933689 w 3785642"/>
                <a:gd name="connsiteY313" fmla="*/ 2512 h 479077"/>
                <a:gd name="connsiteX314" fmla="*/ 950060 w 3785642"/>
                <a:gd name="connsiteY314" fmla="*/ 1520 h 479077"/>
                <a:gd name="connsiteX315" fmla="*/ 966431 w 3785642"/>
                <a:gd name="connsiteY315" fmla="*/ 2016 h 479077"/>
                <a:gd name="connsiteX316" fmla="*/ 982801 w 3785642"/>
                <a:gd name="connsiteY316" fmla="*/ 2512 h 479077"/>
                <a:gd name="connsiteX317" fmla="*/ 999172 w 3785642"/>
                <a:gd name="connsiteY317" fmla="*/ 1520 h 479077"/>
                <a:gd name="connsiteX318" fmla="*/ 1015542 w 3785642"/>
                <a:gd name="connsiteY318" fmla="*/ 2512 h 479077"/>
                <a:gd name="connsiteX319" fmla="*/ 1031913 w 3785642"/>
                <a:gd name="connsiteY319" fmla="*/ 1520 h 479077"/>
                <a:gd name="connsiteX320" fmla="*/ 1048283 w 3785642"/>
                <a:gd name="connsiteY320" fmla="*/ 2016 h 479077"/>
                <a:gd name="connsiteX321" fmla="*/ 1064654 w 3785642"/>
                <a:gd name="connsiteY321" fmla="*/ 3504 h 479077"/>
                <a:gd name="connsiteX322" fmla="*/ 1081025 w 3785642"/>
                <a:gd name="connsiteY322" fmla="*/ 2016 h 479077"/>
                <a:gd name="connsiteX323" fmla="*/ 1097395 w 3785642"/>
                <a:gd name="connsiteY323" fmla="*/ 2512 h 479077"/>
                <a:gd name="connsiteX324" fmla="*/ 1113766 w 3785642"/>
                <a:gd name="connsiteY324" fmla="*/ 2512 h 479077"/>
                <a:gd name="connsiteX325" fmla="*/ 1130136 w 3785642"/>
                <a:gd name="connsiteY325" fmla="*/ 3504 h 479077"/>
                <a:gd name="connsiteX326" fmla="*/ 1146507 w 3785642"/>
                <a:gd name="connsiteY326" fmla="*/ 1520 h 479077"/>
                <a:gd name="connsiteX327" fmla="*/ 1162878 w 3785642"/>
                <a:gd name="connsiteY327" fmla="*/ 3008 h 479077"/>
                <a:gd name="connsiteX328" fmla="*/ 1179248 w 3785642"/>
                <a:gd name="connsiteY328" fmla="*/ 4000 h 479077"/>
                <a:gd name="connsiteX329" fmla="*/ 1195619 w 3785642"/>
                <a:gd name="connsiteY329" fmla="*/ 3504 h 479077"/>
                <a:gd name="connsiteX330" fmla="*/ 1211989 w 3785642"/>
                <a:gd name="connsiteY330" fmla="*/ 1520 h 479077"/>
                <a:gd name="connsiteX331" fmla="*/ 1228360 w 3785642"/>
                <a:gd name="connsiteY331" fmla="*/ 3504 h 479077"/>
                <a:gd name="connsiteX332" fmla="*/ 1244730 w 3785642"/>
                <a:gd name="connsiteY332" fmla="*/ 1520 h 479077"/>
                <a:gd name="connsiteX333" fmla="*/ 1261101 w 3785642"/>
                <a:gd name="connsiteY333" fmla="*/ 2512 h 479077"/>
                <a:gd name="connsiteX334" fmla="*/ 1277471 w 3785642"/>
                <a:gd name="connsiteY334" fmla="*/ 3504 h 479077"/>
                <a:gd name="connsiteX335" fmla="*/ 1293842 w 3785642"/>
                <a:gd name="connsiteY335" fmla="*/ 4000 h 479077"/>
                <a:gd name="connsiteX336" fmla="*/ 1310213 w 3785642"/>
                <a:gd name="connsiteY336" fmla="*/ 1520 h 479077"/>
                <a:gd name="connsiteX337" fmla="*/ 1326583 w 3785642"/>
                <a:gd name="connsiteY337" fmla="*/ 2016 h 479077"/>
                <a:gd name="connsiteX338" fmla="*/ 1342954 w 3785642"/>
                <a:gd name="connsiteY338" fmla="*/ 3008 h 479077"/>
                <a:gd name="connsiteX339" fmla="*/ 1359324 w 3785642"/>
                <a:gd name="connsiteY339" fmla="*/ 3008 h 479077"/>
                <a:gd name="connsiteX340" fmla="*/ 1375695 w 3785642"/>
                <a:gd name="connsiteY340" fmla="*/ 2512 h 479077"/>
                <a:gd name="connsiteX341" fmla="*/ 1392066 w 3785642"/>
                <a:gd name="connsiteY341" fmla="*/ 2512 h 479077"/>
                <a:gd name="connsiteX342" fmla="*/ 1408436 w 3785642"/>
                <a:gd name="connsiteY342" fmla="*/ 3504 h 479077"/>
                <a:gd name="connsiteX343" fmla="*/ 1424807 w 3785642"/>
                <a:gd name="connsiteY343" fmla="*/ 3504 h 479077"/>
                <a:gd name="connsiteX344" fmla="*/ 1441177 w 3785642"/>
                <a:gd name="connsiteY344" fmla="*/ 1520 h 479077"/>
                <a:gd name="connsiteX345" fmla="*/ 1457548 w 3785642"/>
                <a:gd name="connsiteY345" fmla="*/ 2512 h 479077"/>
                <a:gd name="connsiteX346" fmla="*/ 1473919 w 3785642"/>
                <a:gd name="connsiteY346" fmla="*/ 2016 h 479077"/>
                <a:gd name="connsiteX347" fmla="*/ 1490289 w 3785642"/>
                <a:gd name="connsiteY347" fmla="*/ 2016 h 479077"/>
                <a:gd name="connsiteX348" fmla="*/ 1506660 w 3785642"/>
                <a:gd name="connsiteY348" fmla="*/ 1520 h 479077"/>
                <a:gd name="connsiteX349" fmla="*/ 1523030 w 3785642"/>
                <a:gd name="connsiteY349" fmla="*/ 3504 h 479077"/>
                <a:gd name="connsiteX350" fmla="*/ 1539401 w 3785642"/>
                <a:gd name="connsiteY350" fmla="*/ 3008 h 479077"/>
                <a:gd name="connsiteX351" fmla="*/ 1555771 w 3785642"/>
                <a:gd name="connsiteY351" fmla="*/ 3008 h 479077"/>
                <a:gd name="connsiteX352" fmla="*/ 1572142 w 3785642"/>
                <a:gd name="connsiteY352" fmla="*/ 2512 h 479077"/>
                <a:gd name="connsiteX353" fmla="*/ 1588512 w 3785642"/>
                <a:gd name="connsiteY353" fmla="*/ 2016 h 479077"/>
                <a:gd name="connsiteX354" fmla="*/ 1604883 w 3785642"/>
                <a:gd name="connsiteY354" fmla="*/ 3008 h 479077"/>
                <a:gd name="connsiteX355" fmla="*/ 1621253 w 3785642"/>
                <a:gd name="connsiteY355" fmla="*/ 3008 h 479077"/>
                <a:gd name="connsiteX356" fmla="*/ 1637624 w 3785642"/>
                <a:gd name="connsiteY35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498908 w 3785642"/>
                <a:gd name="connsiteY24" fmla="*/ 171674 h 479077"/>
                <a:gd name="connsiteX25" fmla="*/ 3405646 w 3785642"/>
                <a:gd name="connsiteY25" fmla="*/ 79404 h 479077"/>
                <a:gd name="connsiteX26" fmla="*/ 3393740 w 3785642"/>
                <a:gd name="connsiteY26" fmla="*/ 68490 h 479077"/>
                <a:gd name="connsiteX27" fmla="*/ 3382330 w 3785642"/>
                <a:gd name="connsiteY27" fmla="*/ 56584 h 479077"/>
                <a:gd name="connsiteX28" fmla="*/ 3370921 w 3785642"/>
                <a:gd name="connsiteY28" fmla="*/ 44678 h 479077"/>
                <a:gd name="connsiteX29" fmla="*/ 3313375 w 3785642"/>
                <a:gd name="connsiteY29" fmla="*/ 10945 h 479077"/>
                <a:gd name="connsiteX30" fmla="*/ 3300973 w 3785642"/>
                <a:gd name="connsiteY30" fmla="*/ 21363 h 479077"/>
                <a:gd name="connsiteX31" fmla="*/ 3289068 w 3785642"/>
                <a:gd name="connsiteY31" fmla="*/ 32276 h 479077"/>
                <a:gd name="connsiteX32" fmla="*/ 3277658 w 3785642"/>
                <a:gd name="connsiteY32" fmla="*/ 43686 h 479077"/>
                <a:gd name="connsiteX33" fmla="*/ 3266248 w 3785642"/>
                <a:gd name="connsiteY33" fmla="*/ 55592 h 479077"/>
                <a:gd name="connsiteX34" fmla="*/ 3255830 w 3785642"/>
                <a:gd name="connsiteY34" fmla="*/ 68490 h 479077"/>
                <a:gd name="connsiteX35" fmla="*/ 3243924 w 3785642"/>
                <a:gd name="connsiteY35" fmla="*/ 79900 h 479077"/>
                <a:gd name="connsiteX36" fmla="*/ 3231522 w 3785642"/>
                <a:gd name="connsiteY36" fmla="*/ 90814 h 479077"/>
                <a:gd name="connsiteX37" fmla="*/ 3220609 w 3785642"/>
                <a:gd name="connsiteY37" fmla="*/ 102720 h 479077"/>
                <a:gd name="connsiteX38" fmla="*/ 3208207 w 3785642"/>
                <a:gd name="connsiteY38" fmla="*/ 113137 h 479077"/>
                <a:gd name="connsiteX39" fmla="*/ 3197293 w 3785642"/>
                <a:gd name="connsiteY39" fmla="*/ 125043 h 479077"/>
                <a:gd name="connsiteX40" fmla="*/ 3185387 w 3785642"/>
                <a:gd name="connsiteY40" fmla="*/ 136453 h 479077"/>
                <a:gd name="connsiteX41" fmla="*/ 3174970 w 3785642"/>
                <a:gd name="connsiteY41" fmla="*/ 148855 h 479077"/>
                <a:gd name="connsiteX42" fmla="*/ 3162071 w 3785642"/>
                <a:gd name="connsiteY42" fmla="*/ 159272 h 479077"/>
                <a:gd name="connsiteX43" fmla="*/ 3151158 w 3785642"/>
                <a:gd name="connsiteY43" fmla="*/ 171674 h 479077"/>
                <a:gd name="connsiteX44" fmla="*/ 3139252 w 3785642"/>
                <a:gd name="connsiteY44" fmla="*/ 182588 h 479077"/>
                <a:gd name="connsiteX45" fmla="*/ 3127843 w 3785642"/>
                <a:gd name="connsiteY45" fmla="*/ 194494 h 479077"/>
                <a:gd name="connsiteX46" fmla="*/ 3116432 w 3785642"/>
                <a:gd name="connsiteY46" fmla="*/ 205904 h 479077"/>
                <a:gd name="connsiteX47" fmla="*/ 3105022 w 3785642"/>
                <a:gd name="connsiteY47" fmla="*/ 217810 h 479077"/>
                <a:gd name="connsiteX48" fmla="*/ 3093117 w 3785642"/>
                <a:gd name="connsiteY48" fmla="*/ 229219 h 479077"/>
                <a:gd name="connsiteX49" fmla="*/ 3081707 w 3785642"/>
                <a:gd name="connsiteY49" fmla="*/ 240629 h 479077"/>
                <a:gd name="connsiteX50" fmla="*/ 3069305 w 3785642"/>
                <a:gd name="connsiteY50" fmla="*/ 251543 h 479077"/>
                <a:gd name="connsiteX51" fmla="*/ 3057895 w 3785642"/>
                <a:gd name="connsiteY51" fmla="*/ 263449 h 479077"/>
                <a:gd name="connsiteX52" fmla="*/ 3046486 w 3785642"/>
                <a:gd name="connsiteY52" fmla="*/ 275355 h 479077"/>
                <a:gd name="connsiteX53" fmla="*/ 3035572 w 3785642"/>
                <a:gd name="connsiteY53" fmla="*/ 287260 h 479077"/>
                <a:gd name="connsiteX54" fmla="*/ 3024658 w 3785642"/>
                <a:gd name="connsiteY54" fmla="*/ 299166 h 479077"/>
                <a:gd name="connsiteX55" fmla="*/ 3013248 w 3785642"/>
                <a:gd name="connsiteY55" fmla="*/ 311072 h 479077"/>
                <a:gd name="connsiteX56" fmla="*/ 3000350 w 3785642"/>
                <a:gd name="connsiteY56" fmla="*/ 321490 h 479077"/>
                <a:gd name="connsiteX57" fmla="*/ 2988941 w 3785642"/>
                <a:gd name="connsiteY57" fmla="*/ 333396 h 479077"/>
                <a:gd name="connsiteX58" fmla="*/ 2976539 w 3785642"/>
                <a:gd name="connsiteY58" fmla="*/ 344309 h 479077"/>
                <a:gd name="connsiteX59" fmla="*/ 2965129 w 3785642"/>
                <a:gd name="connsiteY59" fmla="*/ 356215 h 479077"/>
                <a:gd name="connsiteX60" fmla="*/ 2953223 w 3785642"/>
                <a:gd name="connsiteY60" fmla="*/ 367625 h 479077"/>
                <a:gd name="connsiteX61" fmla="*/ 2941813 w 3785642"/>
                <a:gd name="connsiteY61" fmla="*/ 379531 h 479077"/>
                <a:gd name="connsiteX62" fmla="*/ 2931395 w 3785642"/>
                <a:gd name="connsiteY62" fmla="*/ 392429 h 479077"/>
                <a:gd name="connsiteX63" fmla="*/ 2918497 w 3785642"/>
                <a:gd name="connsiteY63" fmla="*/ 402847 h 479077"/>
                <a:gd name="connsiteX64" fmla="*/ 2907584 w 3785642"/>
                <a:gd name="connsiteY64" fmla="*/ 415249 h 479077"/>
                <a:gd name="connsiteX65" fmla="*/ 2896174 w 3785642"/>
                <a:gd name="connsiteY65" fmla="*/ 426658 h 479077"/>
                <a:gd name="connsiteX66" fmla="*/ 2884268 w 3785642"/>
                <a:gd name="connsiteY66" fmla="*/ 438068 h 479077"/>
                <a:gd name="connsiteX67" fmla="*/ 2873354 w 3785642"/>
                <a:gd name="connsiteY67" fmla="*/ 450470 h 479077"/>
                <a:gd name="connsiteX68" fmla="*/ 2860952 w 3785642"/>
                <a:gd name="connsiteY68" fmla="*/ 461384 h 479077"/>
                <a:gd name="connsiteX69" fmla="*/ 2850039 w 3785642"/>
                <a:gd name="connsiteY69" fmla="*/ 473786 h 479077"/>
                <a:gd name="connsiteX70" fmla="*/ 2833668 w 3785642"/>
                <a:gd name="connsiteY70" fmla="*/ 473786 h 479077"/>
                <a:gd name="connsiteX71" fmla="*/ 2817297 w 3785642"/>
                <a:gd name="connsiteY71" fmla="*/ 473290 h 479077"/>
                <a:gd name="connsiteX72" fmla="*/ 2800927 w 3785642"/>
                <a:gd name="connsiteY72" fmla="*/ 473290 h 479077"/>
                <a:gd name="connsiteX73" fmla="*/ 2784556 w 3785642"/>
                <a:gd name="connsiteY73" fmla="*/ 473786 h 479077"/>
                <a:gd name="connsiteX74" fmla="*/ 2768186 w 3785642"/>
                <a:gd name="connsiteY74" fmla="*/ 474282 h 479077"/>
                <a:gd name="connsiteX75" fmla="*/ 2751815 w 3785642"/>
                <a:gd name="connsiteY75" fmla="*/ 474282 h 479077"/>
                <a:gd name="connsiteX76" fmla="*/ 2735444 w 3785642"/>
                <a:gd name="connsiteY76" fmla="*/ 473290 h 479077"/>
                <a:gd name="connsiteX77" fmla="*/ 2719074 w 3785642"/>
                <a:gd name="connsiteY77" fmla="*/ 474282 h 479077"/>
                <a:gd name="connsiteX78" fmla="*/ 2702703 w 3785642"/>
                <a:gd name="connsiteY78" fmla="*/ 472298 h 479077"/>
                <a:gd name="connsiteX79" fmla="*/ 2686333 w 3785642"/>
                <a:gd name="connsiteY79" fmla="*/ 472794 h 479077"/>
                <a:gd name="connsiteX80" fmla="*/ 2669962 w 3785642"/>
                <a:gd name="connsiteY80" fmla="*/ 474282 h 479077"/>
                <a:gd name="connsiteX81" fmla="*/ 2653592 w 3785642"/>
                <a:gd name="connsiteY81" fmla="*/ 472298 h 479077"/>
                <a:gd name="connsiteX82" fmla="*/ 2637221 w 3785642"/>
                <a:gd name="connsiteY82" fmla="*/ 474282 h 479077"/>
                <a:gd name="connsiteX83" fmla="*/ 2620851 w 3785642"/>
                <a:gd name="connsiteY83" fmla="*/ 474282 h 479077"/>
                <a:gd name="connsiteX84" fmla="*/ 2604480 w 3785642"/>
                <a:gd name="connsiteY84" fmla="*/ 472298 h 479077"/>
                <a:gd name="connsiteX85" fmla="*/ 2588109 w 3785642"/>
                <a:gd name="connsiteY85" fmla="*/ 473786 h 479077"/>
                <a:gd name="connsiteX86" fmla="*/ 2571739 w 3785642"/>
                <a:gd name="connsiteY86" fmla="*/ 472298 h 479077"/>
                <a:gd name="connsiteX87" fmla="*/ 2555368 w 3785642"/>
                <a:gd name="connsiteY87" fmla="*/ 473290 h 479077"/>
                <a:gd name="connsiteX88" fmla="*/ 2538998 w 3785642"/>
                <a:gd name="connsiteY88" fmla="*/ 474282 h 479077"/>
                <a:gd name="connsiteX89" fmla="*/ 2522627 w 3785642"/>
                <a:gd name="connsiteY89" fmla="*/ 473290 h 479077"/>
                <a:gd name="connsiteX90" fmla="*/ 2506257 w 3785642"/>
                <a:gd name="connsiteY90" fmla="*/ 474282 h 479077"/>
                <a:gd name="connsiteX91" fmla="*/ 2489886 w 3785642"/>
                <a:gd name="connsiteY91" fmla="*/ 473786 h 479077"/>
                <a:gd name="connsiteX92" fmla="*/ 2473516 w 3785642"/>
                <a:gd name="connsiteY92" fmla="*/ 474282 h 479077"/>
                <a:gd name="connsiteX93" fmla="*/ 2457145 w 3785642"/>
                <a:gd name="connsiteY93" fmla="*/ 472794 h 479077"/>
                <a:gd name="connsiteX94" fmla="*/ 2440775 w 3785642"/>
                <a:gd name="connsiteY94" fmla="*/ 472298 h 479077"/>
                <a:gd name="connsiteX95" fmla="*/ 2424404 w 3785642"/>
                <a:gd name="connsiteY95" fmla="*/ 473786 h 479077"/>
                <a:gd name="connsiteX96" fmla="*/ 2408033 w 3785642"/>
                <a:gd name="connsiteY96" fmla="*/ 472794 h 479077"/>
                <a:gd name="connsiteX97" fmla="*/ 2391663 w 3785642"/>
                <a:gd name="connsiteY97" fmla="*/ 473290 h 479077"/>
                <a:gd name="connsiteX98" fmla="*/ 2375292 w 3785642"/>
                <a:gd name="connsiteY98" fmla="*/ 473290 h 479077"/>
                <a:gd name="connsiteX99" fmla="*/ 2358922 w 3785642"/>
                <a:gd name="connsiteY99" fmla="*/ 472794 h 479077"/>
                <a:gd name="connsiteX100" fmla="*/ 2342551 w 3785642"/>
                <a:gd name="connsiteY100" fmla="*/ 472298 h 479077"/>
                <a:gd name="connsiteX101" fmla="*/ 2326180 w 3785642"/>
                <a:gd name="connsiteY101" fmla="*/ 473786 h 479077"/>
                <a:gd name="connsiteX102" fmla="*/ 2309810 w 3785642"/>
                <a:gd name="connsiteY102" fmla="*/ 473786 h 479077"/>
                <a:gd name="connsiteX103" fmla="*/ 2293439 w 3785642"/>
                <a:gd name="connsiteY103" fmla="*/ 473786 h 479077"/>
                <a:gd name="connsiteX104" fmla="*/ 2277069 w 3785642"/>
                <a:gd name="connsiteY104" fmla="*/ 472794 h 479077"/>
                <a:gd name="connsiteX105" fmla="*/ 2260698 w 3785642"/>
                <a:gd name="connsiteY105" fmla="*/ 474282 h 479077"/>
                <a:gd name="connsiteX106" fmla="*/ 2244327 w 3785642"/>
                <a:gd name="connsiteY106" fmla="*/ 472298 h 479077"/>
                <a:gd name="connsiteX107" fmla="*/ 2227957 w 3785642"/>
                <a:gd name="connsiteY107" fmla="*/ 474282 h 479077"/>
                <a:gd name="connsiteX108" fmla="*/ 2211586 w 3785642"/>
                <a:gd name="connsiteY108" fmla="*/ 473290 h 479077"/>
                <a:gd name="connsiteX109" fmla="*/ 2195216 w 3785642"/>
                <a:gd name="connsiteY109" fmla="*/ 474282 h 479077"/>
                <a:gd name="connsiteX110" fmla="*/ 2178845 w 3785642"/>
                <a:gd name="connsiteY110" fmla="*/ 472794 h 479077"/>
                <a:gd name="connsiteX111" fmla="*/ 2162474 w 3785642"/>
                <a:gd name="connsiteY111" fmla="*/ 474778 h 479077"/>
                <a:gd name="connsiteX112" fmla="*/ 2146104 w 3785642"/>
                <a:gd name="connsiteY112" fmla="*/ 473290 h 479077"/>
                <a:gd name="connsiteX113" fmla="*/ 2129733 w 3785642"/>
                <a:gd name="connsiteY113" fmla="*/ 474778 h 479077"/>
                <a:gd name="connsiteX114" fmla="*/ 2113363 w 3785642"/>
                <a:gd name="connsiteY114" fmla="*/ 474778 h 479077"/>
                <a:gd name="connsiteX115" fmla="*/ 2096992 w 3785642"/>
                <a:gd name="connsiteY115" fmla="*/ 474778 h 479077"/>
                <a:gd name="connsiteX116" fmla="*/ 2080621 w 3785642"/>
                <a:gd name="connsiteY116" fmla="*/ 474282 h 479077"/>
                <a:gd name="connsiteX117" fmla="*/ 2064251 w 3785642"/>
                <a:gd name="connsiteY117" fmla="*/ 472794 h 479077"/>
                <a:gd name="connsiteX118" fmla="*/ 2047880 w 3785642"/>
                <a:gd name="connsiteY118" fmla="*/ 474778 h 479077"/>
                <a:gd name="connsiteX119" fmla="*/ 2031510 w 3785642"/>
                <a:gd name="connsiteY119" fmla="*/ 474778 h 479077"/>
                <a:gd name="connsiteX120" fmla="*/ 2015139 w 3785642"/>
                <a:gd name="connsiteY120" fmla="*/ 474778 h 479077"/>
                <a:gd name="connsiteX121" fmla="*/ 1998769 w 3785642"/>
                <a:gd name="connsiteY121" fmla="*/ 474282 h 479077"/>
                <a:gd name="connsiteX122" fmla="*/ 1982398 w 3785642"/>
                <a:gd name="connsiteY122" fmla="*/ 473786 h 479077"/>
                <a:gd name="connsiteX123" fmla="*/ 1966028 w 3785642"/>
                <a:gd name="connsiteY123" fmla="*/ 473786 h 479077"/>
                <a:gd name="connsiteX124" fmla="*/ 1949657 w 3785642"/>
                <a:gd name="connsiteY124" fmla="*/ 472794 h 479077"/>
                <a:gd name="connsiteX125" fmla="*/ 1933287 w 3785642"/>
                <a:gd name="connsiteY125" fmla="*/ 473290 h 479077"/>
                <a:gd name="connsiteX126" fmla="*/ 1916916 w 3785642"/>
                <a:gd name="connsiteY126" fmla="*/ 474778 h 479077"/>
                <a:gd name="connsiteX127" fmla="*/ 1900546 w 3785642"/>
                <a:gd name="connsiteY127" fmla="*/ 472794 h 479077"/>
                <a:gd name="connsiteX128" fmla="*/ 1884175 w 3785642"/>
                <a:gd name="connsiteY128" fmla="*/ 473786 h 479077"/>
                <a:gd name="connsiteX129" fmla="*/ 1867804 w 3785642"/>
                <a:gd name="connsiteY129" fmla="*/ 474778 h 479077"/>
                <a:gd name="connsiteX130" fmla="*/ 1851434 w 3785642"/>
                <a:gd name="connsiteY130" fmla="*/ 474778 h 479077"/>
                <a:gd name="connsiteX131" fmla="*/ 1835063 w 3785642"/>
                <a:gd name="connsiteY131" fmla="*/ 474778 h 479077"/>
                <a:gd name="connsiteX132" fmla="*/ 1818693 w 3785642"/>
                <a:gd name="connsiteY132" fmla="*/ 474282 h 479077"/>
                <a:gd name="connsiteX133" fmla="*/ 1802322 w 3785642"/>
                <a:gd name="connsiteY133" fmla="*/ 472794 h 479077"/>
                <a:gd name="connsiteX134" fmla="*/ 1785951 w 3785642"/>
                <a:gd name="connsiteY134" fmla="*/ 473786 h 479077"/>
                <a:gd name="connsiteX135" fmla="*/ 1769581 w 3785642"/>
                <a:gd name="connsiteY135" fmla="*/ 473290 h 479077"/>
                <a:gd name="connsiteX136" fmla="*/ 1753210 w 3785642"/>
                <a:gd name="connsiteY136" fmla="*/ 472298 h 479077"/>
                <a:gd name="connsiteX137" fmla="*/ 1736840 w 3785642"/>
                <a:gd name="connsiteY137" fmla="*/ 473290 h 479077"/>
                <a:gd name="connsiteX138" fmla="*/ 1720469 w 3785642"/>
                <a:gd name="connsiteY138" fmla="*/ 474778 h 479077"/>
                <a:gd name="connsiteX139" fmla="*/ 1704098 w 3785642"/>
                <a:gd name="connsiteY139" fmla="*/ 472794 h 479077"/>
                <a:gd name="connsiteX140" fmla="*/ 1687728 w 3785642"/>
                <a:gd name="connsiteY140" fmla="*/ 474778 h 479077"/>
                <a:gd name="connsiteX141" fmla="*/ 1671357 w 3785642"/>
                <a:gd name="connsiteY141" fmla="*/ 474778 h 479077"/>
                <a:gd name="connsiteX142" fmla="*/ 1654987 w 3785642"/>
                <a:gd name="connsiteY142" fmla="*/ 472298 h 479077"/>
                <a:gd name="connsiteX143" fmla="*/ 1638616 w 3785642"/>
                <a:gd name="connsiteY143" fmla="*/ 472794 h 479077"/>
                <a:gd name="connsiteX144" fmla="*/ 1622246 w 3785642"/>
                <a:gd name="connsiteY144" fmla="*/ 473786 h 479077"/>
                <a:gd name="connsiteX145" fmla="*/ 1605875 w 3785642"/>
                <a:gd name="connsiteY145" fmla="*/ 474778 h 479077"/>
                <a:gd name="connsiteX146" fmla="*/ 1589505 w 3785642"/>
                <a:gd name="connsiteY146" fmla="*/ 473290 h 479077"/>
                <a:gd name="connsiteX147" fmla="*/ 1573134 w 3785642"/>
                <a:gd name="connsiteY147" fmla="*/ 474778 h 479077"/>
                <a:gd name="connsiteX148" fmla="*/ 1556763 w 3785642"/>
                <a:gd name="connsiteY148" fmla="*/ 472794 h 479077"/>
                <a:gd name="connsiteX149" fmla="*/ 1540393 w 3785642"/>
                <a:gd name="connsiteY149" fmla="*/ 472794 h 479077"/>
                <a:gd name="connsiteX150" fmla="*/ 1524022 w 3785642"/>
                <a:gd name="connsiteY150" fmla="*/ 474282 h 479077"/>
                <a:gd name="connsiteX151" fmla="*/ 1507652 w 3785642"/>
                <a:gd name="connsiteY151" fmla="*/ 472794 h 479077"/>
                <a:gd name="connsiteX152" fmla="*/ 1491281 w 3785642"/>
                <a:gd name="connsiteY152" fmla="*/ 474282 h 479077"/>
                <a:gd name="connsiteX153" fmla="*/ 1474910 w 3785642"/>
                <a:gd name="connsiteY153" fmla="*/ 474282 h 479077"/>
                <a:gd name="connsiteX154" fmla="*/ 1458540 w 3785642"/>
                <a:gd name="connsiteY154" fmla="*/ 472794 h 479077"/>
                <a:gd name="connsiteX155" fmla="*/ 1442169 w 3785642"/>
                <a:gd name="connsiteY155" fmla="*/ 471802 h 479077"/>
                <a:gd name="connsiteX156" fmla="*/ 1425799 w 3785642"/>
                <a:gd name="connsiteY156" fmla="*/ 472298 h 479077"/>
                <a:gd name="connsiteX157" fmla="*/ 1409428 w 3785642"/>
                <a:gd name="connsiteY157" fmla="*/ 472794 h 479077"/>
                <a:gd name="connsiteX158" fmla="*/ 1393058 w 3785642"/>
                <a:gd name="connsiteY158" fmla="*/ 473786 h 479077"/>
                <a:gd name="connsiteX159" fmla="*/ 1376687 w 3785642"/>
                <a:gd name="connsiteY159" fmla="*/ 471802 h 479077"/>
                <a:gd name="connsiteX160" fmla="*/ 1360317 w 3785642"/>
                <a:gd name="connsiteY160" fmla="*/ 473786 h 479077"/>
                <a:gd name="connsiteX161" fmla="*/ 1343946 w 3785642"/>
                <a:gd name="connsiteY161" fmla="*/ 473786 h 479077"/>
                <a:gd name="connsiteX162" fmla="*/ 1327576 w 3785642"/>
                <a:gd name="connsiteY162" fmla="*/ 472794 h 479077"/>
                <a:gd name="connsiteX163" fmla="*/ 1311205 w 3785642"/>
                <a:gd name="connsiteY163" fmla="*/ 473786 h 479077"/>
                <a:gd name="connsiteX164" fmla="*/ 1294834 w 3785642"/>
                <a:gd name="connsiteY164" fmla="*/ 473786 h 479077"/>
                <a:gd name="connsiteX165" fmla="*/ 1278464 w 3785642"/>
                <a:gd name="connsiteY165" fmla="*/ 473786 h 479077"/>
                <a:gd name="connsiteX166" fmla="*/ 1262093 w 3785642"/>
                <a:gd name="connsiteY166" fmla="*/ 473786 h 479077"/>
                <a:gd name="connsiteX167" fmla="*/ 1245723 w 3785642"/>
                <a:gd name="connsiteY167" fmla="*/ 473290 h 479077"/>
                <a:gd name="connsiteX168" fmla="*/ 1229352 w 3785642"/>
                <a:gd name="connsiteY168" fmla="*/ 472794 h 479077"/>
                <a:gd name="connsiteX169" fmla="*/ 1212981 w 3785642"/>
                <a:gd name="connsiteY169" fmla="*/ 473786 h 479077"/>
                <a:gd name="connsiteX170" fmla="*/ 1196611 w 3785642"/>
                <a:gd name="connsiteY170" fmla="*/ 472298 h 479077"/>
                <a:gd name="connsiteX171" fmla="*/ 1180240 w 3785642"/>
                <a:gd name="connsiteY171" fmla="*/ 472794 h 479077"/>
                <a:gd name="connsiteX172" fmla="*/ 1163870 w 3785642"/>
                <a:gd name="connsiteY172" fmla="*/ 472794 h 479077"/>
                <a:gd name="connsiteX173" fmla="*/ 1147499 w 3785642"/>
                <a:gd name="connsiteY173" fmla="*/ 473786 h 479077"/>
                <a:gd name="connsiteX174" fmla="*/ 1131128 w 3785642"/>
                <a:gd name="connsiteY174" fmla="*/ 473786 h 479077"/>
                <a:gd name="connsiteX175" fmla="*/ 1114758 w 3785642"/>
                <a:gd name="connsiteY175" fmla="*/ 472794 h 479077"/>
                <a:gd name="connsiteX176" fmla="*/ 1098387 w 3785642"/>
                <a:gd name="connsiteY176" fmla="*/ 473786 h 479077"/>
                <a:gd name="connsiteX177" fmla="*/ 1082017 w 3785642"/>
                <a:gd name="connsiteY177" fmla="*/ 474778 h 479077"/>
                <a:gd name="connsiteX178" fmla="*/ 1065646 w 3785642"/>
                <a:gd name="connsiteY178" fmla="*/ 474778 h 479077"/>
                <a:gd name="connsiteX179" fmla="*/ 1049276 w 3785642"/>
                <a:gd name="connsiteY179" fmla="*/ 474282 h 479077"/>
                <a:gd name="connsiteX180" fmla="*/ 1032905 w 3785642"/>
                <a:gd name="connsiteY180" fmla="*/ 473290 h 479077"/>
                <a:gd name="connsiteX181" fmla="*/ 1016535 w 3785642"/>
                <a:gd name="connsiteY181" fmla="*/ 474282 h 479077"/>
                <a:gd name="connsiteX182" fmla="*/ 1000164 w 3785642"/>
                <a:gd name="connsiteY182" fmla="*/ 474282 h 479077"/>
                <a:gd name="connsiteX183" fmla="*/ 983793 w 3785642"/>
                <a:gd name="connsiteY183" fmla="*/ 472794 h 479077"/>
                <a:gd name="connsiteX184" fmla="*/ 967423 w 3785642"/>
                <a:gd name="connsiteY184" fmla="*/ 472794 h 479077"/>
                <a:gd name="connsiteX185" fmla="*/ 951052 w 3785642"/>
                <a:gd name="connsiteY185" fmla="*/ 473786 h 479077"/>
                <a:gd name="connsiteX186" fmla="*/ 934682 w 3785642"/>
                <a:gd name="connsiteY186" fmla="*/ 474282 h 479077"/>
                <a:gd name="connsiteX187" fmla="*/ 918311 w 3785642"/>
                <a:gd name="connsiteY187" fmla="*/ 474778 h 479077"/>
                <a:gd name="connsiteX188" fmla="*/ 901940 w 3785642"/>
                <a:gd name="connsiteY188" fmla="*/ 473290 h 479077"/>
                <a:gd name="connsiteX189" fmla="*/ 885570 w 3785642"/>
                <a:gd name="connsiteY189" fmla="*/ 474778 h 479077"/>
                <a:gd name="connsiteX190" fmla="*/ 869199 w 3785642"/>
                <a:gd name="connsiteY190" fmla="*/ 474282 h 479077"/>
                <a:gd name="connsiteX191" fmla="*/ 852829 w 3785642"/>
                <a:gd name="connsiteY191" fmla="*/ 473786 h 479077"/>
                <a:gd name="connsiteX192" fmla="*/ 836458 w 3785642"/>
                <a:gd name="connsiteY192" fmla="*/ 474778 h 479077"/>
                <a:gd name="connsiteX193" fmla="*/ 820088 w 3785642"/>
                <a:gd name="connsiteY193" fmla="*/ 475274 h 479077"/>
                <a:gd name="connsiteX194" fmla="*/ 803717 w 3785642"/>
                <a:gd name="connsiteY194" fmla="*/ 473786 h 479077"/>
                <a:gd name="connsiteX195" fmla="*/ 787347 w 3785642"/>
                <a:gd name="connsiteY195" fmla="*/ 475770 h 479077"/>
                <a:gd name="connsiteX196" fmla="*/ 770976 w 3785642"/>
                <a:gd name="connsiteY196" fmla="*/ 474778 h 479077"/>
                <a:gd name="connsiteX197" fmla="*/ 754605 w 3785642"/>
                <a:gd name="connsiteY197" fmla="*/ 475274 h 479077"/>
                <a:gd name="connsiteX198" fmla="*/ 738235 w 3785642"/>
                <a:gd name="connsiteY198" fmla="*/ 473786 h 479077"/>
                <a:gd name="connsiteX199" fmla="*/ 721864 w 3785642"/>
                <a:gd name="connsiteY199" fmla="*/ 475274 h 479077"/>
                <a:gd name="connsiteX200" fmla="*/ 705494 w 3785642"/>
                <a:gd name="connsiteY200" fmla="*/ 475770 h 479077"/>
                <a:gd name="connsiteX201" fmla="*/ 689123 w 3785642"/>
                <a:gd name="connsiteY201" fmla="*/ 474282 h 479077"/>
                <a:gd name="connsiteX202" fmla="*/ 672753 w 3785642"/>
                <a:gd name="connsiteY202" fmla="*/ 475274 h 479077"/>
                <a:gd name="connsiteX203" fmla="*/ 656382 w 3785642"/>
                <a:gd name="connsiteY203" fmla="*/ 474778 h 479077"/>
                <a:gd name="connsiteX204" fmla="*/ 640011 w 3785642"/>
                <a:gd name="connsiteY204" fmla="*/ 475770 h 479077"/>
                <a:gd name="connsiteX205" fmla="*/ 623641 w 3785642"/>
                <a:gd name="connsiteY205" fmla="*/ 473786 h 479077"/>
                <a:gd name="connsiteX206" fmla="*/ 607270 w 3785642"/>
                <a:gd name="connsiteY206" fmla="*/ 474778 h 479077"/>
                <a:gd name="connsiteX207" fmla="*/ 590900 w 3785642"/>
                <a:gd name="connsiteY207" fmla="*/ 475274 h 479077"/>
                <a:gd name="connsiteX208" fmla="*/ 574529 w 3785642"/>
                <a:gd name="connsiteY208" fmla="*/ 474282 h 479077"/>
                <a:gd name="connsiteX209" fmla="*/ 558158 w 3785642"/>
                <a:gd name="connsiteY209" fmla="*/ 475274 h 479077"/>
                <a:gd name="connsiteX210" fmla="*/ 541788 w 3785642"/>
                <a:gd name="connsiteY210" fmla="*/ 475770 h 479077"/>
                <a:gd name="connsiteX211" fmla="*/ 525417 w 3785642"/>
                <a:gd name="connsiteY211" fmla="*/ 474282 h 479077"/>
                <a:gd name="connsiteX212" fmla="*/ 509047 w 3785642"/>
                <a:gd name="connsiteY212" fmla="*/ 473786 h 479077"/>
                <a:gd name="connsiteX213" fmla="*/ 492676 w 3785642"/>
                <a:gd name="connsiteY213" fmla="*/ 473786 h 479077"/>
                <a:gd name="connsiteX214" fmla="*/ 476306 w 3785642"/>
                <a:gd name="connsiteY214" fmla="*/ 474778 h 479077"/>
                <a:gd name="connsiteX215" fmla="*/ 459935 w 3785642"/>
                <a:gd name="connsiteY215" fmla="*/ 473786 h 479077"/>
                <a:gd name="connsiteX216" fmla="*/ 443565 w 3785642"/>
                <a:gd name="connsiteY216" fmla="*/ 474778 h 479077"/>
                <a:gd name="connsiteX217" fmla="*/ 427194 w 3785642"/>
                <a:gd name="connsiteY217" fmla="*/ 474282 h 479077"/>
                <a:gd name="connsiteX218" fmla="*/ 410823 w 3785642"/>
                <a:gd name="connsiteY218" fmla="*/ 473290 h 479077"/>
                <a:gd name="connsiteX219" fmla="*/ 394453 w 3785642"/>
                <a:gd name="connsiteY219" fmla="*/ 475770 h 479077"/>
                <a:gd name="connsiteX220" fmla="*/ 378082 w 3785642"/>
                <a:gd name="connsiteY220" fmla="*/ 475274 h 479077"/>
                <a:gd name="connsiteX221" fmla="*/ 361712 w 3785642"/>
                <a:gd name="connsiteY221" fmla="*/ 474778 h 479077"/>
                <a:gd name="connsiteX222" fmla="*/ 345341 w 3785642"/>
                <a:gd name="connsiteY222" fmla="*/ 476266 h 479077"/>
                <a:gd name="connsiteX223" fmla="*/ 328970 w 3785642"/>
                <a:gd name="connsiteY223" fmla="*/ 474282 h 479077"/>
                <a:gd name="connsiteX224" fmla="*/ 312600 w 3785642"/>
                <a:gd name="connsiteY224" fmla="*/ 475274 h 479077"/>
                <a:gd name="connsiteX225" fmla="*/ 296229 w 3785642"/>
                <a:gd name="connsiteY225" fmla="*/ 474282 h 479077"/>
                <a:gd name="connsiteX226" fmla="*/ 279859 w 3785642"/>
                <a:gd name="connsiteY226" fmla="*/ 475770 h 479077"/>
                <a:gd name="connsiteX227" fmla="*/ 263488 w 3785642"/>
                <a:gd name="connsiteY227" fmla="*/ 476266 h 479077"/>
                <a:gd name="connsiteX228" fmla="*/ 247118 w 3785642"/>
                <a:gd name="connsiteY228" fmla="*/ 476266 h 479077"/>
                <a:gd name="connsiteX229" fmla="*/ 230747 w 3785642"/>
                <a:gd name="connsiteY229" fmla="*/ 474778 h 479077"/>
                <a:gd name="connsiteX230" fmla="*/ 214376 w 3785642"/>
                <a:gd name="connsiteY230" fmla="*/ 474778 h 479077"/>
                <a:gd name="connsiteX231" fmla="*/ 198006 w 3785642"/>
                <a:gd name="connsiteY231" fmla="*/ 476762 h 479077"/>
                <a:gd name="connsiteX232" fmla="*/ 181635 w 3785642"/>
                <a:gd name="connsiteY232" fmla="*/ 476266 h 479077"/>
                <a:gd name="connsiteX233" fmla="*/ 165265 w 3785642"/>
                <a:gd name="connsiteY233" fmla="*/ 474778 h 479077"/>
                <a:gd name="connsiteX234" fmla="*/ 148894 w 3785642"/>
                <a:gd name="connsiteY234" fmla="*/ 476762 h 479077"/>
                <a:gd name="connsiteX235" fmla="*/ 132524 w 3785642"/>
                <a:gd name="connsiteY235" fmla="*/ 476266 h 479077"/>
                <a:gd name="connsiteX236" fmla="*/ 116153 w 3785642"/>
                <a:gd name="connsiteY236" fmla="*/ 475274 h 479077"/>
                <a:gd name="connsiteX237" fmla="*/ 99783 w 3785642"/>
                <a:gd name="connsiteY237" fmla="*/ 475274 h 479077"/>
                <a:gd name="connsiteX238" fmla="*/ 83412 w 3785642"/>
                <a:gd name="connsiteY238" fmla="*/ 475274 h 479077"/>
                <a:gd name="connsiteX239" fmla="*/ 67041 w 3785642"/>
                <a:gd name="connsiteY239" fmla="*/ 474778 h 479077"/>
                <a:gd name="connsiteX240" fmla="*/ 50671 w 3785642"/>
                <a:gd name="connsiteY240" fmla="*/ 475274 h 479077"/>
                <a:gd name="connsiteX241" fmla="*/ 34300 w 3785642"/>
                <a:gd name="connsiteY241" fmla="*/ 475274 h 479077"/>
                <a:gd name="connsiteX242" fmla="*/ 17930 w 3785642"/>
                <a:gd name="connsiteY242" fmla="*/ 475770 h 479077"/>
                <a:gd name="connsiteX243" fmla="*/ 567 w 3785642"/>
                <a:gd name="connsiteY243" fmla="*/ 475770 h 479077"/>
                <a:gd name="connsiteX244" fmla="*/ 12969 w 3785642"/>
                <a:gd name="connsiteY244" fmla="*/ 463368 h 479077"/>
                <a:gd name="connsiteX245" fmla="*/ 24379 w 3785642"/>
                <a:gd name="connsiteY245" fmla="*/ 451958 h 479077"/>
                <a:gd name="connsiteX246" fmla="*/ 35788 w 3785642"/>
                <a:gd name="connsiteY246" fmla="*/ 440053 h 479077"/>
                <a:gd name="connsiteX247" fmla="*/ 48686 w 3785642"/>
                <a:gd name="connsiteY247" fmla="*/ 430131 h 479077"/>
                <a:gd name="connsiteX248" fmla="*/ 59600 w 3785642"/>
                <a:gd name="connsiteY248" fmla="*/ 418225 h 479077"/>
                <a:gd name="connsiteX249" fmla="*/ 70514 w 3785642"/>
                <a:gd name="connsiteY249" fmla="*/ 405823 h 479077"/>
                <a:gd name="connsiteX250" fmla="*/ 83412 w 3785642"/>
                <a:gd name="connsiteY250" fmla="*/ 395406 h 479077"/>
                <a:gd name="connsiteX251" fmla="*/ 94822 w 3785642"/>
                <a:gd name="connsiteY251" fmla="*/ 383500 h 479077"/>
                <a:gd name="connsiteX252" fmla="*/ 106728 w 3785642"/>
                <a:gd name="connsiteY252" fmla="*/ 372090 h 479077"/>
                <a:gd name="connsiteX253" fmla="*/ 117145 w 3785642"/>
                <a:gd name="connsiteY253" fmla="*/ 359688 h 479077"/>
                <a:gd name="connsiteX254" fmla="*/ 128555 w 3785642"/>
                <a:gd name="connsiteY254" fmla="*/ 348278 h 479077"/>
                <a:gd name="connsiteX255" fmla="*/ 140461 w 3785642"/>
                <a:gd name="connsiteY255" fmla="*/ 336868 h 479077"/>
                <a:gd name="connsiteX256" fmla="*/ 152863 w 3785642"/>
                <a:gd name="connsiteY256" fmla="*/ 326451 h 479077"/>
                <a:gd name="connsiteX257" fmla="*/ 164769 w 3785642"/>
                <a:gd name="connsiteY257" fmla="*/ 315041 h 479077"/>
                <a:gd name="connsiteX258" fmla="*/ 176178 w 3785642"/>
                <a:gd name="connsiteY258" fmla="*/ 303135 h 479077"/>
                <a:gd name="connsiteX259" fmla="*/ 188084 w 3785642"/>
                <a:gd name="connsiteY259" fmla="*/ 291725 h 479077"/>
                <a:gd name="connsiteX260" fmla="*/ 199494 w 3785642"/>
                <a:gd name="connsiteY260" fmla="*/ 280315 h 479077"/>
                <a:gd name="connsiteX261" fmla="*/ 210904 w 3785642"/>
                <a:gd name="connsiteY261" fmla="*/ 268906 h 479077"/>
                <a:gd name="connsiteX262" fmla="*/ 221818 w 3785642"/>
                <a:gd name="connsiteY262" fmla="*/ 256504 h 479077"/>
                <a:gd name="connsiteX263" fmla="*/ 233724 w 3785642"/>
                <a:gd name="connsiteY263" fmla="*/ 245094 h 479077"/>
                <a:gd name="connsiteX264" fmla="*/ 244141 w 3785642"/>
                <a:gd name="connsiteY264" fmla="*/ 232692 h 479077"/>
                <a:gd name="connsiteX265" fmla="*/ 257039 w 3785642"/>
                <a:gd name="connsiteY265" fmla="*/ 222770 h 479077"/>
                <a:gd name="connsiteX266" fmla="*/ 266961 w 3785642"/>
                <a:gd name="connsiteY266" fmla="*/ 209376 h 479077"/>
                <a:gd name="connsiteX267" fmla="*/ 278371 w 3785642"/>
                <a:gd name="connsiteY267" fmla="*/ 197966 h 479077"/>
                <a:gd name="connsiteX268" fmla="*/ 291269 w 3785642"/>
                <a:gd name="connsiteY268" fmla="*/ 188045 h 479077"/>
                <a:gd name="connsiteX269" fmla="*/ 301686 w 3785642"/>
                <a:gd name="connsiteY269" fmla="*/ 175147 h 479077"/>
                <a:gd name="connsiteX270" fmla="*/ 313592 w 3785642"/>
                <a:gd name="connsiteY270" fmla="*/ 163737 h 479077"/>
                <a:gd name="connsiteX271" fmla="*/ 325994 w 3785642"/>
                <a:gd name="connsiteY271" fmla="*/ 153319 h 479077"/>
                <a:gd name="connsiteX272" fmla="*/ 337404 w 3785642"/>
                <a:gd name="connsiteY272" fmla="*/ 141910 h 479077"/>
                <a:gd name="connsiteX273" fmla="*/ 347325 w 3785642"/>
                <a:gd name="connsiteY273" fmla="*/ 129012 h 479077"/>
                <a:gd name="connsiteX274" fmla="*/ 360224 w 3785642"/>
                <a:gd name="connsiteY274" fmla="*/ 118594 h 479077"/>
                <a:gd name="connsiteX275" fmla="*/ 371137 w 3785642"/>
                <a:gd name="connsiteY275" fmla="*/ 106192 h 479077"/>
                <a:gd name="connsiteX276" fmla="*/ 382051 w 3785642"/>
                <a:gd name="connsiteY276" fmla="*/ 93790 h 479077"/>
                <a:gd name="connsiteX277" fmla="*/ 393957 w 3785642"/>
                <a:gd name="connsiteY277" fmla="*/ 82380 h 479077"/>
                <a:gd name="connsiteX278" fmla="*/ 405366 w 3785642"/>
                <a:gd name="connsiteY278" fmla="*/ 70475 h 479077"/>
                <a:gd name="connsiteX279" fmla="*/ 417272 w 3785642"/>
                <a:gd name="connsiteY279" fmla="*/ 59561 h 479077"/>
                <a:gd name="connsiteX280" fmla="*/ 429674 w 3785642"/>
                <a:gd name="connsiteY280" fmla="*/ 48647 h 479077"/>
                <a:gd name="connsiteX281" fmla="*/ 440092 w 3785642"/>
                <a:gd name="connsiteY281" fmla="*/ 35749 h 479077"/>
                <a:gd name="connsiteX282" fmla="*/ 452494 w 3785642"/>
                <a:gd name="connsiteY282" fmla="*/ 24835 h 479077"/>
                <a:gd name="connsiteX283" fmla="*/ 463904 w 3785642"/>
                <a:gd name="connsiteY283" fmla="*/ 12929 h 479077"/>
                <a:gd name="connsiteX284" fmla="*/ 475313 w 3785642"/>
                <a:gd name="connsiteY284" fmla="*/ 1024 h 479077"/>
                <a:gd name="connsiteX285" fmla="*/ 491684 w 3785642"/>
                <a:gd name="connsiteY285" fmla="*/ 2512 h 479077"/>
                <a:gd name="connsiteX286" fmla="*/ 508055 w 3785642"/>
                <a:gd name="connsiteY286" fmla="*/ 2512 h 479077"/>
                <a:gd name="connsiteX287" fmla="*/ 524425 w 3785642"/>
                <a:gd name="connsiteY287" fmla="*/ 2512 h 479077"/>
                <a:gd name="connsiteX288" fmla="*/ 540796 w 3785642"/>
                <a:gd name="connsiteY288" fmla="*/ 1024 h 479077"/>
                <a:gd name="connsiteX289" fmla="*/ 557166 w 3785642"/>
                <a:gd name="connsiteY289" fmla="*/ 2512 h 479077"/>
                <a:gd name="connsiteX290" fmla="*/ 573537 w 3785642"/>
                <a:gd name="connsiteY290" fmla="*/ 1024 h 479077"/>
                <a:gd name="connsiteX291" fmla="*/ 589908 w 3785642"/>
                <a:gd name="connsiteY291" fmla="*/ 527 h 479077"/>
                <a:gd name="connsiteX292" fmla="*/ 606278 w 3785642"/>
                <a:gd name="connsiteY292" fmla="*/ 1520 h 479077"/>
                <a:gd name="connsiteX293" fmla="*/ 622649 w 3785642"/>
                <a:gd name="connsiteY293" fmla="*/ 1520 h 479077"/>
                <a:gd name="connsiteX294" fmla="*/ 639019 w 3785642"/>
                <a:gd name="connsiteY294" fmla="*/ 2016 h 479077"/>
                <a:gd name="connsiteX295" fmla="*/ 655390 w 3785642"/>
                <a:gd name="connsiteY295" fmla="*/ 527 h 479077"/>
                <a:gd name="connsiteX296" fmla="*/ 671760 w 3785642"/>
                <a:gd name="connsiteY296" fmla="*/ 1520 h 479077"/>
                <a:gd name="connsiteX297" fmla="*/ 688131 w 3785642"/>
                <a:gd name="connsiteY297" fmla="*/ 2512 h 479077"/>
                <a:gd name="connsiteX298" fmla="*/ 704501 w 3785642"/>
                <a:gd name="connsiteY298" fmla="*/ 1024 h 479077"/>
                <a:gd name="connsiteX299" fmla="*/ 720872 w 3785642"/>
                <a:gd name="connsiteY299" fmla="*/ 1520 h 479077"/>
                <a:gd name="connsiteX300" fmla="*/ 737243 w 3785642"/>
                <a:gd name="connsiteY300" fmla="*/ 2016 h 479077"/>
                <a:gd name="connsiteX301" fmla="*/ 753613 w 3785642"/>
                <a:gd name="connsiteY301" fmla="*/ 1024 h 479077"/>
                <a:gd name="connsiteX302" fmla="*/ 769984 w 3785642"/>
                <a:gd name="connsiteY302" fmla="*/ 527 h 479077"/>
                <a:gd name="connsiteX303" fmla="*/ 786354 w 3785642"/>
                <a:gd name="connsiteY303" fmla="*/ 1520 h 479077"/>
                <a:gd name="connsiteX304" fmla="*/ 802725 w 3785642"/>
                <a:gd name="connsiteY304" fmla="*/ 527 h 479077"/>
                <a:gd name="connsiteX305" fmla="*/ 819096 w 3785642"/>
                <a:gd name="connsiteY305" fmla="*/ 2512 h 479077"/>
                <a:gd name="connsiteX306" fmla="*/ 835466 w 3785642"/>
                <a:gd name="connsiteY306" fmla="*/ 527 h 479077"/>
                <a:gd name="connsiteX307" fmla="*/ 851837 w 3785642"/>
                <a:gd name="connsiteY307" fmla="*/ 1520 h 479077"/>
                <a:gd name="connsiteX308" fmla="*/ 868207 w 3785642"/>
                <a:gd name="connsiteY308" fmla="*/ 2016 h 479077"/>
                <a:gd name="connsiteX309" fmla="*/ 884578 w 3785642"/>
                <a:gd name="connsiteY309" fmla="*/ 2512 h 479077"/>
                <a:gd name="connsiteX310" fmla="*/ 900948 w 3785642"/>
                <a:gd name="connsiteY310" fmla="*/ 1520 h 479077"/>
                <a:gd name="connsiteX311" fmla="*/ 917319 w 3785642"/>
                <a:gd name="connsiteY311" fmla="*/ 1024 h 479077"/>
                <a:gd name="connsiteX312" fmla="*/ 933689 w 3785642"/>
                <a:gd name="connsiteY312" fmla="*/ 2512 h 479077"/>
                <a:gd name="connsiteX313" fmla="*/ 950060 w 3785642"/>
                <a:gd name="connsiteY313" fmla="*/ 1520 h 479077"/>
                <a:gd name="connsiteX314" fmla="*/ 966431 w 3785642"/>
                <a:gd name="connsiteY314" fmla="*/ 2016 h 479077"/>
                <a:gd name="connsiteX315" fmla="*/ 982801 w 3785642"/>
                <a:gd name="connsiteY315" fmla="*/ 2512 h 479077"/>
                <a:gd name="connsiteX316" fmla="*/ 999172 w 3785642"/>
                <a:gd name="connsiteY316" fmla="*/ 1520 h 479077"/>
                <a:gd name="connsiteX317" fmla="*/ 1015542 w 3785642"/>
                <a:gd name="connsiteY317" fmla="*/ 2512 h 479077"/>
                <a:gd name="connsiteX318" fmla="*/ 1031913 w 3785642"/>
                <a:gd name="connsiteY318" fmla="*/ 1520 h 479077"/>
                <a:gd name="connsiteX319" fmla="*/ 1048283 w 3785642"/>
                <a:gd name="connsiteY319" fmla="*/ 2016 h 479077"/>
                <a:gd name="connsiteX320" fmla="*/ 1064654 w 3785642"/>
                <a:gd name="connsiteY320" fmla="*/ 3504 h 479077"/>
                <a:gd name="connsiteX321" fmla="*/ 1081025 w 3785642"/>
                <a:gd name="connsiteY321" fmla="*/ 2016 h 479077"/>
                <a:gd name="connsiteX322" fmla="*/ 1097395 w 3785642"/>
                <a:gd name="connsiteY322" fmla="*/ 2512 h 479077"/>
                <a:gd name="connsiteX323" fmla="*/ 1113766 w 3785642"/>
                <a:gd name="connsiteY323" fmla="*/ 2512 h 479077"/>
                <a:gd name="connsiteX324" fmla="*/ 1130136 w 3785642"/>
                <a:gd name="connsiteY324" fmla="*/ 3504 h 479077"/>
                <a:gd name="connsiteX325" fmla="*/ 1146507 w 3785642"/>
                <a:gd name="connsiteY325" fmla="*/ 1520 h 479077"/>
                <a:gd name="connsiteX326" fmla="*/ 1162878 w 3785642"/>
                <a:gd name="connsiteY326" fmla="*/ 3008 h 479077"/>
                <a:gd name="connsiteX327" fmla="*/ 1179248 w 3785642"/>
                <a:gd name="connsiteY327" fmla="*/ 4000 h 479077"/>
                <a:gd name="connsiteX328" fmla="*/ 1195619 w 3785642"/>
                <a:gd name="connsiteY328" fmla="*/ 3504 h 479077"/>
                <a:gd name="connsiteX329" fmla="*/ 1211989 w 3785642"/>
                <a:gd name="connsiteY329" fmla="*/ 1520 h 479077"/>
                <a:gd name="connsiteX330" fmla="*/ 1228360 w 3785642"/>
                <a:gd name="connsiteY330" fmla="*/ 3504 h 479077"/>
                <a:gd name="connsiteX331" fmla="*/ 1244730 w 3785642"/>
                <a:gd name="connsiteY331" fmla="*/ 1520 h 479077"/>
                <a:gd name="connsiteX332" fmla="*/ 1261101 w 3785642"/>
                <a:gd name="connsiteY332" fmla="*/ 2512 h 479077"/>
                <a:gd name="connsiteX333" fmla="*/ 1277471 w 3785642"/>
                <a:gd name="connsiteY333" fmla="*/ 3504 h 479077"/>
                <a:gd name="connsiteX334" fmla="*/ 1293842 w 3785642"/>
                <a:gd name="connsiteY334" fmla="*/ 4000 h 479077"/>
                <a:gd name="connsiteX335" fmla="*/ 1310213 w 3785642"/>
                <a:gd name="connsiteY335" fmla="*/ 1520 h 479077"/>
                <a:gd name="connsiteX336" fmla="*/ 1326583 w 3785642"/>
                <a:gd name="connsiteY336" fmla="*/ 2016 h 479077"/>
                <a:gd name="connsiteX337" fmla="*/ 1342954 w 3785642"/>
                <a:gd name="connsiteY337" fmla="*/ 3008 h 479077"/>
                <a:gd name="connsiteX338" fmla="*/ 1359324 w 3785642"/>
                <a:gd name="connsiteY338" fmla="*/ 3008 h 479077"/>
                <a:gd name="connsiteX339" fmla="*/ 1375695 w 3785642"/>
                <a:gd name="connsiteY339" fmla="*/ 2512 h 479077"/>
                <a:gd name="connsiteX340" fmla="*/ 1392066 w 3785642"/>
                <a:gd name="connsiteY340" fmla="*/ 2512 h 479077"/>
                <a:gd name="connsiteX341" fmla="*/ 1408436 w 3785642"/>
                <a:gd name="connsiteY341" fmla="*/ 3504 h 479077"/>
                <a:gd name="connsiteX342" fmla="*/ 1424807 w 3785642"/>
                <a:gd name="connsiteY342" fmla="*/ 3504 h 479077"/>
                <a:gd name="connsiteX343" fmla="*/ 1441177 w 3785642"/>
                <a:gd name="connsiteY343" fmla="*/ 1520 h 479077"/>
                <a:gd name="connsiteX344" fmla="*/ 1457548 w 3785642"/>
                <a:gd name="connsiteY344" fmla="*/ 2512 h 479077"/>
                <a:gd name="connsiteX345" fmla="*/ 1473919 w 3785642"/>
                <a:gd name="connsiteY345" fmla="*/ 2016 h 479077"/>
                <a:gd name="connsiteX346" fmla="*/ 1490289 w 3785642"/>
                <a:gd name="connsiteY346" fmla="*/ 2016 h 479077"/>
                <a:gd name="connsiteX347" fmla="*/ 1506660 w 3785642"/>
                <a:gd name="connsiteY347" fmla="*/ 1520 h 479077"/>
                <a:gd name="connsiteX348" fmla="*/ 1523030 w 3785642"/>
                <a:gd name="connsiteY348" fmla="*/ 3504 h 479077"/>
                <a:gd name="connsiteX349" fmla="*/ 1539401 w 3785642"/>
                <a:gd name="connsiteY349" fmla="*/ 3008 h 479077"/>
                <a:gd name="connsiteX350" fmla="*/ 1555771 w 3785642"/>
                <a:gd name="connsiteY350" fmla="*/ 3008 h 479077"/>
                <a:gd name="connsiteX351" fmla="*/ 1572142 w 3785642"/>
                <a:gd name="connsiteY351" fmla="*/ 2512 h 479077"/>
                <a:gd name="connsiteX352" fmla="*/ 1588512 w 3785642"/>
                <a:gd name="connsiteY352" fmla="*/ 2016 h 479077"/>
                <a:gd name="connsiteX353" fmla="*/ 1604883 w 3785642"/>
                <a:gd name="connsiteY353" fmla="*/ 3008 h 479077"/>
                <a:gd name="connsiteX354" fmla="*/ 1621253 w 3785642"/>
                <a:gd name="connsiteY354" fmla="*/ 3008 h 479077"/>
                <a:gd name="connsiteX355" fmla="*/ 1637624 w 3785642"/>
                <a:gd name="connsiteY35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498908 w 3785642"/>
                <a:gd name="connsiteY23" fmla="*/ 171674 h 479077"/>
                <a:gd name="connsiteX24" fmla="*/ 3405646 w 3785642"/>
                <a:gd name="connsiteY24" fmla="*/ 79404 h 479077"/>
                <a:gd name="connsiteX25" fmla="*/ 3393740 w 3785642"/>
                <a:gd name="connsiteY25" fmla="*/ 68490 h 479077"/>
                <a:gd name="connsiteX26" fmla="*/ 3382330 w 3785642"/>
                <a:gd name="connsiteY26" fmla="*/ 56584 h 479077"/>
                <a:gd name="connsiteX27" fmla="*/ 3370921 w 3785642"/>
                <a:gd name="connsiteY27" fmla="*/ 44678 h 479077"/>
                <a:gd name="connsiteX28" fmla="*/ 3313375 w 3785642"/>
                <a:gd name="connsiteY28" fmla="*/ 10945 h 479077"/>
                <a:gd name="connsiteX29" fmla="*/ 3300973 w 3785642"/>
                <a:gd name="connsiteY29" fmla="*/ 21363 h 479077"/>
                <a:gd name="connsiteX30" fmla="*/ 3289068 w 3785642"/>
                <a:gd name="connsiteY30" fmla="*/ 32276 h 479077"/>
                <a:gd name="connsiteX31" fmla="*/ 3277658 w 3785642"/>
                <a:gd name="connsiteY31" fmla="*/ 43686 h 479077"/>
                <a:gd name="connsiteX32" fmla="*/ 3266248 w 3785642"/>
                <a:gd name="connsiteY32" fmla="*/ 55592 h 479077"/>
                <a:gd name="connsiteX33" fmla="*/ 3255830 w 3785642"/>
                <a:gd name="connsiteY33" fmla="*/ 68490 h 479077"/>
                <a:gd name="connsiteX34" fmla="*/ 3243924 w 3785642"/>
                <a:gd name="connsiteY34" fmla="*/ 79900 h 479077"/>
                <a:gd name="connsiteX35" fmla="*/ 3231522 w 3785642"/>
                <a:gd name="connsiteY35" fmla="*/ 90814 h 479077"/>
                <a:gd name="connsiteX36" fmla="*/ 3220609 w 3785642"/>
                <a:gd name="connsiteY36" fmla="*/ 102720 h 479077"/>
                <a:gd name="connsiteX37" fmla="*/ 3208207 w 3785642"/>
                <a:gd name="connsiteY37" fmla="*/ 113137 h 479077"/>
                <a:gd name="connsiteX38" fmla="*/ 3197293 w 3785642"/>
                <a:gd name="connsiteY38" fmla="*/ 125043 h 479077"/>
                <a:gd name="connsiteX39" fmla="*/ 3185387 w 3785642"/>
                <a:gd name="connsiteY39" fmla="*/ 136453 h 479077"/>
                <a:gd name="connsiteX40" fmla="*/ 3174970 w 3785642"/>
                <a:gd name="connsiteY40" fmla="*/ 148855 h 479077"/>
                <a:gd name="connsiteX41" fmla="*/ 3162071 w 3785642"/>
                <a:gd name="connsiteY41" fmla="*/ 159272 h 479077"/>
                <a:gd name="connsiteX42" fmla="*/ 3151158 w 3785642"/>
                <a:gd name="connsiteY42" fmla="*/ 171674 h 479077"/>
                <a:gd name="connsiteX43" fmla="*/ 3139252 w 3785642"/>
                <a:gd name="connsiteY43" fmla="*/ 182588 h 479077"/>
                <a:gd name="connsiteX44" fmla="*/ 3127843 w 3785642"/>
                <a:gd name="connsiteY44" fmla="*/ 194494 h 479077"/>
                <a:gd name="connsiteX45" fmla="*/ 3116432 w 3785642"/>
                <a:gd name="connsiteY45" fmla="*/ 205904 h 479077"/>
                <a:gd name="connsiteX46" fmla="*/ 3105022 w 3785642"/>
                <a:gd name="connsiteY46" fmla="*/ 217810 h 479077"/>
                <a:gd name="connsiteX47" fmla="*/ 3093117 w 3785642"/>
                <a:gd name="connsiteY47" fmla="*/ 229219 h 479077"/>
                <a:gd name="connsiteX48" fmla="*/ 3081707 w 3785642"/>
                <a:gd name="connsiteY48" fmla="*/ 240629 h 479077"/>
                <a:gd name="connsiteX49" fmla="*/ 3069305 w 3785642"/>
                <a:gd name="connsiteY49" fmla="*/ 251543 h 479077"/>
                <a:gd name="connsiteX50" fmla="*/ 3057895 w 3785642"/>
                <a:gd name="connsiteY50" fmla="*/ 263449 h 479077"/>
                <a:gd name="connsiteX51" fmla="*/ 3046486 w 3785642"/>
                <a:gd name="connsiteY51" fmla="*/ 275355 h 479077"/>
                <a:gd name="connsiteX52" fmla="*/ 3035572 w 3785642"/>
                <a:gd name="connsiteY52" fmla="*/ 287260 h 479077"/>
                <a:gd name="connsiteX53" fmla="*/ 3024658 w 3785642"/>
                <a:gd name="connsiteY53" fmla="*/ 299166 h 479077"/>
                <a:gd name="connsiteX54" fmla="*/ 3013248 w 3785642"/>
                <a:gd name="connsiteY54" fmla="*/ 311072 h 479077"/>
                <a:gd name="connsiteX55" fmla="*/ 3000350 w 3785642"/>
                <a:gd name="connsiteY55" fmla="*/ 321490 h 479077"/>
                <a:gd name="connsiteX56" fmla="*/ 2988941 w 3785642"/>
                <a:gd name="connsiteY56" fmla="*/ 333396 h 479077"/>
                <a:gd name="connsiteX57" fmla="*/ 2976539 w 3785642"/>
                <a:gd name="connsiteY57" fmla="*/ 344309 h 479077"/>
                <a:gd name="connsiteX58" fmla="*/ 2965129 w 3785642"/>
                <a:gd name="connsiteY58" fmla="*/ 356215 h 479077"/>
                <a:gd name="connsiteX59" fmla="*/ 2953223 w 3785642"/>
                <a:gd name="connsiteY59" fmla="*/ 367625 h 479077"/>
                <a:gd name="connsiteX60" fmla="*/ 2941813 w 3785642"/>
                <a:gd name="connsiteY60" fmla="*/ 379531 h 479077"/>
                <a:gd name="connsiteX61" fmla="*/ 2931395 w 3785642"/>
                <a:gd name="connsiteY61" fmla="*/ 392429 h 479077"/>
                <a:gd name="connsiteX62" fmla="*/ 2918497 w 3785642"/>
                <a:gd name="connsiteY62" fmla="*/ 402847 h 479077"/>
                <a:gd name="connsiteX63" fmla="*/ 2907584 w 3785642"/>
                <a:gd name="connsiteY63" fmla="*/ 415249 h 479077"/>
                <a:gd name="connsiteX64" fmla="*/ 2896174 w 3785642"/>
                <a:gd name="connsiteY64" fmla="*/ 426658 h 479077"/>
                <a:gd name="connsiteX65" fmla="*/ 2884268 w 3785642"/>
                <a:gd name="connsiteY65" fmla="*/ 438068 h 479077"/>
                <a:gd name="connsiteX66" fmla="*/ 2873354 w 3785642"/>
                <a:gd name="connsiteY66" fmla="*/ 450470 h 479077"/>
                <a:gd name="connsiteX67" fmla="*/ 2860952 w 3785642"/>
                <a:gd name="connsiteY67" fmla="*/ 461384 h 479077"/>
                <a:gd name="connsiteX68" fmla="*/ 2850039 w 3785642"/>
                <a:gd name="connsiteY68" fmla="*/ 473786 h 479077"/>
                <a:gd name="connsiteX69" fmla="*/ 2833668 w 3785642"/>
                <a:gd name="connsiteY69" fmla="*/ 473786 h 479077"/>
                <a:gd name="connsiteX70" fmla="*/ 2817297 w 3785642"/>
                <a:gd name="connsiteY70" fmla="*/ 473290 h 479077"/>
                <a:gd name="connsiteX71" fmla="*/ 2800927 w 3785642"/>
                <a:gd name="connsiteY71" fmla="*/ 473290 h 479077"/>
                <a:gd name="connsiteX72" fmla="*/ 2784556 w 3785642"/>
                <a:gd name="connsiteY72" fmla="*/ 473786 h 479077"/>
                <a:gd name="connsiteX73" fmla="*/ 2768186 w 3785642"/>
                <a:gd name="connsiteY73" fmla="*/ 474282 h 479077"/>
                <a:gd name="connsiteX74" fmla="*/ 2751815 w 3785642"/>
                <a:gd name="connsiteY74" fmla="*/ 474282 h 479077"/>
                <a:gd name="connsiteX75" fmla="*/ 2735444 w 3785642"/>
                <a:gd name="connsiteY75" fmla="*/ 473290 h 479077"/>
                <a:gd name="connsiteX76" fmla="*/ 2719074 w 3785642"/>
                <a:gd name="connsiteY76" fmla="*/ 474282 h 479077"/>
                <a:gd name="connsiteX77" fmla="*/ 2702703 w 3785642"/>
                <a:gd name="connsiteY77" fmla="*/ 472298 h 479077"/>
                <a:gd name="connsiteX78" fmla="*/ 2686333 w 3785642"/>
                <a:gd name="connsiteY78" fmla="*/ 472794 h 479077"/>
                <a:gd name="connsiteX79" fmla="*/ 2669962 w 3785642"/>
                <a:gd name="connsiteY79" fmla="*/ 474282 h 479077"/>
                <a:gd name="connsiteX80" fmla="*/ 2653592 w 3785642"/>
                <a:gd name="connsiteY80" fmla="*/ 472298 h 479077"/>
                <a:gd name="connsiteX81" fmla="*/ 2637221 w 3785642"/>
                <a:gd name="connsiteY81" fmla="*/ 474282 h 479077"/>
                <a:gd name="connsiteX82" fmla="*/ 2620851 w 3785642"/>
                <a:gd name="connsiteY82" fmla="*/ 474282 h 479077"/>
                <a:gd name="connsiteX83" fmla="*/ 2604480 w 3785642"/>
                <a:gd name="connsiteY83" fmla="*/ 472298 h 479077"/>
                <a:gd name="connsiteX84" fmla="*/ 2588109 w 3785642"/>
                <a:gd name="connsiteY84" fmla="*/ 473786 h 479077"/>
                <a:gd name="connsiteX85" fmla="*/ 2571739 w 3785642"/>
                <a:gd name="connsiteY85" fmla="*/ 472298 h 479077"/>
                <a:gd name="connsiteX86" fmla="*/ 2555368 w 3785642"/>
                <a:gd name="connsiteY86" fmla="*/ 473290 h 479077"/>
                <a:gd name="connsiteX87" fmla="*/ 2538998 w 3785642"/>
                <a:gd name="connsiteY87" fmla="*/ 474282 h 479077"/>
                <a:gd name="connsiteX88" fmla="*/ 2522627 w 3785642"/>
                <a:gd name="connsiteY88" fmla="*/ 473290 h 479077"/>
                <a:gd name="connsiteX89" fmla="*/ 2506257 w 3785642"/>
                <a:gd name="connsiteY89" fmla="*/ 474282 h 479077"/>
                <a:gd name="connsiteX90" fmla="*/ 2489886 w 3785642"/>
                <a:gd name="connsiteY90" fmla="*/ 473786 h 479077"/>
                <a:gd name="connsiteX91" fmla="*/ 2473516 w 3785642"/>
                <a:gd name="connsiteY91" fmla="*/ 474282 h 479077"/>
                <a:gd name="connsiteX92" fmla="*/ 2457145 w 3785642"/>
                <a:gd name="connsiteY92" fmla="*/ 472794 h 479077"/>
                <a:gd name="connsiteX93" fmla="*/ 2440775 w 3785642"/>
                <a:gd name="connsiteY93" fmla="*/ 472298 h 479077"/>
                <a:gd name="connsiteX94" fmla="*/ 2424404 w 3785642"/>
                <a:gd name="connsiteY94" fmla="*/ 473786 h 479077"/>
                <a:gd name="connsiteX95" fmla="*/ 2408033 w 3785642"/>
                <a:gd name="connsiteY95" fmla="*/ 472794 h 479077"/>
                <a:gd name="connsiteX96" fmla="*/ 2391663 w 3785642"/>
                <a:gd name="connsiteY96" fmla="*/ 473290 h 479077"/>
                <a:gd name="connsiteX97" fmla="*/ 2375292 w 3785642"/>
                <a:gd name="connsiteY97" fmla="*/ 473290 h 479077"/>
                <a:gd name="connsiteX98" fmla="*/ 2358922 w 3785642"/>
                <a:gd name="connsiteY98" fmla="*/ 472794 h 479077"/>
                <a:gd name="connsiteX99" fmla="*/ 2342551 w 3785642"/>
                <a:gd name="connsiteY99" fmla="*/ 472298 h 479077"/>
                <a:gd name="connsiteX100" fmla="*/ 2326180 w 3785642"/>
                <a:gd name="connsiteY100" fmla="*/ 473786 h 479077"/>
                <a:gd name="connsiteX101" fmla="*/ 2309810 w 3785642"/>
                <a:gd name="connsiteY101" fmla="*/ 473786 h 479077"/>
                <a:gd name="connsiteX102" fmla="*/ 2293439 w 3785642"/>
                <a:gd name="connsiteY102" fmla="*/ 473786 h 479077"/>
                <a:gd name="connsiteX103" fmla="*/ 2277069 w 3785642"/>
                <a:gd name="connsiteY103" fmla="*/ 472794 h 479077"/>
                <a:gd name="connsiteX104" fmla="*/ 2260698 w 3785642"/>
                <a:gd name="connsiteY104" fmla="*/ 474282 h 479077"/>
                <a:gd name="connsiteX105" fmla="*/ 2244327 w 3785642"/>
                <a:gd name="connsiteY105" fmla="*/ 472298 h 479077"/>
                <a:gd name="connsiteX106" fmla="*/ 2227957 w 3785642"/>
                <a:gd name="connsiteY106" fmla="*/ 474282 h 479077"/>
                <a:gd name="connsiteX107" fmla="*/ 2211586 w 3785642"/>
                <a:gd name="connsiteY107" fmla="*/ 473290 h 479077"/>
                <a:gd name="connsiteX108" fmla="*/ 2195216 w 3785642"/>
                <a:gd name="connsiteY108" fmla="*/ 474282 h 479077"/>
                <a:gd name="connsiteX109" fmla="*/ 2178845 w 3785642"/>
                <a:gd name="connsiteY109" fmla="*/ 472794 h 479077"/>
                <a:gd name="connsiteX110" fmla="*/ 2162474 w 3785642"/>
                <a:gd name="connsiteY110" fmla="*/ 474778 h 479077"/>
                <a:gd name="connsiteX111" fmla="*/ 2146104 w 3785642"/>
                <a:gd name="connsiteY111" fmla="*/ 473290 h 479077"/>
                <a:gd name="connsiteX112" fmla="*/ 2129733 w 3785642"/>
                <a:gd name="connsiteY112" fmla="*/ 474778 h 479077"/>
                <a:gd name="connsiteX113" fmla="*/ 2113363 w 3785642"/>
                <a:gd name="connsiteY113" fmla="*/ 474778 h 479077"/>
                <a:gd name="connsiteX114" fmla="*/ 2096992 w 3785642"/>
                <a:gd name="connsiteY114" fmla="*/ 474778 h 479077"/>
                <a:gd name="connsiteX115" fmla="*/ 2080621 w 3785642"/>
                <a:gd name="connsiteY115" fmla="*/ 474282 h 479077"/>
                <a:gd name="connsiteX116" fmla="*/ 2064251 w 3785642"/>
                <a:gd name="connsiteY116" fmla="*/ 472794 h 479077"/>
                <a:gd name="connsiteX117" fmla="*/ 2047880 w 3785642"/>
                <a:gd name="connsiteY117" fmla="*/ 474778 h 479077"/>
                <a:gd name="connsiteX118" fmla="*/ 2031510 w 3785642"/>
                <a:gd name="connsiteY118" fmla="*/ 474778 h 479077"/>
                <a:gd name="connsiteX119" fmla="*/ 2015139 w 3785642"/>
                <a:gd name="connsiteY119" fmla="*/ 474778 h 479077"/>
                <a:gd name="connsiteX120" fmla="*/ 1998769 w 3785642"/>
                <a:gd name="connsiteY120" fmla="*/ 474282 h 479077"/>
                <a:gd name="connsiteX121" fmla="*/ 1982398 w 3785642"/>
                <a:gd name="connsiteY121" fmla="*/ 473786 h 479077"/>
                <a:gd name="connsiteX122" fmla="*/ 1966028 w 3785642"/>
                <a:gd name="connsiteY122" fmla="*/ 473786 h 479077"/>
                <a:gd name="connsiteX123" fmla="*/ 1949657 w 3785642"/>
                <a:gd name="connsiteY123" fmla="*/ 472794 h 479077"/>
                <a:gd name="connsiteX124" fmla="*/ 1933287 w 3785642"/>
                <a:gd name="connsiteY124" fmla="*/ 473290 h 479077"/>
                <a:gd name="connsiteX125" fmla="*/ 1916916 w 3785642"/>
                <a:gd name="connsiteY125" fmla="*/ 474778 h 479077"/>
                <a:gd name="connsiteX126" fmla="*/ 1900546 w 3785642"/>
                <a:gd name="connsiteY126" fmla="*/ 472794 h 479077"/>
                <a:gd name="connsiteX127" fmla="*/ 1884175 w 3785642"/>
                <a:gd name="connsiteY127" fmla="*/ 473786 h 479077"/>
                <a:gd name="connsiteX128" fmla="*/ 1867804 w 3785642"/>
                <a:gd name="connsiteY128" fmla="*/ 474778 h 479077"/>
                <a:gd name="connsiteX129" fmla="*/ 1851434 w 3785642"/>
                <a:gd name="connsiteY129" fmla="*/ 474778 h 479077"/>
                <a:gd name="connsiteX130" fmla="*/ 1835063 w 3785642"/>
                <a:gd name="connsiteY130" fmla="*/ 474778 h 479077"/>
                <a:gd name="connsiteX131" fmla="*/ 1818693 w 3785642"/>
                <a:gd name="connsiteY131" fmla="*/ 474282 h 479077"/>
                <a:gd name="connsiteX132" fmla="*/ 1802322 w 3785642"/>
                <a:gd name="connsiteY132" fmla="*/ 472794 h 479077"/>
                <a:gd name="connsiteX133" fmla="*/ 1785951 w 3785642"/>
                <a:gd name="connsiteY133" fmla="*/ 473786 h 479077"/>
                <a:gd name="connsiteX134" fmla="*/ 1769581 w 3785642"/>
                <a:gd name="connsiteY134" fmla="*/ 473290 h 479077"/>
                <a:gd name="connsiteX135" fmla="*/ 1753210 w 3785642"/>
                <a:gd name="connsiteY135" fmla="*/ 472298 h 479077"/>
                <a:gd name="connsiteX136" fmla="*/ 1736840 w 3785642"/>
                <a:gd name="connsiteY136" fmla="*/ 473290 h 479077"/>
                <a:gd name="connsiteX137" fmla="*/ 1720469 w 3785642"/>
                <a:gd name="connsiteY137" fmla="*/ 474778 h 479077"/>
                <a:gd name="connsiteX138" fmla="*/ 1704098 w 3785642"/>
                <a:gd name="connsiteY138" fmla="*/ 472794 h 479077"/>
                <a:gd name="connsiteX139" fmla="*/ 1687728 w 3785642"/>
                <a:gd name="connsiteY139" fmla="*/ 474778 h 479077"/>
                <a:gd name="connsiteX140" fmla="*/ 1671357 w 3785642"/>
                <a:gd name="connsiteY140" fmla="*/ 474778 h 479077"/>
                <a:gd name="connsiteX141" fmla="*/ 1654987 w 3785642"/>
                <a:gd name="connsiteY141" fmla="*/ 472298 h 479077"/>
                <a:gd name="connsiteX142" fmla="*/ 1638616 w 3785642"/>
                <a:gd name="connsiteY142" fmla="*/ 472794 h 479077"/>
                <a:gd name="connsiteX143" fmla="*/ 1622246 w 3785642"/>
                <a:gd name="connsiteY143" fmla="*/ 473786 h 479077"/>
                <a:gd name="connsiteX144" fmla="*/ 1605875 w 3785642"/>
                <a:gd name="connsiteY144" fmla="*/ 474778 h 479077"/>
                <a:gd name="connsiteX145" fmla="*/ 1589505 w 3785642"/>
                <a:gd name="connsiteY145" fmla="*/ 473290 h 479077"/>
                <a:gd name="connsiteX146" fmla="*/ 1573134 w 3785642"/>
                <a:gd name="connsiteY146" fmla="*/ 474778 h 479077"/>
                <a:gd name="connsiteX147" fmla="*/ 1556763 w 3785642"/>
                <a:gd name="connsiteY147" fmla="*/ 472794 h 479077"/>
                <a:gd name="connsiteX148" fmla="*/ 1540393 w 3785642"/>
                <a:gd name="connsiteY148" fmla="*/ 472794 h 479077"/>
                <a:gd name="connsiteX149" fmla="*/ 1524022 w 3785642"/>
                <a:gd name="connsiteY149" fmla="*/ 474282 h 479077"/>
                <a:gd name="connsiteX150" fmla="*/ 1507652 w 3785642"/>
                <a:gd name="connsiteY150" fmla="*/ 472794 h 479077"/>
                <a:gd name="connsiteX151" fmla="*/ 1491281 w 3785642"/>
                <a:gd name="connsiteY151" fmla="*/ 474282 h 479077"/>
                <a:gd name="connsiteX152" fmla="*/ 1474910 w 3785642"/>
                <a:gd name="connsiteY152" fmla="*/ 474282 h 479077"/>
                <a:gd name="connsiteX153" fmla="*/ 1458540 w 3785642"/>
                <a:gd name="connsiteY153" fmla="*/ 472794 h 479077"/>
                <a:gd name="connsiteX154" fmla="*/ 1442169 w 3785642"/>
                <a:gd name="connsiteY154" fmla="*/ 471802 h 479077"/>
                <a:gd name="connsiteX155" fmla="*/ 1425799 w 3785642"/>
                <a:gd name="connsiteY155" fmla="*/ 472298 h 479077"/>
                <a:gd name="connsiteX156" fmla="*/ 1409428 w 3785642"/>
                <a:gd name="connsiteY156" fmla="*/ 472794 h 479077"/>
                <a:gd name="connsiteX157" fmla="*/ 1393058 w 3785642"/>
                <a:gd name="connsiteY157" fmla="*/ 473786 h 479077"/>
                <a:gd name="connsiteX158" fmla="*/ 1376687 w 3785642"/>
                <a:gd name="connsiteY158" fmla="*/ 471802 h 479077"/>
                <a:gd name="connsiteX159" fmla="*/ 1360317 w 3785642"/>
                <a:gd name="connsiteY159" fmla="*/ 473786 h 479077"/>
                <a:gd name="connsiteX160" fmla="*/ 1343946 w 3785642"/>
                <a:gd name="connsiteY160" fmla="*/ 473786 h 479077"/>
                <a:gd name="connsiteX161" fmla="*/ 1327576 w 3785642"/>
                <a:gd name="connsiteY161" fmla="*/ 472794 h 479077"/>
                <a:gd name="connsiteX162" fmla="*/ 1311205 w 3785642"/>
                <a:gd name="connsiteY162" fmla="*/ 473786 h 479077"/>
                <a:gd name="connsiteX163" fmla="*/ 1294834 w 3785642"/>
                <a:gd name="connsiteY163" fmla="*/ 473786 h 479077"/>
                <a:gd name="connsiteX164" fmla="*/ 1278464 w 3785642"/>
                <a:gd name="connsiteY164" fmla="*/ 473786 h 479077"/>
                <a:gd name="connsiteX165" fmla="*/ 1262093 w 3785642"/>
                <a:gd name="connsiteY165" fmla="*/ 473786 h 479077"/>
                <a:gd name="connsiteX166" fmla="*/ 1245723 w 3785642"/>
                <a:gd name="connsiteY166" fmla="*/ 473290 h 479077"/>
                <a:gd name="connsiteX167" fmla="*/ 1229352 w 3785642"/>
                <a:gd name="connsiteY167" fmla="*/ 472794 h 479077"/>
                <a:gd name="connsiteX168" fmla="*/ 1212981 w 3785642"/>
                <a:gd name="connsiteY168" fmla="*/ 473786 h 479077"/>
                <a:gd name="connsiteX169" fmla="*/ 1196611 w 3785642"/>
                <a:gd name="connsiteY169" fmla="*/ 472298 h 479077"/>
                <a:gd name="connsiteX170" fmla="*/ 1180240 w 3785642"/>
                <a:gd name="connsiteY170" fmla="*/ 472794 h 479077"/>
                <a:gd name="connsiteX171" fmla="*/ 1163870 w 3785642"/>
                <a:gd name="connsiteY171" fmla="*/ 472794 h 479077"/>
                <a:gd name="connsiteX172" fmla="*/ 1147499 w 3785642"/>
                <a:gd name="connsiteY172" fmla="*/ 473786 h 479077"/>
                <a:gd name="connsiteX173" fmla="*/ 1131128 w 3785642"/>
                <a:gd name="connsiteY173" fmla="*/ 473786 h 479077"/>
                <a:gd name="connsiteX174" fmla="*/ 1114758 w 3785642"/>
                <a:gd name="connsiteY174" fmla="*/ 472794 h 479077"/>
                <a:gd name="connsiteX175" fmla="*/ 1098387 w 3785642"/>
                <a:gd name="connsiteY175" fmla="*/ 473786 h 479077"/>
                <a:gd name="connsiteX176" fmla="*/ 1082017 w 3785642"/>
                <a:gd name="connsiteY176" fmla="*/ 474778 h 479077"/>
                <a:gd name="connsiteX177" fmla="*/ 1065646 w 3785642"/>
                <a:gd name="connsiteY177" fmla="*/ 474778 h 479077"/>
                <a:gd name="connsiteX178" fmla="*/ 1049276 w 3785642"/>
                <a:gd name="connsiteY178" fmla="*/ 474282 h 479077"/>
                <a:gd name="connsiteX179" fmla="*/ 1032905 w 3785642"/>
                <a:gd name="connsiteY179" fmla="*/ 473290 h 479077"/>
                <a:gd name="connsiteX180" fmla="*/ 1016535 w 3785642"/>
                <a:gd name="connsiteY180" fmla="*/ 474282 h 479077"/>
                <a:gd name="connsiteX181" fmla="*/ 1000164 w 3785642"/>
                <a:gd name="connsiteY181" fmla="*/ 474282 h 479077"/>
                <a:gd name="connsiteX182" fmla="*/ 983793 w 3785642"/>
                <a:gd name="connsiteY182" fmla="*/ 472794 h 479077"/>
                <a:gd name="connsiteX183" fmla="*/ 967423 w 3785642"/>
                <a:gd name="connsiteY183" fmla="*/ 472794 h 479077"/>
                <a:gd name="connsiteX184" fmla="*/ 951052 w 3785642"/>
                <a:gd name="connsiteY184" fmla="*/ 473786 h 479077"/>
                <a:gd name="connsiteX185" fmla="*/ 934682 w 3785642"/>
                <a:gd name="connsiteY185" fmla="*/ 474282 h 479077"/>
                <a:gd name="connsiteX186" fmla="*/ 918311 w 3785642"/>
                <a:gd name="connsiteY186" fmla="*/ 474778 h 479077"/>
                <a:gd name="connsiteX187" fmla="*/ 901940 w 3785642"/>
                <a:gd name="connsiteY187" fmla="*/ 473290 h 479077"/>
                <a:gd name="connsiteX188" fmla="*/ 885570 w 3785642"/>
                <a:gd name="connsiteY188" fmla="*/ 474778 h 479077"/>
                <a:gd name="connsiteX189" fmla="*/ 869199 w 3785642"/>
                <a:gd name="connsiteY189" fmla="*/ 474282 h 479077"/>
                <a:gd name="connsiteX190" fmla="*/ 852829 w 3785642"/>
                <a:gd name="connsiteY190" fmla="*/ 473786 h 479077"/>
                <a:gd name="connsiteX191" fmla="*/ 836458 w 3785642"/>
                <a:gd name="connsiteY191" fmla="*/ 474778 h 479077"/>
                <a:gd name="connsiteX192" fmla="*/ 820088 w 3785642"/>
                <a:gd name="connsiteY192" fmla="*/ 475274 h 479077"/>
                <a:gd name="connsiteX193" fmla="*/ 803717 w 3785642"/>
                <a:gd name="connsiteY193" fmla="*/ 473786 h 479077"/>
                <a:gd name="connsiteX194" fmla="*/ 787347 w 3785642"/>
                <a:gd name="connsiteY194" fmla="*/ 475770 h 479077"/>
                <a:gd name="connsiteX195" fmla="*/ 770976 w 3785642"/>
                <a:gd name="connsiteY195" fmla="*/ 474778 h 479077"/>
                <a:gd name="connsiteX196" fmla="*/ 754605 w 3785642"/>
                <a:gd name="connsiteY196" fmla="*/ 475274 h 479077"/>
                <a:gd name="connsiteX197" fmla="*/ 738235 w 3785642"/>
                <a:gd name="connsiteY197" fmla="*/ 473786 h 479077"/>
                <a:gd name="connsiteX198" fmla="*/ 721864 w 3785642"/>
                <a:gd name="connsiteY198" fmla="*/ 475274 h 479077"/>
                <a:gd name="connsiteX199" fmla="*/ 705494 w 3785642"/>
                <a:gd name="connsiteY199" fmla="*/ 475770 h 479077"/>
                <a:gd name="connsiteX200" fmla="*/ 689123 w 3785642"/>
                <a:gd name="connsiteY200" fmla="*/ 474282 h 479077"/>
                <a:gd name="connsiteX201" fmla="*/ 672753 w 3785642"/>
                <a:gd name="connsiteY201" fmla="*/ 475274 h 479077"/>
                <a:gd name="connsiteX202" fmla="*/ 656382 w 3785642"/>
                <a:gd name="connsiteY202" fmla="*/ 474778 h 479077"/>
                <a:gd name="connsiteX203" fmla="*/ 640011 w 3785642"/>
                <a:gd name="connsiteY203" fmla="*/ 475770 h 479077"/>
                <a:gd name="connsiteX204" fmla="*/ 623641 w 3785642"/>
                <a:gd name="connsiteY204" fmla="*/ 473786 h 479077"/>
                <a:gd name="connsiteX205" fmla="*/ 607270 w 3785642"/>
                <a:gd name="connsiteY205" fmla="*/ 474778 h 479077"/>
                <a:gd name="connsiteX206" fmla="*/ 590900 w 3785642"/>
                <a:gd name="connsiteY206" fmla="*/ 475274 h 479077"/>
                <a:gd name="connsiteX207" fmla="*/ 574529 w 3785642"/>
                <a:gd name="connsiteY207" fmla="*/ 474282 h 479077"/>
                <a:gd name="connsiteX208" fmla="*/ 558158 w 3785642"/>
                <a:gd name="connsiteY208" fmla="*/ 475274 h 479077"/>
                <a:gd name="connsiteX209" fmla="*/ 541788 w 3785642"/>
                <a:gd name="connsiteY209" fmla="*/ 475770 h 479077"/>
                <a:gd name="connsiteX210" fmla="*/ 525417 w 3785642"/>
                <a:gd name="connsiteY210" fmla="*/ 474282 h 479077"/>
                <a:gd name="connsiteX211" fmla="*/ 509047 w 3785642"/>
                <a:gd name="connsiteY211" fmla="*/ 473786 h 479077"/>
                <a:gd name="connsiteX212" fmla="*/ 492676 w 3785642"/>
                <a:gd name="connsiteY212" fmla="*/ 473786 h 479077"/>
                <a:gd name="connsiteX213" fmla="*/ 476306 w 3785642"/>
                <a:gd name="connsiteY213" fmla="*/ 474778 h 479077"/>
                <a:gd name="connsiteX214" fmla="*/ 459935 w 3785642"/>
                <a:gd name="connsiteY214" fmla="*/ 473786 h 479077"/>
                <a:gd name="connsiteX215" fmla="*/ 443565 w 3785642"/>
                <a:gd name="connsiteY215" fmla="*/ 474778 h 479077"/>
                <a:gd name="connsiteX216" fmla="*/ 427194 w 3785642"/>
                <a:gd name="connsiteY216" fmla="*/ 474282 h 479077"/>
                <a:gd name="connsiteX217" fmla="*/ 410823 w 3785642"/>
                <a:gd name="connsiteY217" fmla="*/ 473290 h 479077"/>
                <a:gd name="connsiteX218" fmla="*/ 394453 w 3785642"/>
                <a:gd name="connsiteY218" fmla="*/ 475770 h 479077"/>
                <a:gd name="connsiteX219" fmla="*/ 378082 w 3785642"/>
                <a:gd name="connsiteY219" fmla="*/ 475274 h 479077"/>
                <a:gd name="connsiteX220" fmla="*/ 361712 w 3785642"/>
                <a:gd name="connsiteY220" fmla="*/ 474778 h 479077"/>
                <a:gd name="connsiteX221" fmla="*/ 345341 w 3785642"/>
                <a:gd name="connsiteY221" fmla="*/ 476266 h 479077"/>
                <a:gd name="connsiteX222" fmla="*/ 328970 w 3785642"/>
                <a:gd name="connsiteY222" fmla="*/ 474282 h 479077"/>
                <a:gd name="connsiteX223" fmla="*/ 312600 w 3785642"/>
                <a:gd name="connsiteY223" fmla="*/ 475274 h 479077"/>
                <a:gd name="connsiteX224" fmla="*/ 296229 w 3785642"/>
                <a:gd name="connsiteY224" fmla="*/ 474282 h 479077"/>
                <a:gd name="connsiteX225" fmla="*/ 279859 w 3785642"/>
                <a:gd name="connsiteY225" fmla="*/ 475770 h 479077"/>
                <a:gd name="connsiteX226" fmla="*/ 263488 w 3785642"/>
                <a:gd name="connsiteY226" fmla="*/ 476266 h 479077"/>
                <a:gd name="connsiteX227" fmla="*/ 247118 w 3785642"/>
                <a:gd name="connsiteY227" fmla="*/ 476266 h 479077"/>
                <a:gd name="connsiteX228" fmla="*/ 230747 w 3785642"/>
                <a:gd name="connsiteY228" fmla="*/ 474778 h 479077"/>
                <a:gd name="connsiteX229" fmla="*/ 214376 w 3785642"/>
                <a:gd name="connsiteY229" fmla="*/ 474778 h 479077"/>
                <a:gd name="connsiteX230" fmla="*/ 198006 w 3785642"/>
                <a:gd name="connsiteY230" fmla="*/ 476762 h 479077"/>
                <a:gd name="connsiteX231" fmla="*/ 181635 w 3785642"/>
                <a:gd name="connsiteY231" fmla="*/ 476266 h 479077"/>
                <a:gd name="connsiteX232" fmla="*/ 165265 w 3785642"/>
                <a:gd name="connsiteY232" fmla="*/ 474778 h 479077"/>
                <a:gd name="connsiteX233" fmla="*/ 148894 w 3785642"/>
                <a:gd name="connsiteY233" fmla="*/ 476762 h 479077"/>
                <a:gd name="connsiteX234" fmla="*/ 132524 w 3785642"/>
                <a:gd name="connsiteY234" fmla="*/ 476266 h 479077"/>
                <a:gd name="connsiteX235" fmla="*/ 116153 w 3785642"/>
                <a:gd name="connsiteY235" fmla="*/ 475274 h 479077"/>
                <a:gd name="connsiteX236" fmla="*/ 99783 w 3785642"/>
                <a:gd name="connsiteY236" fmla="*/ 475274 h 479077"/>
                <a:gd name="connsiteX237" fmla="*/ 83412 w 3785642"/>
                <a:gd name="connsiteY237" fmla="*/ 475274 h 479077"/>
                <a:gd name="connsiteX238" fmla="*/ 67041 w 3785642"/>
                <a:gd name="connsiteY238" fmla="*/ 474778 h 479077"/>
                <a:gd name="connsiteX239" fmla="*/ 50671 w 3785642"/>
                <a:gd name="connsiteY239" fmla="*/ 475274 h 479077"/>
                <a:gd name="connsiteX240" fmla="*/ 34300 w 3785642"/>
                <a:gd name="connsiteY240" fmla="*/ 475274 h 479077"/>
                <a:gd name="connsiteX241" fmla="*/ 17930 w 3785642"/>
                <a:gd name="connsiteY241" fmla="*/ 475770 h 479077"/>
                <a:gd name="connsiteX242" fmla="*/ 567 w 3785642"/>
                <a:gd name="connsiteY242" fmla="*/ 475770 h 479077"/>
                <a:gd name="connsiteX243" fmla="*/ 12969 w 3785642"/>
                <a:gd name="connsiteY243" fmla="*/ 463368 h 479077"/>
                <a:gd name="connsiteX244" fmla="*/ 24379 w 3785642"/>
                <a:gd name="connsiteY244" fmla="*/ 451958 h 479077"/>
                <a:gd name="connsiteX245" fmla="*/ 35788 w 3785642"/>
                <a:gd name="connsiteY245" fmla="*/ 440053 h 479077"/>
                <a:gd name="connsiteX246" fmla="*/ 48686 w 3785642"/>
                <a:gd name="connsiteY246" fmla="*/ 430131 h 479077"/>
                <a:gd name="connsiteX247" fmla="*/ 59600 w 3785642"/>
                <a:gd name="connsiteY247" fmla="*/ 418225 h 479077"/>
                <a:gd name="connsiteX248" fmla="*/ 70514 w 3785642"/>
                <a:gd name="connsiteY248" fmla="*/ 405823 h 479077"/>
                <a:gd name="connsiteX249" fmla="*/ 83412 w 3785642"/>
                <a:gd name="connsiteY249" fmla="*/ 395406 h 479077"/>
                <a:gd name="connsiteX250" fmla="*/ 94822 w 3785642"/>
                <a:gd name="connsiteY250" fmla="*/ 383500 h 479077"/>
                <a:gd name="connsiteX251" fmla="*/ 106728 w 3785642"/>
                <a:gd name="connsiteY251" fmla="*/ 372090 h 479077"/>
                <a:gd name="connsiteX252" fmla="*/ 117145 w 3785642"/>
                <a:gd name="connsiteY252" fmla="*/ 359688 h 479077"/>
                <a:gd name="connsiteX253" fmla="*/ 128555 w 3785642"/>
                <a:gd name="connsiteY253" fmla="*/ 348278 h 479077"/>
                <a:gd name="connsiteX254" fmla="*/ 140461 w 3785642"/>
                <a:gd name="connsiteY254" fmla="*/ 336868 h 479077"/>
                <a:gd name="connsiteX255" fmla="*/ 152863 w 3785642"/>
                <a:gd name="connsiteY255" fmla="*/ 326451 h 479077"/>
                <a:gd name="connsiteX256" fmla="*/ 164769 w 3785642"/>
                <a:gd name="connsiteY256" fmla="*/ 315041 h 479077"/>
                <a:gd name="connsiteX257" fmla="*/ 176178 w 3785642"/>
                <a:gd name="connsiteY257" fmla="*/ 303135 h 479077"/>
                <a:gd name="connsiteX258" fmla="*/ 188084 w 3785642"/>
                <a:gd name="connsiteY258" fmla="*/ 291725 h 479077"/>
                <a:gd name="connsiteX259" fmla="*/ 199494 w 3785642"/>
                <a:gd name="connsiteY259" fmla="*/ 280315 h 479077"/>
                <a:gd name="connsiteX260" fmla="*/ 210904 w 3785642"/>
                <a:gd name="connsiteY260" fmla="*/ 268906 h 479077"/>
                <a:gd name="connsiteX261" fmla="*/ 221818 w 3785642"/>
                <a:gd name="connsiteY261" fmla="*/ 256504 h 479077"/>
                <a:gd name="connsiteX262" fmla="*/ 233724 w 3785642"/>
                <a:gd name="connsiteY262" fmla="*/ 245094 h 479077"/>
                <a:gd name="connsiteX263" fmla="*/ 244141 w 3785642"/>
                <a:gd name="connsiteY263" fmla="*/ 232692 h 479077"/>
                <a:gd name="connsiteX264" fmla="*/ 257039 w 3785642"/>
                <a:gd name="connsiteY264" fmla="*/ 222770 h 479077"/>
                <a:gd name="connsiteX265" fmla="*/ 266961 w 3785642"/>
                <a:gd name="connsiteY265" fmla="*/ 209376 h 479077"/>
                <a:gd name="connsiteX266" fmla="*/ 278371 w 3785642"/>
                <a:gd name="connsiteY266" fmla="*/ 197966 h 479077"/>
                <a:gd name="connsiteX267" fmla="*/ 291269 w 3785642"/>
                <a:gd name="connsiteY267" fmla="*/ 188045 h 479077"/>
                <a:gd name="connsiteX268" fmla="*/ 301686 w 3785642"/>
                <a:gd name="connsiteY268" fmla="*/ 175147 h 479077"/>
                <a:gd name="connsiteX269" fmla="*/ 313592 w 3785642"/>
                <a:gd name="connsiteY269" fmla="*/ 163737 h 479077"/>
                <a:gd name="connsiteX270" fmla="*/ 325994 w 3785642"/>
                <a:gd name="connsiteY270" fmla="*/ 153319 h 479077"/>
                <a:gd name="connsiteX271" fmla="*/ 337404 w 3785642"/>
                <a:gd name="connsiteY271" fmla="*/ 141910 h 479077"/>
                <a:gd name="connsiteX272" fmla="*/ 347325 w 3785642"/>
                <a:gd name="connsiteY272" fmla="*/ 129012 h 479077"/>
                <a:gd name="connsiteX273" fmla="*/ 360224 w 3785642"/>
                <a:gd name="connsiteY273" fmla="*/ 118594 h 479077"/>
                <a:gd name="connsiteX274" fmla="*/ 371137 w 3785642"/>
                <a:gd name="connsiteY274" fmla="*/ 106192 h 479077"/>
                <a:gd name="connsiteX275" fmla="*/ 382051 w 3785642"/>
                <a:gd name="connsiteY275" fmla="*/ 93790 h 479077"/>
                <a:gd name="connsiteX276" fmla="*/ 393957 w 3785642"/>
                <a:gd name="connsiteY276" fmla="*/ 82380 h 479077"/>
                <a:gd name="connsiteX277" fmla="*/ 405366 w 3785642"/>
                <a:gd name="connsiteY277" fmla="*/ 70475 h 479077"/>
                <a:gd name="connsiteX278" fmla="*/ 417272 w 3785642"/>
                <a:gd name="connsiteY278" fmla="*/ 59561 h 479077"/>
                <a:gd name="connsiteX279" fmla="*/ 429674 w 3785642"/>
                <a:gd name="connsiteY279" fmla="*/ 48647 h 479077"/>
                <a:gd name="connsiteX280" fmla="*/ 440092 w 3785642"/>
                <a:gd name="connsiteY280" fmla="*/ 35749 h 479077"/>
                <a:gd name="connsiteX281" fmla="*/ 452494 w 3785642"/>
                <a:gd name="connsiteY281" fmla="*/ 24835 h 479077"/>
                <a:gd name="connsiteX282" fmla="*/ 463904 w 3785642"/>
                <a:gd name="connsiteY282" fmla="*/ 12929 h 479077"/>
                <a:gd name="connsiteX283" fmla="*/ 475313 w 3785642"/>
                <a:gd name="connsiteY283" fmla="*/ 1024 h 479077"/>
                <a:gd name="connsiteX284" fmla="*/ 491684 w 3785642"/>
                <a:gd name="connsiteY284" fmla="*/ 2512 h 479077"/>
                <a:gd name="connsiteX285" fmla="*/ 508055 w 3785642"/>
                <a:gd name="connsiteY285" fmla="*/ 2512 h 479077"/>
                <a:gd name="connsiteX286" fmla="*/ 524425 w 3785642"/>
                <a:gd name="connsiteY286" fmla="*/ 2512 h 479077"/>
                <a:gd name="connsiteX287" fmla="*/ 540796 w 3785642"/>
                <a:gd name="connsiteY287" fmla="*/ 1024 h 479077"/>
                <a:gd name="connsiteX288" fmla="*/ 557166 w 3785642"/>
                <a:gd name="connsiteY288" fmla="*/ 2512 h 479077"/>
                <a:gd name="connsiteX289" fmla="*/ 573537 w 3785642"/>
                <a:gd name="connsiteY289" fmla="*/ 1024 h 479077"/>
                <a:gd name="connsiteX290" fmla="*/ 589908 w 3785642"/>
                <a:gd name="connsiteY290" fmla="*/ 527 h 479077"/>
                <a:gd name="connsiteX291" fmla="*/ 606278 w 3785642"/>
                <a:gd name="connsiteY291" fmla="*/ 1520 h 479077"/>
                <a:gd name="connsiteX292" fmla="*/ 622649 w 3785642"/>
                <a:gd name="connsiteY292" fmla="*/ 1520 h 479077"/>
                <a:gd name="connsiteX293" fmla="*/ 639019 w 3785642"/>
                <a:gd name="connsiteY293" fmla="*/ 2016 h 479077"/>
                <a:gd name="connsiteX294" fmla="*/ 655390 w 3785642"/>
                <a:gd name="connsiteY294" fmla="*/ 527 h 479077"/>
                <a:gd name="connsiteX295" fmla="*/ 671760 w 3785642"/>
                <a:gd name="connsiteY295" fmla="*/ 1520 h 479077"/>
                <a:gd name="connsiteX296" fmla="*/ 688131 w 3785642"/>
                <a:gd name="connsiteY296" fmla="*/ 2512 h 479077"/>
                <a:gd name="connsiteX297" fmla="*/ 704501 w 3785642"/>
                <a:gd name="connsiteY297" fmla="*/ 1024 h 479077"/>
                <a:gd name="connsiteX298" fmla="*/ 720872 w 3785642"/>
                <a:gd name="connsiteY298" fmla="*/ 1520 h 479077"/>
                <a:gd name="connsiteX299" fmla="*/ 737243 w 3785642"/>
                <a:gd name="connsiteY299" fmla="*/ 2016 h 479077"/>
                <a:gd name="connsiteX300" fmla="*/ 753613 w 3785642"/>
                <a:gd name="connsiteY300" fmla="*/ 1024 h 479077"/>
                <a:gd name="connsiteX301" fmla="*/ 769984 w 3785642"/>
                <a:gd name="connsiteY301" fmla="*/ 527 h 479077"/>
                <a:gd name="connsiteX302" fmla="*/ 786354 w 3785642"/>
                <a:gd name="connsiteY302" fmla="*/ 1520 h 479077"/>
                <a:gd name="connsiteX303" fmla="*/ 802725 w 3785642"/>
                <a:gd name="connsiteY303" fmla="*/ 527 h 479077"/>
                <a:gd name="connsiteX304" fmla="*/ 819096 w 3785642"/>
                <a:gd name="connsiteY304" fmla="*/ 2512 h 479077"/>
                <a:gd name="connsiteX305" fmla="*/ 835466 w 3785642"/>
                <a:gd name="connsiteY305" fmla="*/ 527 h 479077"/>
                <a:gd name="connsiteX306" fmla="*/ 851837 w 3785642"/>
                <a:gd name="connsiteY306" fmla="*/ 1520 h 479077"/>
                <a:gd name="connsiteX307" fmla="*/ 868207 w 3785642"/>
                <a:gd name="connsiteY307" fmla="*/ 2016 h 479077"/>
                <a:gd name="connsiteX308" fmla="*/ 884578 w 3785642"/>
                <a:gd name="connsiteY308" fmla="*/ 2512 h 479077"/>
                <a:gd name="connsiteX309" fmla="*/ 900948 w 3785642"/>
                <a:gd name="connsiteY309" fmla="*/ 1520 h 479077"/>
                <a:gd name="connsiteX310" fmla="*/ 917319 w 3785642"/>
                <a:gd name="connsiteY310" fmla="*/ 1024 h 479077"/>
                <a:gd name="connsiteX311" fmla="*/ 933689 w 3785642"/>
                <a:gd name="connsiteY311" fmla="*/ 2512 h 479077"/>
                <a:gd name="connsiteX312" fmla="*/ 950060 w 3785642"/>
                <a:gd name="connsiteY312" fmla="*/ 1520 h 479077"/>
                <a:gd name="connsiteX313" fmla="*/ 966431 w 3785642"/>
                <a:gd name="connsiteY313" fmla="*/ 2016 h 479077"/>
                <a:gd name="connsiteX314" fmla="*/ 982801 w 3785642"/>
                <a:gd name="connsiteY314" fmla="*/ 2512 h 479077"/>
                <a:gd name="connsiteX315" fmla="*/ 999172 w 3785642"/>
                <a:gd name="connsiteY315" fmla="*/ 1520 h 479077"/>
                <a:gd name="connsiteX316" fmla="*/ 1015542 w 3785642"/>
                <a:gd name="connsiteY316" fmla="*/ 2512 h 479077"/>
                <a:gd name="connsiteX317" fmla="*/ 1031913 w 3785642"/>
                <a:gd name="connsiteY317" fmla="*/ 1520 h 479077"/>
                <a:gd name="connsiteX318" fmla="*/ 1048283 w 3785642"/>
                <a:gd name="connsiteY318" fmla="*/ 2016 h 479077"/>
                <a:gd name="connsiteX319" fmla="*/ 1064654 w 3785642"/>
                <a:gd name="connsiteY319" fmla="*/ 3504 h 479077"/>
                <a:gd name="connsiteX320" fmla="*/ 1081025 w 3785642"/>
                <a:gd name="connsiteY320" fmla="*/ 2016 h 479077"/>
                <a:gd name="connsiteX321" fmla="*/ 1097395 w 3785642"/>
                <a:gd name="connsiteY321" fmla="*/ 2512 h 479077"/>
                <a:gd name="connsiteX322" fmla="*/ 1113766 w 3785642"/>
                <a:gd name="connsiteY322" fmla="*/ 2512 h 479077"/>
                <a:gd name="connsiteX323" fmla="*/ 1130136 w 3785642"/>
                <a:gd name="connsiteY323" fmla="*/ 3504 h 479077"/>
                <a:gd name="connsiteX324" fmla="*/ 1146507 w 3785642"/>
                <a:gd name="connsiteY324" fmla="*/ 1520 h 479077"/>
                <a:gd name="connsiteX325" fmla="*/ 1162878 w 3785642"/>
                <a:gd name="connsiteY325" fmla="*/ 3008 h 479077"/>
                <a:gd name="connsiteX326" fmla="*/ 1179248 w 3785642"/>
                <a:gd name="connsiteY326" fmla="*/ 4000 h 479077"/>
                <a:gd name="connsiteX327" fmla="*/ 1195619 w 3785642"/>
                <a:gd name="connsiteY327" fmla="*/ 3504 h 479077"/>
                <a:gd name="connsiteX328" fmla="*/ 1211989 w 3785642"/>
                <a:gd name="connsiteY328" fmla="*/ 1520 h 479077"/>
                <a:gd name="connsiteX329" fmla="*/ 1228360 w 3785642"/>
                <a:gd name="connsiteY329" fmla="*/ 3504 h 479077"/>
                <a:gd name="connsiteX330" fmla="*/ 1244730 w 3785642"/>
                <a:gd name="connsiteY330" fmla="*/ 1520 h 479077"/>
                <a:gd name="connsiteX331" fmla="*/ 1261101 w 3785642"/>
                <a:gd name="connsiteY331" fmla="*/ 2512 h 479077"/>
                <a:gd name="connsiteX332" fmla="*/ 1277471 w 3785642"/>
                <a:gd name="connsiteY332" fmla="*/ 3504 h 479077"/>
                <a:gd name="connsiteX333" fmla="*/ 1293842 w 3785642"/>
                <a:gd name="connsiteY333" fmla="*/ 4000 h 479077"/>
                <a:gd name="connsiteX334" fmla="*/ 1310213 w 3785642"/>
                <a:gd name="connsiteY334" fmla="*/ 1520 h 479077"/>
                <a:gd name="connsiteX335" fmla="*/ 1326583 w 3785642"/>
                <a:gd name="connsiteY335" fmla="*/ 2016 h 479077"/>
                <a:gd name="connsiteX336" fmla="*/ 1342954 w 3785642"/>
                <a:gd name="connsiteY336" fmla="*/ 3008 h 479077"/>
                <a:gd name="connsiteX337" fmla="*/ 1359324 w 3785642"/>
                <a:gd name="connsiteY337" fmla="*/ 3008 h 479077"/>
                <a:gd name="connsiteX338" fmla="*/ 1375695 w 3785642"/>
                <a:gd name="connsiteY338" fmla="*/ 2512 h 479077"/>
                <a:gd name="connsiteX339" fmla="*/ 1392066 w 3785642"/>
                <a:gd name="connsiteY339" fmla="*/ 2512 h 479077"/>
                <a:gd name="connsiteX340" fmla="*/ 1408436 w 3785642"/>
                <a:gd name="connsiteY340" fmla="*/ 3504 h 479077"/>
                <a:gd name="connsiteX341" fmla="*/ 1424807 w 3785642"/>
                <a:gd name="connsiteY341" fmla="*/ 3504 h 479077"/>
                <a:gd name="connsiteX342" fmla="*/ 1441177 w 3785642"/>
                <a:gd name="connsiteY342" fmla="*/ 1520 h 479077"/>
                <a:gd name="connsiteX343" fmla="*/ 1457548 w 3785642"/>
                <a:gd name="connsiteY343" fmla="*/ 2512 h 479077"/>
                <a:gd name="connsiteX344" fmla="*/ 1473919 w 3785642"/>
                <a:gd name="connsiteY344" fmla="*/ 2016 h 479077"/>
                <a:gd name="connsiteX345" fmla="*/ 1490289 w 3785642"/>
                <a:gd name="connsiteY345" fmla="*/ 2016 h 479077"/>
                <a:gd name="connsiteX346" fmla="*/ 1506660 w 3785642"/>
                <a:gd name="connsiteY346" fmla="*/ 1520 h 479077"/>
                <a:gd name="connsiteX347" fmla="*/ 1523030 w 3785642"/>
                <a:gd name="connsiteY347" fmla="*/ 3504 h 479077"/>
                <a:gd name="connsiteX348" fmla="*/ 1539401 w 3785642"/>
                <a:gd name="connsiteY348" fmla="*/ 3008 h 479077"/>
                <a:gd name="connsiteX349" fmla="*/ 1555771 w 3785642"/>
                <a:gd name="connsiteY349" fmla="*/ 3008 h 479077"/>
                <a:gd name="connsiteX350" fmla="*/ 1572142 w 3785642"/>
                <a:gd name="connsiteY350" fmla="*/ 2512 h 479077"/>
                <a:gd name="connsiteX351" fmla="*/ 1588512 w 3785642"/>
                <a:gd name="connsiteY351" fmla="*/ 2016 h 479077"/>
                <a:gd name="connsiteX352" fmla="*/ 1604883 w 3785642"/>
                <a:gd name="connsiteY352" fmla="*/ 3008 h 479077"/>
                <a:gd name="connsiteX353" fmla="*/ 1621253 w 3785642"/>
                <a:gd name="connsiteY353" fmla="*/ 3008 h 479077"/>
                <a:gd name="connsiteX354" fmla="*/ 1637624 w 3785642"/>
                <a:gd name="connsiteY35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98908 w 3785642"/>
                <a:gd name="connsiteY22" fmla="*/ 171674 h 479077"/>
                <a:gd name="connsiteX23" fmla="*/ 3405646 w 3785642"/>
                <a:gd name="connsiteY23" fmla="*/ 79404 h 479077"/>
                <a:gd name="connsiteX24" fmla="*/ 3393740 w 3785642"/>
                <a:gd name="connsiteY24" fmla="*/ 68490 h 479077"/>
                <a:gd name="connsiteX25" fmla="*/ 3382330 w 3785642"/>
                <a:gd name="connsiteY25" fmla="*/ 56584 h 479077"/>
                <a:gd name="connsiteX26" fmla="*/ 3370921 w 3785642"/>
                <a:gd name="connsiteY26" fmla="*/ 44678 h 479077"/>
                <a:gd name="connsiteX27" fmla="*/ 3313375 w 3785642"/>
                <a:gd name="connsiteY27" fmla="*/ 10945 h 479077"/>
                <a:gd name="connsiteX28" fmla="*/ 3300973 w 3785642"/>
                <a:gd name="connsiteY28" fmla="*/ 21363 h 479077"/>
                <a:gd name="connsiteX29" fmla="*/ 3289068 w 3785642"/>
                <a:gd name="connsiteY29" fmla="*/ 32276 h 479077"/>
                <a:gd name="connsiteX30" fmla="*/ 3277658 w 3785642"/>
                <a:gd name="connsiteY30" fmla="*/ 43686 h 479077"/>
                <a:gd name="connsiteX31" fmla="*/ 3266248 w 3785642"/>
                <a:gd name="connsiteY31" fmla="*/ 55592 h 479077"/>
                <a:gd name="connsiteX32" fmla="*/ 3255830 w 3785642"/>
                <a:gd name="connsiteY32" fmla="*/ 68490 h 479077"/>
                <a:gd name="connsiteX33" fmla="*/ 3243924 w 3785642"/>
                <a:gd name="connsiteY33" fmla="*/ 79900 h 479077"/>
                <a:gd name="connsiteX34" fmla="*/ 3231522 w 3785642"/>
                <a:gd name="connsiteY34" fmla="*/ 90814 h 479077"/>
                <a:gd name="connsiteX35" fmla="*/ 3220609 w 3785642"/>
                <a:gd name="connsiteY35" fmla="*/ 102720 h 479077"/>
                <a:gd name="connsiteX36" fmla="*/ 3208207 w 3785642"/>
                <a:gd name="connsiteY36" fmla="*/ 113137 h 479077"/>
                <a:gd name="connsiteX37" fmla="*/ 3197293 w 3785642"/>
                <a:gd name="connsiteY37" fmla="*/ 125043 h 479077"/>
                <a:gd name="connsiteX38" fmla="*/ 3185387 w 3785642"/>
                <a:gd name="connsiteY38" fmla="*/ 136453 h 479077"/>
                <a:gd name="connsiteX39" fmla="*/ 3174970 w 3785642"/>
                <a:gd name="connsiteY39" fmla="*/ 148855 h 479077"/>
                <a:gd name="connsiteX40" fmla="*/ 3162071 w 3785642"/>
                <a:gd name="connsiteY40" fmla="*/ 159272 h 479077"/>
                <a:gd name="connsiteX41" fmla="*/ 3151158 w 3785642"/>
                <a:gd name="connsiteY41" fmla="*/ 171674 h 479077"/>
                <a:gd name="connsiteX42" fmla="*/ 3139252 w 3785642"/>
                <a:gd name="connsiteY42" fmla="*/ 182588 h 479077"/>
                <a:gd name="connsiteX43" fmla="*/ 3127843 w 3785642"/>
                <a:gd name="connsiteY43" fmla="*/ 194494 h 479077"/>
                <a:gd name="connsiteX44" fmla="*/ 3116432 w 3785642"/>
                <a:gd name="connsiteY44" fmla="*/ 205904 h 479077"/>
                <a:gd name="connsiteX45" fmla="*/ 3105022 w 3785642"/>
                <a:gd name="connsiteY45" fmla="*/ 217810 h 479077"/>
                <a:gd name="connsiteX46" fmla="*/ 3093117 w 3785642"/>
                <a:gd name="connsiteY46" fmla="*/ 229219 h 479077"/>
                <a:gd name="connsiteX47" fmla="*/ 3081707 w 3785642"/>
                <a:gd name="connsiteY47" fmla="*/ 240629 h 479077"/>
                <a:gd name="connsiteX48" fmla="*/ 3069305 w 3785642"/>
                <a:gd name="connsiteY48" fmla="*/ 251543 h 479077"/>
                <a:gd name="connsiteX49" fmla="*/ 3057895 w 3785642"/>
                <a:gd name="connsiteY49" fmla="*/ 263449 h 479077"/>
                <a:gd name="connsiteX50" fmla="*/ 3046486 w 3785642"/>
                <a:gd name="connsiteY50" fmla="*/ 275355 h 479077"/>
                <a:gd name="connsiteX51" fmla="*/ 3035572 w 3785642"/>
                <a:gd name="connsiteY51" fmla="*/ 287260 h 479077"/>
                <a:gd name="connsiteX52" fmla="*/ 3024658 w 3785642"/>
                <a:gd name="connsiteY52" fmla="*/ 299166 h 479077"/>
                <a:gd name="connsiteX53" fmla="*/ 3013248 w 3785642"/>
                <a:gd name="connsiteY53" fmla="*/ 311072 h 479077"/>
                <a:gd name="connsiteX54" fmla="*/ 3000350 w 3785642"/>
                <a:gd name="connsiteY54" fmla="*/ 321490 h 479077"/>
                <a:gd name="connsiteX55" fmla="*/ 2988941 w 3785642"/>
                <a:gd name="connsiteY55" fmla="*/ 333396 h 479077"/>
                <a:gd name="connsiteX56" fmla="*/ 2976539 w 3785642"/>
                <a:gd name="connsiteY56" fmla="*/ 344309 h 479077"/>
                <a:gd name="connsiteX57" fmla="*/ 2965129 w 3785642"/>
                <a:gd name="connsiteY57" fmla="*/ 356215 h 479077"/>
                <a:gd name="connsiteX58" fmla="*/ 2953223 w 3785642"/>
                <a:gd name="connsiteY58" fmla="*/ 367625 h 479077"/>
                <a:gd name="connsiteX59" fmla="*/ 2941813 w 3785642"/>
                <a:gd name="connsiteY59" fmla="*/ 379531 h 479077"/>
                <a:gd name="connsiteX60" fmla="*/ 2931395 w 3785642"/>
                <a:gd name="connsiteY60" fmla="*/ 392429 h 479077"/>
                <a:gd name="connsiteX61" fmla="*/ 2918497 w 3785642"/>
                <a:gd name="connsiteY61" fmla="*/ 402847 h 479077"/>
                <a:gd name="connsiteX62" fmla="*/ 2907584 w 3785642"/>
                <a:gd name="connsiteY62" fmla="*/ 415249 h 479077"/>
                <a:gd name="connsiteX63" fmla="*/ 2896174 w 3785642"/>
                <a:gd name="connsiteY63" fmla="*/ 426658 h 479077"/>
                <a:gd name="connsiteX64" fmla="*/ 2884268 w 3785642"/>
                <a:gd name="connsiteY64" fmla="*/ 438068 h 479077"/>
                <a:gd name="connsiteX65" fmla="*/ 2873354 w 3785642"/>
                <a:gd name="connsiteY65" fmla="*/ 450470 h 479077"/>
                <a:gd name="connsiteX66" fmla="*/ 2860952 w 3785642"/>
                <a:gd name="connsiteY66" fmla="*/ 461384 h 479077"/>
                <a:gd name="connsiteX67" fmla="*/ 2850039 w 3785642"/>
                <a:gd name="connsiteY67" fmla="*/ 473786 h 479077"/>
                <a:gd name="connsiteX68" fmla="*/ 2833668 w 3785642"/>
                <a:gd name="connsiteY68" fmla="*/ 473786 h 479077"/>
                <a:gd name="connsiteX69" fmla="*/ 2817297 w 3785642"/>
                <a:gd name="connsiteY69" fmla="*/ 473290 h 479077"/>
                <a:gd name="connsiteX70" fmla="*/ 2800927 w 3785642"/>
                <a:gd name="connsiteY70" fmla="*/ 473290 h 479077"/>
                <a:gd name="connsiteX71" fmla="*/ 2784556 w 3785642"/>
                <a:gd name="connsiteY71" fmla="*/ 473786 h 479077"/>
                <a:gd name="connsiteX72" fmla="*/ 2768186 w 3785642"/>
                <a:gd name="connsiteY72" fmla="*/ 474282 h 479077"/>
                <a:gd name="connsiteX73" fmla="*/ 2751815 w 3785642"/>
                <a:gd name="connsiteY73" fmla="*/ 474282 h 479077"/>
                <a:gd name="connsiteX74" fmla="*/ 2735444 w 3785642"/>
                <a:gd name="connsiteY74" fmla="*/ 473290 h 479077"/>
                <a:gd name="connsiteX75" fmla="*/ 2719074 w 3785642"/>
                <a:gd name="connsiteY75" fmla="*/ 474282 h 479077"/>
                <a:gd name="connsiteX76" fmla="*/ 2702703 w 3785642"/>
                <a:gd name="connsiteY76" fmla="*/ 472298 h 479077"/>
                <a:gd name="connsiteX77" fmla="*/ 2686333 w 3785642"/>
                <a:gd name="connsiteY77" fmla="*/ 472794 h 479077"/>
                <a:gd name="connsiteX78" fmla="*/ 2669962 w 3785642"/>
                <a:gd name="connsiteY78" fmla="*/ 474282 h 479077"/>
                <a:gd name="connsiteX79" fmla="*/ 2653592 w 3785642"/>
                <a:gd name="connsiteY79" fmla="*/ 472298 h 479077"/>
                <a:gd name="connsiteX80" fmla="*/ 2637221 w 3785642"/>
                <a:gd name="connsiteY80" fmla="*/ 474282 h 479077"/>
                <a:gd name="connsiteX81" fmla="*/ 2620851 w 3785642"/>
                <a:gd name="connsiteY81" fmla="*/ 474282 h 479077"/>
                <a:gd name="connsiteX82" fmla="*/ 2604480 w 3785642"/>
                <a:gd name="connsiteY82" fmla="*/ 472298 h 479077"/>
                <a:gd name="connsiteX83" fmla="*/ 2588109 w 3785642"/>
                <a:gd name="connsiteY83" fmla="*/ 473786 h 479077"/>
                <a:gd name="connsiteX84" fmla="*/ 2571739 w 3785642"/>
                <a:gd name="connsiteY84" fmla="*/ 472298 h 479077"/>
                <a:gd name="connsiteX85" fmla="*/ 2555368 w 3785642"/>
                <a:gd name="connsiteY85" fmla="*/ 473290 h 479077"/>
                <a:gd name="connsiteX86" fmla="*/ 2538998 w 3785642"/>
                <a:gd name="connsiteY86" fmla="*/ 474282 h 479077"/>
                <a:gd name="connsiteX87" fmla="*/ 2522627 w 3785642"/>
                <a:gd name="connsiteY87" fmla="*/ 473290 h 479077"/>
                <a:gd name="connsiteX88" fmla="*/ 2506257 w 3785642"/>
                <a:gd name="connsiteY88" fmla="*/ 474282 h 479077"/>
                <a:gd name="connsiteX89" fmla="*/ 2489886 w 3785642"/>
                <a:gd name="connsiteY89" fmla="*/ 473786 h 479077"/>
                <a:gd name="connsiteX90" fmla="*/ 2473516 w 3785642"/>
                <a:gd name="connsiteY90" fmla="*/ 474282 h 479077"/>
                <a:gd name="connsiteX91" fmla="*/ 2457145 w 3785642"/>
                <a:gd name="connsiteY91" fmla="*/ 472794 h 479077"/>
                <a:gd name="connsiteX92" fmla="*/ 2440775 w 3785642"/>
                <a:gd name="connsiteY92" fmla="*/ 472298 h 479077"/>
                <a:gd name="connsiteX93" fmla="*/ 2424404 w 3785642"/>
                <a:gd name="connsiteY93" fmla="*/ 473786 h 479077"/>
                <a:gd name="connsiteX94" fmla="*/ 2408033 w 3785642"/>
                <a:gd name="connsiteY94" fmla="*/ 472794 h 479077"/>
                <a:gd name="connsiteX95" fmla="*/ 2391663 w 3785642"/>
                <a:gd name="connsiteY95" fmla="*/ 473290 h 479077"/>
                <a:gd name="connsiteX96" fmla="*/ 2375292 w 3785642"/>
                <a:gd name="connsiteY96" fmla="*/ 473290 h 479077"/>
                <a:gd name="connsiteX97" fmla="*/ 2358922 w 3785642"/>
                <a:gd name="connsiteY97" fmla="*/ 472794 h 479077"/>
                <a:gd name="connsiteX98" fmla="*/ 2342551 w 3785642"/>
                <a:gd name="connsiteY98" fmla="*/ 472298 h 479077"/>
                <a:gd name="connsiteX99" fmla="*/ 2326180 w 3785642"/>
                <a:gd name="connsiteY99" fmla="*/ 473786 h 479077"/>
                <a:gd name="connsiteX100" fmla="*/ 2309810 w 3785642"/>
                <a:gd name="connsiteY100" fmla="*/ 473786 h 479077"/>
                <a:gd name="connsiteX101" fmla="*/ 2293439 w 3785642"/>
                <a:gd name="connsiteY101" fmla="*/ 473786 h 479077"/>
                <a:gd name="connsiteX102" fmla="*/ 2277069 w 3785642"/>
                <a:gd name="connsiteY102" fmla="*/ 472794 h 479077"/>
                <a:gd name="connsiteX103" fmla="*/ 2260698 w 3785642"/>
                <a:gd name="connsiteY103" fmla="*/ 474282 h 479077"/>
                <a:gd name="connsiteX104" fmla="*/ 2244327 w 3785642"/>
                <a:gd name="connsiteY104" fmla="*/ 472298 h 479077"/>
                <a:gd name="connsiteX105" fmla="*/ 2227957 w 3785642"/>
                <a:gd name="connsiteY105" fmla="*/ 474282 h 479077"/>
                <a:gd name="connsiteX106" fmla="*/ 2211586 w 3785642"/>
                <a:gd name="connsiteY106" fmla="*/ 473290 h 479077"/>
                <a:gd name="connsiteX107" fmla="*/ 2195216 w 3785642"/>
                <a:gd name="connsiteY107" fmla="*/ 474282 h 479077"/>
                <a:gd name="connsiteX108" fmla="*/ 2178845 w 3785642"/>
                <a:gd name="connsiteY108" fmla="*/ 472794 h 479077"/>
                <a:gd name="connsiteX109" fmla="*/ 2162474 w 3785642"/>
                <a:gd name="connsiteY109" fmla="*/ 474778 h 479077"/>
                <a:gd name="connsiteX110" fmla="*/ 2146104 w 3785642"/>
                <a:gd name="connsiteY110" fmla="*/ 473290 h 479077"/>
                <a:gd name="connsiteX111" fmla="*/ 2129733 w 3785642"/>
                <a:gd name="connsiteY111" fmla="*/ 474778 h 479077"/>
                <a:gd name="connsiteX112" fmla="*/ 2113363 w 3785642"/>
                <a:gd name="connsiteY112" fmla="*/ 474778 h 479077"/>
                <a:gd name="connsiteX113" fmla="*/ 2096992 w 3785642"/>
                <a:gd name="connsiteY113" fmla="*/ 474778 h 479077"/>
                <a:gd name="connsiteX114" fmla="*/ 2080621 w 3785642"/>
                <a:gd name="connsiteY114" fmla="*/ 474282 h 479077"/>
                <a:gd name="connsiteX115" fmla="*/ 2064251 w 3785642"/>
                <a:gd name="connsiteY115" fmla="*/ 472794 h 479077"/>
                <a:gd name="connsiteX116" fmla="*/ 2047880 w 3785642"/>
                <a:gd name="connsiteY116" fmla="*/ 474778 h 479077"/>
                <a:gd name="connsiteX117" fmla="*/ 2031510 w 3785642"/>
                <a:gd name="connsiteY117" fmla="*/ 474778 h 479077"/>
                <a:gd name="connsiteX118" fmla="*/ 2015139 w 3785642"/>
                <a:gd name="connsiteY118" fmla="*/ 474778 h 479077"/>
                <a:gd name="connsiteX119" fmla="*/ 1998769 w 3785642"/>
                <a:gd name="connsiteY119" fmla="*/ 474282 h 479077"/>
                <a:gd name="connsiteX120" fmla="*/ 1982398 w 3785642"/>
                <a:gd name="connsiteY120" fmla="*/ 473786 h 479077"/>
                <a:gd name="connsiteX121" fmla="*/ 1966028 w 3785642"/>
                <a:gd name="connsiteY121" fmla="*/ 473786 h 479077"/>
                <a:gd name="connsiteX122" fmla="*/ 1949657 w 3785642"/>
                <a:gd name="connsiteY122" fmla="*/ 472794 h 479077"/>
                <a:gd name="connsiteX123" fmla="*/ 1933287 w 3785642"/>
                <a:gd name="connsiteY123" fmla="*/ 473290 h 479077"/>
                <a:gd name="connsiteX124" fmla="*/ 1916916 w 3785642"/>
                <a:gd name="connsiteY124" fmla="*/ 474778 h 479077"/>
                <a:gd name="connsiteX125" fmla="*/ 1900546 w 3785642"/>
                <a:gd name="connsiteY125" fmla="*/ 472794 h 479077"/>
                <a:gd name="connsiteX126" fmla="*/ 1884175 w 3785642"/>
                <a:gd name="connsiteY126" fmla="*/ 473786 h 479077"/>
                <a:gd name="connsiteX127" fmla="*/ 1867804 w 3785642"/>
                <a:gd name="connsiteY127" fmla="*/ 474778 h 479077"/>
                <a:gd name="connsiteX128" fmla="*/ 1851434 w 3785642"/>
                <a:gd name="connsiteY128" fmla="*/ 474778 h 479077"/>
                <a:gd name="connsiteX129" fmla="*/ 1835063 w 3785642"/>
                <a:gd name="connsiteY129" fmla="*/ 474778 h 479077"/>
                <a:gd name="connsiteX130" fmla="*/ 1818693 w 3785642"/>
                <a:gd name="connsiteY130" fmla="*/ 474282 h 479077"/>
                <a:gd name="connsiteX131" fmla="*/ 1802322 w 3785642"/>
                <a:gd name="connsiteY131" fmla="*/ 472794 h 479077"/>
                <a:gd name="connsiteX132" fmla="*/ 1785951 w 3785642"/>
                <a:gd name="connsiteY132" fmla="*/ 473786 h 479077"/>
                <a:gd name="connsiteX133" fmla="*/ 1769581 w 3785642"/>
                <a:gd name="connsiteY133" fmla="*/ 473290 h 479077"/>
                <a:gd name="connsiteX134" fmla="*/ 1753210 w 3785642"/>
                <a:gd name="connsiteY134" fmla="*/ 472298 h 479077"/>
                <a:gd name="connsiteX135" fmla="*/ 1736840 w 3785642"/>
                <a:gd name="connsiteY135" fmla="*/ 473290 h 479077"/>
                <a:gd name="connsiteX136" fmla="*/ 1720469 w 3785642"/>
                <a:gd name="connsiteY136" fmla="*/ 474778 h 479077"/>
                <a:gd name="connsiteX137" fmla="*/ 1704098 w 3785642"/>
                <a:gd name="connsiteY137" fmla="*/ 472794 h 479077"/>
                <a:gd name="connsiteX138" fmla="*/ 1687728 w 3785642"/>
                <a:gd name="connsiteY138" fmla="*/ 474778 h 479077"/>
                <a:gd name="connsiteX139" fmla="*/ 1671357 w 3785642"/>
                <a:gd name="connsiteY139" fmla="*/ 474778 h 479077"/>
                <a:gd name="connsiteX140" fmla="*/ 1654987 w 3785642"/>
                <a:gd name="connsiteY140" fmla="*/ 472298 h 479077"/>
                <a:gd name="connsiteX141" fmla="*/ 1638616 w 3785642"/>
                <a:gd name="connsiteY141" fmla="*/ 472794 h 479077"/>
                <a:gd name="connsiteX142" fmla="*/ 1622246 w 3785642"/>
                <a:gd name="connsiteY142" fmla="*/ 473786 h 479077"/>
                <a:gd name="connsiteX143" fmla="*/ 1605875 w 3785642"/>
                <a:gd name="connsiteY143" fmla="*/ 474778 h 479077"/>
                <a:gd name="connsiteX144" fmla="*/ 1589505 w 3785642"/>
                <a:gd name="connsiteY144" fmla="*/ 473290 h 479077"/>
                <a:gd name="connsiteX145" fmla="*/ 1573134 w 3785642"/>
                <a:gd name="connsiteY145" fmla="*/ 474778 h 479077"/>
                <a:gd name="connsiteX146" fmla="*/ 1556763 w 3785642"/>
                <a:gd name="connsiteY146" fmla="*/ 472794 h 479077"/>
                <a:gd name="connsiteX147" fmla="*/ 1540393 w 3785642"/>
                <a:gd name="connsiteY147" fmla="*/ 472794 h 479077"/>
                <a:gd name="connsiteX148" fmla="*/ 1524022 w 3785642"/>
                <a:gd name="connsiteY148" fmla="*/ 474282 h 479077"/>
                <a:gd name="connsiteX149" fmla="*/ 1507652 w 3785642"/>
                <a:gd name="connsiteY149" fmla="*/ 472794 h 479077"/>
                <a:gd name="connsiteX150" fmla="*/ 1491281 w 3785642"/>
                <a:gd name="connsiteY150" fmla="*/ 474282 h 479077"/>
                <a:gd name="connsiteX151" fmla="*/ 1474910 w 3785642"/>
                <a:gd name="connsiteY151" fmla="*/ 474282 h 479077"/>
                <a:gd name="connsiteX152" fmla="*/ 1458540 w 3785642"/>
                <a:gd name="connsiteY152" fmla="*/ 472794 h 479077"/>
                <a:gd name="connsiteX153" fmla="*/ 1442169 w 3785642"/>
                <a:gd name="connsiteY153" fmla="*/ 471802 h 479077"/>
                <a:gd name="connsiteX154" fmla="*/ 1425799 w 3785642"/>
                <a:gd name="connsiteY154" fmla="*/ 472298 h 479077"/>
                <a:gd name="connsiteX155" fmla="*/ 1409428 w 3785642"/>
                <a:gd name="connsiteY155" fmla="*/ 472794 h 479077"/>
                <a:gd name="connsiteX156" fmla="*/ 1393058 w 3785642"/>
                <a:gd name="connsiteY156" fmla="*/ 473786 h 479077"/>
                <a:gd name="connsiteX157" fmla="*/ 1376687 w 3785642"/>
                <a:gd name="connsiteY157" fmla="*/ 471802 h 479077"/>
                <a:gd name="connsiteX158" fmla="*/ 1360317 w 3785642"/>
                <a:gd name="connsiteY158" fmla="*/ 473786 h 479077"/>
                <a:gd name="connsiteX159" fmla="*/ 1343946 w 3785642"/>
                <a:gd name="connsiteY159" fmla="*/ 473786 h 479077"/>
                <a:gd name="connsiteX160" fmla="*/ 1327576 w 3785642"/>
                <a:gd name="connsiteY160" fmla="*/ 472794 h 479077"/>
                <a:gd name="connsiteX161" fmla="*/ 1311205 w 3785642"/>
                <a:gd name="connsiteY161" fmla="*/ 473786 h 479077"/>
                <a:gd name="connsiteX162" fmla="*/ 1294834 w 3785642"/>
                <a:gd name="connsiteY162" fmla="*/ 473786 h 479077"/>
                <a:gd name="connsiteX163" fmla="*/ 1278464 w 3785642"/>
                <a:gd name="connsiteY163" fmla="*/ 473786 h 479077"/>
                <a:gd name="connsiteX164" fmla="*/ 1262093 w 3785642"/>
                <a:gd name="connsiteY164" fmla="*/ 473786 h 479077"/>
                <a:gd name="connsiteX165" fmla="*/ 1245723 w 3785642"/>
                <a:gd name="connsiteY165" fmla="*/ 473290 h 479077"/>
                <a:gd name="connsiteX166" fmla="*/ 1229352 w 3785642"/>
                <a:gd name="connsiteY166" fmla="*/ 472794 h 479077"/>
                <a:gd name="connsiteX167" fmla="*/ 1212981 w 3785642"/>
                <a:gd name="connsiteY167" fmla="*/ 473786 h 479077"/>
                <a:gd name="connsiteX168" fmla="*/ 1196611 w 3785642"/>
                <a:gd name="connsiteY168" fmla="*/ 472298 h 479077"/>
                <a:gd name="connsiteX169" fmla="*/ 1180240 w 3785642"/>
                <a:gd name="connsiteY169" fmla="*/ 472794 h 479077"/>
                <a:gd name="connsiteX170" fmla="*/ 1163870 w 3785642"/>
                <a:gd name="connsiteY170" fmla="*/ 472794 h 479077"/>
                <a:gd name="connsiteX171" fmla="*/ 1147499 w 3785642"/>
                <a:gd name="connsiteY171" fmla="*/ 473786 h 479077"/>
                <a:gd name="connsiteX172" fmla="*/ 1131128 w 3785642"/>
                <a:gd name="connsiteY172" fmla="*/ 473786 h 479077"/>
                <a:gd name="connsiteX173" fmla="*/ 1114758 w 3785642"/>
                <a:gd name="connsiteY173" fmla="*/ 472794 h 479077"/>
                <a:gd name="connsiteX174" fmla="*/ 1098387 w 3785642"/>
                <a:gd name="connsiteY174" fmla="*/ 473786 h 479077"/>
                <a:gd name="connsiteX175" fmla="*/ 1082017 w 3785642"/>
                <a:gd name="connsiteY175" fmla="*/ 474778 h 479077"/>
                <a:gd name="connsiteX176" fmla="*/ 1065646 w 3785642"/>
                <a:gd name="connsiteY176" fmla="*/ 474778 h 479077"/>
                <a:gd name="connsiteX177" fmla="*/ 1049276 w 3785642"/>
                <a:gd name="connsiteY177" fmla="*/ 474282 h 479077"/>
                <a:gd name="connsiteX178" fmla="*/ 1032905 w 3785642"/>
                <a:gd name="connsiteY178" fmla="*/ 473290 h 479077"/>
                <a:gd name="connsiteX179" fmla="*/ 1016535 w 3785642"/>
                <a:gd name="connsiteY179" fmla="*/ 474282 h 479077"/>
                <a:gd name="connsiteX180" fmla="*/ 1000164 w 3785642"/>
                <a:gd name="connsiteY180" fmla="*/ 474282 h 479077"/>
                <a:gd name="connsiteX181" fmla="*/ 983793 w 3785642"/>
                <a:gd name="connsiteY181" fmla="*/ 472794 h 479077"/>
                <a:gd name="connsiteX182" fmla="*/ 967423 w 3785642"/>
                <a:gd name="connsiteY182" fmla="*/ 472794 h 479077"/>
                <a:gd name="connsiteX183" fmla="*/ 951052 w 3785642"/>
                <a:gd name="connsiteY183" fmla="*/ 473786 h 479077"/>
                <a:gd name="connsiteX184" fmla="*/ 934682 w 3785642"/>
                <a:gd name="connsiteY184" fmla="*/ 474282 h 479077"/>
                <a:gd name="connsiteX185" fmla="*/ 918311 w 3785642"/>
                <a:gd name="connsiteY185" fmla="*/ 474778 h 479077"/>
                <a:gd name="connsiteX186" fmla="*/ 901940 w 3785642"/>
                <a:gd name="connsiteY186" fmla="*/ 473290 h 479077"/>
                <a:gd name="connsiteX187" fmla="*/ 885570 w 3785642"/>
                <a:gd name="connsiteY187" fmla="*/ 474778 h 479077"/>
                <a:gd name="connsiteX188" fmla="*/ 869199 w 3785642"/>
                <a:gd name="connsiteY188" fmla="*/ 474282 h 479077"/>
                <a:gd name="connsiteX189" fmla="*/ 852829 w 3785642"/>
                <a:gd name="connsiteY189" fmla="*/ 473786 h 479077"/>
                <a:gd name="connsiteX190" fmla="*/ 836458 w 3785642"/>
                <a:gd name="connsiteY190" fmla="*/ 474778 h 479077"/>
                <a:gd name="connsiteX191" fmla="*/ 820088 w 3785642"/>
                <a:gd name="connsiteY191" fmla="*/ 475274 h 479077"/>
                <a:gd name="connsiteX192" fmla="*/ 803717 w 3785642"/>
                <a:gd name="connsiteY192" fmla="*/ 473786 h 479077"/>
                <a:gd name="connsiteX193" fmla="*/ 787347 w 3785642"/>
                <a:gd name="connsiteY193" fmla="*/ 475770 h 479077"/>
                <a:gd name="connsiteX194" fmla="*/ 770976 w 3785642"/>
                <a:gd name="connsiteY194" fmla="*/ 474778 h 479077"/>
                <a:gd name="connsiteX195" fmla="*/ 754605 w 3785642"/>
                <a:gd name="connsiteY195" fmla="*/ 475274 h 479077"/>
                <a:gd name="connsiteX196" fmla="*/ 738235 w 3785642"/>
                <a:gd name="connsiteY196" fmla="*/ 473786 h 479077"/>
                <a:gd name="connsiteX197" fmla="*/ 721864 w 3785642"/>
                <a:gd name="connsiteY197" fmla="*/ 475274 h 479077"/>
                <a:gd name="connsiteX198" fmla="*/ 705494 w 3785642"/>
                <a:gd name="connsiteY198" fmla="*/ 475770 h 479077"/>
                <a:gd name="connsiteX199" fmla="*/ 689123 w 3785642"/>
                <a:gd name="connsiteY199" fmla="*/ 474282 h 479077"/>
                <a:gd name="connsiteX200" fmla="*/ 672753 w 3785642"/>
                <a:gd name="connsiteY200" fmla="*/ 475274 h 479077"/>
                <a:gd name="connsiteX201" fmla="*/ 656382 w 3785642"/>
                <a:gd name="connsiteY201" fmla="*/ 474778 h 479077"/>
                <a:gd name="connsiteX202" fmla="*/ 640011 w 3785642"/>
                <a:gd name="connsiteY202" fmla="*/ 475770 h 479077"/>
                <a:gd name="connsiteX203" fmla="*/ 623641 w 3785642"/>
                <a:gd name="connsiteY203" fmla="*/ 473786 h 479077"/>
                <a:gd name="connsiteX204" fmla="*/ 607270 w 3785642"/>
                <a:gd name="connsiteY204" fmla="*/ 474778 h 479077"/>
                <a:gd name="connsiteX205" fmla="*/ 590900 w 3785642"/>
                <a:gd name="connsiteY205" fmla="*/ 475274 h 479077"/>
                <a:gd name="connsiteX206" fmla="*/ 574529 w 3785642"/>
                <a:gd name="connsiteY206" fmla="*/ 474282 h 479077"/>
                <a:gd name="connsiteX207" fmla="*/ 558158 w 3785642"/>
                <a:gd name="connsiteY207" fmla="*/ 475274 h 479077"/>
                <a:gd name="connsiteX208" fmla="*/ 541788 w 3785642"/>
                <a:gd name="connsiteY208" fmla="*/ 475770 h 479077"/>
                <a:gd name="connsiteX209" fmla="*/ 525417 w 3785642"/>
                <a:gd name="connsiteY209" fmla="*/ 474282 h 479077"/>
                <a:gd name="connsiteX210" fmla="*/ 509047 w 3785642"/>
                <a:gd name="connsiteY210" fmla="*/ 473786 h 479077"/>
                <a:gd name="connsiteX211" fmla="*/ 492676 w 3785642"/>
                <a:gd name="connsiteY211" fmla="*/ 473786 h 479077"/>
                <a:gd name="connsiteX212" fmla="*/ 476306 w 3785642"/>
                <a:gd name="connsiteY212" fmla="*/ 474778 h 479077"/>
                <a:gd name="connsiteX213" fmla="*/ 459935 w 3785642"/>
                <a:gd name="connsiteY213" fmla="*/ 473786 h 479077"/>
                <a:gd name="connsiteX214" fmla="*/ 443565 w 3785642"/>
                <a:gd name="connsiteY214" fmla="*/ 474778 h 479077"/>
                <a:gd name="connsiteX215" fmla="*/ 427194 w 3785642"/>
                <a:gd name="connsiteY215" fmla="*/ 474282 h 479077"/>
                <a:gd name="connsiteX216" fmla="*/ 410823 w 3785642"/>
                <a:gd name="connsiteY216" fmla="*/ 473290 h 479077"/>
                <a:gd name="connsiteX217" fmla="*/ 394453 w 3785642"/>
                <a:gd name="connsiteY217" fmla="*/ 475770 h 479077"/>
                <a:gd name="connsiteX218" fmla="*/ 378082 w 3785642"/>
                <a:gd name="connsiteY218" fmla="*/ 475274 h 479077"/>
                <a:gd name="connsiteX219" fmla="*/ 361712 w 3785642"/>
                <a:gd name="connsiteY219" fmla="*/ 474778 h 479077"/>
                <a:gd name="connsiteX220" fmla="*/ 345341 w 3785642"/>
                <a:gd name="connsiteY220" fmla="*/ 476266 h 479077"/>
                <a:gd name="connsiteX221" fmla="*/ 328970 w 3785642"/>
                <a:gd name="connsiteY221" fmla="*/ 474282 h 479077"/>
                <a:gd name="connsiteX222" fmla="*/ 312600 w 3785642"/>
                <a:gd name="connsiteY222" fmla="*/ 475274 h 479077"/>
                <a:gd name="connsiteX223" fmla="*/ 296229 w 3785642"/>
                <a:gd name="connsiteY223" fmla="*/ 474282 h 479077"/>
                <a:gd name="connsiteX224" fmla="*/ 279859 w 3785642"/>
                <a:gd name="connsiteY224" fmla="*/ 475770 h 479077"/>
                <a:gd name="connsiteX225" fmla="*/ 263488 w 3785642"/>
                <a:gd name="connsiteY225" fmla="*/ 476266 h 479077"/>
                <a:gd name="connsiteX226" fmla="*/ 247118 w 3785642"/>
                <a:gd name="connsiteY226" fmla="*/ 476266 h 479077"/>
                <a:gd name="connsiteX227" fmla="*/ 230747 w 3785642"/>
                <a:gd name="connsiteY227" fmla="*/ 474778 h 479077"/>
                <a:gd name="connsiteX228" fmla="*/ 214376 w 3785642"/>
                <a:gd name="connsiteY228" fmla="*/ 474778 h 479077"/>
                <a:gd name="connsiteX229" fmla="*/ 198006 w 3785642"/>
                <a:gd name="connsiteY229" fmla="*/ 476762 h 479077"/>
                <a:gd name="connsiteX230" fmla="*/ 181635 w 3785642"/>
                <a:gd name="connsiteY230" fmla="*/ 476266 h 479077"/>
                <a:gd name="connsiteX231" fmla="*/ 165265 w 3785642"/>
                <a:gd name="connsiteY231" fmla="*/ 474778 h 479077"/>
                <a:gd name="connsiteX232" fmla="*/ 148894 w 3785642"/>
                <a:gd name="connsiteY232" fmla="*/ 476762 h 479077"/>
                <a:gd name="connsiteX233" fmla="*/ 132524 w 3785642"/>
                <a:gd name="connsiteY233" fmla="*/ 476266 h 479077"/>
                <a:gd name="connsiteX234" fmla="*/ 116153 w 3785642"/>
                <a:gd name="connsiteY234" fmla="*/ 475274 h 479077"/>
                <a:gd name="connsiteX235" fmla="*/ 99783 w 3785642"/>
                <a:gd name="connsiteY235" fmla="*/ 475274 h 479077"/>
                <a:gd name="connsiteX236" fmla="*/ 83412 w 3785642"/>
                <a:gd name="connsiteY236" fmla="*/ 475274 h 479077"/>
                <a:gd name="connsiteX237" fmla="*/ 67041 w 3785642"/>
                <a:gd name="connsiteY237" fmla="*/ 474778 h 479077"/>
                <a:gd name="connsiteX238" fmla="*/ 50671 w 3785642"/>
                <a:gd name="connsiteY238" fmla="*/ 475274 h 479077"/>
                <a:gd name="connsiteX239" fmla="*/ 34300 w 3785642"/>
                <a:gd name="connsiteY239" fmla="*/ 475274 h 479077"/>
                <a:gd name="connsiteX240" fmla="*/ 17930 w 3785642"/>
                <a:gd name="connsiteY240" fmla="*/ 475770 h 479077"/>
                <a:gd name="connsiteX241" fmla="*/ 567 w 3785642"/>
                <a:gd name="connsiteY241" fmla="*/ 475770 h 479077"/>
                <a:gd name="connsiteX242" fmla="*/ 12969 w 3785642"/>
                <a:gd name="connsiteY242" fmla="*/ 463368 h 479077"/>
                <a:gd name="connsiteX243" fmla="*/ 24379 w 3785642"/>
                <a:gd name="connsiteY243" fmla="*/ 451958 h 479077"/>
                <a:gd name="connsiteX244" fmla="*/ 35788 w 3785642"/>
                <a:gd name="connsiteY244" fmla="*/ 440053 h 479077"/>
                <a:gd name="connsiteX245" fmla="*/ 48686 w 3785642"/>
                <a:gd name="connsiteY245" fmla="*/ 430131 h 479077"/>
                <a:gd name="connsiteX246" fmla="*/ 59600 w 3785642"/>
                <a:gd name="connsiteY246" fmla="*/ 418225 h 479077"/>
                <a:gd name="connsiteX247" fmla="*/ 70514 w 3785642"/>
                <a:gd name="connsiteY247" fmla="*/ 405823 h 479077"/>
                <a:gd name="connsiteX248" fmla="*/ 83412 w 3785642"/>
                <a:gd name="connsiteY248" fmla="*/ 395406 h 479077"/>
                <a:gd name="connsiteX249" fmla="*/ 94822 w 3785642"/>
                <a:gd name="connsiteY249" fmla="*/ 383500 h 479077"/>
                <a:gd name="connsiteX250" fmla="*/ 106728 w 3785642"/>
                <a:gd name="connsiteY250" fmla="*/ 372090 h 479077"/>
                <a:gd name="connsiteX251" fmla="*/ 117145 w 3785642"/>
                <a:gd name="connsiteY251" fmla="*/ 359688 h 479077"/>
                <a:gd name="connsiteX252" fmla="*/ 128555 w 3785642"/>
                <a:gd name="connsiteY252" fmla="*/ 348278 h 479077"/>
                <a:gd name="connsiteX253" fmla="*/ 140461 w 3785642"/>
                <a:gd name="connsiteY253" fmla="*/ 336868 h 479077"/>
                <a:gd name="connsiteX254" fmla="*/ 152863 w 3785642"/>
                <a:gd name="connsiteY254" fmla="*/ 326451 h 479077"/>
                <a:gd name="connsiteX255" fmla="*/ 164769 w 3785642"/>
                <a:gd name="connsiteY255" fmla="*/ 315041 h 479077"/>
                <a:gd name="connsiteX256" fmla="*/ 176178 w 3785642"/>
                <a:gd name="connsiteY256" fmla="*/ 303135 h 479077"/>
                <a:gd name="connsiteX257" fmla="*/ 188084 w 3785642"/>
                <a:gd name="connsiteY257" fmla="*/ 291725 h 479077"/>
                <a:gd name="connsiteX258" fmla="*/ 199494 w 3785642"/>
                <a:gd name="connsiteY258" fmla="*/ 280315 h 479077"/>
                <a:gd name="connsiteX259" fmla="*/ 210904 w 3785642"/>
                <a:gd name="connsiteY259" fmla="*/ 268906 h 479077"/>
                <a:gd name="connsiteX260" fmla="*/ 221818 w 3785642"/>
                <a:gd name="connsiteY260" fmla="*/ 256504 h 479077"/>
                <a:gd name="connsiteX261" fmla="*/ 233724 w 3785642"/>
                <a:gd name="connsiteY261" fmla="*/ 245094 h 479077"/>
                <a:gd name="connsiteX262" fmla="*/ 244141 w 3785642"/>
                <a:gd name="connsiteY262" fmla="*/ 232692 h 479077"/>
                <a:gd name="connsiteX263" fmla="*/ 257039 w 3785642"/>
                <a:gd name="connsiteY263" fmla="*/ 222770 h 479077"/>
                <a:gd name="connsiteX264" fmla="*/ 266961 w 3785642"/>
                <a:gd name="connsiteY264" fmla="*/ 209376 h 479077"/>
                <a:gd name="connsiteX265" fmla="*/ 278371 w 3785642"/>
                <a:gd name="connsiteY265" fmla="*/ 197966 h 479077"/>
                <a:gd name="connsiteX266" fmla="*/ 291269 w 3785642"/>
                <a:gd name="connsiteY266" fmla="*/ 188045 h 479077"/>
                <a:gd name="connsiteX267" fmla="*/ 301686 w 3785642"/>
                <a:gd name="connsiteY267" fmla="*/ 175147 h 479077"/>
                <a:gd name="connsiteX268" fmla="*/ 313592 w 3785642"/>
                <a:gd name="connsiteY268" fmla="*/ 163737 h 479077"/>
                <a:gd name="connsiteX269" fmla="*/ 325994 w 3785642"/>
                <a:gd name="connsiteY269" fmla="*/ 153319 h 479077"/>
                <a:gd name="connsiteX270" fmla="*/ 337404 w 3785642"/>
                <a:gd name="connsiteY270" fmla="*/ 141910 h 479077"/>
                <a:gd name="connsiteX271" fmla="*/ 347325 w 3785642"/>
                <a:gd name="connsiteY271" fmla="*/ 129012 h 479077"/>
                <a:gd name="connsiteX272" fmla="*/ 360224 w 3785642"/>
                <a:gd name="connsiteY272" fmla="*/ 118594 h 479077"/>
                <a:gd name="connsiteX273" fmla="*/ 371137 w 3785642"/>
                <a:gd name="connsiteY273" fmla="*/ 106192 h 479077"/>
                <a:gd name="connsiteX274" fmla="*/ 382051 w 3785642"/>
                <a:gd name="connsiteY274" fmla="*/ 93790 h 479077"/>
                <a:gd name="connsiteX275" fmla="*/ 393957 w 3785642"/>
                <a:gd name="connsiteY275" fmla="*/ 82380 h 479077"/>
                <a:gd name="connsiteX276" fmla="*/ 405366 w 3785642"/>
                <a:gd name="connsiteY276" fmla="*/ 70475 h 479077"/>
                <a:gd name="connsiteX277" fmla="*/ 417272 w 3785642"/>
                <a:gd name="connsiteY277" fmla="*/ 59561 h 479077"/>
                <a:gd name="connsiteX278" fmla="*/ 429674 w 3785642"/>
                <a:gd name="connsiteY278" fmla="*/ 48647 h 479077"/>
                <a:gd name="connsiteX279" fmla="*/ 440092 w 3785642"/>
                <a:gd name="connsiteY279" fmla="*/ 35749 h 479077"/>
                <a:gd name="connsiteX280" fmla="*/ 452494 w 3785642"/>
                <a:gd name="connsiteY280" fmla="*/ 24835 h 479077"/>
                <a:gd name="connsiteX281" fmla="*/ 463904 w 3785642"/>
                <a:gd name="connsiteY281" fmla="*/ 12929 h 479077"/>
                <a:gd name="connsiteX282" fmla="*/ 475313 w 3785642"/>
                <a:gd name="connsiteY282" fmla="*/ 1024 h 479077"/>
                <a:gd name="connsiteX283" fmla="*/ 491684 w 3785642"/>
                <a:gd name="connsiteY283" fmla="*/ 2512 h 479077"/>
                <a:gd name="connsiteX284" fmla="*/ 508055 w 3785642"/>
                <a:gd name="connsiteY284" fmla="*/ 2512 h 479077"/>
                <a:gd name="connsiteX285" fmla="*/ 524425 w 3785642"/>
                <a:gd name="connsiteY285" fmla="*/ 2512 h 479077"/>
                <a:gd name="connsiteX286" fmla="*/ 540796 w 3785642"/>
                <a:gd name="connsiteY286" fmla="*/ 1024 h 479077"/>
                <a:gd name="connsiteX287" fmla="*/ 557166 w 3785642"/>
                <a:gd name="connsiteY287" fmla="*/ 2512 h 479077"/>
                <a:gd name="connsiteX288" fmla="*/ 573537 w 3785642"/>
                <a:gd name="connsiteY288" fmla="*/ 1024 h 479077"/>
                <a:gd name="connsiteX289" fmla="*/ 589908 w 3785642"/>
                <a:gd name="connsiteY289" fmla="*/ 527 h 479077"/>
                <a:gd name="connsiteX290" fmla="*/ 606278 w 3785642"/>
                <a:gd name="connsiteY290" fmla="*/ 1520 h 479077"/>
                <a:gd name="connsiteX291" fmla="*/ 622649 w 3785642"/>
                <a:gd name="connsiteY291" fmla="*/ 1520 h 479077"/>
                <a:gd name="connsiteX292" fmla="*/ 639019 w 3785642"/>
                <a:gd name="connsiteY292" fmla="*/ 2016 h 479077"/>
                <a:gd name="connsiteX293" fmla="*/ 655390 w 3785642"/>
                <a:gd name="connsiteY293" fmla="*/ 527 h 479077"/>
                <a:gd name="connsiteX294" fmla="*/ 671760 w 3785642"/>
                <a:gd name="connsiteY294" fmla="*/ 1520 h 479077"/>
                <a:gd name="connsiteX295" fmla="*/ 688131 w 3785642"/>
                <a:gd name="connsiteY295" fmla="*/ 2512 h 479077"/>
                <a:gd name="connsiteX296" fmla="*/ 704501 w 3785642"/>
                <a:gd name="connsiteY296" fmla="*/ 1024 h 479077"/>
                <a:gd name="connsiteX297" fmla="*/ 720872 w 3785642"/>
                <a:gd name="connsiteY297" fmla="*/ 1520 h 479077"/>
                <a:gd name="connsiteX298" fmla="*/ 737243 w 3785642"/>
                <a:gd name="connsiteY298" fmla="*/ 2016 h 479077"/>
                <a:gd name="connsiteX299" fmla="*/ 753613 w 3785642"/>
                <a:gd name="connsiteY299" fmla="*/ 1024 h 479077"/>
                <a:gd name="connsiteX300" fmla="*/ 769984 w 3785642"/>
                <a:gd name="connsiteY300" fmla="*/ 527 h 479077"/>
                <a:gd name="connsiteX301" fmla="*/ 786354 w 3785642"/>
                <a:gd name="connsiteY301" fmla="*/ 1520 h 479077"/>
                <a:gd name="connsiteX302" fmla="*/ 802725 w 3785642"/>
                <a:gd name="connsiteY302" fmla="*/ 527 h 479077"/>
                <a:gd name="connsiteX303" fmla="*/ 819096 w 3785642"/>
                <a:gd name="connsiteY303" fmla="*/ 2512 h 479077"/>
                <a:gd name="connsiteX304" fmla="*/ 835466 w 3785642"/>
                <a:gd name="connsiteY304" fmla="*/ 527 h 479077"/>
                <a:gd name="connsiteX305" fmla="*/ 851837 w 3785642"/>
                <a:gd name="connsiteY305" fmla="*/ 1520 h 479077"/>
                <a:gd name="connsiteX306" fmla="*/ 868207 w 3785642"/>
                <a:gd name="connsiteY306" fmla="*/ 2016 h 479077"/>
                <a:gd name="connsiteX307" fmla="*/ 884578 w 3785642"/>
                <a:gd name="connsiteY307" fmla="*/ 2512 h 479077"/>
                <a:gd name="connsiteX308" fmla="*/ 900948 w 3785642"/>
                <a:gd name="connsiteY308" fmla="*/ 1520 h 479077"/>
                <a:gd name="connsiteX309" fmla="*/ 917319 w 3785642"/>
                <a:gd name="connsiteY309" fmla="*/ 1024 h 479077"/>
                <a:gd name="connsiteX310" fmla="*/ 933689 w 3785642"/>
                <a:gd name="connsiteY310" fmla="*/ 2512 h 479077"/>
                <a:gd name="connsiteX311" fmla="*/ 950060 w 3785642"/>
                <a:gd name="connsiteY311" fmla="*/ 1520 h 479077"/>
                <a:gd name="connsiteX312" fmla="*/ 966431 w 3785642"/>
                <a:gd name="connsiteY312" fmla="*/ 2016 h 479077"/>
                <a:gd name="connsiteX313" fmla="*/ 982801 w 3785642"/>
                <a:gd name="connsiteY313" fmla="*/ 2512 h 479077"/>
                <a:gd name="connsiteX314" fmla="*/ 999172 w 3785642"/>
                <a:gd name="connsiteY314" fmla="*/ 1520 h 479077"/>
                <a:gd name="connsiteX315" fmla="*/ 1015542 w 3785642"/>
                <a:gd name="connsiteY315" fmla="*/ 2512 h 479077"/>
                <a:gd name="connsiteX316" fmla="*/ 1031913 w 3785642"/>
                <a:gd name="connsiteY316" fmla="*/ 1520 h 479077"/>
                <a:gd name="connsiteX317" fmla="*/ 1048283 w 3785642"/>
                <a:gd name="connsiteY317" fmla="*/ 2016 h 479077"/>
                <a:gd name="connsiteX318" fmla="*/ 1064654 w 3785642"/>
                <a:gd name="connsiteY318" fmla="*/ 3504 h 479077"/>
                <a:gd name="connsiteX319" fmla="*/ 1081025 w 3785642"/>
                <a:gd name="connsiteY319" fmla="*/ 2016 h 479077"/>
                <a:gd name="connsiteX320" fmla="*/ 1097395 w 3785642"/>
                <a:gd name="connsiteY320" fmla="*/ 2512 h 479077"/>
                <a:gd name="connsiteX321" fmla="*/ 1113766 w 3785642"/>
                <a:gd name="connsiteY321" fmla="*/ 2512 h 479077"/>
                <a:gd name="connsiteX322" fmla="*/ 1130136 w 3785642"/>
                <a:gd name="connsiteY322" fmla="*/ 3504 h 479077"/>
                <a:gd name="connsiteX323" fmla="*/ 1146507 w 3785642"/>
                <a:gd name="connsiteY323" fmla="*/ 1520 h 479077"/>
                <a:gd name="connsiteX324" fmla="*/ 1162878 w 3785642"/>
                <a:gd name="connsiteY324" fmla="*/ 3008 h 479077"/>
                <a:gd name="connsiteX325" fmla="*/ 1179248 w 3785642"/>
                <a:gd name="connsiteY325" fmla="*/ 4000 h 479077"/>
                <a:gd name="connsiteX326" fmla="*/ 1195619 w 3785642"/>
                <a:gd name="connsiteY326" fmla="*/ 3504 h 479077"/>
                <a:gd name="connsiteX327" fmla="*/ 1211989 w 3785642"/>
                <a:gd name="connsiteY327" fmla="*/ 1520 h 479077"/>
                <a:gd name="connsiteX328" fmla="*/ 1228360 w 3785642"/>
                <a:gd name="connsiteY328" fmla="*/ 3504 h 479077"/>
                <a:gd name="connsiteX329" fmla="*/ 1244730 w 3785642"/>
                <a:gd name="connsiteY329" fmla="*/ 1520 h 479077"/>
                <a:gd name="connsiteX330" fmla="*/ 1261101 w 3785642"/>
                <a:gd name="connsiteY330" fmla="*/ 2512 h 479077"/>
                <a:gd name="connsiteX331" fmla="*/ 1277471 w 3785642"/>
                <a:gd name="connsiteY331" fmla="*/ 3504 h 479077"/>
                <a:gd name="connsiteX332" fmla="*/ 1293842 w 3785642"/>
                <a:gd name="connsiteY332" fmla="*/ 4000 h 479077"/>
                <a:gd name="connsiteX333" fmla="*/ 1310213 w 3785642"/>
                <a:gd name="connsiteY333" fmla="*/ 1520 h 479077"/>
                <a:gd name="connsiteX334" fmla="*/ 1326583 w 3785642"/>
                <a:gd name="connsiteY334" fmla="*/ 2016 h 479077"/>
                <a:gd name="connsiteX335" fmla="*/ 1342954 w 3785642"/>
                <a:gd name="connsiteY335" fmla="*/ 3008 h 479077"/>
                <a:gd name="connsiteX336" fmla="*/ 1359324 w 3785642"/>
                <a:gd name="connsiteY336" fmla="*/ 3008 h 479077"/>
                <a:gd name="connsiteX337" fmla="*/ 1375695 w 3785642"/>
                <a:gd name="connsiteY337" fmla="*/ 2512 h 479077"/>
                <a:gd name="connsiteX338" fmla="*/ 1392066 w 3785642"/>
                <a:gd name="connsiteY338" fmla="*/ 2512 h 479077"/>
                <a:gd name="connsiteX339" fmla="*/ 1408436 w 3785642"/>
                <a:gd name="connsiteY339" fmla="*/ 3504 h 479077"/>
                <a:gd name="connsiteX340" fmla="*/ 1424807 w 3785642"/>
                <a:gd name="connsiteY340" fmla="*/ 3504 h 479077"/>
                <a:gd name="connsiteX341" fmla="*/ 1441177 w 3785642"/>
                <a:gd name="connsiteY341" fmla="*/ 1520 h 479077"/>
                <a:gd name="connsiteX342" fmla="*/ 1457548 w 3785642"/>
                <a:gd name="connsiteY342" fmla="*/ 2512 h 479077"/>
                <a:gd name="connsiteX343" fmla="*/ 1473919 w 3785642"/>
                <a:gd name="connsiteY343" fmla="*/ 2016 h 479077"/>
                <a:gd name="connsiteX344" fmla="*/ 1490289 w 3785642"/>
                <a:gd name="connsiteY344" fmla="*/ 2016 h 479077"/>
                <a:gd name="connsiteX345" fmla="*/ 1506660 w 3785642"/>
                <a:gd name="connsiteY345" fmla="*/ 1520 h 479077"/>
                <a:gd name="connsiteX346" fmla="*/ 1523030 w 3785642"/>
                <a:gd name="connsiteY346" fmla="*/ 3504 h 479077"/>
                <a:gd name="connsiteX347" fmla="*/ 1539401 w 3785642"/>
                <a:gd name="connsiteY347" fmla="*/ 3008 h 479077"/>
                <a:gd name="connsiteX348" fmla="*/ 1555771 w 3785642"/>
                <a:gd name="connsiteY348" fmla="*/ 3008 h 479077"/>
                <a:gd name="connsiteX349" fmla="*/ 1572142 w 3785642"/>
                <a:gd name="connsiteY349" fmla="*/ 2512 h 479077"/>
                <a:gd name="connsiteX350" fmla="*/ 1588512 w 3785642"/>
                <a:gd name="connsiteY350" fmla="*/ 2016 h 479077"/>
                <a:gd name="connsiteX351" fmla="*/ 1604883 w 3785642"/>
                <a:gd name="connsiteY351" fmla="*/ 3008 h 479077"/>
                <a:gd name="connsiteX352" fmla="*/ 1621253 w 3785642"/>
                <a:gd name="connsiteY352" fmla="*/ 3008 h 479077"/>
                <a:gd name="connsiteX353" fmla="*/ 1637624 w 3785642"/>
                <a:gd name="connsiteY35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05646 w 3785642"/>
                <a:gd name="connsiteY22" fmla="*/ 79404 h 479077"/>
                <a:gd name="connsiteX23" fmla="*/ 3393740 w 3785642"/>
                <a:gd name="connsiteY23" fmla="*/ 68490 h 479077"/>
                <a:gd name="connsiteX24" fmla="*/ 3382330 w 3785642"/>
                <a:gd name="connsiteY24" fmla="*/ 56584 h 479077"/>
                <a:gd name="connsiteX25" fmla="*/ 3370921 w 3785642"/>
                <a:gd name="connsiteY25" fmla="*/ 44678 h 479077"/>
                <a:gd name="connsiteX26" fmla="*/ 3313375 w 3785642"/>
                <a:gd name="connsiteY26" fmla="*/ 10945 h 479077"/>
                <a:gd name="connsiteX27" fmla="*/ 3300973 w 3785642"/>
                <a:gd name="connsiteY27" fmla="*/ 21363 h 479077"/>
                <a:gd name="connsiteX28" fmla="*/ 3289068 w 3785642"/>
                <a:gd name="connsiteY28" fmla="*/ 32276 h 479077"/>
                <a:gd name="connsiteX29" fmla="*/ 3277658 w 3785642"/>
                <a:gd name="connsiteY29" fmla="*/ 43686 h 479077"/>
                <a:gd name="connsiteX30" fmla="*/ 3266248 w 3785642"/>
                <a:gd name="connsiteY30" fmla="*/ 55592 h 479077"/>
                <a:gd name="connsiteX31" fmla="*/ 3255830 w 3785642"/>
                <a:gd name="connsiteY31" fmla="*/ 68490 h 479077"/>
                <a:gd name="connsiteX32" fmla="*/ 3243924 w 3785642"/>
                <a:gd name="connsiteY32" fmla="*/ 79900 h 479077"/>
                <a:gd name="connsiteX33" fmla="*/ 3231522 w 3785642"/>
                <a:gd name="connsiteY33" fmla="*/ 90814 h 479077"/>
                <a:gd name="connsiteX34" fmla="*/ 3220609 w 3785642"/>
                <a:gd name="connsiteY34" fmla="*/ 102720 h 479077"/>
                <a:gd name="connsiteX35" fmla="*/ 3208207 w 3785642"/>
                <a:gd name="connsiteY35" fmla="*/ 113137 h 479077"/>
                <a:gd name="connsiteX36" fmla="*/ 3197293 w 3785642"/>
                <a:gd name="connsiteY36" fmla="*/ 125043 h 479077"/>
                <a:gd name="connsiteX37" fmla="*/ 3185387 w 3785642"/>
                <a:gd name="connsiteY37" fmla="*/ 136453 h 479077"/>
                <a:gd name="connsiteX38" fmla="*/ 3174970 w 3785642"/>
                <a:gd name="connsiteY38" fmla="*/ 148855 h 479077"/>
                <a:gd name="connsiteX39" fmla="*/ 3162071 w 3785642"/>
                <a:gd name="connsiteY39" fmla="*/ 159272 h 479077"/>
                <a:gd name="connsiteX40" fmla="*/ 3151158 w 3785642"/>
                <a:gd name="connsiteY40" fmla="*/ 171674 h 479077"/>
                <a:gd name="connsiteX41" fmla="*/ 3139252 w 3785642"/>
                <a:gd name="connsiteY41" fmla="*/ 182588 h 479077"/>
                <a:gd name="connsiteX42" fmla="*/ 3127843 w 3785642"/>
                <a:gd name="connsiteY42" fmla="*/ 194494 h 479077"/>
                <a:gd name="connsiteX43" fmla="*/ 3116432 w 3785642"/>
                <a:gd name="connsiteY43" fmla="*/ 205904 h 479077"/>
                <a:gd name="connsiteX44" fmla="*/ 3105022 w 3785642"/>
                <a:gd name="connsiteY44" fmla="*/ 217810 h 479077"/>
                <a:gd name="connsiteX45" fmla="*/ 3093117 w 3785642"/>
                <a:gd name="connsiteY45" fmla="*/ 229219 h 479077"/>
                <a:gd name="connsiteX46" fmla="*/ 3081707 w 3785642"/>
                <a:gd name="connsiteY46" fmla="*/ 240629 h 479077"/>
                <a:gd name="connsiteX47" fmla="*/ 3069305 w 3785642"/>
                <a:gd name="connsiteY47" fmla="*/ 251543 h 479077"/>
                <a:gd name="connsiteX48" fmla="*/ 3057895 w 3785642"/>
                <a:gd name="connsiteY48" fmla="*/ 263449 h 479077"/>
                <a:gd name="connsiteX49" fmla="*/ 3046486 w 3785642"/>
                <a:gd name="connsiteY49" fmla="*/ 275355 h 479077"/>
                <a:gd name="connsiteX50" fmla="*/ 3035572 w 3785642"/>
                <a:gd name="connsiteY50" fmla="*/ 287260 h 479077"/>
                <a:gd name="connsiteX51" fmla="*/ 3024658 w 3785642"/>
                <a:gd name="connsiteY51" fmla="*/ 299166 h 479077"/>
                <a:gd name="connsiteX52" fmla="*/ 3013248 w 3785642"/>
                <a:gd name="connsiteY52" fmla="*/ 311072 h 479077"/>
                <a:gd name="connsiteX53" fmla="*/ 3000350 w 3785642"/>
                <a:gd name="connsiteY53" fmla="*/ 321490 h 479077"/>
                <a:gd name="connsiteX54" fmla="*/ 2988941 w 3785642"/>
                <a:gd name="connsiteY54" fmla="*/ 333396 h 479077"/>
                <a:gd name="connsiteX55" fmla="*/ 2976539 w 3785642"/>
                <a:gd name="connsiteY55" fmla="*/ 344309 h 479077"/>
                <a:gd name="connsiteX56" fmla="*/ 2965129 w 3785642"/>
                <a:gd name="connsiteY56" fmla="*/ 356215 h 479077"/>
                <a:gd name="connsiteX57" fmla="*/ 2953223 w 3785642"/>
                <a:gd name="connsiteY57" fmla="*/ 367625 h 479077"/>
                <a:gd name="connsiteX58" fmla="*/ 2941813 w 3785642"/>
                <a:gd name="connsiteY58" fmla="*/ 379531 h 479077"/>
                <a:gd name="connsiteX59" fmla="*/ 2931395 w 3785642"/>
                <a:gd name="connsiteY59" fmla="*/ 392429 h 479077"/>
                <a:gd name="connsiteX60" fmla="*/ 2918497 w 3785642"/>
                <a:gd name="connsiteY60" fmla="*/ 402847 h 479077"/>
                <a:gd name="connsiteX61" fmla="*/ 2907584 w 3785642"/>
                <a:gd name="connsiteY61" fmla="*/ 415249 h 479077"/>
                <a:gd name="connsiteX62" fmla="*/ 2896174 w 3785642"/>
                <a:gd name="connsiteY62" fmla="*/ 426658 h 479077"/>
                <a:gd name="connsiteX63" fmla="*/ 2884268 w 3785642"/>
                <a:gd name="connsiteY63" fmla="*/ 438068 h 479077"/>
                <a:gd name="connsiteX64" fmla="*/ 2873354 w 3785642"/>
                <a:gd name="connsiteY64" fmla="*/ 450470 h 479077"/>
                <a:gd name="connsiteX65" fmla="*/ 2860952 w 3785642"/>
                <a:gd name="connsiteY65" fmla="*/ 461384 h 479077"/>
                <a:gd name="connsiteX66" fmla="*/ 2850039 w 3785642"/>
                <a:gd name="connsiteY66" fmla="*/ 473786 h 479077"/>
                <a:gd name="connsiteX67" fmla="*/ 2833668 w 3785642"/>
                <a:gd name="connsiteY67" fmla="*/ 473786 h 479077"/>
                <a:gd name="connsiteX68" fmla="*/ 2817297 w 3785642"/>
                <a:gd name="connsiteY68" fmla="*/ 473290 h 479077"/>
                <a:gd name="connsiteX69" fmla="*/ 2800927 w 3785642"/>
                <a:gd name="connsiteY69" fmla="*/ 473290 h 479077"/>
                <a:gd name="connsiteX70" fmla="*/ 2784556 w 3785642"/>
                <a:gd name="connsiteY70" fmla="*/ 473786 h 479077"/>
                <a:gd name="connsiteX71" fmla="*/ 2768186 w 3785642"/>
                <a:gd name="connsiteY71" fmla="*/ 474282 h 479077"/>
                <a:gd name="connsiteX72" fmla="*/ 2751815 w 3785642"/>
                <a:gd name="connsiteY72" fmla="*/ 474282 h 479077"/>
                <a:gd name="connsiteX73" fmla="*/ 2735444 w 3785642"/>
                <a:gd name="connsiteY73" fmla="*/ 473290 h 479077"/>
                <a:gd name="connsiteX74" fmla="*/ 2719074 w 3785642"/>
                <a:gd name="connsiteY74" fmla="*/ 474282 h 479077"/>
                <a:gd name="connsiteX75" fmla="*/ 2702703 w 3785642"/>
                <a:gd name="connsiteY75" fmla="*/ 472298 h 479077"/>
                <a:gd name="connsiteX76" fmla="*/ 2686333 w 3785642"/>
                <a:gd name="connsiteY76" fmla="*/ 472794 h 479077"/>
                <a:gd name="connsiteX77" fmla="*/ 2669962 w 3785642"/>
                <a:gd name="connsiteY77" fmla="*/ 474282 h 479077"/>
                <a:gd name="connsiteX78" fmla="*/ 2653592 w 3785642"/>
                <a:gd name="connsiteY78" fmla="*/ 472298 h 479077"/>
                <a:gd name="connsiteX79" fmla="*/ 2637221 w 3785642"/>
                <a:gd name="connsiteY79" fmla="*/ 474282 h 479077"/>
                <a:gd name="connsiteX80" fmla="*/ 2620851 w 3785642"/>
                <a:gd name="connsiteY80" fmla="*/ 474282 h 479077"/>
                <a:gd name="connsiteX81" fmla="*/ 2604480 w 3785642"/>
                <a:gd name="connsiteY81" fmla="*/ 472298 h 479077"/>
                <a:gd name="connsiteX82" fmla="*/ 2588109 w 3785642"/>
                <a:gd name="connsiteY82" fmla="*/ 473786 h 479077"/>
                <a:gd name="connsiteX83" fmla="*/ 2571739 w 3785642"/>
                <a:gd name="connsiteY83" fmla="*/ 472298 h 479077"/>
                <a:gd name="connsiteX84" fmla="*/ 2555368 w 3785642"/>
                <a:gd name="connsiteY84" fmla="*/ 473290 h 479077"/>
                <a:gd name="connsiteX85" fmla="*/ 2538998 w 3785642"/>
                <a:gd name="connsiteY85" fmla="*/ 474282 h 479077"/>
                <a:gd name="connsiteX86" fmla="*/ 2522627 w 3785642"/>
                <a:gd name="connsiteY86" fmla="*/ 473290 h 479077"/>
                <a:gd name="connsiteX87" fmla="*/ 2506257 w 3785642"/>
                <a:gd name="connsiteY87" fmla="*/ 474282 h 479077"/>
                <a:gd name="connsiteX88" fmla="*/ 2489886 w 3785642"/>
                <a:gd name="connsiteY88" fmla="*/ 473786 h 479077"/>
                <a:gd name="connsiteX89" fmla="*/ 2473516 w 3785642"/>
                <a:gd name="connsiteY89" fmla="*/ 474282 h 479077"/>
                <a:gd name="connsiteX90" fmla="*/ 2457145 w 3785642"/>
                <a:gd name="connsiteY90" fmla="*/ 472794 h 479077"/>
                <a:gd name="connsiteX91" fmla="*/ 2440775 w 3785642"/>
                <a:gd name="connsiteY91" fmla="*/ 472298 h 479077"/>
                <a:gd name="connsiteX92" fmla="*/ 2424404 w 3785642"/>
                <a:gd name="connsiteY92" fmla="*/ 473786 h 479077"/>
                <a:gd name="connsiteX93" fmla="*/ 2408033 w 3785642"/>
                <a:gd name="connsiteY93" fmla="*/ 472794 h 479077"/>
                <a:gd name="connsiteX94" fmla="*/ 2391663 w 3785642"/>
                <a:gd name="connsiteY94" fmla="*/ 473290 h 479077"/>
                <a:gd name="connsiteX95" fmla="*/ 2375292 w 3785642"/>
                <a:gd name="connsiteY95" fmla="*/ 473290 h 479077"/>
                <a:gd name="connsiteX96" fmla="*/ 2358922 w 3785642"/>
                <a:gd name="connsiteY96" fmla="*/ 472794 h 479077"/>
                <a:gd name="connsiteX97" fmla="*/ 2342551 w 3785642"/>
                <a:gd name="connsiteY97" fmla="*/ 472298 h 479077"/>
                <a:gd name="connsiteX98" fmla="*/ 2326180 w 3785642"/>
                <a:gd name="connsiteY98" fmla="*/ 473786 h 479077"/>
                <a:gd name="connsiteX99" fmla="*/ 2309810 w 3785642"/>
                <a:gd name="connsiteY99" fmla="*/ 473786 h 479077"/>
                <a:gd name="connsiteX100" fmla="*/ 2293439 w 3785642"/>
                <a:gd name="connsiteY100" fmla="*/ 473786 h 479077"/>
                <a:gd name="connsiteX101" fmla="*/ 2277069 w 3785642"/>
                <a:gd name="connsiteY101" fmla="*/ 472794 h 479077"/>
                <a:gd name="connsiteX102" fmla="*/ 2260698 w 3785642"/>
                <a:gd name="connsiteY102" fmla="*/ 474282 h 479077"/>
                <a:gd name="connsiteX103" fmla="*/ 2244327 w 3785642"/>
                <a:gd name="connsiteY103" fmla="*/ 472298 h 479077"/>
                <a:gd name="connsiteX104" fmla="*/ 2227957 w 3785642"/>
                <a:gd name="connsiteY104" fmla="*/ 474282 h 479077"/>
                <a:gd name="connsiteX105" fmla="*/ 2211586 w 3785642"/>
                <a:gd name="connsiteY105" fmla="*/ 473290 h 479077"/>
                <a:gd name="connsiteX106" fmla="*/ 2195216 w 3785642"/>
                <a:gd name="connsiteY106" fmla="*/ 474282 h 479077"/>
                <a:gd name="connsiteX107" fmla="*/ 2178845 w 3785642"/>
                <a:gd name="connsiteY107" fmla="*/ 472794 h 479077"/>
                <a:gd name="connsiteX108" fmla="*/ 2162474 w 3785642"/>
                <a:gd name="connsiteY108" fmla="*/ 474778 h 479077"/>
                <a:gd name="connsiteX109" fmla="*/ 2146104 w 3785642"/>
                <a:gd name="connsiteY109" fmla="*/ 473290 h 479077"/>
                <a:gd name="connsiteX110" fmla="*/ 2129733 w 3785642"/>
                <a:gd name="connsiteY110" fmla="*/ 474778 h 479077"/>
                <a:gd name="connsiteX111" fmla="*/ 2113363 w 3785642"/>
                <a:gd name="connsiteY111" fmla="*/ 474778 h 479077"/>
                <a:gd name="connsiteX112" fmla="*/ 2096992 w 3785642"/>
                <a:gd name="connsiteY112" fmla="*/ 474778 h 479077"/>
                <a:gd name="connsiteX113" fmla="*/ 2080621 w 3785642"/>
                <a:gd name="connsiteY113" fmla="*/ 474282 h 479077"/>
                <a:gd name="connsiteX114" fmla="*/ 2064251 w 3785642"/>
                <a:gd name="connsiteY114" fmla="*/ 472794 h 479077"/>
                <a:gd name="connsiteX115" fmla="*/ 2047880 w 3785642"/>
                <a:gd name="connsiteY115" fmla="*/ 474778 h 479077"/>
                <a:gd name="connsiteX116" fmla="*/ 2031510 w 3785642"/>
                <a:gd name="connsiteY116" fmla="*/ 474778 h 479077"/>
                <a:gd name="connsiteX117" fmla="*/ 2015139 w 3785642"/>
                <a:gd name="connsiteY117" fmla="*/ 474778 h 479077"/>
                <a:gd name="connsiteX118" fmla="*/ 1998769 w 3785642"/>
                <a:gd name="connsiteY118" fmla="*/ 474282 h 479077"/>
                <a:gd name="connsiteX119" fmla="*/ 1982398 w 3785642"/>
                <a:gd name="connsiteY119" fmla="*/ 473786 h 479077"/>
                <a:gd name="connsiteX120" fmla="*/ 1966028 w 3785642"/>
                <a:gd name="connsiteY120" fmla="*/ 473786 h 479077"/>
                <a:gd name="connsiteX121" fmla="*/ 1949657 w 3785642"/>
                <a:gd name="connsiteY121" fmla="*/ 472794 h 479077"/>
                <a:gd name="connsiteX122" fmla="*/ 1933287 w 3785642"/>
                <a:gd name="connsiteY122" fmla="*/ 473290 h 479077"/>
                <a:gd name="connsiteX123" fmla="*/ 1916916 w 3785642"/>
                <a:gd name="connsiteY123" fmla="*/ 474778 h 479077"/>
                <a:gd name="connsiteX124" fmla="*/ 1900546 w 3785642"/>
                <a:gd name="connsiteY124" fmla="*/ 472794 h 479077"/>
                <a:gd name="connsiteX125" fmla="*/ 1884175 w 3785642"/>
                <a:gd name="connsiteY125" fmla="*/ 473786 h 479077"/>
                <a:gd name="connsiteX126" fmla="*/ 1867804 w 3785642"/>
                <a:gd name="connsiteY126" fmla="*/ 474778 h 479077"/>
                <a:gd name="connsiteX127" fmla="*/ 1851434 w 3785642"/>
                <a:gd name="connsiteY127" fmla="*/ 474778 h 479077"/>
                <a:gd name="connsiteX128" fmla="*/ 1835063 w 3785642"/>
                <a:gd name="connsiteY128" fmla="*/ 474778 h 479077"/>
                <a:gd name="connsiteX129" fmla="*/ 1818693 w 3785642"/>
                <a:gd name="connsiteY129" fmla="*/ 474282 h 479077"/>
                <a:gd name="connsiteX130" fmla="*/ 1802322 w 3785642"/>
                <a:gd name="connsiteY130" fmla="*/ 472794 h 479077"/>
                <a:gd name="connsiteX131" fmla="*/ 1785951 w 3785642"/>
                <a:gd name="connsiteY131" fmla="*/ 473786 h 479077"/>
                <a:gd name="connsiteX132" fmla="*/ 1769581 w 3785642"/>
                <a:gd name="connsiteY132" fmla="*/ 473290 h 479077"/>
                <a:gd name="connsiteX133" fmla="*/ 1753210 w 3785642"/>
                <a:gd name="connsiteY133" fmla="*/ 472298 h 479077"/>
                <a:gd name="connsiteX134" fmla="*/ 1736840 w 3785642"/>
                <a:gd name="connsiteY134" fmla="*/ 473290 h 479077"/>
                <a:gd name="connsiteX135" fmla="*/ 1720469 w 3785642"/>
                <a:gd name="connsiteY135" fmla="*/ 474778 h 479077"/>
                <a:gd name="connsiteX136" fmla="*/ 1704098 w 3785642"/>
                <a:gd name="connsiteY136" fmla="*/ 472794 h 479077"/>
                <a:gd name="connsiteX137" fmla="*/ 1687728 w 3785642"/>
                <a:gd name="connsiteY137" fmla="*/ 474778 h 479077"/>
                <a:gd name="connsiteX138" fmla="*/ 1671357 w 3785642"/>
                <a:gd name="connsiteY138" fmla="*/ 474778 h 479077"/>
                <a:gd name="connsiteX139" fmla="*/ 1654987 w 3785642"/>
                <a:gd name="connsiteY139" fmla="*/ 472298 h 479077"/>
                <a:gd name="connsiteX140" fmla="*/ 1638616 w 3785642"/>
                <a:gd name="connsiteY140" fmla="*/ 472794 h 479077"/>
                <a:gd name="connsiteX141" fmla="*/ 1622246 w 3785642"/>
                <a:gd name="connsiteY141" fmla="*/ 473786 h 479077"/>
                <a:gd name="connsiteX142" fmla="*/ 1605875 w 3785642"/>
                <a:gd name="connsiteY142" fmla="*/ 474778 h 479077"/>
                <a:gd name="connsiteX143" fmla="*/ 1589505 w 3785642"/>
                <a:gd name="connsiteY143" fmla="*/ 473290 h 479077"/>
                <a:gd name="connsiteX144" fmla="*/ 1573134 w 3785642"/>
                <a:gd name="connsiteY144" fmla="*/ 474778 h 479077"/>
                <a:gd name="connsiteX145" fmla="*/ 1556763 w 3785642"/>
                <a:gd name="connsiteY145" fmla="*/ 472794 h 479077"/>
                <a:gd name="connsiteX146" fmla="*/ 1540393 w 3785642"/>
                <a:gd name="connsiteY146" fmla="*/ 472794 h 479077"/>
                <a:gd name="connsiteX147" fmla="*/ 1524022 w 3785642"/>
                <a:gd name="connsiteY147" fmla="*/ 474282 h 479077"/>
                <a:gd name="connsiteX148" fmla="*/ 1507652 w 3785642"/>
                <a:gd name="connsiteY148" fmla="*/ 472794 h 479077"/>
                <a:gd name="connsiteX149" fmla="*/ 1491281 w 3785642"/>
                <a:gd name="connsiteY149" fmla="*/ 474282 h 479077"/>
                <a:gd name="connsiteX150" fmla="*/ 1474910 w 3785642"/>
                <a:gd name="connsiteY150" fmla="*/ 474282 h 479077"/>
                <a:gd name="connsiteX151" fmla="*/ 1458540 w 3785642"/>
                <a:gd name="connsiteY151" fmla="*/ 472794 h 479077"/>
                <a:gd name="connsiteX152" fmla="*/ 1442169 w 3785642"/>
                <a:gd name="connsiteY152" fmla="*/ 471802 h 479077"/>
                <a:gd name="connsiteX153" fmla="*/ 1425799 w 3785642"/>
                <a:gd name="connsiteY153" fmla="*/ 472298 h 479077"/>
                <a:gd name="connsiteX154" fmla="*/ 1409428 w 3785642"/>
                <a:gd name="connsiteY154" fmla="*/ 472794 h 479077"/>
                <a:gd name="connsiteX155" fmla="*/ 1393058 w 3785642"/>
                <a:gd name="connsiteY155" fmla="*/ 473786 h 479077"/>
                <a:gd name="connsiteX156" fmla="*/ 1376687 w 3785642"/>
                <a:gd name="connsiteY156" fmla="*/ 471802 h 479077"/>
                <a:gd name="connsiteX157" fmla="*/ 1360317 w 3785642"/>
                <a:gd name="connsiteY157" fmla="*/ 473786 h 479077"/>
                <a:gd name="connsiteX158" fmla="*/ 1343946 w 3785642"/>
                <a:gd name="connsiteY158" fmla="*/ 473786 h 479077"/>
                <a:gd name="connsiteX159" fmla="*/ 1327576 w 3785642"/>
                <a:gd name="connsiteY159" fmla="*/ 472794 h 479077"/>
                <a:gd name="connsiteX160" fmla="*/ 1311205 w 3785642"/>
                <a:gd name="connsiteY160" fmla="*/ 473786 h 479077"/>
                <a:gd name="connsiteX161" fmla="*/ 1294834 w 3785642"/>
                <a:gd name="connsiteY161" fmla="*/ 473786 h 479077"/>
                <a:gd name="connsiteX162" fmla="*/ 1278464 w 3785642"/>
                <a:gd name="connsiteY162" fmla="*/ 473786 h 479077"/>
                <a:gd name="connsiteX163" fmla="*/ 1262093 w 3785642"/>
                <a:gd name="connsiteY163" fmla="*/ 473786 h 479077"/>
                <a:gd name="connsiteX164" fmla="*/ 1245723 w 3785642"/>
                <a:gd name="connsiteY164" fmla="*/ 473290 h 479077"/>
                <a:gd name="connsiteX165" fmla="*/ 1229352 w 3785642"/>
                <a:gd name="connsiteY165" fmla="*/ 472794 h 479077"/>
                <a:gd name="connsiteX166" fmla="*/ 1212981 w 3785642"/>
                <a:gd name="connsiteY166" fmla="*/ 473786 h 479077"/>
                <a:gd name="connsiteX167" fmla="*/ 1196611 w 3785642"/>
                <a:gd name="connsiteY167" fmla="*/ 472298 h 479077"/>
                <a:gd name="connsiteX168" fmla="*/ 1180240 w 3785642"/>
                <a:gd name="connsiteY168" fmla="*/ 472794 h 479077"/>
                <a:gd name="connsiteX169" fmla="*/ 1163870 w 3785642"/>
                <a:gd name="connsiteY169" fmla="*/ 472794 h 479077"/>
                <a:gd name="connsiteX170" fmla="*/ 1147499 w 3785642"/>
                <a:gd name="connsiteY170" fmla="*/ 473786 h 479077"/>
                <a:gd name="connsiteX171" fmla="*/ 1131128 w 3785642"/>
                <a:gd name="connsiteY171" fmla="*/ 473786 h 479077"/>
                <a:gd name="connsiteX172" fmla="*/ 1114758 w 3785642"/>
                <a:gd name="connsiteY172" fmla="*/ 472794 h 479077"/>
                <a:gd name="connsiteX173" fmla="*/ 1098387 w 3785642"/>
                <a:gd name="connsiteY173" fmla="*/ 473786 h 479077"/>
                <a:gd name="connsiteX174" fmla="*/ 1082017 w 3785642"/>
                <a:gd name="connsiteY174" fmla="*/ 474778 h 479077"/>
                <a:gd name="connsiteX175" fmla="*/ 1065646 w 3785642"/>
                <a:gd name="connsiteY175" fmla="*/ 474778 h 479077"/>
                <a:gd name="connsiteX176" fmla="*/ 1049276 w 3785642"/>
                <a:gd name="connsiteY176" fmla="*/ 474282 h 479077"/>
                <a:gd name="connsiteX177" fmla="*/ 1032905 w 3785642"/>
                <a:gd name="connsiteY177" fmla="*/ 473290 h 479077"/>
                <a:gd name="connsiteX178" fmla="*/ 1016535 w 3785642"/>
                <a:gd name="connsiteY178" fmla="*/ 474282 h 479077"/>
                <a:gd name="connsiteX179" fmla="*/ 1000164 w 3785642"/>
                <a:gd name="connsiteY179" fmla="*/ 474282 h 479077"/>
                <a:gd name="connsiteX180" fmla="*/ 983793 w 3785642"/>
                <a:gd name="connsiteY180" fmla="*/ 472794 h 479077"/>
                <a:gd name="connsiteX181" fmla="*/ 967423 w 3785642"/>
                <a:gd name="connsiteY181" fmla="*/ 472794 h 479077"/>
                <a:gd name="connsiteX182" fmla="*/ 951052 w 3785642"/>
                <a:gd name="connsiteY182" fmla="*/ 473786 h 479077"/>
                <a:gd name="connsiteX183" fmla="*/ 934682 w 3785642"/>
                <a:gd name="connsiteY183" fmla="*/ 474282 h 479077"/>
                <a:gd name="connsiteX184" fmla="*/ 918311 w 3785642"/>
                <a:gd name="connsiteY184" fmla="*/ 474778 h 479077"/>
                <a:gd name="connsiteX185" fmla="*/ 901940 w 3785642"/>
                <a:gd name="connsiteY185" fmla="*/ 473290 h 479077"/>
                <a:gd name="connsiteX186" fmla="*/ 885570 w 3785642"/>
                <a:gd name="connsiteY186" fmla="*/ 474778 h 479077"/>
                <a:gd name="connsiteX187" fmla="*/ 869199 w 3785642"/>
                <a:gd name="connsiteY187" fmla="*/ 474282 h 479077"/>
                <a:gd name="connsiteX188" fmla="*/ 852829 w 3785642"/>
                <a:gd name="connsiteY188" fmla="*/ 473786 h 479077"/>
                <a:gd name="connsiteX189" fmla="*/ 836458 w 3785642"/>
                <a:gd name="connsiteY189" fmla="*/ 474778 h 479077"/>
                <a:gd name="connsiteX190" fmla="*/ 820088 w 3785642"/>
                <a:gd name="connsiteY190" fmla="*/ 475274 h 479077"/>
                <a:gd name="connsiteX191" fmla="*/ 803717 w 3785642"/>
                <a:gd name="connsiteY191" fmla="*/ 473786 h 479077"/>
                <a:gd name="connsiteX192" fmla="*/ 787347 w 3785642"/>
                <a:gd name="connsiteY192" fmla="*/ 475770 h 479077"/>
                <a:gd name="connsiteX193" fmla="*/ 770976 w 3785642"/>
                <a:gd name="connsiteY193" fmla="*/ 474778 h 479077"/>
                <a:gd name="connsiteX194" fmla="*/ 754605 w 3785642"/>
                <a:gd name="connsiteY194" fmla="*/ 475274 h 479077"/>
                <a:gd name="connsiteX195" fmla="*/ 738235 w 3785642"/>
                <a:gd name="connsiteY195" fmla="*/ 473786 h 479077"/>
                <a:gd name="connsiteX196" fmla="*/ 721864 w 3785642"/>
                <a:gd name="connsiteY196" fmla="*/ 475274 h 479077"/>
                <a:gd name="connsiteX197" fmla="*/ 705494 w 3785642"/>
                <a:gd name="connsiteY197" fmla="*/ 475770 h 479077"/>
                <a:gd name="connsiteX198" fmla="*/ 689123 w 3785642"/>
                <a:gd name="connsiteY198" fmla="*/ 474282 h 479077"/>
                <a:gd name="connsiteX199" fmla="*/ 672753 w 3785642"/>
                <a:gd name="connsiteY199" fmla="*/ 475274 h 479077"/>
                <a:gd name="connsiteX200" fmla="*/ 656382 w 3785642"/>
                <a:gd name="connsiteY200" fmla="*/ 474778 h 479077"/>
                <a:gd name="connsiteX201" fmla="*/ 640011 w 3785642"/>
                <a:gd name="connsiteY201" fmla="*/ 475770 h 479077"/>
                <a:gd name="connsiteX202" fmla="*/ 623641 w 3785642"/>
                <a:gd name="connsiteY202" fmla="*/ 473786 h 479077"/>
                <a:gd name="connsiteX203" fmla="*/ 607270 w 3785642"/>
                <a:gd name="connsiteY203" fmla="*/ 474778 h 479077"/>
                <a:gd name="connsiteX204" fmla="*/ 590900 w 3785642"/>
                <a:gd name="connsiteY204" fmla="*/ 475274 h 479077"/>
                <a:gd name="connsiteX205" fmla="*/ 574529 w 3785642"/>
                <a:gd name="connsiteY205" fmla="*/ 474282 h 479077"/>
                <a:gd name="connsiteX206" fmla="*/ 558158 w 3785642"/>
                <a:gd name="connsiteY206" fmla="*/ 475274 h 479077"/>
                <a:gd name="connsiteX207" fmla="*/ 541788 w 3785642"/>
                <a:gd name="connsiteY207" fmla="*/ 475770 h 479077"/>
                <a:gd name="connsiteX208" fmla="*/ 525417 w 3785642"/>
                <a:gd name="connsiteY208" fmla="*/ 474282 h 479077"/>
                <a:gd name="connsiteX209" fmla="*/ 509047 w 3785642"/>
                <a:gd name="connsiteY209" fmla="*/ 473786 h 479077"/>
                <a:gd name="connsiteX210" fmla="*/ 492676 w 3785642"/>
                <a:gd name="connsiteY210" fmla="*/ 473786 h 479077"/>
                <a:gd name="connsiteX211" fmla="*/ 476306 w 3785642"/>
                <a:gd name="connsiteY211" fmla="*/ 474778 h 479077"/>
                <a:gd name="connsiteX212" fmla="*/ 459935 w 3785642"/>
                <a:gd name="connsiteY212" fmla="*/ 473786 h 479077"/>
                <a:gd name="connsiteX213" fmla="*/ 443565 w 3785642"/>
                <a:gd name="connsiteY213" fmla="*/ 474778 h 479077"/>
                <a:gd name="connsiteX214" fmla="*/ 427194 w 3785642"/>
                <a:gd name="connsiteY214" fmla="*/ 474282 h 479077"/>
                <a:gd name="connsiteX215" fmla="*/ 410823 w 3785642"/>
                <a:gd name="connsiteY215" fmla="*/ 473290 h 479077"/>
                <a:gd name="connsiteX216" fmla="*/ 394453 w 3785642"/>
                <a:gd name="connsiteY216" fmla="*/ 475770 h 479077"/>
                <a:gd name="connsiteX217" fmla="*/ 378082 w 3785642"/>
                <a:gd name="connsiteY217" fmla="*/ 475274 h 479077"/>
                <a:gd name="connsiteX218" fmla="*/ 361712 w 3785642"/>
                <a:gd name="connsiteY218" fmla="*/ 474778 h 479077"/>
                <a:gd name="connsiteX219" fmla="*/ 345341 w 3785642"/>
                <a:gd name="connsiteY219" fmla="*/ 476266 h 479077"/>
                <a:gd name="connsiteX220" fmla="*/ 328970 w 3785642"/>
                <a:gd name="connsiteY220" fmla="*/ 474282 h 479077"/>
                <a:gd name="connsiteX221" fmla="*/ 312600 w 3785642"/>
                <a:gd name="connsiteY221" fmla="*/ 475274 h 479077"/>
                <a:gd name="connsiteX222" fmla="*/ 296229 w 3785642"/>
                <a:gd name="connsiteY222" fmla="*/ 474282 h 479077"/>
                <a:gd name="connsiteX223" fmla="*/ 279859 w 3785642"/>
                <a:gd name="connsiteY223" fmla="*/ 475770 h 479077"/>
                <a:gd name="connsiteX224" fmla="*/ 263488 w 3785642"/>
                <a:gd name="connsiteY224" fmla="*/ 476266 h 479077"/>
                <a:gd name="connsiteX225" fmla="*/ 247118 w 3785642"/>
                <a:gd name="connsiteY225" fmla="*/ 476266 h 479077"/>
                <a:gd name="connsiteX226" fmla="*/ 230747 w 3785642"/>
                <a:gd name="connsiteY226" fmla="*/ 474778 h 479077"/>
                <a:gd name="connsiteX227" fmla="*/ 214376 w 3785642"/>
                <a:gd name="connsiteY227" fmla="*/ 474778 h 479077"/>
                <a:gd name="connsiteX228" fmla="*/ 198006 w 3785642"/>
                <a:gd name="connsiteY228" fmla="*/ 476762 h 479077"/>
                <a:gd name="connsiteX229" fmla="*/ 181635 w 3785642"/>
                <a:gd name="connsiteY229" fmla="*/ 476266 h 479077"/>
                <a:gd name="connsiteX230" fmla="*/ 165265 w 3785642"/>
                <a:gd name="connsiteY230" fmla="*/ 474778 h 479077"/>
                <a:gd name="connsiteX231" fmla="*/ 148894 w 3785642"/>
                <a:gd name="connsiteY231" fmla="*/ 476762 h 479077"/>
                <a:gd name="connsiteX232" fmla="*/ 132524 w 3785642"/>
                <a:gd name="connsiteY232" fmla="*/ 476266 h 479077"/>
                <a:gd name="connsiteX233" fmla="*/ 116153 w 3785642"/>
                <a:gd name="connsiteY233" fmla="*/ 475274 h 479077"/>
                <a:gd name="connsiteX234" fmla="*/ 99783 w 3785642"/>
                <a:gd name="connsiteY234" fmla="*/ 475274 h 479077"/>
                <a:gd name="connsiteX235" fmla="*/ 83412 w 3785642"/>
                <a:gd name="connsiteY235" fmla="*/ 475274 h 479077"/>
                <a:gd name="connsiteX236" fmla="*/ 67041 w 3785642"/>
                <a:gd name="connsiteY236" fmla="*/ 474778 h 479077"/>
                <a:gd name="connsiteX237" fmla="*/ 50671 w 3785642"/>
                <a:gd name="connsiteY237" fmla="*/ 475274 h 479077"/>
                <a:gd name="connsiteX238" fmla="*/ 34300 w 3785642"/>
                <a:gd name="connsiteY238" fmla="*/ 475274 h 479077"/>
                <a:gd name="connsiteX239" fmla="*/ 17930 w 3785642"/>
                <a:gd name="connsiteY239" fmla="*/ 475770 h 479077"/>
                <a:gd name="connsiteX240" fmla="*/ 567 w 3785642"/>
                <a:gd name="connsiteY240" fmla="*/ 475770 h 479077"/>
                <a:gd name="connsiteX241" fmla="*/ 12969 w 3785642"/>
                <a:gd name="connsiteY241" fmla="*/ 463368 h 479077"/>
                <a:gd name="connsiteX242" fmla="*/ 24379 w 3785642"/>
                <a:gd name="connsiteY242" fmla="*/ 451958 h 479077"/>
                <a:gd name="connsiteX243" fmla="*/ 35788 w 3785642"/>
                <a:gd name="connsiteY243" fmla="*/ 440053 h 479077"/>
                <a:gd name="connsiteX244" fmla="*/ 48686 w 3785642"/>
                <a:gd name="connsiteY244" fmla="*/ 430131 h 479077"/>
                <a:gd name="connsiteX245" fmla="*/ 59600 w 3785642"/>
                <a:gd name="connsiteY245" fmla="*/ 418225 h 479077"/>
                <a:gd name="connsiteX246" fmla="*/ 70514 w 3785642"/>
                <a:gd name="connsiteY246" fmla="*/ 405823 h 479077"/>
                <a:gd name="connsiteX247" fmla="*/ 83412 w 3785642"/>
                <a:gd name="connsiteY247" fmla="*/ 395406 h 479077"/>
                <a:gd name="connsiteX248" fmla="*/ 94822 w 3785642"/>
                <a:gd name="connsiteY248" fmla="*/ 383500 h 479077"/>
                <a:gd name="connsiteX249" fmla="*/ 106728 w 3785642"/>
                <a:gd name="connsiteY249" fmla="*/ 372090 h 479077"/>
                <a:gd name="connsiteX250" fmla="*/ 117145 w 3785642"/>
                <a:gd name="connsiteY250" fmla="*/ 359688 h 479077"/>
                <a:gd name="connsiteX251" fmla="*/ 128555 w 3785642"/>
                <a:gd name="connsiteY251" fmla="*/ 348278 h 479077"/>
                <a:gd name="connsiteX252" fmla="*/ 140461 w 3785642"/>
                <a:gd name="connsiteY252" fmla="*/ 336868 h 479077"/>
                <a:gd name="connsiteX253" fmla="*/ 152863 w 3785642"/>
                <a:gd name="connsiteY253" fmla="*/ 326451 h 479077"/>
                <a:gd name="connsiteX254" fmla="*/ 164769 w 3785642"/>
                <a:gd name="connsiteY254" fmla="*/ 315041 h 479077"/>
                <a:gd name="connsiteX255" fmla="*/ 176178 w 3785642"/>
                <a:gd name="connsiteY255" fmla="*/ 303135 h 479077"/>
                <a:gd name="connsiteX256" fmla="*/ 188084 w 3785642"/>
                <a:gd name="connsiteY256" fmla="*/ 291725 h 479077"/>
                <a:gd name="connsiteX257" fmla="*/ 199494 w 3785642"/>
                <a:gd name="connsiteY257" fmla="*/ 280315 h 479077"/>
                <a:gd name="connsiteX258" fmla="*/ 210904 w 3785642"/>
                <a:gd name="connsiteY258" fmla="*/ 268906 h 479077"/>
                <a:gd name="connsiteX259" fmla="*/ 221818 w 3785642"/>
                <a:gd name="connsiteY259" fmla="*/ 256504 h 479077"/>
                <a:gd name="connsiteX260" fmla="*/ 233724 w 3785642"/>
                <a:gd name="connsiteY260" fmla="*/ 245094 h 479077"/>
                <a:gd name="connsiteX261" fmla="*/ 244141 w 3785642"/>
                <a:gd name="connsiteY261" fmla="*/ 232692 h 479077"/>
                <a:gd name="connsiteX262" fmla="*/ 257039 w 3785642"/>
                <a:gd name="connsiteY262" fmla="*/ 222770 h 479077"/>
                <a:gd name="connsiteX263" fmla="*/ 266961 w 3785642"/>
                <a:gd name="connsiteY263" fmla="*/ 209376 h 479077"/>
                <a:gd name="connsiteX264" fmla="*/ 278371 w 3785642"/>
                <a:gd name="connsiteY264" fmla="*/ 197966 h 479077"/>
                <a:gd name="connsiteX265" fmla="*/ 291269 w 3785642"/>
                <a:gd name="connsiteY265" fmla="*/ 188045 h 479077"/>
                <a:gd name="connsiteX266" fmla="*/ 301686 w 3785642"/>
                <a:gd name="connsiteY266" fmla="*/ 175147 h 479077"/>
                <a:gd name="connsiteX267" fmla="*/ 313592 w 3785642"/>
                <a:gd name="connsiteY267" fmla="*/ 163737 h 479077"/>
                <a:gd name="connsiteX268" fmla="*/ 325994 w 3785642"/>
                <a:gd name="connsiteY268" fmla="*/ 153319 h 479077"/>
                <a:gd name="connsiteX269" fmla="*/ 337404 w 3785642"/>
                <a:gd name="connsiteY269" fmla="*/ 141910 h 479077"/>
                <a:gd name="connsiteX270" fmla="*/ 347325 w 3785642"/>
                <a:gd name="connsiteY270" fmla="*/ 129012 h 479077"/>
                <a:gd name="connsiteX271" fmla="*/ 360224 w 3785642"/>
                <a:gd name="connsiteY271" fmla="*/ 118594 h 479077"/>
                <a:gd name="connsiteX272" fmla="*/ 371137 w 3785642"/>
                <a:gd name="connsiteY272" fmla="*/ 106192 h 479077"/>
                <a:gd name="connsiteX273" fmla="*/ 382051 w 3785642"/>
                <a:gd name="connsiteY273" fmla="*/ 93790 h 479077"/>
                <a:gd name="connsiteX274" fmla="*/ 393957 w 3785642"/>
                <a:gd name="connsiteY274" fmla="*/ 82380 h 479077"/>
                <a:gd name="connsiteX275" fmla="*/ 405366 w 3785642"/>
                <a:gd name="connsiteY275" fmla="*/ 70475 h 479077"/>
                <a:gd name="connsiteX276" fmla="*/ 417272 w 3785642"/>
                <a:gd name="connsiteY276" fmla="*/ 59561 h 479077"/>
                <a:gd name="connsiteX277" fmla="*/ 429674 w 3785642"/>
                <a:gd name="connsiteY277" fmla="*/ 48647 h 479077"/>
                <a:gd name="connsiteX278" fmla="*/ 440092 w 3785642"/>
                <a:gd name="connsiteY278" fmla="*/ 35749 h 479077"/>
                <a:gd name="connsiteX279" fmla="*/ 452494 w 3785642"/>
                <a:gd name="connsiteY279" fmla="*/ 24835 h 479077"/>
                <a:gd name="connsiteX280" fmla="*/ 463904 w 3785642"/>
                <a:gd name="connsiteY280" fmla="*/ 12929 h 479077"/>
                <a:gd name="connsiteX281" fmla="*/ 475313 w 3785642"/>
                <a:gd name="connsiteY281" fmla="*/ 1024 h 479077"/>
                <a:gd name="connsiteX282" fmla="*/ 491684 w 3785642"/>
                <a:gd name="connsiteY282" fmla="*/ 2512 h 479077"/>
                <a:gd name="connsiteX283" fmla="*/ 508055 w 3785642"/>
                <a:gd name="connsiteY283" fmla="*/ 2512 h 479077"/>
                <a:gd name="connsiteX284" fmla="*/ 524425 w 3785642"/>
                <a:gd name="connsiteY284" fmla="*/ 2512 h 479077"/>
                <a:gd name="connsiteX285" fmla="*/ 540796 w 3785642"/>
                <a:gd name="connsiteY285" fmla="*/ 1024 h 479077"/>
                <a:gd name="connsiteX286" fmla="*/ 557166 w 3785642"/>
                <a:gd name="connsiteY286" fmla="*/ 2512 h 479077"/>
                <a:gd name="connsiteX287" fmla="*/ 573537 w 3785642"/>
                <a:gd name="connsiteY287" fmla="*/ 1024 h 479077"/>
                <a:gd name="connsiteX288" fmla="*/ 589908 w 3785642"/>
                <a:gd name="connsiteY288" fmla="*/ 527 h 479077"/>
                <a:gd name="connsiteX289" fmla="*/ 606278 w 3785642"/>
                <a:gd name="connsiteY289" fmla="*/ 1520 h 479077"/>
                <a:gd name="connsiteX290" fmla="*/ 622649 w 3785642"/>
                <a:gd name="connsiteY290" fmla="*/ 1520 h 479077"/>
                <a:gd name="connsiteX291" fmla="*/ 639019 w 3785642"/>
                <a:gd name="connsiteY291" fmla="*/ 2016 h 479077"/>
                <a:gd name="connsiteX292" fmla="*/ 655390 w 3785642"/>
                <a:gd name="connsiteY292" fmla="*/ 527 h 479077"/>
                <a:gd name="connsiteX293" fmla="*/ 671760 w 3785642"/>
                <a:gd name="connsiteY293" fmla="*/ 1520 h 479077"/>
                <a:gd name="connsiteX294" fmla="*/ 688131 w 3785642"/>
                <a:gd name="connsiteY294" fmla="*/ 2512 h 479077"/>
                <a:gd name="connsiteX295" fmla="*/ 704501 w 3785642"/>
                <a:gd name="connsiteY295" fmla="*/ 1024 h 479077"/>
                <a:gd name="connsiteX296" fmla="*/ 720872 w 3785642"/>
                <a:gd name="connsiteY296" fmla="*/ 1520 h 479077"/>
                <a:gd name="connsiteX297" fmla="*/ 737243 w 3785642"/>
                <a:gd name="connsiteY297" fmla="*/ 2016 h 479077"/>
                <a:gd name="connsiteX298" fmla="*/ 753613 w 3785642"/>
                <a:gd name="connsiteY298" fmla="*/ 1024 h 479077"/>
                <a:gd name="connsiteX299" fmla="*/ 769984 w 3785642"/>
                <a:gd name="connsiteY299" fmla="*/ 527 h 479077"/>
                <a:gd name="connsiteX300" fmla="*/ 786354 w 3785642"/>
                <a:gd name="connsiteY300" fmla="*/ 1520 h 479077"/>
                <a:gd name="connsiteX301" fmla="*/ 802725 w 3785642"/>
                <a:gd name="connsiteY301" fmla="*/ 527 h 479077"/>
                <a:gd name="connsiteX302" fmla="*/ 819096 w 3785642"/>
                <a:gd name="connsiteY302" fmla="*/ 2512 h 479077"/>
                <a:gd name="connsiteX303" fmla="*/ 835466 w 3785642"/>
                <a:gd name="connsiteY303" fmla="*/ 527 h 479077"/>
                <a:gd name="connsiteX304" fmla="*/ 851837 w 3785642"/>
                <a:gd name="connsiteY304" fmla="*/ 1520 h 479077"/>
                <a:gd name="connsiteX305" fmla="*/ 868207 w 3785642"/>
                <a:gd name="connsiteY305" fmla="*/ 2016 h 479077"/>
                <a:gd name="connsiteX306" fmla="*/ 884578 w 3785642"/>
                <a:gd name="connsiteY306" fmla="*/ 2512 h 479077"/>
                <a:gd name="connsiteX307" fmla="*/ 900948 w 3785642"/>
                <a:gd name="connsiteY307" fmla="*/ 1520 h 479077"/>
                <a:gd name="connsiteX308" fmla="*/ 917319 w 3785642"/>
                <a:gd name="connsiteY308" fmla="*/ 1024 h 479077"/>
                <a:gd name="connsiteX309" fmla="*/ 933689 w 3785642"/>
                <a:gd name="connsiteY309" fmla="*/ 2512 h 479077"/>
                <a:gd name="connsiteX310" fmla="*/ 950060 w 3785642"/>
                <a:gd name="connsiteY310" fmla="*/ 1520 h 479077"/>
                <a:gd name="connsiteX311" fmla="*/ 966431 w 3785642"/>
                <a:gd name="connsiteY311" fmla="*/ 2016 h 479077"/>
                <a:gd name="connsiteX312" fmla="*/ 982801 w 3785642"/>
                <a:gd name="connsiteY312" fmla="*/ 2512 h 479077"/>
                <a:gd name="connsiteX313" fmla="*/ 999172 w 3785642"/>
                <a:gd name="connsiteY313" fmla="*/ 1520 h 479077"/>
                <a:gd name="connsiteX314" fmla="*/ 1015542 w 3785642"/>
                <a:gd name="connsiteY314" fmla="*/ 2512 h 479077"/>
                <a:gd name="connsiteX315" fmla="*/ 1031913 w 3785642"/>
                <a:gd name="connsiteY315" fmla="*/ 1520 h 479077"/>
                <a:gd name="connsiteX316" fmla="*/ 1048283 w 3785642"/>
                <a:gd name="connsiteY316" fmla="*/ 2016 h 479077"/>
                <a:gd name="connsiteX317" fmla="*/ 1064654 w 3785642"/>
                <a:gd name="connsiteY317" fmla="*/ 3504 h 479077"/>
                <a:gd name="connsiteX318" fmla="*/ 1081025 w 3785642"/>
                <a:gd name="connsiteY318" fmla="*/ 2016 h 479077"/>
                <a:gd name="connsiteX319" fmla="*/ 1097395 w 3785642"/>
                <a:gd name="connsiteY319" fmla="*/ 2512 h 479077"/>
                <a:gd name="connsiteX320" fmla="*/ 1113766 w 3785642"/>
                <a:gd name="connsiteY320" fmla="*/ 2512 h 479077"/>
                <a:gd name="connsiteX321" fmla="*/ 1130136 w 3785642"/>
                <a:gd name="connsiteY321" fmla="*/ 3504 h 479077"/>
                <a:gd name="connsiteX322" fmla="*/ 1146507 w 3785642"/>
                <a:gd name="connsiteY322" fmla="*/ 1520 h 479077"/>
                <a:gd name="connsiteX323" fmla="*/ 1162878 w 3785642"/>
                <a:gd name="connsiteY323" fmla="*/ 3008 h 479077"/>
                <a:gd name="connsiteX324" fmla="*/ 1179248 w 3785642"/>
                <a:gd name="connsiteY324" fmla="*/ 4000 h 479077"/>
                <a:gd name="connsiteX325" fmla="*/ 1195619 w 3785642"/>
                <a:gd name="connsiteY325" fmla="*/ 3504 h 479077"/>
                <a:gd name="connsiteX326" fmla="*/ 1211989 w 3785642"/>
                <a:gd name="connsiteY326" fmla="*/ 1520 h 479077"/>
                <a:gd name="connsiteX327" fmla="*/ 1228360 w 3785642"/>
                <a:gd name="connsiteY327" fmla="*/ 3504 h 479077"/>
                <a:gd name="connsiteX328" fmla="*/ 1244730 w 3785642"/>
                <a:gd name="connsiteY328" fmla="*/ 1520 h 479077"/>
                <a:gd name="connsiteX329" fmla="*/ 1261101 w 3785642"/>
                <a:gd name="connsiteY329" fmla="*/ 2512 h 479077"/>
                <a:gd name="connsiteX330" fmla="*/ 1277471 w 3785642"/>
                <a:gd name="connsiteY330" fmla="*/ 3504 h 479077"/>
                <a:gd name="connsiteX331" fmla="*/ 1293842 w 3785642"/>
                <a:gd name="connsiteY331" fmla="*/ 4000 h 479077"/>
                <a:gd name="connsiteX332" fmla="*/ 1310213 w 3785642"/>
                <a:gd name="connsiteY332" fmla="*/ 1520 h 479077"/>
                <a:gd name="connsiteX333" fmla="*/ 1326583 w 3785642"/>
                <a:gd name="connsiteY333" fmla="*/ 2016 h 479077"/>
                <a:gd name="connsiteX334" fmla="*/ 1342954 w 3785642"/>
                <a:gd name="connsiteY334" fmla="*/ 3008 h 479077"/>
                <a:gd name="connsiteX335" fmla="*/ 1359324 w 3785642"/>
                <a:gd name="connsiteY335" fmla="*/ 3008 h 479077"/>
                <a:gd name="connsiteX336" fmla="*/ 1375695 w 3785642"/>
                <a:gd name="connsiteY336" fmla="*/ 2512 h 479077"/>
                <a:gd name="connsiteX337" fmla="*/ 1392066 w 3785642"/>
                <a:gd name="connsiteY337" fmla="*/ 2512 h 479077"/>
                <a:gd name="connsiteX338" fmla="*/ 1408436 w 3785642"/>
                <a:gd name="connsiteY338" fmla="*/ 3504 h 479077"/>
                <a:gd name="connsiteX339" fmla="*/ 1424807 w 3785642"/>
                <a:gd name="connsiteY339" fmla="*/ 3504 h 479077"/>
                <a:gd name="connsiteX340" fmla="*/ 1441177 w 3785642"/>
                <a:gd name="connsiteY340" fmla="*/ 1520 h 479077"/>
                <a:gd name="connsiteX341" fmla="*/ 1457548 w 3785642"/>
                <a:gd name="connsiteY341" fmla="*/ 2512 h 479077"/>
                <a:gd name="connsiteX342" fmla="*/ 1473919 w 3785642"/>
                <a:gd name="connsiteY342" fmla="*/ 2016 h 479077"/>
                <a:gd name="connsiteX343" fmla="*/ 1490289 w 3785642"/>
                <a:gd name="connsiteY343" fmla="*/ 2016 h 479077"/>
                <a:gd name="connsiteX344" fmla="*/ 1506660 w 3785642"/>
                <a:gd name="connsiteY344" fmla="*/ 1520 h 479077"/>
                <a:gd name="connsiteX345" fmla="*/ 1523030 w 3785642"/>
                <a:gd name="connsiteY345" fmla="*/ 3504 h 479077"/>
                <a:gd name="connsiteX346" fmla="*/ 1539401 w 3785642"/>
                <a:gd name="connsiteY346" fmla="*/ 3008 h 479077"/>
                <a:gd name="connsiteX347" fmla="*/ 1555771 w 3785642"/>
                <a:gd name="connsiteY347" fmla="*/ 3008 h 479077"/>
                <a:gd name="connsiteX348" fmla="*/ 1572142 w 3785642"/>
                <a:gd name="connsiteY348" fmla="*/ 2512 h 479077"/>
                <a:gd name="connsiteX349" fmla="*/ 1588512 w 3785642"/>
                <a:gd name="connsiteY349" fmla="*/ 2016 h 479077"/>
                <a:gd name="connsiteX350" fmla="*/ 1604883 w 3785642"/>
                <a:gd name="connsiteY350" fmla="*/ 3008 h 479077"/>
                <a:gd name="connsiteX351" fmla="*/ 1621253 w 3785642"/>
                <a:gd name="connsiteY351" fmla="*/ 3008 h 479077"/>
                <a:gd name="connsiteX352" fmla="*/ 1637624 w 3785642"/>
                <a:gd name="connsiteY35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70921 w 3785642"/>
                <a:gd name="connsiteY24" fmla="*/ 44678 h 479077"/>
                <a:gd name="connsiteX25" fmla="*/ 3313375 w 3785642"/>
                <a:gd name="connsiteY25" fmla="*/ 10945 h 479077"/>
                <a:gd name="connsiteX26" fmla="*/ 3300973 w 3785642"/>
                <a:gd name="connsiteY26" fmla="*/ 21363 h 479077"/>
                <a:gd name="connsiteX27" fmla="*/ 3289068 w 3785642"/>
                <a:gd name="connsiteY27" fmla="*/ 32276 h 479077"/>
                <a:gd name="connsiteX28" fmla="*/ 3277658 w 3785642"/>
                <a:gd name="connsiteY28" fmla="*/ 43686 h 479077"/>
                <a:gd name="connsiteX29" fmla="*/ 3266248 w 3785642"/>
                <a:gd name="connsiteY29" fmla="*/ 55592 h 479077"/>
                <a:gd name="connsiteX30" fmla="*/ 3255830 w 3785642"/>
                <a:gd name="connsiteY30" fmla="*/ 68490 h 479077"/>
                <a:gd name="connsiteX31" fmla="*/ 3243924 w 3785642"/>
                <a:gd name="connsiteY31" fmla="*/ 79900 h 479077"/>
                <a:gd name="connsiteX32" fmla="*/ 3231522 w 3785642"/>
                <a:gd name="connsiteY32" fmla="*/ 90814 h 479077"/>
                <a:gd name="connsiteX33" fmla="*/ 3220609 w 3785642"/>
                <a:gd name="connsiteY33" fmla="*/ 102720 h 479077"/>
                <a:gd name="connsiteX34" fmla="*/ 3208207 w 3785642"/>
                <a:gd name="connsiteY34" fmla="*/ 113137 h 479077"/>
                <a:gd name="connsiteX35" fmla="*/ 3197293 w 3785642"/>
                <a:gd name="connsiteY35" fmla="*/ 125043 h 479077"/>
                <a:gd name="connsiteX36" fmla="*/ 3185387 w 3785642"/>
                <a:gd name="connsiteY36" fmla="*/ 136453 h 479077"/>
                <a:gd name="connsiteX37" fmla="*/ 3174970 w 3785642"/>
                <a:gd name="connsiteY37" fmla="*/ 148855 h 479077"/>
                <a:gd name="connsiteX38" fmla="*/ 3162071 w 3785642"/>
                <a:gd name="connsiteY38" fmla="*/ 159272 h 479077"/>
                <a:gd name="connsiteX39" fmla="*/ 3151158 w 3785642"/>
                <a:gd name="connsiteY39" fmla="*/ 171674 h 479077"/>
                <a:gd name="connsiteX40" fmla="*/ 3139252 w 3785642"/>
                <a:gd name="connsiteY40" fmla="*/ 182588 h 479077"/>
                <a:gd name="connsiteX41" fmla="*/ 3127843 w 3785642"/>
                <a:gd name="connsiteY41" fmla="*/ 194494 h 479077"/>
                <a:gd name="connsiteX42" fmla="*/ 3116432 w 3785642"/>
                <a:gd name="connsiteY42" fmla="*/ 205904 h 479077"/>
                <a:gd name="connsiteX43" fmla="*/ 3105022 w 3785642"/>
                <a:gd name="connsiteY43" fmla="*/ 217810 h 479077"/>
                <a:gd name="connsiteX44" fmla="*/ 3093117 w 3785642"/>
                <a:gd name="connsiteY44" fmla="*/ 229219 h 479077"/>
                <a:gd name="connsiteX45" fmla="*/ 3081707 w 3785642"/>
                <a:gd name="connsiteY45" fmla="*/ 240629 h 479077"/>
                <a:gd name="connsiteX46" fmla="*/ 3069305 w 3785642"/>
                <a:gd name="connsiteY46" fmla="*/ 251543 h 479077"/>
                <a:gd name="connsiteX47" fmla="*/ 3057895 w 3785642"/>
                <a:gd name="connsiteY47" fmla="*/ 263449 h 479077"/>
                <a:gd name="connsiteX48" fmla="*/ 3046486 w 3785642"/>
                <a:gd name="connsiteY48" fmla="*/ 275355 h 479077"/>
                <a:gd name="connsiteX49" fmla="*/ 3035572 w 3785642"/>
                <a:gd name="connsiteY49" fmla="*/ 287260 h 479077"/>
                <a:gd name="connsiteX50" fmla="*/ 3024658 w 3785642"/>
                <a:gd name="connsiteY50" fmla="*/ 299166 h 479077"/>
                <a:gd name="connsiteX51" fmla="*/ 3013248 w 3785642"/>
                <a:gd name="connsiteY51" fmla="*/ 311072 h 479077"/>
                <a:gd name="connsiteX52" fmla="*/ 3000350 w 3785642"/>
                <a:gd name="connsiteY52" fmla="*/ 321490 h 479077"/>
                <a:gd name="connsiteX53" fmla="*/ 2988941 w 3785642"/>
                <a:gd name="connsiteY53" fmla="*/ 333396 h 479077"/>
                <a:gd name="connsiteX54" fmla="*/ 2976539 w 3785642"/>
                <a:gd name="connsiteY54" fmla="*/ 344309 h 479077"/>
                <a:gd name="connsiteX55" fmla="*/ 2965129 w 3785642"/>
                <a:gd name="connsiteY55" fmla="*/ 356215 h 479077"/>
                <a:gd name="connsiteX56" fmla="*/ 2953223 w 3785642"/>
                <a:gd name="connsiteY56" fmla="*/ 367625 h 479077"/>
                <a:gd name="connsiteX57" fmla="*/ 2941813 w 3785642"/>
                <a:gd name="connsiteY57" fmla="*/ 379531 h 479077"/>
                <a:gd name="connsiteX58" fmla="*/ 2931395 w 3785642"/>
                <a:gd name="connsiteY58" fmla="*/ 392429 h 479077"/>
                <a:gd name="connsiteX59" fmla="*/ 2918497 w 3785642"/>
                <a:gd name="connsiteY59" fmla="*/ 402847 h 479077"/>
                <a:gd name="connsiteX60" fmla="*/ 2907584 w 3785642"/>
                <a:gd name="connsiteY60" fmla="*/ 415249 h 479077"/>
                <a:gd name="connsiteX61" fmla="*/ 2896174 w 3785642"/>
                <a:gd name="connsiteY61" fmla="*/ 426658 h 479077"/>
                <a:gd name="connsiteX62" fmla="*/ 2884268 w 3785642"/>
                <a:gd name="connsiteY62" fmla="*/ 438068 h 479077"/>
                <a:gd name="connsiteX63" fmla="*/ 2873354 w 3785642"/>
                <a:gd name="connsiteY63" fmla="*/ 450470 h 479077"/>
                <a:gd name="connsiteX64" fmla="*/ 2860952 w 3785642"/>
                <a:gd name="connsiteY64" fmla="*/ 461384 h 479077"/>
                <a:gd name="connsiteX65" fmla="*/ 2850039 w 3785642"/>
                <a:gd name="connsiteY65" fmla="*/ 473786 h 479077"/>
                <a:gd name="connsiteX66" fmla="*/ 2833668 w 3785642"/>
                <a:gd name="connsiteY66" fmla="*/ 473786 h 479077"/>
                <a:gd name="connsiteX67" fmla="*/ 2817297 w 3785642"/>
                <a:gd name="connsiteY67" fmla="*/ 473290 h 479077"/>
                <a:gd name="connsiteX68" fmla="*/ 2800927 w 3785642"/>
                <a:gd name="connsiteY68" fmla="*/ 473290 h 479077"/>
                <a:gd name="connsiteX69" fmla="*/ 2784556 w 3785642"/>
                <a:gd name="connsiteY69" fmla="*/ 473786 h 479077"/>
                <a:gd name="connsiteX70" fmla="*/ 2768186 w 3785642"/>
                <a:gd name="connsiteY70" fmla="*/ 474282 h 479077"/>
                <a:gd name="connsiteX71" fmla="*/ 2751815 w 3785642"/>
                <a:gd name="connsiteY71" fmla="*/ 474282 h 479077"/>
                <a:gd name="connsiteX72" fmla="*/ 2735444 w 3785642"/>
                <a:gd name="connsiteY72" fmla="*/ 473290 h 479077"/>
                <a:gd name="connsiteX73" fmla="*/ 2719074 w 3785642"/>
                <a:gd name="connsiteY73" fmla="*/ 474282 h 479077"/>
                <a:gd name="connsiteX74" fmla="*/ 2702703 w 3785642"/>
                <a:gd name="connsiteY74" fmla="*/ 472298 h 479077"/>
                <a:gd name="connsiteX75" fmla="*/ 2686333 w 3785642"/>
                <a:gd name="connsiteY75" fmla="*/ 472794 h 479077"/>
                <a:gd name="connsiteX76" fmla="*/ 2669962 w 3785642"/>
                <a:gd name="connsiteY76" fmla="*/ 474282 h 479077"/>
                <a:gd name="connsiteX77" fmla="*/ 2653592 w 3785642"/>
                <a:gd name="connsiteY77" fmla="*/ 472298 h 479077"/>
                <a:gd name="connsiteX78" fmla="*/ 2637221 w 3785642"/>
                <a:gd name="connsiteY78" fmla="*/ 474282 h 479077"/>
                <a:gd name="connsiteX79" fmla="*/ 2620851 w 3785642"/>
                <a:gd name="connsiteY79" fmla="*/ 474282 h 479077"/>
                <a:gd name="connsiteX80" fmla="*/ 2604480 w 3785642"/>
                <a:gd name="connsiteY80" fmla="*/ 472298 h 479077"/>
                <a:gd name="connsiteX81" fmla="*/ 2588109 w 3785642"/>
                <a:gd name="connsiteY81" fmla="*/ 473786 h 479077"/>
                <a:gd name="connsiteX82" fmla="*/ 2571739 w 3785642"/>
                <a:gd name="connsiteY82" fmla="*/ 472298 h 479077"/>
                <a:gd name="connsiteX83" fmla="*/ 2555368 w 3785642"/>
                <a:gd name="connsiteY83" fmla="*/ 473290 h 479077"/>
                <a:gd name="connsiteX84" fmla="*/ 2538998 w 3785642"/>
                <a:gd name="connsiteY84" fmla="*/ 474282 h 479077"/>
                <a:gd name="connsiteX85" fmla="*/ 2522627 w 3785642"/>
                <a:gd name="connsiteY85" fmla="*/ 473290 h 479077"/>
                <a:gd name="connsiteX86" fmla="*/ 2506257 w 3785642"/>
                <a:gd name="connsiteY86" fmla="*/ 474282 h 479077"/>
                <a:gd name="connsiteX87" fmla="*/ 2489886 w 3785642"/>
                <a:gd name="connsiteY87" fmla="*/ 473786 h 479077"/>
                <a:gd name="connsiteX88" fmla="*/ 2473516 w 3785642"/>
                <a:gd name="connsiteY88" fmla="*/ 474282 h 479077"/>
                <a:gd name="connsiteX89" fmla="*/ 2457145 w 3785642"/>
                <a:gd name="connsiteY89" fmla="*/ 472794 h 479077"/>
                <a:gd name="connsiteX90" fmla="*/ 2440775 w 3785642"/>
                <a:gd name="connsiteY90" fmla="*/ 472298 h 479077"/>
                <a:gd name="connsiteX91" fmla="*/ 2424404 w 3785642"/>
                <a:gd name="connsiteY91" fmla="*/ 473786 h 479077"/>
                <a:gd name="connsiteX92" fmla="*/ 2408033 w 3785642"/>
                <a:gd name="connsiteY92" fmla="*/ 472794 h 479077"/>
                <a:gd name="connsiteX93" fmla="*/ 2391663 w 3785642"/>
                <a:gd name="connsiteY93" fmla="*/ 473290 h 479077"/>
                <a:gd name="connsiteX94" fmla="*/ 2375292 w 3785642"/>
                <a:gd name="connsiteY94" fmla="*/ 473290 h 479077"/>
                <a:gd name="connsiteX95" fmla="*/ 2358922 w 3785642"/>
                <a:gd name="connsiteY95" fmla="*/ 472794 h 479077"/>
                <a:gd name="connsiteX96" fmla="*/ 2342551 w 3785642"/>
                <a:gd name="connsiteY96" fmla="*/ 472298 h 479077"/>
                <a:gd name="connsiteX97" fmla="*/ 2326180 w 3785642"/>
                <a:gd name="connsiteY97" fmla="*/ 473786 h 479077"/>
                <a:gd name="connsiteX98" fmla="*/ 2309810 w 3785642"/>
                <a:gd name="connsiteY98" fmla="*/ 473786 h 479077"/>
                <a:gd name="connsiteX99" fmla="*/ 2293439 w 3785642"/>
                <a:gd name="connsiteY99" fmla="*/ 473786 h 479077"/>
                <a:gd name="connsiteX100" fmla="*/ 2277069 w 3785642"/>
                <a:gd name="connsiteY100" fmla="*/ 472794 h 479077"/>
                <a:gd name="connsiteX101" fmla="*/ 2260698 w 3785642"/>
                <a:gd name="connsiteY101" fmla="*/ 474282 h 479077"/>
                <a:gd name="connsiteX102" fmla="*/ 2244327 w 3785642"/>
                <a:gd name="connsiteY102" fmla="*/ 472298 h 479077"/>
                <a:gd name="connsiteX103" fmla="*/ 2227957 w 3785642"/>
                <a:gd name="connsiteY103" fmla="*/ 474282 h 479077"/>
                <a:gd name="connsiteX104" fmla="*/ 2211586 w 3785642"/>
                <a:gd name="connsiteY104" fmla="*/ 473290 h 479077"/>
                <a:gd name="connsiteX105" fmla="*/ 2195216 w 3785642"/>
                <a:gd name="connsiteY105" fmla="*/ 474282 h 479077"/>
                <a:gd name="connsiteX106" fmla="*/ 2178845 w 3785642"/>
                <a:gd name="connsiteY106" fmla="*/ 472794 h 479077"/>
                <a:gd name="connsiteX107" fmla="*/ 2162474 w 3785642"/>
                <a:gd name="connsiteY107" fmla="*/ 474778 h 479077"/>
                <a:gd name="connsiteX108" fmla="*/ 2146104 w 3785642"/>
                <a:gd name="connsiteY108" fmla="*/ 473290 h 479077"/>
                <a:gd name="connsiteX109" fmla="*/ 2129733 w 3785642"/>
                <a:gd name="connsiteY109" fmla="*/ 474778 h 479077"/>
                <a:gd name="connsiteX110" fmla="*/ 2113363 w 3785642"/>
                <a:gd name="connsiteY110" fmla="*/ 474778 h 479077"/>
                <a:gd name="connsiteX111" fmla="*/ 2096992 w 3785642"/>
                <a:gd name="connsiteY111" fmla="*/ 474778 h 479077"/>
                <a:gd name="connsiteX112" fmla="*/ 2080621 w 3785642"/>
                <a:gd name="connsiteY112" fmla="*/ 474282 h 479077"/>
                <a:gd name="connsiteX113" fmla="*/ 2064251 w 3785642"/>
                <a:gd name="connsiteY113" fmla="*/ 472794 h 479077"/>
                <a:gd name="connsiteX114" fmla="*/ 2047880 w 3785642"/>
                <a:gd name="connsiteY114" fmla="*/ 474778 h 479077"/>
                <a:gd name="connsiteX115" fmla="*/ 2031510 w 3785642"/>
                <a:gd name="connsiteY115" fmla="*/ 474778 h 479077"/>
                <a:gd name="connsiteX116" fmla="*/ 2015139 w 3785642"/>
                <a:gd name="connsiteY116" fmla="*/ 474778 h 479077"/>
                <a:gd name="connsiteX117" fmla="*/ 1998769 w 3785642"/>
                <a:gd name="connsiteY117" fmla="*/ 474282 h 479077"/>
                <a:gd name="connsiteX118" fmla="*/ 1982398 w 3785642"/>
                <a:gd name="connsiteY118" fmla="*/ 473786 h 479077"/>
                <a:gd name="connsiteX119" fmla="*/ 1966028 w 3785642"/>
                <a:gd name="connsiteY119" fmla="*/ 473786 h 479077"/>
                <a:gd name="connsiteX120" fmla="*/ 1949657 w 3785642"/>
                <a:gd name="connsiteY120" fmla="*/ 472794 h 479077"/>
                <a:gd name="connsiteX121" fmla="*/ 1933287 w 3785642"/>
                <a:gd name="connsiteY121" fmla="*/ 473290 h 479077"/>
                <a:gd name="connsiteX122" fmla="*/ 1916916 w 3785642"/>
                <a:gd name="connsiteY122" fmla="*/ 474778 h 479077"/>
                <a:gd name="connsiteX123" fmla="*/ 1900546 w 3785642"/>
                <a:gd name="connsiteY123" fmla="*/ 472794 h 479077"/>
                <a:gd name="connsiteX124" fmla="*/ 1884175 w 3785642"/>
                <a:gd name="connsiteY124" fmla="*/ 473786 h 479077"/>
                <a:gd name="connsiteX125" fmla="*/ 1867804 w 3785642"/>
                <a:gd name="connsiteY125" fmla="*/ 474778 h 479077"/>
                <a:gd name="connsiteX126" fmla="*/ 1851434 w 3785642"/>
                <a:gd name="connsiteY126" fmla="*/ 474778 h 479077"/>
                <a:gd name="connsiteX127" fmla="*/ 1835063 w 3785642"/>
                <a:gd name="connsiteY127" fmla="*/ 474778 h 479077"/>
                <a:gd name="connsiteX128" fmla="*/ 1818693 w 3785642"/>
                <a:gd name="connsiteY128" fmla="*/ 474282 h 479077"/>
                <a:gd name="connsiteX129" fmla="*/ 1802322 w 3785642"/>
                <a:gd name="connsiteY129" fmla="*/ 472794 h 479077"/>
                <a:gd name="connsiteX130" fmla="*/ 1785951 w 3785642"/>
                <a:gd name="connsiteY130" fmla="*/ 473786 h 479077"/>
                <a:gd name="connsiteX131" fmla="*/ 1769581 w 3785642"/>
                <a:gd name="connsiteY131" fmla="*/ 473290 h 479077"/>
                <a:gd name="connsiteX132" fmla="*/ 1753210 w 3785642"/>
                <a:gd name="connsiteY132" fmla="*/ 472298 h 479077"/>
                <a:gd name="connsiteX133" fmla="*/ 1736840 w 3785642"/>
                <a:gd name="connsiteY133" fmla="*/ 473290 h 479077"/>
                <a:gd name="connsiteX134" fmla="*/ 1720469 w 3785642"/>
                <a:gd name="connsiteY134" fmla="*/ 474778 h 479077"/>
                <a:gd name="connsiteX135" fmla="*/ 1704098 w 3785642"/>
                <a:gd name="connsiteY135" fmla="*/ 472794 h 479077"/>
                <a:gd name="connsiteX136" fmla="*/ 1687728 w 3785642"/>
                <a:gd name="connsiteY136" fmla="*/ 474778 h 479077"/>
                <a:gd name="connsiteX137" fmla="*/ 1671357 w 3785642"/>
                <a:gd name="connsiteY137" fmla="*/ 474778 h 479077"/>
                <a:gd name="connsiteX138" fmla="*/ 1654987 w 3785642"/>
                <a:gd name="connsiteY138" fmla="*/ 472298 h 479077"/>
                <a:gd name="connsiteX139" fmla="*/ 1638616 w 3785642"/>
                <a:gd name="connsiteY139" fmla="*/ 472794 h 479077"/>
                <a:gd name="connsiteX140" fmla="*/ 1622246 w 3785642"/>
                <a:gd name="connsiteY140" fmla="*/ 473786 h 479077"/>
                <a:gd name="connsiteX141" fmla="*/ 1605875 w 3785642"/>
                <a:gd name="connsiteY141" fmla="*/ 474778 h 479077"/>
                <a:gd name="connsiteX142" fmla="*/ 1589505 w 3785642"/>
                <a:gd name="connsiteY142" fmla="*/ 473290 h 479077"/>
                <a:gd name="connsiteX143" fmla="*/ 1573134 w 3785642"/>
                <a:gd name="connsiteY143" fmla="*/ 474778 h 479077"/>
                <a:gd name="connsiteX144" fmla="*/ 1556763 w 3785642"/>
                <a:gd name="connsiteY144" fmla="*/ 472794 h 479077"/>
                <a:gd name="connsiteX145" fmla="*/ 1540393 w 3785642"/>
                <a:gd name="connsiteY145" fmla="*/ 472794 h 479077"/>
                <a:gd name="connsiteX146" fmla="*/ 1524022 w 3785642"/>
                <a:gd name="connsiteY146" fmla="*/ 474282 h 479077"/>
                <a:gd name="connsiteX147" fmla="*/ 1507652 w 3785642"/>
                <a:gd name="connsiteY147" fmla="*/ 472794 h 479077"/>
                <a:gd name="connsiteX148" fmla="*/ 1491281 w 3785642"/>
                <a:gd name="connsiteY148" fmla="*/ 474282 h 479077"/>
                <a:gd name="connsiteX149" fmla="*/ 1474910 w 3785642"/>
                <a:gd name="connsiteY149" fmla="*/ 474282 h 479077"/>
                <a:gd name="connsiteX150" fmla="*/ 1458540 w 3785642"/>
                <a:gd name="connsiteY150" fmla="*/ 472794 h 479077"/>
                <a:gd name="connsiteX151" fmla="*/ 1442169 w 3785642"/>
                <a:gd name="connsiteY151" fmla="*/ 471802 h 479077"/>
                <a:gd name="connsiteX152" fmla="*/ 1425799 w 3785642"/>
                <a:gd name="connsiteY152" fmla="*/ 472298 h 479077"/>
                <a:gd name="connsiteX153" fmla="*/ 1409428 w 3785642"/>
                <a:gd name="connsiteY153" fmla="*/ 472794 h 479077"/>
                <a:gd name="connsiteX154" fmla="*/ 1393058 w 3785642"/>
                <a:gd name="connsiteY154" fmla="*/ 473786 h 479077"/>
                <a:gd name="connsiteX155" fmla="*/ 1376687 w 3785642"/>
                <a:gd name="connsiteY155" fmla="*/ 471802 h 479077"/>
                <a:gd name="connsiteX156" fmla="*/ 1360317 w 3785642"/>
                <a:gd name="connsiteY156" fmla="*/ 473786 h 479077"/>
                <a:gd name="connsiteX157" fmla="*/ 1343946 w 3785642"/>
                <a:gd name="connsiteY157" fmla="*/ 473786 h 479077"/>
                <a:gd name="connsiteX158" fmla="*/ 1327576 w 3785642"/>
                <a:gd name="connsiteY158" fmla="*/ 472794 h 479077"/>
                <a:gd name="connsiteX159" fmla="*/ 1311205 w 3785642"/>
                <a:gd name="connsiteY159" fmla="*/ 473786 h 479077"/>
                <a:gd name="connsiteX160" fmla="*/ 1294834 w 3785642"/>
                <a:gd name="connsiteY160" fmla="*/ 473786 h 479077"/>
                <a:gd name="connsiteX161" fmla="*/ 1278464 w 3785642"/>
                <a:gd name="connsiteY161" fmla="*/ 473786 h 479077"/>
                <a:gd name="connsiteX162" fmla="*/ 1262093 w 3785642"/>
                <a:gd name="connsiteY162" fmla="*/ 473786 h 479077"/>
                <a:gd name="connsiteX163" fmla="*/ 1245723 w 3785642"/>
                <a:gd name="connsiteY163" fmla="*/ 473290 h 479077"/>
                <a:gd name="connsiteX164" fmla="*/ 1229352 w 3785642"/>
                <a:gd name="connsiteY164" fmla="*/ 472794 h 479077"/>
                <a:gd name="connsiteX165" fmla="*/ 1212981 w 3785642"/>
                <a:gd name="connsiteY165" fmla="*/ 473786 h 479077"/>
                <a:gd name="connsiteX166" fmla="*/ 1196611 w 3785642"/>
                <a:gd name="connsiteY166" fmla="*/ 472298 h 479077"/>
                <a:gd name="connsiteX167" fmla="*/ 1180240 w 3785642"/>
                <a:gd name="connsiteY167" fmla="*/ 472794 h 479077"/>
                <a:gd name="connsiteX168" fmla="*/ 1163870 w 3785642"/>
                <a:gd name="connsiteY168" fmla="*/ 472794 h 479077"/>
                <a:gd name="connsiteX169" fmla="*/ 1147499 w 3785642"/>
                <a:gd name="connsiteY169" fmla="*/ 473786 h 479077"/>
                <a:gd name="connsiteX170" fmla="*/ 1131128 w 3785642"/>
                <a:gd name="connsiteY170" fmla="*/ 473786 h 479077"/>
                <a:gd name="connsiteX171" fmla="*/ 1114758 w 3785642"/>
                <a:gd name="connsiteY171" fmla="*/ 472794 h 479077"/>
                <a:gd name="connsiteX172" fmla="*/ 1098387 w 3785642"/>
                <a:gd name="connsiteY172" fmla="*/ 473786 h 479077"/>
                <a:gd name="connsiteX173" fmla="*/ 1082017 w 3785642"/>
                <a:gd name="connsiteY173" fmla="*/ 474778 h 479077"/>
                <a:gd name="connsiteX174" fmla="*/ 1065646 w 3785642"/>
                <a:gd name="connsiteY174" fmla="*/ 474778 h 479077"/>
                <a:gd name="connsiteX175" fmla="*/ 1049276 w 3785642"/>
                <a:gd name="connsiteY175" fmla="*/ 474282 h 479077"/>
                <a:gd name="connsiteX176" fmla="*/ 1032905 w 3785642"/>
                <a:gd name="connsiteY176" fmla="*/ 473290 h 479077"/>
                <a:gd name="connsiteX177" fmla="*/ 1016535 w 3785642"/>
                <a:gd name="connsiteY177" fmla="*/ 474282 h 479077"/>
                <a:gd name="connsiteX178" fmla="*/ 1000164 w 3785642"/>
                <a:gd name="connsiteY178" fmla="*/ 474282 h 479077"/>
                <a:gd name="connsiteX179" fmla="*/ 983793 w 3785642"/>
                <a:gd name="connsiteY179" fmla="*/ 472794 h 479077"/>
                <a:gd name="connsiteX180" fmla="*/ 967423 w 3785642"/>
                <a:gd name="connsiteY180" fmla="*/ 472794 h 479077"/>
                <a:gd name="connsiteX181" fmla="*/ 951052 w 3785642"/>
                <a:gd name="connsiteY181" fmla="*/ 473786 h 479077"/>
                <a:gd name="connsiteX182" fmla="*/ 934682 w 3785642"/>
                <a:gd name="connsiteY182" fmla="*/ 474282 h 479077"/>
                <a:gd name="connsiteX183" fmla="*/ 918311 w 3785642"/>
                <a:gd name="connsiteY183" fmla="*/ 474778 h 479077"/>
                <a:gd name="connsiteX184" fmla="*/ 901940 w 3785642"/>
                <a:gd name="connsiteY184" fmla="*/ 473290 h 479077"/>
                <a:gd name="connsiteX185" fmla="*/ 885570 w 3785642"/>
                <a:gd name="connsiteY185" fmla="*/ 474778 h 479077"/>
                <a:gd name="connsiteX186" fmla="*/ 869199 w 3785642"/>
                <a:gd name="connsiteY186" fmla="*/ 474282 h 479077"/>
                <a:gd name="connsiteX187" fmla="*/ 852829 w 3785642"/>
                <a:gd name="connsiteY187" fmla="*/ 473786 h 479077"/>
                <a:gd name="connsiteX188" fmla="*/ 836458 w 3785642"/>
                <a:gd name="connsiteY188" fmla="*/ 474778 h 479077"/>
                <a:gd name="connsiteX189" fmla="*/ 820088 w 3785642"/>
                <a:gd name="connsiteY189" fmla="*/ 475274 h 479077"/>
                <a:gd name="connsiteX190" fmla="*/ 803717 w 3785642"/>
                <a:gd name="connsiteY190" fmla="*/ 473786 h 479077"/>
                <a:gd name="connsiteX191" fmla="*/ 787347 w 3785642"/>
                <a:gd name="connsiteY191" fmla="*/ 475770 h 479077"/>
                <a:gd name="connsiteX192" fmla="*/ 770976 w 3785642"/>
                <a:gd name="connsiteY192" fmla="*/ 474778 h 479077"/>
                <a:gd name="connsiteX193" fmla="*/ 754605 w 3785642"/>
                <a:gd name="connsiteY193" fmla="*/ 475274 h 479077"/>
                <a:gd name="connsiteX194" fmla="*/ 738235 w 3785642"/>
                <a:gd name="connsiteY194" fmla="*/ 473786 h 479077"/>
                <a:gd name="connsiteX195" fmla="*/ 721864 w 3785642"/>
                <a:gd name="connsiteY195" fmla="*/ 475274 h 479077"/>
                <a:gd name="connsiteX196" fmla="*/ 705494 w 3785642"/>
                <a:gd name="connsiteY196" fmla="*/ 475770 h 479077"/>
                <a:gd name="connsiteX197" fmla="*/ 689123 w 3785642"/>
                <a:gd name="connsiteY197" fmla="*/ 474282 h 479077"/>
                <a:gd name="connsiteX198" fmla="*/ 672753 w 3785642"/>
                <a:gd name="connsiteY198" fmla="*/ 475274 h 479077"/>
                <a:gd name="connsiteX199" fmla="*/ 656382 w 3785642"/>
                <a:gd name="connsiteY199" fmla="*/ 474778 h 479077"/>
                <a:gd name="connsiteX200" fmla="*/ 640011 w 3785642"/>
                <a:gd name="connsiteY200" fmla="*/ 475770 h 479077"/>
                <a:gd name="connsiteX201" fmla="*/ 623641 w 3785642"/>
                <a:gd name="connsiteY201" fmla="*/ 473786 h 479077"/>
                <a:gd name="connsiteX202" fmla="*/ 607270 w 3785642"/>
                <a:gd name="connsiteY202" fmla="*/ 474778 h 479077"/>
                <a:gd name="connsiteX203" fmla="*/ 590900 w 3785642"/>
                <a:gd name="connsiteY203" fmla="*/ 475274 h 479077"/>
                <a:gd name="connsiteX204" fmla="*/ 574529 w 3785642"/>
                <a:gd name="connsiteY204" fmla="*/ 474282 h 479077"/>
                <a:gd name="connsiteX205" fmla="*/ 558158 w 3785642"/>
                <a:gd name="connsiteY205" fmla="*/ 475274 h 479077"/>
                <a:gd name="connsiteX206" fmla="*/ 541788 w 3785642"/>
                <a:gd name="connsiteY206" fmla="*/ 475770 h 479077"/>
                <a:gd name="connsiteX207" fmla="*/ 525417 w 3785642"/>
                <a:gd name="connsiteY207" fmla="*/ 474282 h 479077"/>
                <a:gd name="connsiteX208" fmla="*/ 509047 w 3785642"/>
                <a:gd name="connsiteY208" fmla="*/ 473786 h 479077"/>
                <a:gd name="connsiteX209" fmla="*/ 492676 w 3785642"/>
                <a:gd name="connsiteY209" fmla="*/ 473786 h 479077"/>
                <a:gd name="connsiteX210" fmla="*/ 476306 w 3785642"/>
                <a:gd name="connsiteY210" fmla="*/ 474778 h 479077"/>
                <a:gd name="connsiteX211" fmla="*/ 459935 w 3785642"/>
                <a:gd name="connsiteY211" fmla="*/ 473786 h 479077"/>
                <a:gd name="connsiteX212" fmla="*/ 443565 w 3785642"/>
                <a:gd name="connsiteY212" fmla="*/ 474778 h 479077"/>
                <a:gd name="connsiteX213" fmla="*/ 427194 w 3785642"/>
                <a:gd name="connsiteY213" fmla="*/ 474282 h 479077"/>
                <a:gd name="connsiteX214" fmla="*/ 410823 w 3785642"/>
                <a:gd name="connsiteY214" fmla="*/ 473290 h 479077"/>
                <a:gd name="connsiteX215" fmla="*/ 394453 w 3785642"/>
                <a:gd name="connsiteY215" fmla="*/ 475770 h 479077"/>
                <a:gd name="connsiteX216" fmla="*/ 378082 w 3785642"/>
                <a:gd name="connsiteY216" fmla="*/ 475274 h 479077"/>
                <a:gd name="connsiteX217" fmla="*/ 361712 w 3785642"/>
                <a:gd name="connsiteY217" fmla="*/ 474778 h 479077"/>
                <a:gd name="connsiteX218" fmla="*/ 345341 w 3785642"/>
                <a:gd name="connsiteY218" fmla="*/ 476266 h 479077"/>
                <a:gd name="connsiteX219" fmla="*/ 328970 w 3785642"/>
                <a:gd name="connsiteY219" fmla="*/ 474282 h 479077"/>
                <a:gd name="connsiteX220" fmla="*/ 312600 w 3785642"/>
                <a:gd name="connsiteY220" fmla="*/ 475274 h 479077"/>
                <a:gd name="connsiteX221" fmla="*/ 296229 w 3785642"/>
                <a:gd name="connsiteY221" fmla="*/ 474282 h 479077"/>
                <a:gd name="connsiteX222" fmla="*/ 279859 w 3785642"/>
                <a:gd name="connsiteY222" fmla="*/ 475770 h 479077"/>
                <a:gd name="connsiteX223" fmla="*/ 263488 w 3785642"/>
                <a:gd name="connsiteY223" fmla="*/ 476266 h 479077"/>
                <a:gd name="connsiteX224" fmla="*/ 247118 w 3785642"/>
                <a:gd name="connsiteY224" fmla="*/ 476266 h 479077"/>
                <a:gd name="connsiteX225" fmla="*/ 230747 w 3785642"/>
                <a:gd name="connsiteY225" fmla="*/ 474778 h 479077"/>
                <a:gd name="connsiteX226" fmla="*/ 214376 w 3785642"/>
                <a:gd name="connsiteY226" fmla="*/ 474778 h 479077"/>
                <a:gd name="connsiteX227" fmla="*/ 198006 w 3785642"/>
                <a:gd name="connsiteY227" fmla="*/ 476762 h 479077"/>
                <a:gd name="connsiteX228" fmla="*/ 181635 w 3785642"/>
                <a:gd name="connsiteY228" fmla="*/ 476266 h 479077"/>
                <a:gd name="connsiteX229" fmla="*/ 165265 w 3785642"/>
                <a:gd name="connsiteY229" fmla="*/ 474778 h 479077"/>
                <a:gd name="connsiteX230" fmla="*/ 148894 w 3785642"/>
                <a:gd name="connsiteY230" fmla="*/ 476762 h 479077"/>
                <a:gd name="connsiteX231" fmla="*/ 132524 w 3785642"/>
                <a:gd name="connsiteY231" fmla="*/ 476266 h 479077"/>
                <a:gd name="connsiteX232" fmla="*/ 116153 w 3785642"/>
                <a:gd name="connsiteY232" fmla="*/ 475274 h 479077"/>
                <a:gd name="connsiteX233" fmla="*/ 99783 w 3785642"/>
                <a:gd name="connsiteY233" fmla="*/ 475274 h 479077"/>
                <a:gd name="connsiteX234" fmla="*/ 83412 w 3785642"/>
                <a:gd name="connsiteY234" fmla="*/ 475274 h 479077"/>
                <a:gd name="connsiteX235" fmla="*/ 67041 w 3785642"/>
                <a:gd name="connsiteY235" fmla="*/ 474778 h 479077"/>
                <a:gd name="connsiteX236" fmla="*/ 50671 w 3785642"/>
                <a:gd name="connsiteY236" fmla="*/ 475274 h 479077"/>
                <a:gd name="connsiteX237" fmla="*/ 34300 w 3785642"/>
                <a:gd name="connsiteY237" fmla="*/ 475274 h 479077"/>
                <a:gd name="connsiteX238" fmla="*/ 17930 w 3785642"/>
                <a:gd name="connsiteY238" fmla="*/ 475770 h 479077"/>
                <a:gd name="connsiteX239" fmla="*/ 567 w 3785642"/>
                <a:gd name="connsiteY239" fmla="*/ 475770 h 479077"/>
                <a:gd name="connsiteX240" fmla="*/ 12969 w 3785642"/>
                <a:gd name="connsiteY240" fmla="*/ 463368 h 479077"/>
                <a:gd name="connsiteX241" fmla="*/ 24379 w 3785642"/>
                <a:gd name="connsiteY241" fmla="*/ 451958 h 479077"/>
                <a:gd name="connsiteX242" fmla="*/ 35788 w 3785642"/>
                <a:gd name="connsiteY242" fmla="*/ 440053 h 479077"/>
                <a:gd name="connsiteX243" fmla="*/ 48686 w 3785642"/>
                <a:gd name="connsiteY243" fmla="*/ 430131 h 479077"/>
                <a:gd name="connsiteX244" fmla="*/ 59600 w 3785642"/>
                <a:gd name="connsiteY244" fmla="*/ 418225 h 479077"/>
                <a:gd name="connsiteX245" fmla="*/ 70514 w 3785642"/>
                <a:gd name="connsiteY245" fmla="*/ 405823 h 479077"/>
                <a:gd name="connsiteX246" fmla="*/ 83412 w 3785642"/>
                <a:gd name="connsiteY246" fmla="*/ 395406 h 479077"/>
                <a:gd name="connsiteX247" fmla="*/ 94822 w 3785642"/>
                <a:gd name="connsiteY247" fmla="*/ 383500 h 479077"/>
                <a:gd name="connsiteX248" fmla="*/ 106728 w 3785642"/>
                <a:gd name="connsiteY248" fmla="*/ 372090 h 479077"/>
                <a:gd name="connsiteX249" fmla="*/ 117145 w 3785642"/>
                <a:gd name="connsiteY249" fmla="*/ 359688 h 479077"/>
                <a:gd name="connsiteX250" fmla="*/ 128555 w 3785642"/>
                <a:gd name="connsiteY250" fmla="*/ 348278 h 479077"/>
                <a:gd name="connsiteX251" fmla="*/ 140461 w 3785642"/>
                <a:gd name="connsiteY251" fmla="*/ 336868 h 479077"/>
                <a:gd name="connsiteX252" fmla="*/ 152863 w 3785642"/>
                <a:gd name="connsiteY252" fmla="*/ 326451 h 479077"/>
                <a:gd name="connsiteX253" fmla="*/ 164769 w 3785642"/>
                <a:gd name="connsiteY253" fmla="*/ 315041 h 479077"/>
                <a:gd name="connsiteX254" fmla="*/ 176178 w 3785642"/>
                <a:gd name="connsiteY254" fmla="*/ 303135 h 479077"/>
                <a:gd name="connsiteX255" fmla="*/ 188084 w 3785642"/>
                <a:gd name="connsiteY255" fmla="*/ 291725 h 479077"/>
                <a:gd name="connsiteX256" fmla="*/ 199494 w 3785642"/>
                <a:gd name="connsiteY256" fmla="*/ 280315 h 479077"/>
                <a:gd name="connsiteX257" fmla="*/ 210904 w 3785642"/>
                <a:gd name="connsiteY257" fmla="*/ 268906 h 479077"/>
                <a:gd name="connsiteX258" fmla="*/ 221818 w 3785642"/>
                <a:gd name="connsiteY258" fmla="*/ 256504 h 479077"/>
                <a:gd name="connsiteX259" fmla="*/ 233724 w 3785642"/>
                <a:gd name="connsiteY259" fmla="*/ 245094 h 479077"/>
                <a:gd name="connsiteX260" fmla="*/ 244141 w 3785642"/>
                <a:gd name="connsiteY260" fmla="*/ 232692 h 479077"/>
                <a:gd name="connsiteX261" fmla="*/ 257039 w 3785642"/>
                <a:gd name="connsiteY261" fmla="*/ 222770 h 479077"/>
                <a:gd name="connsiteX262" fmla="*/ 266961 w 3785642"/>
                <a:gd name="connsiteY262" fmla="*/ 209376 h 479077"/>
                <a:gd name="connsiteX263" fmla="*/ 278371 w 3785642"/>
                <a:gd name="connsiteY263" fmla="*/ 197966 h 479077"/>
                <a:gd name="connsiteX264" fmla="*/ 291269 w 3785642"/>
                <a:gd name="connsiteY264" fmla="*/ 188045 h 479077"/>
                <a:gd name="connsiteX265" fmla="*/ 301686 w 3785642"/>
                <a:gd name="connsiteY265" fmla="*/ 175147 h 479077"/>
                <a:gd name="connsiteX266" fmla="*/ 313592 w 3785642"/>
                <a:gd name="connsiteY266" fmla="*/ 163737 h 479077"/>
                <a:gd name="connsiteX267" fmla="*/ 325994 w 3785642"/>
                <a:gd name="connsiteY267" fmla="*/ 153319 h 479077"/>
                <a:gd name="connsiteX268" fmla="*/ 337404 w 3785642"/>
                <a:gd name="connsiteY268" fmla="*/ 141910 h 479077"/>
                <a:gd name="connsiteX269" fmla="*/ 347325 w 3785642"/>
                <a:gd name="connsiteY269" fmla="*/ 129012 h 479077"/>
                <a:gd name="connsiteX270" fmla="*/ 360224 w 3785642"/>
                <a:gd name="connsiteY270" fmla="*/ 118594 h 479077"/>
                <a:gd name="connsiteX271" fmla="*/ 371137 w 3785642"/>
                <a:gd name="connsiteY271" fmla="*/ 106192 h 479077"/>
                <a:gd name="connsiteX272" fmla="*/ 382051 w 3785642"/>
                <a:gd name="connsiteY272" fmla="*/ 93790 h 479077"/>
                <a:gd name="connsiteX273" fmla="*/ 393957 w 3785642"/>
                <a:gd name="connsiteY273" fmla="*/ 82380 h 479077"/>
                <a:gd name="connsiteX274" fmla="*/ 405366 w 3785642"/>
                <a:gd name="connsiteY274" fmla="*/ 70475 h 479077"/>
                <a:gd name="connsiteX275" fmla="*/ 417272 w 3785642"/>
                <a:gd name="connsiteY275" fmla="*/ 59561 h 479077"/>
                <a:gd name="connsiteX276" fmla="*/ 429674 w 3785642"/>
                <a:gd name="connsiteY276" fmla="*/ 48647 h 479077"/>
                <a:gd name="connsiteX277" fmla="*/ 440092 w 3785642"/>
                <a:gd name="connsiteY277" fmla="*/ 35749 h 479077"/>
                <a:gd name="connsiteX278" fmla="*/ 452494 w 3785642"/>
                <a:gd name="connsiteY278" fmla="*/ 24835 h 479077"/>
                <a:gd name="connsiteX279" fmla="*/ 463904 w 3785642"/>
                <a:gd name="connsiteY279" fmla="*/ 12929 h 479077"/>
                <a:gd name="connsiteX280" fmla="*/ 475313 w 3785642"/>
                <a:gd name="connsiteY280" fmla="*/ 1024 h 479077"/>
                <a:gd name="connsiteX281" fmla="*/ 491684 w 3785642"/>
                <a:gd name="connsiteY281" fmla="*/ 2512 h 479077"/>
                <a:gd name="connsiteX282" fmla="*/ 508055 w 3785642"/>
                <a:gd name="connsiteY282" fmla="*/ 2512 h 479077"/>
                <a:gd name="connsiteX283" fmla="*/ 524425 w 3785642"/>
                <a:gd name="connsiteY283" fmla="*/ 2512 h 479077"/>
                <a:gd name="connsiteX284" fmla="*/ 540796 w 3785642"/>
                <a:gd name="connsiteY284" fmla="*/ 1024 h 479077"/>
                <a:gd name="connsiteX285" fmla="*/ 557166 w 3785642"/>
                <a:gd name="connsiteY285" fmla="*/ 2512 h 479077"/>
                <a:gd name="connsiteX286" fmla="*/ 573537 w 3785642"/>
                <a:gd name="connsiteY286" fmla="*/ 1024 h 479077"/>
                <a:gd name="connsiteX287" fmla="*/ 589908 w 3785642"/>
                <a:gd name="connsiteY287" fmla="*/ 527 h 479077"/>
                <a:gd name="connsiteX288" fmla="*/ 606278 w 3785642"/>
                <a:gd name="connsiteY288" fmla="*/ 1520 h 479077"/>
                <a:gd name="connsiteX289" fmla="*/ 622649 w 3785642"/>
                <a:gd name="connsiteY289" fmla="*/ 1520 h 479077"/>
                <a:gd name="connsiteX290" fmla="*/ 639019 w 3785642"/>
                <a:gd name="connsiteY290" fmla="*/ 2016 h 479077"/>
                <a:gd name="connsiteX291" fmla="*/ 655390 w 3785642"/>
                <a:gd name="connsiteY291" fmla="*/ 527 h 479077"/>
                <a:gd name="connsiteX292" fmla="*/ 671760 w 3785642"/>
                <a:gd name="connsiteY292" fmla="*/ 1520 h 479077"/>
                <a:gd name="connsiteX293" fmla="*/ 688131 w 3785642"/>
                <a:gd name="connsiteY293" fmla="*/ 2512 h 479077"/>
                <a:gd name="connsiteX294" fmla="*/ 704501 w 3785642"/>
                <a:gd name="connsiteY294" fmla="*/ 1024 h 479077"/>
                <a:gd name="connsiteX295" fmla="*/ 720872 w 3785642"/>
                <a:gd name="connsiteY295" fmla="*/ 1520 h 479077"/>
                <a:gd name="connsiteX296" fmla="*/ 737243 w 3785642"/>
                <a:gd name="connsiteY296" fmla="*/ 2016 h 479077"/>
                <a:gd name="connsiteX297" fmla="*/ 753613 w 3785642"/>
                <a:gd name="connsiteY297" fmla="*/ 1024 h 479077"/>
                <a:gd name="connsiteX298" fmla="*/ 769984 w 3785642"/>
                <a:gd name="connsiteY298" fmla="*/ 527 h 479077"/>
                <a:gd name="connsiteX299" fmla="*/ 786354 w 3785642"/>
                <a:gd name="connsiteY299" fmla="*/ 1520 h 479077"/>
                <a:gd name="connsiteX300" fmla="*/ 802725 w 3785642"/>
                <a:gd name="connsiteY300" fmla="*/ 527 h 479077"/>
                <a:gd name="connsiteX301" fmla="*/ 819096 w 3785642"/>
                <a:gd name="connsiteY301" fmla="*/ 2512 h 479077"/>
                <a:gd name="connsiteX302" fmla="*/ 835466 w 3785642"/>
                <a:gd name="connsiteY302" fmla="*/ 527 h 479077"/>
                <a:gd name="connsiteX303" fmla="*/ 851837 w 3785642"/>
                <a:gd name="connsiteY303" fmla="*/ 1520 h 479077"/>
                <a:gd name="connsiteX304" fmla="*/ 868207 w 3785642"/>
                <a:gd name="connsiteY304" fmla="*/ 2016 h 479077"/>
                <a:gd name="connsiteX305" fmla="*/ 884578 w 3785642"/>
                <a:gd name="connsiteY305" fmla="*/ 2512 h 479077"/>
                <a:gd name="connsiteX306" fmla="*/ 900948 w 3785642"/>
                <a:gd name="connsiteY306" fmla="*/ 1520 h 479077"/>
                <a:gd name="connsiteX307" fmla="*/ 917319 w 3785642"/>
                <a:gd name="connsiteY307" fmla="*/ 1024 h 479077"/>
                <a:gd name="connsiteX308" fmla="*/ 933689 w 3785642"/>
                <a:gd name="connsiteY308" fmla="*/ 2512 h 479077"/>
                <a:gd name="connsiteX309" fmla="*/ 950060 w 3785642"/>
                <a:gd name="connsiteY309" fmla="*/ 1520 h 479077"/>
                <a:gd name="connsiteX310" fmla="*/ 966431 w 3785642"/>
                <a:gd name="connsiteY310" fmla="*/ 2016 h 479077"/>
                <a:gd name="connsiteX311" fmla="*/ 982801 w 3785642"/>
                <a:gd name="connsiteY311" fmla="*/ 2512 h 479077"/>
                <a:gd name="connsiteX312" fmla="*/ 999172 w 3785642"/>
                <a:gd name="connsiteY312" fmla="*/ 1520 h 479077"/>
                <a:gd name="connsiteX313" fmla="*/ 1015542 w 3785642"/>
                <a:gd name="connsiteY313" fmla="*/ 2512 h 479077"/>
                <a:gd name="connsiteX314" fmla="*/ 1031913 w 3785642"/>
                <a:gd name="connsiteY314" fmla="*/ 1520 h 479077"/>
                <a:gd name="connsiteX315" fmla="*/ 1048283 w 3785642"/>
                <a:gd name="connsiteY315" fmla="*/ 2016 h 479077"/>
                <a:gd name="connsiteX316" fmla="*/ 1064654 w 3785642"/>
                <a:gd name="connsiteY316" fmla="*/ 3504 h 479077"/>
                <a:gd name="connsiteX317" fmla="*/ 1081025 w 3785642"/>
                <a:gd name="connsiteY317" fmla="*/ 2016 h 479077"/>
                <a:gd name="connsiteX318" fmla="*/ 1097395 w 3785642"/>
                <a:gd name="connsiteY318" fmla="*/ 2512 h 479077"/>
                <a:gd name="connsiteX319" fmla="*/ 1113766 w 3785642"/>
                <a:gd name="connsiteY319" fmla="*/ 2512 h 479077"/>
                <a:gd name="connsiteX320" fmla="*/ 1130136 w 3785642"/>
                <a:gd name="connsiteY320" fmla="*/ 3504 h 479077"/>
                <a:gd name="connsiteX321" fmla="*/ 1146507 w 3785642"/>
                <a:gd name="connsiteY321" fmla="*/ 1520 h 479077"/>
                <a:gd name="connsiteX322" fmla="*/ 1162878 w 3785642"/>
                <a:gd name="connsiteY322" fmla="*/ 3008 h 479077"/>
                <a:gd name="connsiteX323" fmla="*/ 1179248 w 3785642"/>
                <a:gd name="connsiteY323" fmla="*/ 4000 h 479077"/>
                <a:gd name="connsiteX324" fmla="*/ 1195619 w 3785642"/>
                <a:gd name="connsiteY324" fmla="*/ 3504 h 479077"/>
                <a:gd name="connsiteX325" fmla="*/ 1211989 w 3785642"/>
                <a:gd name="connsiteY325" fmla="*/ 1520 h 479077"/>
                <a:gd name="connsiteX326" fmla="*/ 1228360 w 3785642"/>
                <a:gd name="connsiteY326" fmla="*/ 3504 h 479077"/>
                <a:gd name="connsiteX327" fmla="*/ 1244730 w 3785642"/>
                <a:gd name="connsiteY327" fmla="*/ 1520 h 479077"/>
                <a:gd name="connsiteX328" fmla="*/ 1261101 w 3785642"/>
                <a:gd name="connsiteY328" fmla="*/ 2512 h 479077"/>
                <a:gd name="connsiteX329" fmla="*/ 1277471 w 3785642"/>
                <a:gd name="connsiteY329" fmla="*/ 3504 h 479077"/>
                <a:gd name="connsiteX330" fmla="*/ 1293842 w 3785642"/>
                <a:gd name="connsiteY330" fmla="*/ 4000 h 479077"/>
                <a:gd name="connsiteX331" fmla="*/ 1310213 w 3785642"/>
                <a:gd name="connsiteY331" fmla="*/ 1520 h 479077"/>
                <a:gd name="connsiteX332" fmla="*/ 1326583 w 3785642"/>
                <a:gd name="connsiteY332" fmla="*/ 2016 h 479077"/>
                <a:gd name="connsiteX333" fmla="*/ 1342954 w 3785642"/>
                <a:gd name="connsiteY333" fmla="*/ 3008 h 479077"/>
                <a:gd name="connsiteX334" fmla="*/ 1359324 w 3785642"/>
                <a:gd name="connsiteY334" fmla="*/ 3008 h 479077"/>
                <a:gd name="connsiteX335" fmla="*/ 1375695 w 3785642"/>
                <a:gd name="connsiteY335" fmla="*/ 2512 h 479077"/>
                <a:gd name="connsiteX336" fmla="*/ 1392066 w 3785642"/>
                <a:gd name="connsiteY336" fmla="*/ 2512 h 479077"/>
                <a:gd name="connsiteX337" fmla="*/ 1408436 w 3785642"/>
                <a:gd name="connsiteY337" fmla="*/ 3504 h 479077"/>
                <a:gd name="connsiteX338" fmla="*/ 1424807 w 3785642"/>
                <a:gd name="connsiteY338" fmla="*/ 3504 h 479077"/>
                <a:gd name="connsiteX339" fmla="*/ 1441177 w 3785642"/>
                <a:gd name="connsiteY339" fmla="*/ 1520 h 479077"/>
                <a:gd name="connsiteX340" fmla="*/ 1457548 w 3785642"/>
                <a:gd name="connsiteY340" fmla="*/ 2512 h 479077"/>
                <a:gd name="connsiteX341" fmla="*/ 1473919 w 3785642"/>
                <a:gd name="connsiteY341" fmla="*/ 2016 h 479077"/>
                <a:gd name="connsiteX342" fmla="*/ 1490289 w 3785642"/>
                <a:gd name="connsiteY342" fmla="*/ 2016 h 479077"/>
                <a:gd name="connsiteX343" fmla="*/ 1506660 w 3785642"/>
                <a:gd name="connsiteY343" fmla="*/ 1520 h 479077"/>
                <a:gd name="connsiteX344" fmla="*/ 1523030 w 3785642"/>
                <a:gd name="connsiteY344" fmla="*/ 3504 h 479077"/>
                <a:gd name="connsiteX345" fmla="*/ 1539401 w 3785642"/>
                <a:gd name="connsiteY345" fmla="*/ 3008 h 479077"/>
                <a:gd name="connsiteX346" fmla="*/ 1555771 w 3785642"/>
                <a:gd name="connsiteY346" fmla="*/ 3008 h 479077"/>
                <a:gd name="connsiteX347" fmla="*/ 1572142 w 3785642"/>
                <a:gd name="connsiteY347" fmla="*/ 2512 h 479077"/>
                <a:gd name="connsiteX348" fmla="*/ 1588512 w 3785642"/>
                <a:gd name="connsiteY348" fmla="*/ 2016 h 479077"/>
                <a:gd name="connsiteX349" fmla="*/ 1604883 w 3785642"/>
                <a:gd name="connsiteY349" fmla="*/ 3008 h 479077"/>
                <a:gd name="connsiteX350" fmla="*/ 1621253 w 3785642"/>
                <a:gd name="connsiteY350" fmla="*/ 3008 h 479077"/>
                <a:gd name="connsiteX351" fmla="*/ 1637624 w 3785642"/>
                <a:gd name="connsiteY35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13375 w 3785642"/>
                <a:gd name="connsiteY24" fmla="*/ 10945 h 479077"/>
                <a:gd name="connsiteX25" fmla="*/ 3300973 w 3785642"/>
                <a:gd name="connsiteY25" fmla="*/ 21363 h 479077"/>
                <a:gd name="connsiteX26" fmla="*/ 3289068 w 3785642"/>
                <a:gd name="connsiteY26" fmla="*/ 32276 h 479077"/>
                <a:gd name="connsiteX27" fmla="*/ 3277658 w 3785642"/>
                <a:gd name="connsiteY27" fmla="*/ 43686 h 479077"/>
                <a:gd name="connsiteX28" fmla="*/ 3266248 w 3785642"/>
                <a:gd name="connsiteY28" fmla="*/ 55592 h 479077"/>
                <a:gd name="connsiteX29" fmla="*/ 3255830 w 3785642"/>
                <a:gd name="connsiteY29" fmla="*/ 68490 h 479077"/>
                <a:gd name="connsiteX30" fmla="*/ 3243924 w 3785642"/>
                <a:gd name="connsiteY30" fmla="*/ 79900 h 479077"/>
                <a:gd name="connsiteX31" fmla="*/ 3231522 w 3785642"/>
                <a:gd name="connsiteY31" fmla="*/ 90814 h 479077"/>
                <a:gd name="connsiteX32" fmla="*/ 3220609 w 3785642"/>
                <a:gd name="connsiteY32" fmla="*/ 102720 h 479077"/>
                <a:gd name="connsiteX33" fmla="*/ 3208207 w 3785642"/>
                <a:gd name="connsiteY33" fmla="*/ 113137 h 479077"/>
                <a:gd name="connsiteX34" fmla="*/ 3197293 w 3785642"/>
                <a:gd name="connsiteY34" fmla="*/ 125043 h 479077"/>
                <a:gd name="connsiteX35" fmla="*/ 3185387 w 3785642"/>
                <a:gd name="connsiteY35" fmla="*/ 136453 h 479077"/>
                <a:gd name="connsiteX36" fmla="*/ 3174970 w 3785642"/>
                <a:gd name="connsiteY36" fmla="*/ 148855 h 479077"/>
                <a:gd name="connsiteX37" fmla="*/ 3162071 w 3785642"/>
                <a:gd name="connsiteY37" fmla="*/ 159272 h 479077"/>
                <a:gd name="connsiteX38" fmla="*/ 3151158 w 3785642"/>
                <a:gd name="connsiteY38" fmla="*/ 171674 h 479077"/>
                <a:gd name="connsiteX39" fmla="*/ 3139252 w 3785642"/>
                <a:gd name="connsiteY39" fmla="*/ 182588 h 479077"/>
                <a:gd name="connsiteX40" fmla="*/ 3127843 w 3785642"/>
                <a:gd name="connsiteY40" fmla="*/ 194494 h 479077"/>
                <a:gd name="connsiteX41" fmla="*/ 3116432 w 3785642"/>
                <a:gd name="connsiteY41" fmla="*/ 205904 h 479077"/>
                <a:gd name="connsiteX42" fmla="*/ 3105022 w 3785642"/>
                <a:gd name="connsiteY42" fmla="*/ 217810 h 479077"/>
                <a:gd name="connsiteX43" fmla="*/ 3093117 w 3785642"/>
                <a:gd name="connsiteY43" fmla="*/ 229219 h 479077"/>
                <a:gd name="connsiteX44" fmla="*/ 3081707 w 3785642"/>
                <a:gd name="connsiteY44" fmla="*/ 240629 h 479077"/>
                <a:gd name="connsiteX45" fmla="*/ 3069305 w 3785642"/>
                <a:gd name="connsiteY45" fmla="*/ 251543 h 479077"/>
                <a:gd name="connsiteX46" fmla="*/ 3057895 w 3785642"/>
                <a:gd name="connsiteY46" fmla="*/ 263449 h 479077"/>
                <a:gd name="connsiteX47" fmla="*/ 3046486 w 3785642"/>
                <a:gd name="connsiteY47" fmla="*/ 275355 h 479077"/>
                <a:gd name="connsiteX48" fmla="*/ 3035572 w 3785642"/>
                <a:gd name="connsiteY48" fmla="*/ 287260 h 479077"/>
                <a:gd name="connsiteX49" fmla="*/ 3024658 w 3785642"/>
                <a:gd name="connsiteY49" fmla="*/ 299166 h 479077"/>
                <a:gd name="connsiteX50" fmla="*/ 3013248 w 3785642"/>
                <a:gd name="connsiteY50" fmla="*/ 311072 h 479077"/>
                <a:gd name="connsiteX51" fmla="*/ 3000350 w 3785642"/>
                <a:gd name="connsiteY51" fmla="*/ 321490 h 479077"/>
                <a:gd name="connsiteX52" fmla="*/ 2988941 w 3785642"/>
                <a:gd name="connsiteY52" fmla="*/ 333396 h 479077"/>
                <a:gd name="connsiteX53" fmla="*/ 2976539 w 3785642"/>
                <a:gd name="connsiteY53" fmla="*/ 344309 h 479077"/>
                <a:gd name="connsiteX54" fmla="*/ 2965129 w 3785642"/>
                <a:gd name="connsiteY54" fmla="*/ 356215 h 479077"/>
                <a:gd name="connsiteX55" fmla="*/ 2953223 w 3785642"/>
                <a:gd name="connsiteY55" fmla="*/ 367625 h 479077"/>
                <a:gd name="connsiteX56" fmla="*/ 2941813 w 3785642"/>
                <a:gd name="connsiteY56" fmla="*/ 379531 h 479077"/>
                <a:gd name="connsiteX57" fmla="*/ 2931395 w 3785642"/>
                <a:gd name="connsiteY57" fmla="*/ 392429 h 479077"/>
                <a:gd name="connsiteX58" fmla="*/ 2918497 w 3785642"/>
                <a:gd name="connsiteY58" fmla="*/ 402847 h 479077"/>
                <a:gd name="connsiteX59" fmla="*/ 2907584 w 3785642"/>
                <a:gd name="connsiteY59" fmla="*/ 415249 h 479077"/>
                <a:gd name="connsiteX60" fmla="*/ 2896174 w 3785642"/>
                <a:gd name="connsiteY60" fmla="*/ 426658 h 479077"/>
                <a:gd name="connsiteX61" fmla="*/ 2884268 w 3785642"/>
                <a:gd name="connsiteY61" fmla="*/ 438068 h 479077"/>
                <a:gd name="connsiteX62" fmla="*/ 2873354 w 3785642"/>
                <a:gd name="connsiteY62" fmla="*/ 450470 h 479077"/>
                <a:gd name="connsiteX63" fmla="*/ 2860952 w 3785642"/>
                <a:gd name="connsiteY63" fmla="*/ 461384 h 479077"/>
                <a:gd name="connsiteX64" fmla="*/ 2850039 w 3785642"/>
                <a:gd name="connsiteY64" fmla="*/ 473786 h 479077"/>
                <a:gd name="connsiteX65" fmla="*/ 2833668 w 3785642"/>
                <a:gd name="connsiteY65" fmla="*/ 473786 h 479077"/>
                <a:gd name="connsiteX66" fmla="*/ 2817297 w 3785642"/>
                <a:gd name="connsiteY66" fmla="*/ 473290 h 479077"/>
                <a:gd name="connsiteX67" fmla="*/ 2800927 w 3785642"/>
                <a:gd name="connsiteY67" fmla="*/ 473290 h 479077"/>
                <a:gd name="connsiteX68" fmla="*/ 2784556 w 3785642"/>
                <a:gd name="connsiteY68" fmla="*/ 473786 h 479077"/>
                <a:gd name="connsiteX69" fmla="*/ 2768186 w 3785642"/>
                <a:gd name="connsiteY69" fmla="*/ 474282 h 479077"/>
                <a:gd name="connsiteX70" fmla="*/ 2751815 w 3785642"/>
                <a:gd name="connsiteY70" fmla="*/ 474282 h 479077"/>
                <a:gd name="connsiteX71" fmla="*/ 2735444 w 3785642"/>
                <a:gd name="connsiteY71" fmla="*/ 473290 h 479077"/>
                <a:gd name="connsiteX72" fmla="*/ 2719074 w 3785642"/>
                <a:gd name="connsiteY72" fmla="*/ 474282 h 479077"/>
                <a:gd name="connsiteX73" fmla="*/ 2702703 w 3785642"/>
                <a:gd name="connsiteY73" fmla="*/ 472298 h 479077"/>
                <a:gd name="connsiteX74" fmla="*/ 2686333 w 3785642"/>
                <a:gd name="connsiteY74" fmla="*/ 472794 h 479077"/>
                <a:gd name="connsiteX75" fmla="*/ 2669962 w 3785642"/>
                <a:gd name="connsiteY75" fmla="*/ 474282 h 479077"/>
                <a:gd name="connsiteX76" fmla="*/ 2653592 w 3785642"/>
                <a:gd name="connsiteY76" fmla="*/ 472298 h 479077"/>
                <a:gd name="connsiteX77" fmla="*/ 2637221 w 3785642"/>
                <a:gd name="connsiteY77" fmla="*/ 474282 h 479077"/>
                <a:gd name="connsiteX78" fmla="*/ 2620851 w 3785642"/>
                <a:gd name="connsiteY78" fmla="*/ 474282 h 479077"/>
                <a:gd name="connsiteX79" fmla="*/ 2604480 w 3785642"/>
                <a:gd name="connsiteY79" fmla="*/ 472298 h 479077"/>
                <a:gd name="connsiteX80" fmla="*/ 2588109 w 3785642"/>
                <a:gd name="connsiteY80" fmla="*/ 473786 h 479077"/>
                <a:gd name="connsiteX81" fmla="*/ 2571739 w 3785642"/>
                <a:gd name="connsiteY81" fmla="*/ 472298 h 479077"/>
                <a:gd name="connsiteX82" fmla="*/ 2555368 w 3785642"/>
                <a:gd name="connsiteY82" fmla="*/ 473290 h 479077"/>
                <a:gd name="connsiteX83" fmla="*/ 2538998 w 3785642"/>
                <a:gd name="connsiteY83" fmla="*/ 474282 h 479077"/>
                <a:gd name="connsiteX84" fmla="*/ 2522627 w 3785642"/>
                <a:gd name="connsiteY84" fmla="*/ 473290 h 479077"/>
                <a:gd name="connsiteX85" fmla="*/ 2506257 w 3785642"/>
                <a:gd name="connsiteY85" fmla="*/ 474282 h 479077"/>
                <a:gd name="connsiteX86" fmla="*/ 2489886 w 3785642"/>
                <a:gd name="connsiteY86" fmla="*/ 473786 h 479077"/>
                <a:gd name="connsiteX87" fmla="*/ 2473516 w 3785642"/>
                <a:gd name="connsiteY87" fmla="*/ 474282 h 479077"/>
                <a:gd name="connsiteX88" fmla="*/ 2457145 w 3785642"/>
                <a:gd name="connsiteY88" fmla="*/ 472794 h 479077"/>
                <a:gd name="connsiteX89" fmla="*/ 2440775 w 3785642"/>
                <a:gd name="connsiteY89" fmla="*/ 472298 h 479077"/>
                <a:gd name="connsiteX90" fmla="*/ 2424404 w 3785642"/>
                <a:gd name="connsiteY90" fmla="*/ 473786 h 479077"/>
                <a:gd name="connsiteX91" fmla="*/ 2408033 w 3785642"/>
                <a:gd name="connsiteY91" fmla="*/ 472794 h 479077"/>
                <a:gd name="connsiteX92" fmla="*/ 2391663 w 3785642"/>
                <a:gd name="connsiteY92" fmla="*/ 473290 h 479077"/>
                <a:gd name="connsiteX93" fmla="*/ 2375292 w 3785642"/>
                <a:gd name="connsiteY93" fmla="*/ 473290 h 479077"/>
                <a:gd name="connsiteX94" fmla="*/ 2358922 w 3785642"/>
                <a:gd name="connsiteY94" fmla="*/ 472794 h 479077"/>
                <a:gd name="connsiteX95" fmla="*/ 2342551 w 3785642"/>
                <a:gd name="connsiteY95" fmla="*/ 472298 h 479077"/>
                <a:gd name="connsiteX96" fmla="*/ 2326180 w 3785642"/>
                <a:gd name="connsiteY96" fmla="*/ 473786 h 479077"/>
                <a:gd name="connsiteX97" fmla="*/ 2309810 w 3785642"/>
                <a:gd name="connsiteY97" fmla="*/ 473786 h 479077"/>
                <a:gd name="connsiteX98" fmla="*/ 2293439 w 3785642"/>
                <a:gd name="connsiteY98" fmla="*/ 473786 h 479077"/>
                <a:gd name="connsiteX99" fmla="*/ 2277069 w 3785642"/>
                <a:gd name="connsiteY99" fmla="*/ 472794 h 479077"/>
                <a:gd name="connsiteX100" fmla="*/ 2260698 w 3785642"/>
                <a:gd name="connsiteY100" fmla="*/ 474282 h 479077"/>
                <a:gd name="connsiteX101" fmla="*/ 2244327 w 3785642"/>
                <a:gd name="connsiteY101" fmla="*/ 472298 h 479077"/>
                <a:gd name="connsiteX102" fmla="*/ 2227957 w 3785642"/>
                <a:gd name="connsiteY102" fmla="*/ 474282 h 479077"/>
                <a:gd name="connsiteX103" fmla="*/ 2211586 w 3785642"/>
                <a:gd name="connsiteY103" fmla="*/ 473290 h 479077"/>
                <a:gd name="connsiteX104" fmla="*/ 2195216 w 3785642"/>
                <a:gd name="connsiteY104" fmla="*/ 474282 h 479077"/>
                <a:gd name="connsiteX105" fmla="*/ 2178845 w 3785642"/>
                <a:gd name="connsiteY105" fmla="*/ 472794 h 479077"/>
                <a:gd name="connsiteX106" fmla="*/ 2162474 w 3785642"/>
                <a:gd name="connsiteY106" fmla="*/ 474778 h 479077"/>
                <a:gd name="connsiteX107" fmla="*/ 2146104 w 3785642"/>
                <a:gd name="connsiteY107" fmla="*/ 473290 h 479077"/>
                <a:gd name="connsiteX108" fmla="*/ 2129733 w 3785642"/>
                <a:gd name="connsiteY108" fmla="*/ 474778 h 479077"/>
                <a:gd name="connsiteX109" fmla="*/ 2113363 w 3785642"/>
                <a:gd name="connsiteY109" fmla="*/ 474778 h 479077"/>
                <a:gd name="connsiteX110" fmla="*/ 2096992 w 3785642"/>
                <a:gd name="connsiteY110" fmla="*/ 474778 h 479077"/>
                <a:gd name="connsiteX111" fmla="*/ 2080621 w 3785642"/>
                <a:gd name="connsiteY111" fmla="*/ 474282 h 479077"/>
                <a:gd name="connsiteX112" fmla="*/ 2064251 w 3785642"/>
                <a:gd name="connsiteY112" fmla="*/ 472794 h 479077"/>
                <a:gd name="connsiteX113" fmla="*/ 2047880 w 3785642"/>
                <a:gd name="connsiteY113" fmla="*/ 474778 h 479077"/>
                <a:gd name="connsiteX114" fmla="*/ 2031510 w 3785642"/>
                <a:gd name="connsiteY114" fmla="*/ 474778 h 479077"/>
                <a:gd name="connsiteX115" fmla="*/ 2015139 w 3785642"/>
                <a:gd name="connsiteY115" fmla="*/ 474778 h 479077"/>
                <a:gd name="connsiteX116" fmla="*/ 1998769 w 3785642"/>
                <a:gd name="connsiteY116" fmla="*/ 474282 h 479077"/>
                <a:gd name="connsiteX117" fmla="*/ 1982398 w 3785642"/>
                <a:gd name="connsiteY117" fmla="*/ 473786 h 479077"/>
                <a:gd name="connsiteX118" fmla="*/ 1966028 w 3785642"/>
                <a:gd name="connsiteY118" fmla="*/ 473786 h 479077"/>
                <a:gd name="connsiteX119" fmla="*/ 1949657 w 3785642"/>
                <a:gd name="connsiteY119" fmla="*/ 472794 h 479077"/>
                <a:gd name="connsiteX120" fmla="*/ 1933287 w 3785642"/>
                <a:gd name="connsiteY120" fmla="*/ 473290 h 479077"/>
                <a:gd name="connsiteX121" fmla="*/ 1916916 w 3785642"/>
                <a:gd name="connsiteY121" fmla="*/ 474778 h 479077"/>
                <a:gd name="connsiteX122" fmla="*/ 1900546 w 3785642"/>
                <a:gd name="connsiteY122" fmla="*/ 472794 h 479077"/>
                <a:gd name="connsiteX123" fmla="*/ 1884175 w 3785642"/>
                <a:gd name="connsiteY123" fmla="*/ 473786 h 479077"/>
                <a:gd name="connsiteX124" fmla="*/ 1867804 w 3785642"/>
                <a:gd name="connsiteY124" fmla="*/ 474778 h 479077"/>
                <a:gd name="connsiteX125" fmla="*/ 1851434 w 3785642"/>
                <a:gd name="connsiteY125" fmla="*/ 474778 h 479077"/>
                <a:gd name="connsiteX126" fmla="*/ 1835063 w 3785642"/>
                <a:gd name="connsiteY126" fmla="*/ 474778 h 479077"/>
                <a:gd name="connsiteX127" fmla="*/ 1818693 w 3785642"/>
                <a:gd name="connsiteY127" fmla="*/ 474282 h 479077"/>
                <a:gd name="connsiteX128" fmla="*/ 1802322 w 3785642"/>
                <a:gd name="connsiteY128" fmla="*/ 472794 h 479077"/>
                <a:gd name="connsiteX129" fmla="*/ 1785951 w 3785642"/>
                <a:gd name="connsiteY129" fmla="*/ 473786 h 479077"/>
                <a:gd name="connsiteX130" fmla="*/ 1769581 w 3785642"/>
                <a:gd name="connsiteY130" fmla="*/ 473290 h 479077"/>
                <a:gd name="connsiteX131" fmla="*/ 1753210 w 3785642"/>
                <a:gd name="connsiteY131" fmla="*/ 472298 h 479077"/>
                <a:gd name="connsiteX132" fmla="*/ 1736840 w 3785642"/>
                <a:gd name="connsiteY132" fmla="*/ 473290 h 479077"/>
                <a:gd name="connsiteX133" fmla="*/ 1720469 w 3785642"/>
                <a:gd name="connsiteY133" fmla="*/ 474778 h 479077"/>
                <a:gd name="connsiteX134" fmla="*/ 1704098 w 3785642"/>
                <a:gd name="connsiteY134" fmla="*/ 472794 h 479077"/>
                <a:gd name="connsiteX135" fmla="*/ 1687728 w 3785642"/>
                <a:gd name="connsiteY135" fmla="*/ 474778 h 479077"/>
                <a:gd name="connsiteX136" fmla="*/ 1671357 w 3785642"/>
                <a:gd name="connsiteY136" fmla="*/ 474778 h 479077"/>
                <a:gd name="connsiteX137" fmla="*/ 1654987 w 3785642"/>
                <a:gd name="connsiteY137" fmla="*/ 472298 h 479077"/>
                <a:gd name="connsiteX138" fmla="*/ 1638616 w 3785642"/>
                <a:gd name="connsiteY138" fmla="*/ 472794 h 479077"/>
                <a:gd name="connsiteX139" fmla="*/ 1622246 w 3785642"/>
                <a:gd name="connsiteY139" fmla="*/ 473786 h 479077"/>
                <a:gd name="connsiteX140" fmla="*/ 1605875 w 3785642"/>
                <a:gd name="connsiteY140" fmla="*/ 474778 h 479077"/>
                <a:gd name="connsiteX141" fmla="*/ 1589505 w 3785642"/>
                <a:gd name="connsiteY141" fmla="*/ 473290 h 479077"/>
                <a:gd name="connsiteX142" fmla="*/ 1573134 w 3785642"/>
                <a:gd name="connsiteY142" fmla="*/ 474778 h 479077"/>
                <a:gd name="connsiteX143" fmla="*/ 1556763 w 3785642"/>
                <a:gd name="connsiteY143" fmla="*/ 472794 h 479077"/>
                <a:gd name="connsiteX144" fmla="*/ 1540393 w 3785642"/>
                <a:gd name="connsiteY144" fmla="*/ 472794 h 479077"/>
                <a:gd name="connsiteX145" fmla="*/ 1524022 w 3785642"/>
                <a:gd name="connsiteY145" fmla="*/ 474282 h 479077"/>
                <a:gd name="connsiteX146" fmla="*/ 1507652 w 3785642"/>
                <a:gd name="connsiteY146" fmla="*/ 472794 h 479077"/>
                <a:gd name="connsiteX147" fmla="*/ 1491281 w 3785642"/>
                <a:gd name="connsiteY147" fmla="*/ 474282 h 479077"/>
                <a:gd name="connsiteX148" fmla="*/ 1474910 w 3785642"/>
                <a:gd name="connsiteY148" fmla="*/ 474282 h 479077"/>
                <a:gd name="connsiteX149" fmla="*/ 1458540 w 3785642"/>
                <a:gd name="connsiteY149" fmla="*/ 472794 h 479077"/>
                <a:gd name="connsiteX150" fmla="*/ 1442169 w 3785642"/>
                <a:gd name="connsiteY150" fmla="*/ 471802 h 479077"/>
                <a:gd name="connsiteX151" fmla="*/ 1425799 w 3785642"/>
                <a:gd name="connsiteY151" fmla="*/ 472298 h 479077"/>
                <a:gd name="connsiteX152" fmla="*/ 1409428 w 3785642"/>
                <a:gd name="connsiteY152" fmla="*/ 472794 h 479077"/>
                <a:gd name="connsiteX153" fmla="*/ 1393058 w 3785642"/>
                <a:gd name="connsiteY153" fmla="*/ 473786 h 479077"/>
                <a:gd name="connsiteX154" fmla="*/ 1376687 w 3785642"/>
                <a:gd name="connsiteY154" fmla="*/ 471802 h 479077"/>
                <a:gd name="connsiteX155" fmla="*/ 1360317 w 3785642"/>
                <a:gd name="connsiteY155" fmla="*/ 473786 h 479077"/>
                <a:gd name="connsiteX156" fmla="*/ 1343946 w 3785642"/>
                <a:gd name="connsiteY156" fmla="*/ 473786 h 479077"/>
                <a:gd name="connsiteX157" fmla="*/ 1327576 w 3785642"/>
                <a:gd name="connsiteY157" fmla="*/ 472794 h 479077"/>
                <a:gd name="connsiteX158" fmla="*/ 1311205 w 3785642"/>
                <a:gd name="connsiteY158" fmla="*/ 473786 h 479077"/>
                <a:gd name="connsiteX159" fmla="*/ 1294834 w 3785642"/>
                <a:gd name="connsiteY159" fmla="*/ 473786 h 479077"/>
                <a:gd name="connsiteX160" fmla="*/ 1278464 w 3785642"/>
                <a:gd name="connsiteY160" fmla="*/ 473786 h 479077"/>
                <a:gd name="connsiteX161" fmla="*/ 1262093 w 3785642"/>
                <a:gd name="connsiteY161" fmla="*/ 473786 h 479077"/>
                <a:gd name="connsiteX162" fmla="*/ 1245723 w 3785642"/>
                <a:gd name="connsiteY162" fmla="*/ 473290 h 479077"/>
                <a:gd name="connsiteX163" fmla="*/ 1229352 w 3785642"/>
                <a:gd name="connsiteY163" fmla="*/ 472794 h 479077"/>
                <a:gd name="connsiteX164" fmla="*/ 1212981 w 3785642"/>
                <a:gd name="connsiteY164" fmla="*/ 473786 h 479077"/>
                <a:gd name="connsiteX165" fmla="*/ 1196611 w 3785642"/>
                <a:gd name="connsiteY165" fmla="*/ 472298 h 479077"/>
                <a:gd name="connsiteX166" fmla="*/ 1180240 w 3785642"/>
                <a:gd name="connsiteY166" fmla="*/ 472794 h 479077"/>
                <a:gd name="connsiteX167" fmla="*/ 1163870 w 3785642"/>
                <a:gd name="connsiteY167" fmla="*/ 472794 h 479077"/>
                <a:gd name="connsiteX168" fmla="*/ 1147499 w 3785642"/>
                <a:gd name="connsiteY168" fmla="*/ 473786 h 479077"/>
                <a:gd name="connsiteX169" fmla="*/ 1131128 w 3785642"/>
                <a:gd name="connsiteY169" fmla="*/ 473786 h 479077"/>
                <a:gd name="connsiteX170" fmla="*/ 1114758 w 3785642"/>
                <a:gd name="connsiteY170" fmla="*/ 472794 h 479077"/>
                <a:gd name="connsiteX171" fmla="*/ 1098387 w 3785642"/>
                <a:gd name="connsiteY171" fmla="*/ 473786 h 479077"/>
                <a:gd name="connsiteX172" fmla="*/ 1082017 w 3785642"/>
                <a:gd name="connsiteY172" fmla="*/ 474778 h 479077"/>
                <a:gd name="connsiteX173" fmla="*/ 1065646 w 3785642"/>
                <a:gd name="connsiteY173" fmla="*/ 474778 h 479077"/>
                <a:gd name="connsiteX174" fmla="*/ 1049276 w 3785642"/>
                <a:gd name="connsiteY174" fmla="*/ 474282 h 479077"/>
                <a:gd name="connsiteX175" fmla="*/ 1032905 w 3785642"/>
                <a:gd name="connsiteY175" fmla="*/ 473290 h 479077"/>
                <a:gd name="connsiteX176" fmla="*/ 1016535 w 3785642"/>
                <a:gd name="connsiteY176" fmla="*/ 474282 h 479077"/>
                <a:gd name="connsiteX177" fmla="*/ 1000164 w 3785642"/>
                <a:gd name="connsiteY177" fmla="*/ 474282 h 479077"/>
                <a:gd name="connsiteX178" fmla="*/ 983793 w 3785642"/>
                <a:gd name="connsiteY178" fmla="*/ 472794 h 479077"/>
                <a:gd name="connsiteX179" fmla="*/ 967423 w 3785642"/>
                <a:gd name="connsiteY179" fmla="*/ 472794 h 479077"/>
                <a:gd name="connsiteX180" fmla="*/ 951052 w 3785642"/>
                <a:gd name="connsiteY180" fmla="*/ 473786 h 479077"/>
                <a:gd name="connsiteX181" fmla="*/ 934682 w 3785642"/>
                <a:gd name="connsiteY181" fmla="*/ 474282 h 479077"/>
                <a:gd name="connsiteX182" fmla="*/ 918311 w 3785642"/>
                <a:gd name="connsiteY182" fmla="*/ 474778 h 479077"/>
                <a:gd name="connsiteX183" fmla="*/ 901940 w 3785642"/>
                <a:gd name="connsiteY183" fmla="*/ 473290 h 479077"/>
                <a:gd name="connsiteX184" fmla="*/ 885570 w 3785642"/>
                <a:gd name="connsiteY184" fmla="*/ 474778 h 479077"/>
                <a:gd name="connsiteX185" fmla="*/ 869199 w 3785642"/>
                <a:gd name="connsiteY185" fmla="*/ 474282 h 479077"/>
                <a:gd name="connsiteX186" fmla="*/ 852829 w 3785642"/>
                <a:gd name="connsiteY186" fmla="*/ 473786 h 479077"/>
                <a:gd name="connsiteX187" fmla="*/ 836458 w 3785642"/>
                <a:gd name="connsiteY187" fmla="*/ 474778 h 479077"/>
                <a:gd name="connsiteX188" fmla="*/ 820088 w 3785642"/>
                <a:gd name="connsiteY188" fmla="*/ 475274 h 479077"/>
                <a:gd name="connsiteX189" fmla="*/ 803717 w 3785642"/>
                <a:gd name="connsiteY189" fmla="*/ 473786 h 479077"/>
                <a:gd name="connsiteX190" fmla="*/ 787347 w 3785642"/>
                <a:gd name="connsiteY190" fmla="*/ 475770 h 479077"/>
                <a:gd name="connsiteX191" fmla="*/ 770976 w 3785642"/>
                <a:gd name="connsiteY191" fmla="*/ 474778 h 479077"/>
                <a:gd name="connsiteX192" fmla="*/ 754605 w 3785642"/>
                <a:gd name="connsiteY192" fmla="*/ 475274 h 479077"/>
                <a:gd name="connsiteX193" fmla="*/ 738235 w 3785642"/>
                <a:gd name="connsiteY193" fmla="*/ 473786 h 479077"/>
                <a:gd name="connsiteX194" fmla="*/ 721864 w 3785642"/>
                <a:gd name="connsiteY194" fmla="*/ 475274 h 479077"/>
                <a:gd name="connsiteX195" fmla="*/ 705494 w 3785642"/>
                <a:gd name="connsiteY195" fmla="*/ 475770 h 479077"/>
                <a:gd name="connsiteX196" fmla="*/ 689123 w 3785642"/>
                <a:gd name="connsiteY196" fmla="*/ 474282 h 479077"/>
                <a:gd name="connsiteX197" fmla="*/ 672753 w 3785642"/>
                <a:gd name="connsiteY197" fmla="*/ 475274 h 479077"/>
                <a:gd name="connsiteX198" fmla="*/ 656382 w 3785642"/>
                <a:gd name="connsiteY198" fmla="*/ 474778 h 479077"/>
                <a:gd name="connsiteX199" fmla="*/ 640011 w 3785642"/>
                <a:gd name="connsiteY199" fmla="*/ 475770 h 479077"/>
                <a:gd name="connsiteX200" fmla="*/ 623641 w 3785642"/>
                <a:gd name="connsiteY200" fmla="*/ 473786 h 479077"/>
                <a:gd name="connsiteX201" fmla="*/ 607270 w 3785642"/>
                <a:gd name="connsiteY201" fmla="*/ 474778 h 479077"/>
                <a:gd name="connsiteX202" fmla="*/ 590900 w 3785642"/>
                <a:gd name="connsiteY202" fmla="*/ 475274 h 479077"/>
                <a:gd name="connsiteX203" fmla="*/ 574529 w 3785642"/>
                <a:gd name="connsiteY203" fmla="*/ 474282 h 479077"/>
                <a:gd name="connsiteX204" fmla="*/ 558158 w 3785642"/>
                <a:gd name="connsiteY204" fmla="*/ 475274 h 479077"/>
                <a:gd name="connsiteX205" fmla="*/ 541788 w 3785642"/>
                <a:gd name="connsiteY205" fmla="*/ 475770 h 479077"/>
                <a:gd name="connsiteX206" fmla="*/ 525417 w 3785642"/>
                <a:gd name="connsiteY206" fmla="*/ 474282 h 479077"/>
                <a:gd name="connsiteX207" fmla="*/ 509047 w 3785642"/>
                <a:gd name="connsiteY207" fmla="*/ 473786 h 479077"/>
                <a:gd name="connsiteX208" fmla="*/ 492676 w 3785642"/>
                <a:gd name="connsiteY208" fmla="*/ 473786 h 479077"/>
                <a:gd name="connsiteX209" fmla="*/ 476306 w 3785642"/>
                <a:gd name="connsiteY209" fmla="*/ 474778 h 479077"/>
                <a:gd name="connsiteX210" fmla="*/ 459935 w 3785642"/>
                <a:gd name="connsiteY210" fmla="*/ 473786 h 479077"/>
                <a:gd name="connsiteX211" fmla="*/ 443565 w 3785642"/>
                <a:gd name="connsiteY211" fmla="*/ 474778 h 479077"/>
                <a:gd name="connsiteX212" fmla="*/ 427194 w 3785642"/>
                <a:gd name="connsiteY212" fmla="*/ 474282 h 479077"/>
                <a:gd name="connsiteX213" fmla="*/ 410823 w 3785642"/>
                <a:gd name="connsiteY213" fmla="*/ 473290 h 479077"/>
                <a:gd name="connsiteX214" fmla="*/ 394453 w 3785642"/>
                <a:gd name="connsiteY214" fmla="*/ 475770 h 479077"/>
                <a:gd name="connsiteX215" fmla="*/ 378082 w 3785642"/>
                <a:gd name="connsiteY215" fmla="*/ 475274 h 479077"/>
                <a:gd name="connsiteX216" fmla="*/ 361712 w 3785642"/>
                <a:gd name="connsiteY216" fmla="*/ 474778 h 479077"/>
                <a:gd name="connsiteX217" fmla="*/ 345341 w 3785642"/>
                <a:gd name="connsiteY217" fmla="*/ 476266 h 479077"/>
                <a:gd name="connsiteX218" fmla="*/ 328970 w 3785642"/>
                <a:gd name="connsiteY218" fmla="*/ 474282 h 479077"/>
                <a:gd name="connsiteX219" fmla="*/ 312600 w 3785642"/>
                <a:gd name="connsiteY219" fmla="*/ 475274 h 479077"/>
                <a:gd name="connsiteX220" fmla="*/ 296229 w 3785642"/>
                <a:gd name="connsiteY220" fmla="*/ 474282 h 479077"/>
                <a:gd name="connsiteX221" fmla="*/ 279859 w 3785642"/>
                <a:gd name="connsiteY221" fmla="*/ 475770 h 479077"/>
                <a:gd name="connsiteX222" fmla="*/ 263488 w 3785642"/>
                <a:gd name="connsiteY222" fmla="*/ 476266 h 479077"/>
                <a:gd name="connsiteX223" fmla="*/ 247118 w 3785642"/>
                <a:gd name="connsiteY223" fmla="*/ 476266 h 479077"/>
                <a:gd name="connsiteX224" fmla="*/ 230747 w 3785642"/>
                <a:gd name="connsiteY224" fmla="*/ 474778 h 479077"/>
                <a:gd name="connsiteX225" fmla="*/ 214376 w 3785642"/>
                <a:gd name="connsiteY225" fmla="*/ 474778 h 479077"/>
                <a:gd name="connsiteX226" fmla="*/ 198006 w 3785642"/>
                <a:gd name="connsiteY226" fmla="*/ 476762 h 479077"/>
                <a:gd name="connsiteX227" fmla="*/ 181635 w 3785642"/>
                <a:gd name="connsiteY227" fmla="*/ 476266 h 479077"/>
                <a:gd name="connsiteX228" fmla="*/ 165265 w 3785642"/>
                <a:gd name="connsiteY228" fmla="*/ 474778 h 479077"/>
                <a:gd name="connsiteX229" fmla="*/ 148894 w 3785642"/>
                <a:gd name="connsiteY229" fmla="*/ 476762 h 479077"/>
                <a:gd name="connsiteX230" fmla="*/ 132524 w 3785642"/>
                <a:gd name="connsiteY230" fmla="*/ 476266 h 479077"/>
                <a:gd name="connsiteX231" fmla="*/ 116153 w 3785642"/>
                <a:gd name="connsiteY231" fmla="*/ 475274 h 479077"/>
                <a:gd name="connsiteX232" fmla="*/ 99783 w 3785642"/>
                <a:gd name="connsiteY232" fmla="*/ 475274 h 479077"/>
                <a:gd name="connsiteX233" fmla="*/ 83412 w 3785642"/>
                <a:gd name="connsiteY233" fmla="*/ 475274 h 479077"/>
                <a:gd name="connsiteX234" fmla="*/ 67041 w 3785642"/>
                <a:gd name="connsiteY234" fmla="*/ 474778 h 479077"/>
                <a:gd name="connsiteX235" fmla="*/ 50671 w 3785642"/>
                <a:gd name="connsiteY235" fmla="*/ 475274 h 479077"/>
                <a:gd name="connsiteX236" fmla="*/ 34300 w 3785642"/>
                <a:gd name="connsiteY236" fmla="*/ 475274 h 479077"/>
                <a:gd name="connsiteX237" fmla="*/ 17930 w 3785642"/>
                <a:gd name="connsiteY237" fmla="*/ 475770 h 479077"/>
                <a:gd name="connsiteX238" fmla="*/ 567 w 3785642"/>
                <a:gd name="connsiteY238" fmla="*/ 475770 h 479077"/>
                <a:gd name="connsiteX239" fmla="*/ 12969 w 3785642"/>
                <a:gd name="connsiteY239" fmla="*/ 463368 h 479077"/>
                <a:gd name="connsiteX240" fmla="*/ 24379 w 3785642"/>
                <a:gd name="connsiteY240" fmla="*/ 451958 h 479077"/>
                <a:gd name="connsiteX241" fmla="*/ 35788 w 3785642"/>
                <a:gd name="connsiteY241" fmla="*/ 440053 h 479077"/>
                <a:gd name="connsiteX242" fmla="*/ 48686 w 3785642"/>
                <a:gd name="connsiteY242" fmla="*/ 430131 h 479077"/>
                <a:gd name="connsiteX243" fmla="*/ 59600 w 3785642"/>
                <a:gd name="connsiteY243" fmla="*/ 418225 h 479077"/>
                <a:gd name="connsiteX244" fmla="*/ 70514 w 3785642"/>
                <a:gd name="connsiteY244" fmla="*/ 405823 h 479077"/>
                <a:gd name="connsiteX245" fmla="*/ 83412 w 3785642"/>
                <a:gd name="connsiteY245" fmla="*/ 395406 h 479077"/>
                <a:gd name="connsiteX246" fmla="*/ 94822 w 3785642"/>
                <a:gd name="connsiteY246" fmla="*/ 383500 h 479077"/>
                <a:gd name="connsiteX247" fmla="*/ 106728 w 3785642"/>
                <a:gd name="connsiteY247" fmla="*/ 372090 h 479077"/>
                <a:gd name="connsiteX248" fmla="*/ 117145 w 3785642"/>
                <a:gd name="connsiteY248" fmla="*/ 359688 h 479077"/>
                <a:gd name="connsiteX249" fmla="*/ 128555 w 3785642"/>
                <a:gd name="connsiteY249" fmla="*/ 348278 h 479077"/>
                <a:gd name="connsiteX250" fmla="*/ 140461 w 3785642"/>
                <a:gd name="connsiteY250" fmla="*/ 336868 h 479077"/>
                <a:gd name="connsiteX251" fmla="*/ 152863 w 3785642"/>
                <a:gd name="connsiteY251" fmla="*/ 326451 h 479077"/>
                <a:gd name="connsiteX252" fmla="*/ 164769 w 3785642"/>
                <a:gd name="connsiteY252" fmla="*/ 315041 h 479077"/>
                <a:gd name="connsiteX253" fmla="*/ 176178 w 3785642"/>
                <a:gd name="connsiteY253" fmla="*/ 303135 h 479077"/>
                <a:gd name="connsiteX254" fmla="*/ 188084 w 3785642"/>
                <a:gd name="connsiteY254" fmla="*/ 291725 h 479077"/>
                <a:gd name="connsiteX255" fmla="*/ 199494 w 3785642"/>
                <a:gd name="connsiteY255" fmla="*/ 280315 h 479077"/>
                <a:gd name="connsiteX256" fmla="*/ 210904 w 3785642"/>
                <a:gd name="connsiteY256" fmla="*/ 268906 h 479077"/>
                <a:gd name="connsiteX257" fmla="*/ 221818 w 3785642"/>
                <a:gd name="connsiteY257" fmla="*/ 256504 h 479077"/>
                <a:gd name="connsiteX258" fmla="*/ 233724 w 3785642"/>
                <a:gd name="connsiteY258" fmla="*/ 245094 h 479077"/>
                <a:gd name="connsiteX259" fmla="*/ 244141 w 3785642"/>
                <a:gd name="connsiteY259" fmla="*/ 232692 h 479077"/>
                <a:gd name="connsiteX260" fmla="*/ 257039 w 3785642"/>
                <a:gd name="connsiteY260" fmla="*/ 222770 h 479077"/>
                <a:gd name="connsiteX261" fmla="*/ 266961 w 3785642"/>
                <a:gd name="connsiteY261" fmla="*/ 209376 h 479077"/>
                <a:gd name="connsiteX262" fmla="*/ 278371 w 3785642"/>
                <a:gd name="connsiteY262" fmla="*/ 197966 h 479077"/>
                <a:gd name="connsiteX263" fmla="*/ 291269 w 3785642"/>
                <a:gd name="connsiteY263" fmla="*/ 188045 h 479077"/>
                <a:gd name="connsiteX264" fmla="*/ 301686 w 3785642"/>
                <a:gd name="connsiteY264" fmla="*/ 175147 h 479077"/>
                <a:gd name="connsiteX265" fmla="*/ 313592 w 3785642"/>
                <a:gd name="connsiteY265" fmla="*/ 163737 h 479077"/>
                <a:gd name="connsiteX266" fmla="*/ 325994 w 3785642"/>
                <a:gd name="connsiteY266" fmla="*/ 153319 h 479077"/>
                <a:gd name="connsiteX267" fmla="*/ 337404 w 3785642"/>
                <a:gd name="connsiteY267" fmla="*/ 141910 h 479077"/>
                <a:gd name="connsiteX268" fmla="*/ 347325 w 3785642"/>
                <a:gd name="connsiteY268" fmla="*/ 129012 h 479077"/>
                <a:gd name="connsiteX269" fmla="*/ 360224 w 3785642"/>
                <a:gd name="connsiteY269" fmla="*/ 118594 h 479077"/>
                <a:gd name="connsiteX270" fmla="*/ 371137 w 3785642"/>
                <a:gd name="connsiteY270" fmla="*/ 106192 h 479077"/>
                <a:gd name="connsiteX271" fmla="*/ 382051 w 3785642"/>
                <a:gd name="connsiteY271" fmla="*/ 93790 h 479077"/>
                <a:gd name="connsiteX272" fmla="*/ 393957 w 3785642"/>
                <a:gd name="connsiteY272" fmla="*/ 82380 h 479077"/>
                <a:gd name="connsiteX273" fmla="*/ 405366 w 3785642"/>
                <a:gd name="connsiteY273" fmla="*/ 70475 h 479077"/>
                <a:gd name="connsiteX274" fmla="*/ 417272 w 3785642"/>
                <a:gd name="connsiteY274" fmla="*/ 59561 h 479077"/>
                <a:gd name="connsiteX275" fmla="*/ 429674 w 3785642"/>
                <a:gd name="connsiteY275" fmla="*/ 48647 h 479077"/>
                <a:gd name="connsiteX276" fmla="*/ 440092 w 3785642"/>
                <a:gd name="connsiteY276" fmla="*/ 35749 h 479077"/>
                <a:gd name="connsiteX277" fmla="*/ 452494 w 3785642"/>
                <a:gd name="connsiteY277" fmla="*/ 24835 h 479077"/>
                <a:gd name="connsiteX278" fmla="*/ 463904 w 3785642"/>
                <a:gd name="connsiteY278" fmla="*/ 12929 h 479077"/>
                <a:gd name="connsiteX279" fmla="*/ 475313 w 3785642"/>
                <a:gd name="connsiteY279" fmla="*/ 1024 h 479077"/>
                <a:gd name="connsiteX280" fmla="*/ 491684 w 3785642"/>
                <a:gd name="connsiteY280" fmla="*/ 2512 h 479077"/>
                <a:gd name="connsiteX281" fmla="*/ 508055 w 3785642"/>
                <a:gd name="connsiteY281" fmla="*/ 2512 h 479077"/>
                <a:gd name="connsiteX282" fmla="*/ 524425 w 3785642"/>
                <a:gd name="connsiteY282" fmla="*/ 2512 h 479077"/>
                <a:gd name="connsiteX283" fmla="*/ 540796 w 3785642"/>
                <a:gd name="connsiteY283" fmla="*/ 1024 h 479077"/>
                <a:gd name="connsiteX284" fmla="*/ 557166 w 3785642"/>
                <a:gd name="connsiteY284" fmla="*/ 2512 h 479077"/>
                <a:gd name="connsiteX285" fmla="*/ 573537 w 3785642"/>
                <a:gd name="connsiteY285" fmla="*/ 1024 h 479077"/>
                <a:gd name="connsiteX286" fmla="*/ 589908 w 3785642"/>
                <a:gd name="connsiteY286" fmla="*/ 527 h 479077"/>
                <a:gd name="connsiteX287" fmla="*/ 606278 w 3785642"/>
                <a:gd name="connsiteY287" fmla="*/ 1520 h 479077"/>
                <a:gd name="connsiteX288" fmla="*/ 622649 w 3785642"/>
                <a:gd name="connsiteY288" fmla="*/ 1520 h 479077"/>
                <a:gd name="connsiteX289" fmla="*/ 639019 w 3785642"/>
                <a:gd name="connsiteY289" fmla="*/ 2016 h 479077"/>
                <a:gd name="connsiteX290" fmla="*/ 655390 w 3785642"/>
                <a:gd name="connsiteY290" fmla="*/ 527 h 479077"/>
                <a:gd name="connsiteX291" fmla="*/ 671760 w 3785642"/>
                <a:gd name="connsiteY291" fmla="*/ 1520 h 479077"/>
                <a:gd name="connsiteX292" fmla="*/ 688131 w 3785642"/>
                <a:gd name="connsiteY292" fmla="*/ 2512 h 479077"/>
                <a:gd name="connsiteX293" fmla="*/ 704501 w 3785642"/>
                <a:gd name="connsiteY293" fmla="*/ 1024 h 479077"/>
                <a:gd name="connsiteX294" fmla="*/ 720872 w 3785642"/>
                <a:gd name="connsiteY294" fmla="*/ 1520 h 479077"/>
                <a:gd name="connsiteX295" fmla="*/ 737243 w 3785642"/>
                <a:gd name="connsiteY295" fmla="*/ 2016 h 479077"/>
                <a:gd name="connsiteX296" fmla="*/ 753613 w 3785642"/>
                <a:gd name="connsiteY296" fmla="*/ 1024 h 479077"/>
                <a:gd name="connsiteX297" fmla="*/ 769984 w 3785642"/>
                <a:gd name="connsiteY297" fmla="*/ 527 h 479077"/>
                <a:gd name="connsiteX298" fmla="*/ 786354 w 3785642"/>
                <a:gd name="connsiteY298" fmla="*/ 1520 h 479077"/>
                <a:gd name="connsiteX299" fmla="*/ 802725 w 3785642"/>
                <a:gd name="connsiteY299" fmla="*/ 527 h 479077"/>
                <a:gd name="connsiteX300" fmla="*/ 819096 w 3785642"/>
                <a:gd name="connsiteY300" fmla="*/ 2512 h 479077"/>
                <a:gd name="connsiteX301" fmla="*/ 835466 w 3785642"/>
                <a:gd name="connsiteY301" fmla="*/ 527 h 479077"/>
                <a:gd name="connsiteX302" fmla="*/ 851837 w 3785642"/>
                <a:gd name="connsiteY302" fmla="*/ 1520 h 479077"/>
                <a:gd name="connsiteX303" fmla="*/ 868207 w 3785642"/>
                <a:gd name="connsiteY303" fmla="*/ 2016 h 479077"/>
                <a:gd name="connsiteX304" fmla="*/ 884578 w 3785642"/>
                <a:gd name="connsiteY304" fmla="*/ 2512 h 479077"/>
                <a:gd name="connsiteX305" fmla="*/ 900948 w 3785642"/>
                <a:gd name="connsiteY305" fmla="*/ 1520 h 479077"/>
                <a:gd name="connsiteX306" fmla="*/ 917319 w 3785642"/>
                <a:gd name="connsiteY306" fmla="*/ 1024 h 479077"/>
                <a:gd name="connsiteX307" fmla="*/ 933689 w 3785642"/>
                <a:gd name="connsiteY307" fmla="*/ 2512 h 479077"/>
                <a:gd name="connsiteX308" fmla="*/ 950060 w 3785642"/>
                <a:gd name="connsiteY308" fmla="*/ 1520 h 479077"/>
                <a:gd name="connsiteX309" fmla="*/ 966431 w 3785642"/>
                <a:gd name="connsiteY309" fmla="*/ 2016 h 479077"/>
                <a:gd name="connsiteX310" fmla="*/ 982801 w 3785642"/>
                <a:gd name="connsiteY310" fmla="*/ 2512 h 479077"/>
                <a:gd name="connsiteX311" fmla="*/ 999172 w 3785642"/>
                <a:gd name="connsiteY311" fmla="*/ 1520 h 479077"/>
                <a:gd name="connsiteX312" fmla="*/ 1015542 w 3785642"/>
                <a:gd name="connsiteY312" fmla="*/ 2512 h 479077"/>
                <a:gd name="connsiteX313" fmla="*/ 1031913 w 3785642"/>
                <a:gd name="connsiteY313" fmla="*/ 1520 h 479077"/>
                <a:gd name="connsiteX314" fmla="*/ 1048283 w 3785642"/>
                <a:gd name="connsiteY314" fmla="*/ 2016 h 479077"/>
                <a:gd name="connsiteX315" fmla="*/ 1064654 w 3785642"/>
                <a:gd name="connsiteY315" fmla="*/ 3504 h 479077"/>
                <a:gd name="connsiteX316" fmla="*/ 1081025 w 3785642"/>
                <a:gd name="connsiteY316" fmla="*/ 2016 h 479077"/>
                <a:gd name="connsiteX317" fmla="*/ 1097395 w 3785642"/>
                <a:gd name="connsiteY317" fmla="*/ 2512 h 479077"/>
                <a:gd name="connsiteX318" fmla="*/ 1113766 w 3785642"/>
                <a:gd name="connsiteY318" fmla="*/ 2512 h 479077"/>
                <a:gd name="connsiteX319" fmla="*/ 1130136 w 3785642"/>
                <a:gd name="connsiteY319" fmla="*/ 3504 h 479077"/>
                <a:gd name="connsiteX320" fmla="*/ 1146507 w 3785642"/>
                <a:gd name="connsiteY320" fmla="*/ 1520 h 479077"/>
                <a:gd name="connsiteX321" fmla="*/ 1162878 w 3785642"/>
                <a:gd name="connsiteY321" fmla="*/ 3008 h 479077"/>
                <a:gd name="connsiteX322" fmla="*/ 1179248 w 3785642"/>
                <a:gd name="connsiteY322" fmla="*/ 4000 h 479077"/>
                <a:gd name="connsiteX323" fmla="*/ 1195619 w 3785642"/>
                <a:gd name="connsiteY323" fmla="*/ 3504 h 479077"/>
                <a:gd name="connsiteX324" fmla="*/ 1211989 w 3785642"/>
                <a:gd name="connsiteY324" fmla="*/ 1520 h 479077"/>
                <a:gd name="connsiteX325" fmla="*/ 1228360 w 3785642"/>
                <a:gd name="connsiteY325" fmla="*/ 3504 h 479077"/>
                <a:gd name="connsiteX326" fmla="*/ 1244730 w 3785642"/>
                <a:gd name="connsiteY326" fmla="*/ 1520 h 479077"/>
                <a:gd name="connsiteX327" fmla="*/ 1261101 w 3785642"/>
                <a:gd name="connsiteY327" fmla="*/ 2512 h 479077"/>
                <a:gd name="connsiteX328" fmla="*/ 1277471 w 3785642"/>
                <a:gd name="connsiteY328" fmla="*/ 3504 h 479077"/>
                <a:gd name="connsiteX329" fmla="*/ 1293842 w 3785642"/>
                <a:gd name="connsiteY329" fmla="*/ 4000 h 479077"/>
                <a:gd name="connsiteX330" fmla="*/ 1310213 w 3785642"/>
                <a:gd name="connsiteY330" fmla="*/ 1520 h 479077"/>
                <a:gd name="connsiteX331" fmla="*/ 1326583 w 3785642"/>
                <a:gd name="connsiteY331" fmla="*/ 2016 h 479077"/>
                <a:gd name="connsiteX332" fmla="*/ 1342954 w 3785642"/>
                <a:gd name="connsiteY332" fmla="*/ 3008 h 479077"/>
                <a:gd name="connsiteX333" fmla="*/ 1359324 w 3785642"/>
                <a:gd name="connsiteY333" fmla="*/ 3008 h 479077"/>
                <a:gd name="connsiteX334" fmla="*/ 1375695 w 3785642"/>
                <a:gd name="connsiteY334" fmla="*/ 2512 h 479077"/>
                <a:gd name="connsiteX335" fmla="*/ 1392066 w 3785642"/>
                <a:gd name="connsiteY335" fmla="*/ 2512 h 479077"/>
                <a:gd name="connsiteX336" fmla="*/ 1408436 w 3785642"/>
                <a:gd name="connsiteY336" fmla="*/ 3504 h 479077"/>
                <a:gd name="connsiteX337" fmla="*/ 1424807 w 3785642"/>
                <a:gd name="connsiteY337" fmla="*/ 3504 h 479077"/>
                <a:gd name="connsiteX338" fmla="*/ 1441177 w 3785642"/>
                <a:gd name="connsiteY338" fmla="*/ 1520 h 479077"/>
                <a:gd name="connsiteX339" fmla="*/ 1457548 w 3785642"/>
                <a:gd name="connsiteY339" fmla="*/ 2512 h 479077"/>
                <a:gd name="connsiteX340" fmla="*/ 1473919 w 3785642"/>
                <a:gd name="connsiteY340" fmla="*/ 2016 h 479077"/>
                <a:gd name="connsiteX341" fmla="*/ 1490289 w 3785642"/>
                <a:gd name="connsiteY341" fmla="*/ 2016 h 479077"/>
                <a:gd name="connsiteX342" fmla="*/ 1506660 w 3785642"/>
                <a:gd name="connsiteY342" fmla="*/ 1520 h 479077"/>
                <a:gd name="connsiteX343" fmla="*/ 1523030 w 3785642"/>
                <a:gd name="connsiteY343" fmla="*/ 3504 h 479077"/>
                <a:gd name="connsiteX344" fmla="*/ 1539401 w 3785642"/>
                <a:gd name="connsiteY344" fmla="*/ 3008 h 479077"/>
                <a:gd name="connsiteX345" fmla="*/ 1555771 w 3785642"/>
                <a:gd name="connsiteY345" fmla="*/ 3008 h 479077"/>
                <a:gd name="connsiteX346" fmla="*/ 1572142 w 3785642"/>
                <a:gd name="connsiteY346" fmla="*/ 2512 h 479077"/>
                <a:gd name="connsiteX347" fmla="*/ 1588512 w 3785642"/>
                <a:gd name="connsiteY347" fmla="*/ 2016 h 479077"/>
                <a:gd name="connsiteX348" fmla="*/ 1604883 w 3785642"/>
                <a:gd name="connsiteY348" fmla="*/ 3008 h 479077"/>
                <a:gd name="connsiteX349" fmla="*/ 1621253 w 3785642"/>
                <a:gd name="connsiteY349" fmla="*/ 3008 h 479077"/>
                <a:gd name="connsiteX350" fmla="*/ 1637624 w 3785642"/>
                <a:gd name="connsiteY35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13375 w 3785642"/>
                <a:gd name="connsiteY23" fmla="*/ 10945 h 479077"/>
                <a:gd name="connsiteX24" fmla="*/ 3300973 w 3785642"/>
                <a:gd name="connsiteY24" fmla="*/ 21363 h 479077"/>
                <a:gd name="connsiteX25" fmla="*/ 3289068 w 3785642"/>
                <a:gd name="connsiteY25" fmla="*/ 32276 h 479077"/>
                <a:gd name="connsiteX26" fmla="*/ 3277658 w 3785642"/>
                <a:gd name="connsiteY26" fmla="*/ 43686 h 479077"/>
                <a:gd name="connsiteX27" fmla="*/ 3266248 w 3785642"/>
                <a:gd name="connsiteY27" fmla="*/ 55592 h 479077"/>
                <a:gd name="connsiteX28" fmla="*/ 3255830 w 3785642"/>
                <a:gd name="connsiteY28" fmla="*/ 68490 h 479077"/>
                <a:gd name="connsiteX29" fmla="*/ 3243924 w 3785642"/>
                <a:gd name="connsiteY29" fmla="*/ 79900 h 479077"/>
                <a:gd name="connsiteX30" fmla="*/ 3231522 w 3785642"/>
                <a:gd name="connsiteY30" fmla="*/ 90814 h 479077"/>
                <a:gd name="connsiteX31" fmla="*/ 3220609 w 3785642"/>
                <a:gd name="connsiteY31" fmla="*/ 102720 h 479077"/>
                <a:gd name="connsiteX32" fmla="*/ 3208207 w 3785642"/>
                <a:gd name="connsiteY32" fmla="*/ 113137 h 479077"/>
                <a:gd name="connsiteX33" fmla="*/ 3197293 w 3785642"/>
                <a:gd name="connsiteY33" fmla="*/ 125043 h 479077"/>
                <a:gd name="connsiteX34" fmla="*/ 3185387 w 3785642"/>
                <a:gd name="connsiteY34" fmla="*/ 136453 h 479077"/>
                <a:gd name="connsiteX35" fmla="*/ 3174970 w 3785642"/>
                <a:gd name="connsiteY35" fmla="*/ 148855 h 479077"/>
                <a:gd name="connsiteX36" fmla="*/ 3162071 w 3785642"/>
                <a:gd name="connsiteY36" fmla="*/ 159272 h 479077"/>
                <a:gd name="connsiteX37" fmla="*/ 3151158 w 3785642"/>
                <a:gd name="connsiteY37" fmla="*/ 171674 h 479077"/>
                <a:gd name="connsiteX38" fmla="*/ 3139252 w 3785642"/>
                <a:gd name="connsiteY38" fmla="*/ 182588 h 479077"/>
                <a:gd name="connsiteX39" fmla="*/ 3127843 w 3785642"/>
                <a:gd name="connsiteY39" fmla="*/ 194494 h 479077"/>
                <a:gd name="connsiteX40" fmla="*/ 3116432 w 3785642"/>
                <a:gd name="connsiteY40" fmla="*/ 205904 h 479077"/>
                <a:gd name="connsiteX41" fmla="*/ 3105022 w 3785642"/>
                <a:gd name="connsiteY41" fmla="*/ 217810 h 479077"/>
                <a:gd name="connsiteX42" fmla="*/ 3093117 w 3785642"/>
                <a:gd name="connsiteY42" fmla="*/ 229219 h 479077"/>
                <a:gd name="connsiteX43" fmla="*/ 3081707 w 3785642"/>
                <a:gd name="connsiteY43" fmla="*/ 240629 h 479077"/>
                <a:gd name="connsiteX44" fmla="*/ 3069305 w 3785642"/>
                <a:gd name="connsiteY44" fmla="*/ 251543 h 479077"/>
                <a:gd name="connsiteX45" fmla="*/ 3057895 w 3785642"/>
                <a:gd name="connsiteY45" fmla="*/ 263449 h 479077"/>
                <a:gd name="connsiteX46" fmla="*/ 3046486 w 3785642"/>
                <a:gd name="connsiteY46" fmla="*/ 275355 h 479077"/>
                <a:gd name="connsiteX47" fmla="*/ 3035572 w 3785642"/>
                <a:gd name="connsiteY47" fmla="*/ 287260 h 479077"/>
                <a:gd name="connsiteX48" fmla="*/ 3024658 w 3785642"/>
                <a:gd name="connsiteY48" fmla="*/ 299166 h 479077"/>
                <a:gd name="connsiteX49" fmla="*/ 3013248 w 3785642"/>
                <a:gd name="connsiteY49" fmla="*/ 311072 h 479077"/>
                <a:gd name="connsiteX50" fmla="*/ 3000350 w 3785642"/>
                <a:gd name="connsiteY50" fmla="*/ 321490 h 479077"/>
                <a:gd name="connsiteX51" fmla="*/ 2988941 w 3785642"/>
                <a:gd name="connsiteY51" fmla="*/ 333396 h 479077"/>
                <a:gd name="connsiteX52" fmla="*/ 2976539 w 3785642"/>
                <a:gd name="connsiteY52" fmla="*/ 344309 h 479077"/>
                <a:gd name="connsiteX53" fmla="*/ 2965129 w 3785642"/>
                <a:gd name="connsiteY53" fmla="*/ 356215 h 479077"/>
                <a:gd name="connsiteX54" fmla="*/ 2953223 w 3785642"/>
                <a:gd name="connsiteY54" fmla="*/ 367625 h 479077"/>
                <a:gd name="connsiteX55" fmla="*/ 2941813 w 3785642"/>
                <a:gd name="connsiteY55" fmla="*/ 379531 h 479077"/>
                <a:gd name="connsiteX56" fmla="*/ 2931395 w 3785642"/>
                <a:gd name="connsiteY56" fmla="*/ 392429 h 479077"/>
                <a:gd name="connsiteX57" fmla="*/ 2918497 w 3785642"/>
                <a:gd name="connsiteY57" fmla="*/ 402847 h 479077"/>
                <a:gd name="connsiteX58" fmla="*/ 2907584 w 3785642"/>
                <a:gd name="connsiteY58" fmla="*/ 415249 h 479077"/>
                <a:gd name="connsiteX59" fmla="*/ 2896174 w 3785642"/>
                <a:gd name="connsiteY59" fmla="*/ 426658 h 479077"/>
                <a:gd name="connsiteX60" fmla="*/ 2884268 w 3785642"/>
                <a:gd name="connsiteY60" fmla="*/ 438068 h 479077"/>
                <a:gd name="connsiteX61" fmla="*/ 2873354 w 3785642"/>
                <a:gd name="connsiteY61" fmla="*/ 450470 h 479077"/>
                <a:gd name="connsiteX62" fmla="*/ 2860952 w 3785642"/>
                <a:gd name="connsiteY62" fmla="*/ 461384 h 479077"/>
                <a:gd name="connsiteX63" fmla="*/ 2850039 w 3785642"/>
                <a:gd name="connsiteY63" fmla="*/ 473786 h 479077"/>
                <a:gd name="connsiteX64" fmla="*/ 2833668 w 3785642"/>
                <a:gd name="connsiteY64" fmla="*/ 473786 h 479077"/>
                <a:gd name="connsiteX65" fmla="*/ 2817297 w 3785642"/>
                <a:gd name="connsiteY65" fmla="*/ 473290 h 479077"/>
                <a:gd name="connsiteX66" fmla="*/ 2800927 w 3785642"/>
                <a:gd name="connsiteY66" fmla="*/ 473290 h 479077"/>
                <a:gd name="connsiteX67" fmla="*/ 2784556 w 3785642"/>
                <a:gd name="connsiteY67" fmla="*/ 473786 h 479077"/>
                <a:gd name="connsiteX68" fmla="*/ 2768186 w 3785642"/>
                <a:gd name="connsiteY68" fmla="*/ 474282 h 479077"/>
                <a:gd name="connsiteX69" fmla="*/ 2751815 w 3785642"/>
                <a:gd name="connsiteY69" fmla="*/ 474282 h 479077"/>
                <a:gd name="connsiteX70" fmla="*/ 2735444 w 3785642"/>
                <a:gd name="connsiteY70" fmla="*/ 473290 h 479077"/>
                <a:gd name="connsiteX71" fmla="*/ 2719074 w 3785642"/>
                <a:gd name="connsiteY71" fmla="*/ 474282 h 479077"/>
                <a:gd name="connsiteX72" fmla="*/ 2702703 w 3785642"/>
                <a:gd name="connsiteY72" fmla="*/ 472298 h 479077"/>
                <a:gd name="connsiteX73" fmla="*/ 2686333 w 3785642"/>
                <a:gd name="connsiteY73" fmla="*/ 472794 h 479077"/>
                <a:gd name="connsiteX74" fmla="*/ 2669962 w 3785642"/>
                <a:gd name="connsiteY74" fmla="*/ 474282 h 479077"/>
                <a:gd name="connsiteX75" fmla="*/ 2653592 w 3785642"/>
                <a:gd name="connsiteY75" fmla="*/ 472298 h 479077"/>
                <a:gd name="connsiteX76" fmla="*/ 2637221 w 3785642"/>
                <a:gd name="connsiteY76" fmla="*/ 474282 h 479077"/>
                <a:gd name="connsiteX77" fmla="*/ 2620851 w 3785642"/>
                <a:gd name="connsiteY77" fmla="*/ 474282 h 479077"/>
                <a:gd name="connsiteX78" fmla="*/ 2604480 w 3785642"/>
                <a:gd name="connsiteY78" fmla="*/ 472298 h 479077"/>
                <a:gd name="connsiteX79" fmla="*/ 2588109 w 3785642"/>
                <a:gd name="connsiteY79" fmla="*/ 473786 h 479077"/>
                <a:gd name="connsiteX80" fmla="*/ 2571739 w 3785642"/>
                <a:gd name="connsiteY80" fmla="*/ 472298 h 479077"/>
                <a:gd name="connsiteX81" fmla="*/ 2555368 w 3785642"/>
                <a:gd name="connsiteY81" fmla="*/ 473290 h 479077"/>
                <a:gd name="connsiteX82" fmla="*/ 2538998 w 3785642"/>
                <a:gd name="connsiteY82" fmla="*/ 474282 h 479077"/>
                <a:gd name="connsiteX83" fmla="*/ 2522627 w 3785642"/>
                <a:gd name="connsiteY83" fmla="*/ 473290 h 479077"/>
                <a:gd name="connsiteX84" fmla="*/ 2506257 w 3785642"/>
                <a:gd name="connsiteY84" fmla="*/ 474282 h 479077"/>
                <a:gd name="connsiteX85" fmla="*/ 2489886 w 3785642"/>
                <a:gd name="connsiteY85" fmla="*/ 473786 h 479077"/>
                <a:gd name="connsiteX86" fmla="*/ 2473516 w 3785642"/>
                <a:gd name="connsiteY86" fmla="*/ 474282 h 479077"/>
                <a:gd name="connsiteX87" fmla="*/ 2457145 w 3785642"/>
                <a:gd name="connsiteY87" fmla="*/ 472794 h 479077"/>
                <a:gd name="connsiteX88" fmla="*/ 2440775 w 3785642"/>
                <a:gd name="connsiteY88" fmla="*/ 472298 h 479077"/>
                <a:gd name="connsiteX89" fmla="*/ 2424404 w 3785642"/>
                <a:gd name="connsiteY89" fmla="*/ 473786 h 479077"/>
                <a:gd name="connsiteX90" fmla="*/ 2408033 w 3785642"/>
                <a:gd name="connsiteY90" fmla="*/ 472794 h 479077"/>
                <a:gd name="connsiteX91" fmla="*/ 2391663 w 3785642"/>
                <a:gd name="connsiteY91" fmla="*/ 473290 h 479077"/>
                <a:gd name="connsiteX92" fmla="*/ 2375292 w 3785642"/>
                <a:gd name="connsiteY92" fmla="*/ 473290 h 479077"/>
                <a:gd name="connsiteX93" fmla="*/ 2358922 w 3785642"/>
                <a:gd name="connsiteY93" fmla="*/ 472794 h 479077"/>
                <a:gd name="connsiteX94" fmla="*/ 2342551 w 3785642"/>
                <a:gd name="connsiteY94" fmla="*/ 472298 h 479077"/>
                <a:gd name="connsiteX95" fmla="*/ 2326180 w 3785642"/>
                <a:gd name="connsiteY95" fmla="*/ 473786 h 479077"/>
                <a:gd name="connsiteX96" fmla="*/ 2309810 w 3785642"/>
                <a:gd name="connsiteY96" fmla="*/ 473786 h 479077"/>
                <a:gd name="connsiteX97" fmla="*/ 2293439 w 3785642"/>
                <a:gd name="connsiteY97" fmla="*/ 473786 h 479077"/>
                <a:gd name="connsiteX98" fmla="*/ 2277069 w 3785642"/>
                <a:gd name="connsiteY98" fmla="*/ 472794 h 479077"/>
                <a:gd name="connsiteX99" fmla="*/ 2260698 w 3785642"/>
                <a:gd name="connsiteY99" fmla="*/ 474282 h 479077"/>
                <a:gd name="connsiteX100" fmla="*/ 2244327 w 3785642"/>
                <a:gd name="connsiteY100" fmla="*/ 472298 h 479077"/>
                <a:gd name="connsiteX101" fmla="*/ 2227957 w 3785642"/>
                <a:gd name="connsiteY101" fmla="*/ 474282 h 479077"/>
                <a:gd name="connsiteX102" fmla="*/ 2211586 w 3785642"/>
                <a:gd name="connsiteY102" fmla="*/ 473290 h 479077"/>
                <a:gd name="connsiteX103" fmla="*/ 2195216 w 3785642"/>
                <a:gd name="connsiteY103" fmla="*/ 474282 h 479077"/>
                <a:gd name="connsiteX104" fmla="*/ 2178845 w 3785642"/>
                <a:gd name="connsiteY104" fmla="*/ 472794 h 479077"/>
                <a:gd name="connsiteX105" fmla="*/ 2162474 w 3785642"/>
                <a:gd name="connsiteY105" fmla="*/ 474778 h 479077"/>
                <a:gd name="connsiteX106" fmla="*/ 2146104 w 3785642"/>
                <a:gd name="connsiteY106" fmla="*/ 473290 h 479077"/>
                <a:gd name="connsiteX107" fmla="*/ 2129733 w 3785642"/>
                <a:gd name="connsiteY107" fmla="*/ 474778 h 479077"/>
                <a:gd name="connsiteX108" fmla="*/ 2113363 w 3785642"/>
                <a:gd name="connsiteY108" fmla="*/ 474778 h 479077"/>
                <a:gd name="connsiteX109" fmla="*/ 2096992 w 3785642"/>
                <a:gd name="connsiteY109" fmla="*/ 474778 h 479077"/>
                <a:gd name="connsiteX110" fmla="*/ 2080621 w 3785642"/>
                <a:gd name="connsiteY110" fmla="*/ 474282 h 479077"/>
                <a:gd name="connsiteX111" fmla="*/ 2064251 w 3785642"/>
                <a:gd name="connsiteY111" fmla="*/ 472794 h 479077"/>
                <a:gd name="connsiteX112" fmla="*/ 2047880 w 3785642"/>
                <a:gd name="connsiteY112" fmla="*/ 474778 h 479077"/>
                <a:gd name="connsiteX113" fmla="*/ 2031510 w 3785642"/>
                <a:gd name="connsiteY113" fmla="*/ 474778 h 479077"/>
                <a:gd name="connsiteX114" fmla="*/ 2015139 w 3785642"/>
                <a:gd name="connsiteY114" fmla="*/ 474778 h 479077"/>
                <a:gd name="connsiteX115" fmla="*/ 1998769 w 3785642"/>
                <a:gd name="connsiteY115" fmla="*/ 474282 h 479077"/>
                <a:gd name="connsiteX116" fmla="*/ 1982398 w 3785642"/>
                <a:gd name="connsiteY116" fmla="*/ 473786 h 479077"/>
                <a:gd name="connsiteX117" fmla="*/ 1966028 w 3785642"/>
                <a:gd name="connsiteY117" fmla="*/ 473786 h 479077"/>
                <a:gd name="connsiteX118" fmla="*/ 1949657 w 3785642"/>
                <a:gd name="connsiteY118" fmla="*/ 472794 h 479077"/>
                <a:gd name="connsiteX119" fmla="*/ 1933287 w 3785642"/>
                <a:gd name="connsiteY119" fmla="*/ 473290 h 479077"/>
                <a:gd name="connsiteX120" fmla="*/ 1916916 w 3785642"/>
                <a:gd name="connsiteY120" fmla="*/ 474778 h 479077"/>
                <a:gd name="connsiteX121" fmla="*/ 1900546 w 3785642"/>
                <a:gd name="connsiteY121" fmla="*/ 472794 h 479077"/>
                <a:gd name="connsiteX122" fmla="*/ 1884175 w 3785642"/>
                <a:gd name="connsiteY122" fmla="*/ 473786 h 479077"/>
                <a:gd name="connsiteX123" fmla="*/ 1867804 w 3785642"/>
                <a:gd name="connsiteY123" fmla="*/ 474778 h 479077"/>
                <a:gd name="connsiteX124" fmla="*/ 1851434 w 3785642"/>
                <a:gd name="connsiteY124" fmla="*/ 474778 h 479077"/>
                <a:gd name="connsiteX125" fmla="*/ 1835063 w 3785642"/>
                <a:gd name="connsiteY125" fmla="*/ 474778 h 479077"/>
                <a:gd name="connsiteX126" fmla="*/ 1818693 w 3785642"/>
                <a:gd name="connsiteY126" fmla="*/ 474282 h 479077"/>
                <a:gd name="connsiteX127" fmla="*/ 1802322 w 3785642"/>
                <a:gd name="connsiteY127" fmla="*/ 472794 h 479077"/>
                <a:gd name="connsiteX128" fmla="*/ 1785951 w 3785642"/>
                <a:gd name="connsiteY128" fmla="*/ 473786 h 479077"/>
                <a:gd name="connsiteX129" fmla="*/ 1769581 w 3785642"/>
                <a:gd name="connsiteY129" fmla="*/ 473290 h 479077"/>
                <a:gd name="connsiteX130" fmla="*/ 1753210 w 3785642"/>
                <a:gd name="connsiteY130" fmla="*/ 472298 h 479077"/>
                <a:gd name="connsiteX131" fmla="*/ 1736840 w 3785642"/>
                <a:gd name="connsiteY131" fmla="*/ 473290 h 479077"/>
                <a:gd name="connsiteX132" fmla="*/ 1720469 w 3785642"/>
                <a:gd name="connsiteY132" fmla="*/ 474778 h 479077"/>
                <a:gd name="connsiteX133" fmla="*/ 1704098 w 3785642"/>
                <a:gd name="connsiteY133" fmla="*/ 472794 h 479077"/>
                <a:gd name="connsiteX134" fmla="*/ 1687728 w 3785642"/>
                <a:gd name="connsiteY134" fmla="*/ 474778 h 479077"/>
                <a:gd name="connsiteX135" fmla="*/ 1671357 w 3785642"/>
                <a:gd name="connsiteY135" fmla="*/ 474778 h 479077"/>
                <a:gd name="connsiteX136" fmla="*/ 1654987 w 3785642"/>
                <a:gd name="connsiteY136" fmla="*/ 472298 h 479077"/>
                <a:gd name="connsiteX137" fmla="*/ 1638616 w 3785642"/>
                <a:gd name="connsiteY137" fmla="*/ 472794 h 479077"/>
                <a:gd name="connsiteX138" fmla="*/ 1622246 w 3785642"/>
                <a:gd name="connsiteY138" fmla="*/ 473786 h 479077"/>
                <a:gd name="connsiteX139" fmla="*/ 1605875 w 3785642"/>
                <a:gd name="connsiteY139" fmla="*/ 474778 h 479077"/>
                <a:gd name="connsiteX140" fmla="*/ 1589505 w 3785642"/>
                <a:gd name="connsiteY140" fmla="*/ 473290 h 479077"/>
                <a:gd name="connsiteX141" fmla="*/ 1573134 w 3785642"/>
                <a:gd name="connsiteY141" fmla="*/ 474778 h 479077"/>
                <a:gd name="connsiteX142" fmla="*/ 1556763 w 3785642"/>
                <a:gd name="connsiteY142" fmla="*/ 472794 h 479077"/>
                <a:gd name="connsiteX143" fmla="*/ 1540393 w 3785642"/>
                <a:gd name="connsiteY143" fmla="*/ 472794 h 479077"/>
                <a:gd name="connsiteX144" fmla="*/ 1524022 w 3785642"/>
                <a:gd name="connsiteY144" fmla="*/ 474282 h 479077"/>
                <a:gd name="connsiteX145" fmla="*/ 1507652 w 3785642"/>
                <a:gd name="connsiteY145" fmla="*/ 472794 h 479077"/>
                <a:gd name="connsiteX146" fmla="*/ 1491281 w 3785642"/>
                <a:gd name="connsiteY146" fmla="*/ 474282 h 479077"/>
                <a:gd name="connsiteX147" fmla="*/ 1474910 w 3785642"/>
                <a:gd name="connsiteY147" fmla="*/ 474282 h 479077"/>
                <a:gd name="connsiteX148" fmla="*/ 1458540 w 3785642"/>
                <a:gd name="connsiteY148" fmla="*/ 472794 h 479077"/>
                <a:gd name="connsiteX149" fmla="*/ 1442169 w 3785642"/>
                <a:gd name="connsiteY149" fmla="*/ 471802 h 479077"/>
                <a:gd name="connsiteX150" fmla="*/ 1425799 w 3785642"/>
                <a:gd name="connsiteY150" fmla="*/ 472298 h 479077"/>
                <a:gd name="connsiteX151" fmla="*/ 1409428 w 3785642"/>
                <a:gd name="connsiteY151" fmla="*/ 472794 h 479077"/>
                <a:gd name="connsiteX152" fmla="*/ 1393058 w 3785642"/>
                <a:gd name="connsiteY152" fmla="*/ 473786 h 479077"/>
                <a:gd name="connsiteX153" fmla="*/ 1376687 w 3785642"/>
                <a:gd name="connsiteY153" fmla="*/ 471802 h 479077"/>
                <a:gd name="connsiteX154" fmla="*/ 1360317 w 3785642"/>
                <a:gd name="connsiteY154" fmla="*/ 473786 h 479077"/>
                <a:gd name="connsiteX155" fmla="*/ 1343946 w 3785642"/>
                <a:gd name="connsiteY155" fmla="*/ 473786 h 479077"/>
                <a:gd name="connsiteX156" fmla="*/ 1327576 w 3785642"/>
                <a:gd name="connsiteY156" fmla="*/ 472794 h 479077"/>
                <a:gd name="connsiteX157" fmla="*/ 1311205 w 3785642"/>
                <a:gd name="connsiteY157" fmla="*/ 473786 h 479077"/>
                <a:gd name="connsiteX158" fmla="*/ 1294834 w 3785642"/>
                <a:gd name="connsiteY158" fmla="*/ 473786 h 479077"/>
                <a:gd name="connsiteX159" fmla="*/ 1278464 w 3785642"/>
                <a:gd name="connsiteY159" fmla="*/ 473786 h 479077"/>
                <a:gd name="connsiteX160" fmla="*/ 1262093 w 3785642"/>
                <a:gd name="connsiteY160" fmla="*/ 473786 h 479077"/>
                <a:gd name="connsiteX161" fmla="*/ 1245723 w 3785642"/>
                <a:gd name="connsiteY161" fmla="*/ 473290 h 479077"/>
                <a:gd name="connsiteX162" fmla="*/ 1229352 w 3785642"/>
                <a:gd name="connsiteY162" fmla="*/ 472794 h 479077"/>
                <a:gd name="connsiteX163" fmla="*/ 1212981 w 3785642"/>
                <a:gd name="connsiteY163" fmla="*/ 473786 h 479077"/>
                <a:gd name="connsiteX164" fmla="*/ 1196611 w 3785642"/>
                <a:gd name="connsiteY164" fmla="*/ 472298 h 479077"/>
                <a:gd name="connsiteX165" fmla="*/ 1180240 w 3785642"/>
                <a:gd name="connsiteY165" fmla="*/ 472794 h 479077"/>
                <a:gd name="connsiteX166" fmla="*/ 1163870 w 3785642"/>
                <a:gd name="connsiteY166" fmla="*/ 472794 h 479077"/>
                <a:gd name="connsiteX167" fmla="*/ 1147499 w 3785642"/>
                <a:gd name="connsiteY167" fmla="*/ 473786 h 479077"/>
                <a:gd name="connsiteX168" fmla="*/ 1131128 w 3785642"/>
                <a:gd name="connsiteY168" fmla="*/ 473786 h 479077"/>
                <a:gd name="connsiteX169" fmla="*/ 1114758 w 3785642"/>
                <a:gd name="connsiteY169" fmla="*/ 472794 h 479077"/>
                <a:gd name="connsiteX170" fmla="*/ 1098387 w 3785642"/>
                <a:gd name="connsiteY170" fmla="*/ 473786 h 479077"/>
                <a:gd name="connsiteX171" fmla="*/ 1082017 w 3785642"/>
                <a:gd name="connsiteY171" fmla="*/ 474778 h 479077"/>
                <a:gd name="connsiteX172" fmla="*/ 1065646 w 3785642"/>
                <a:gd name="connsiteY172" fmla="*/ 474778 h 479077"/>
                <a:gd name="connsiteX173" fmla="*/ 1049276 w 3785642"/>
                <a:gd name="connsiteY173" fmla="*/ 474282 h 479077"/>
                <a:gd name="connsiteX174" fmla="*/ 1032905 w 3785642"/>
                <a:gd name="connsiteY174" fmla="*/ 473290 h 479077"/>
                <a:gd name="connsiteX175" fmla="*/ 1016535 w 3785642"/>
                <a:gd name="connsiteY175" fmla="*/ 474282 h 479077"/>
                <a:gd name="connsiteX176" fmla="*/ 1000164 w 3785642"/>
                <a:gd name="connsiteY176" fmla="*/ 474282 h 479077"/>
                <a:gd name="connsiteX177" fmla="*/ 983793 w 3785642"/>
                <a:gd name="connsiteY177" fmla="*/ 472794 h 479077"/>
                <a:gd name="connsiteX178" fmla="*/ 967423 w 3785642"/>
                <a:gd name="connsiteY178" fmla="*/ 472794 h 479077"/>
                <a:gd name="connsiteX179" fmla="*/ 951052 w 3785642"/>
                <a:gd name="connsiteY179" fmla="*/ 473786 h 479077"/>
                <a:gd name="connsiteX180" fmla="*/ 934682 w 3785642"/>
                <a:gd name="connsiteY180" fmla="*/ 474282 h 479077"/>
                <a:gd name="connsiteX181" fmla="*/ 918311 w 3785642"/>
                <a:gd name="connsiteY181" fmla="*/ 474778 h 479077"/>
                <a:gd name="connsiteX182" fmla="*/ 901940 w 3785642"/>
                <a:gd name="connsiteY182" fmla="*/ 473290 h 479077"/>
                <a:gd name="connsiteX183" fmla="*/ 885570 w 3785642"/>
                <a:gd name="connsiteY183" fmla="*/ 474778 h 479077"/>
                <a:gd name="connsiteX184" fmla="*/ 869199 w 3785642"/>
                <a:gd name="connsiteY184" fmla="*/ 474282 h 479077"/>
                <a:gd name="connsiteX185" fmla="*/ 852829 w 3785642"/>
                <a:gd name="connsiteY185" fmla="*/ 473786 h 479077"/>
                <a:gd name="connsiteX186" fmla="*/ 836458 w 3785642"/>
                <a:gd name="connsiteY186" fmla="*/ 474778 h 479077"/>
                <a:gd name="connsiteX187" fmla="*/ 820088 w 3785642"/>
                <a:gd name="connsiteY187" fmla="*/ 475274 h 479077"/>
                <a:gd name="connsiteX188" fmla="*/ 803717 w 3785642"/>
                <a:gd name="connsiteY188" fmla="*/ 473786 h 479077"/>
                <a:gd name="connsiteX189" fmla="*/ 787347 w 3785642"/>
                <a:gd name="connsiteY189" fmla="*/ 475770 h 479077"/>
                <a:gd name="connsiteX190" fmla="*/ 770976 w 3785642"/>
                <a:gd name="connsiteY190" fmla="*/ 474778 h 479077"/>
                <a:gd name="connsiteX191" fmla="*/ 754605 w 3785642"/>
                <a:gd name="connsiteY191" fmla="*/ 475274 h 479077"/>
                <a:gd name="connsiteX192" fmla="*/ 738235 w 3785642"/>
                <a:gd name="connsiteY192" fmla="*/ 473786 h 479077"/>
                <a:gd name="connsiteX193" fmla="*/ 721864 w 3785642"/>
                <a:gd name="connsiteY193" fmla="*/ 475274 h 479077"/>
                <a:gd name="connsiteX194" fmla="*/ 705494 w 3785642"/>
                <a:gd name="connsiteY194" fmla="*/ 475770 h 479077"/>
                <a:gd name="connsiteX195" fmla="*/ 689123 w 3785642"/>
                <a:gd name="connsiteY195" fmla="*/ 474282 h 479077"/>
                <a:gd name="connsiteX196" fmla="*/ 672753 w 3785642"/>
                <a:gd name="connsiteY196" fmla="*/ 475274 h 479077"/>
                <a:gd name="connsiteX197" fmla="*/ 656382 w 3785642"/>
                <a:gd name="connsiteY197" fmla="*/ 474778 h 479077"/>
                <a:gd name="connsiteX198" fmla="*/ 640011 w 3785642"/>
                <a:gd name="connsiteY198" fmla="*/ 475770 h 479077"/>
                <a:gd name="connsiteX199" fmla="*/ 623641 w 3785642"/>
                <a:gd name="connsiteY199" fmla="*/ 473786 h 479077"/>
                <a:gd name="connsiteX200" fmla="*/ 607270 w 3785642"/>
                <a:gd name="connsiteY200" fmla="*/ 474778 h 479077"/>
                <a:gd name="connsiteX201" fmla="*/ 590900 w 3785642"/>
                <a:gd name="connsiteY201" fmla="*/ 475274 h 479077"/>
                <a:gd name="connsiteX202" fmla="*/ 574529 w 3785642"/>
                <a:gd name="connsiteY202" fmla="*/ 474282 h 479077"/>
                <a:gd name="connsiteX203" fmla="*/ 558158 w 3785642"/>
                <a:gd name="connsiteY203" fmla="*/ 475274 h 479077"/>
                <a:gd name="connsiteX204" fmla="*/ 541788 w 3785642"/>
                <a:gd name="connsiteY204" fmla="*/ 475770 h 479077"/>
                <a:gd name="connsiteX205" fmla="*/ 525417 w 3785642"/>
                <a:gd name="connsiteY205" fmla="*/ 474282 h 479077"/>
                <a:gd name="connsiteX206" fmla="*/ 509047 w 3785642"/>
                <a:gd name="connsiteY206" fmla="*/ 473786 h 479077"/>
                <a:gd name="connsiteX207" fmla="*/ 492676 w 3785642"/>
                <a:gd name="connsiteY207" fmla="*/ 473786 h 479077"/>
                <a:gd name="connsiteX208" fmla="*/ 476306 w 3785642"/>
                <a:gd name="connsiteY208" fmla="*/ 474778 h 479077"/>
                <a:gd name="connsiteX209" fmla="*/ 459935 w 3785642"/>
                <a:gd name="connsiteY209" fmla="*/ 473786 h 479077"/>
                <a:gd name="connsiteX210" fmla="*/ 443565 w 3785642"/>
                <a:gd name="connsiteY210" fmla="*/ 474778 h 479077"/>
                <a:gd name="connsiteX211" fmla="*/ 427194 w 3785642"/>
                <a:gd name="connsiteY211" fmla="*/ 474282 h 479077"/>
                <a:gd name="connsiteX212" fmla="*/ 410823 w 3785642"/>
                <a:gd name="connsiteY212" fmla="*/ 473290 h 479077"/>
                <a:gd name="connsiteX213" fmla="*/ 394453 w 3785642"/>
                <a:gd name="connsiteY213" fmla="*/ 475770 h 479077"/>
                <a:gd name="connsiteX214" fmla="*/ 378082 w 3785642"/>
                <a:gd name="connsiteY214" fmla="*/ 475274 h 479077"/>
                <a:gd name="connsiteX215" fmla="*/ 361712 w 3785642"/>
                <a:gd name="connsiteY215" fmla="*/ 474778 h 479077"/>
                <a:gd name="connsiteX216" fmla="*/ 345341 w 3785642"/>
                <a:gd name="connsiteY216" fmla="*/ 476266 h 479077"/>
                <a:gd name="connsiteX217" fmla="*/ 328970 w 3785642"/>
                <a:gd name="connsiteY217" fmla="*/ 474282 h 479077"/>
                <a:gd name="connsiteX218" fmla="*/ 312600 w 3785642"/>
                <a:gd name="connsiteY218" fmla="*/ 475274 h 479077"/>
                <a:gd name="connsiteX219" fmla="*/ 296229 w 3785642"/>
                <a:gd name="connsiteY219" fmla="*/ 474282 h 479077"/>
                <a:gd name="connsiteX220" fmla="*/ 279859 w 3785642"/>
                <a:gd name="connsiteY220" fmla="*/ 475770 h 479077"/>
                <a:gd name="connsiteX221" fmla="*/ 263488 w 3785642"/>
                <a:gd name="connsiteY221" fmla="*/ 476266 h 479077"/>
                <a:gd name="connsiteX222" fmla="*/ 247118 w 3785642"/>
                <a:gd name="connsiteY222" fmla="*/ 476266 h 479077"/>
                <a:gd name="connsiteX223" fmla="*/ 230747 w 3785642"/>
                <a:gd name="connsiteY223" fmla="*/ 474778 h 479077"/>
                <a:gd name="connsiteX224" fmla="*/ 214376 w 3785642"/>
                <a:gd name="connsiteY224" fmla="*/ 474778 h 479077"/>
                <a:gd name="connsiteX225" fmla="*/ 198006 w 3785642"/>
                <a:gd name="connsiteY225" fmla="*/ 476762 h 479077"/>
                <a:gd name="connsiteX226" fmla="*/ 181635 w 3785642"/>
                <a:gd name="connsiteY226" fmla="*/ 476266 h 479077"/>
                <a:gd name="connsiteX227" fmla="*/ 165265 w 3785642"/>
                <a:gd name="connsiteY227" fmla="*/ 474778 h 479077"/>
                <a:gd name="connsiteX228" fmla="*/ 148894 w 3785642"/>
                <a:gd name="connsiteY228" fmla="*/ 476762 h 479077"/>
                <a:gd name="connsiteX229" fmla="*/ 132524 w 3785642"/>
                <a:gd name="connsiteY229" fmla="*/ 476266 h 479077"/>
                <a:gd name="connsiteX230" fmla="*/ 116153 w 3785642"/>
                <a:gd name="connsiteY230" fmla="*/ 475274 h 479077"/>
                <a:gd name="connsiteX231" fmla="*/ 99783 w 3785642"/>
                <a:gd name="connsiteY231" fmla="*/ 475274 h 479077"/>
                <a:gd name="connsiteX232" fmla="*/ 83412 w 3785642"/>
                <a:gd name="connsiteY232" fmla="*/ 475274 h 479077"/>
                <a:gd name="connsiteX233" fmla="*/ 67041 w 3785642"/>
                <a:gd name="connsiteY233" fmla="*/ 474778 h 479077"/>
                <a:gd name="connsiteX234" fmla="*/ 50671 w 3785642"/>
                <a:gd name="connsiteY234" fmla="*/ 475274 h 479077"/>
                <a:gd name="connsiteX235" fmla="*/ 34300 w 3785642"/>
                <a:gd name="connsiteY235" fmla="*/ 475274 h 479077"/>
                <a:gd name="connsiteX236" fmla="*/ 17930 w 3785642"/>
                <a:gd name="connsiteY236" fmla="*/ 475770 h 479077"/>
                <a:gd name="connsiteX237" fmla="*/ 567 w 3785642"/>
                <a:gd name="connsiteY237" fmla="*/ 475770 h 479077"/>
                <a:gd name="connsiteX238" fmla="*/ 12969 w 3785642"/>
                <a:gd name="connsiteY238" fmla="*/ 463368 h 479077"/>
                <a:gd name="connsiteX239" fmla="*/ 24379 w 3785642"/>
                <a:gd name="connsiteY239" fmla="*/ 451958 h 479077"/>
                <a:gd name="connsiteX240" fmla="*/ 35788 w 3785642"/>
                <a:gd name="connsiteY240" fmla="*/ 440053 h 479077"/>
                <a:gd name="connsiteX241" fmla="*/ 48686 w 3785642"/>
                <a:gd name="connsiteY241" fmla="*/ 430131 h 479077"/>
                <a:gd name="connsiteX242" fmla="*/ 59600 w 3785642"/>
                <a:gd name="connsiteY242" fmla="*/ 418225 h 479077"/>
                <a:gd name="connsiteX243" fmla="*/ 70514 w 3785642"/>
                <a:gd name="connsiteY243" fmla="*/ 405823 h 479077"/>
                <a:gd name="connsiteX244" fmla="*/ 83412 w 3785642"/>
                <a:gd name="connsiteY244" fmla="*/ 395406 h 479077"/>
                <a:gd name="connsiteX245" fmla="*/ 94822 w 3785642"/>
                <a:gd name="connsiteY245" fmla="*/ 383500 h 479077"/>
                <a:gd name="connsiteX246" fmla="*/ 106728 w 3785642"/>
                <a:gd name="connsiteY246" fmla="*/ 372090 h 479077"/>
                <a:gd name="connsiteX247" fmla="*/ 117145 w 3785642"/>
                <a:gd name="connsiteY247" fmla="*/ 359688 h 479077"/>
                <a:gd name="connsiteX248" fmla="*/ 128555 w 3785642"/>
                <a:gd name="connsiteY248" fmla="*/ 348278 h 479077"/>
                <a:gd name="connsiteX249" fmla="*/ 140461 w 3785642"/>
                <a:gd name="connsiteY249" fmla="*/ 336868 h 479077"/>
                <a:gd name="connsiteX250" fmla="*/ 152863 w 3785642"/>
                <a:gd name="connsiteY250" fmla="*/ 326451 h 479077"/>
                <a:gd name="connsiteX251" fmla="*/ 164769 w 3785642"/>
                <a:gd name="connsiteY251" fmla="*/ 315041 h 479077"/>
                <a:gd name="connsiteX252" fmla="*/ 176178 w 3785642"/>
                <a:gd name="connsiteY252" fmla="*/ 303135 h 479077"/>
                <a:gd name="connsiteX253" fmla="*/ 188084 w 3785642"/>
                <a:gd name="connsiteY253" fmla="*/ 291725 h 479077"/>
                <a:gd name="connsiteX254" fmla="*/ 199494 w 3785642"/>
                <a:gd name="connsiteY254" fmla="*/ 280315 h 479077"/>
                <a:gd name="connsiteX255" fmla="*/ 210904 w 3785642"/>
                <a:gd name="connsiteY255" fmla="*/ 268906 h 479077"/>
                <a:gd name="connsiteX256" fmla="*/ 221818 w 3785642"/>
                <a:gd name="connsiteY256" fmla="*/ 256504 h 479077"/>
                <a:gd name="connsiteX257" fmla="*/ 233724 w 3785642"/>
                <a:gd name="connsiteY257" fmla="*/ 245094 h 479077"/>
                <a:gd name="connsiteX258" fmla="*/ 244141 w 3785642"/>
                <a:gd name="connsiteY258" fmla="*/ 232692 h 479077"/>
                <a:gd name="connsiteX259" fmla="*/ 257039 w 3785642"/>
                <a:gd name="connsiteY259" fmla="*/ 222770 h 479077"/>
                <a:gd name="connsiteX260" fmla="*/ 266961 w 3785642"/>
                <a:gd name="connsiteY260" fmla="*/ 209376 h 479077"/>
                <a:gd name="connsiteX261" fmla="*/ 278371 w 3785642"/>
                <a:gd name="connsiteY261" fmla="*/ 197966 h 479077"/>
                <a:gd name="connsiteX262" fmla="*/ 291269 w 3785642"/>
                <a:gd name="connsiteY262" fmla="*/ 188045 h 479077"/>
                <a:gd name="connsiteX263" fmla="*/ 301686 w 3785642"/>
                <a:gd name="connsiteY263" fmla="*/ 175147 h 479077"/>
                <a:gd name="connsiteX264" fmla="*/ 313592 w 3785642"/>
                <a:gd name="connsiteY264" fmla="*/ 163737 h 479077"/>
                <a:gd name="connsiteX265" fmla="*/ 325994 w 3785642"/>
                <a:gd name="connsiteY265" fmla="*/ 153319 h 479077"/>
                <a:gd name="connsiteX266" fmla="*/ 337404 w 3785642"/>
                <a:gd name="connsiteY266" fmla="*/ 141910 h 479077"/>
                <a:gd name="connsiteX267" fmla="*/ 347325 w 3785642"/>
                <a:gd name="connsiteY267" fmla="*/ 129012 h 479077"/>
                <a:gd name="connsiteX268" fmla="*/ 360224 w 3785642"/>
                <a:gd name="connsiteY268" fmla="*/ 118594 h 479077"/>
                <a:gd name="connsiteX269" fmla="*/ 371137 w 3785642"/>
                <a:gd name="connsiteY269" fmla="*/ 106192 h 479077"/>
                <a:gd name="connsiteX270" fmla="*/ 382051 w 3785642"/>
                <a:gd name="connsiteY270" fmla="*/ 93790 h 479077"/>
                <a:gd name="connsiteX271" fmla="*/ 393957 w 3785642"/>
                <a:gd name="connsiteY271" fmla="*/ 82380 h 479077"/>
                <a:gd name="connsiteX272" fmla="*/ 405366 w 3785642"/>
                <a:gd name="connsiteY272" fmla="*/ 70475 h 479077"/>
                <a:gd name="connsiteX273" fmla="*/ 417272 w 3785642"/>
                <a:gd name="connsiteY273" fmla="*/ 59561 h 479077"/>
                <a:gd name="connsiteX274" fmla="*/ 429674 w 3785642"/>
                <a:gd name="connsiteY274" fmla="*/ 48647 h 479077"/>
                <a:gd name="connsiteX275" fmla="*/ 440092 w 3785642"/>
                <a:gd name="connsiteY275" fmla="*/ 35749 h 479077"/>
                <a:gd name="connsiteX276" fmla="*/ 452494 w 3785642"/>
                <a:gd name="connsiteY276" fmla="*/ 24835 h 479077"/>
                <a:gd name="connsiteX277" fmla="*/ 463904 w 3785642"/>
                <a:gd name="connsiteY277" fmla="*/ 12929 h 479077"/>
                <a:gd name="connsiteX278" fmla="*/ 475313 w 3785642"/>
                <a:gd name="connsiteY278" fmla="*/ 1024 h 479077"/>
                <a:gd name="connsiteX279" fmla="*/ 491684 w 3785642"/>
                <a:gd name="connsiteY279" fmla="*/ 2512 h 479077"/>
                <a:gd name="connsiteX280" fmla="*/ 508055 w 3785642"/>
                <a:gd name="connsiteY280" fmla="*/ 2512 h 479077"/>
                <a:gd name="connsiteX281" fmla="*/ 524425 w 3785642"/>
                <a:gd name="connsiteY281" fmla="*/ 2512 h 479077"/>
                <a:gd name="connsiteX282" fmla="*/ 540796 w 3785642"/>
                <a:gd name="connsiteY282" fmla="*/ 1024 h 479077"/>
                <a:gd name="connsiteX283" fmla="*/ 557166 w 3785642"/>
                <a:gd name="connsiteY283" fmla="*/ 2512 h 479077"/>
                <a:gd name="connsiteX284" fmla="*/ 573537 w 3785642"/>
                <a:gd name="connsiteY284" fmla="*/ 1024 h 479077"/>
                <a:gd name="connsiteX285" fmla="*/ 589908 w 3785642"/>
                <a:gd name="connsiteY285" fmla="*/ 527 h 479077"/>
                <a:gd name="connsiteX286" fmla="*/ 606278 w 3785642"/>
                <a:gd name="connsiteY286" fmla="*/ 1520 h 479077"/>
                <a:gd name="connsiteX287" fmla="*/ 622649 w 3785642"/>
                <a:gd name="connsiteY287" fmla="*/ 1520 h 479077"/>
                <a:gd name="connsiteX288" fmla="*/ 639019 w 3785642"/>
                <a:gd name="connsiteY288" fmla="*/ 2016 h 479077"/>
                <a:gd name="connsiteX289" fmla="*/ 655390 w 3785642"/>
                <a:gd name="connsiteY289" fmla="*/ 527 h 479077"/>
                <a:gd name="connsiteX290" fmla="*/ 671760 w 3785642"/>
                <a:gd name="connsiteY290" fmla="*/ 1520 h 479077"/>
                <a:gd name="connsiteX291" fmla="*/ 688131 w 3785642"/>
                <a:gd name="connsiteY291" fmla="*/ 2512 h 479077"/>
                <a:gd name="connsiteX292" fmla="*/ 704501 w 3785642"/>
                <a:gd name="connsiteY292" fmla="*/ 1024 h 479077"/>
                <a:gd name="connsiteX293" fmla="*/ 720872 w 3785642"/>
                <a:gd name="connsiteY293" fmla="*/ 1520 h 479077"/>
                <a:gd name="connsiteX294" fmla="*/ 737243 w 3785642"/>
                <a:gd name="connsiteY294" fmla="*/ 2016 h 479077"/>
                <a:gd name="connsiteX295" fmla="*/ 753613 w 3785642"/>
                <a:gd name="connsiteY295" fmla="*/ 1024 h 479077"/>
                <a:gd name="connsiteX296" fmla="*/ 769984 w 3785642"/>
                <a:gd name="connsiteY296" fmla="*/ 527 h 479077"/>
                <a:gd name="connsiteX297" fmla="*/ 786354 w 3785642"/>
                <a:gd name="connsiteY297" fmla="*/ 1520 h 479077"/>
                <a:gd name="connsiteX298" fmla="*/ 802725 w 3785642"/>
                <a:gd name="connsiteY298" fmla="*/ 527 h 479077"/>
                <a:gd name="connsiteX299" fmla="*/ 819096 w 3785642"/>
                <a:gd name="connsiteY299" fmla="*/ 2512 h 479077"/>
                <a:gd name="connsiteX300" fmla="*/ 835466 w 3785642"/>
                <a:gd name="connsiteY300" fmla="*/ 527 h 479077"/>
                <a:gd name="connsiteX301" fmla="*/ 851837 w 3785642"/>
                <a:gd name="connsiteY301" fmla="*/ 1520 h 479077"/>
                <a:gd name="connsiteX302" fmla="*/ 868207 w 3785642"/>
                <a:gd name="connsiteY302" fmla="*/ 2016 h 479077"/>
                <a:gd name="connsiteX303" fmla="*/ 884578 w 3785642"/>
                <a:gd name="connsiteY303" fmla="*/ 2512 h 479077"/>
                <a:gd name="connsiteX304" fmla="*/ 900948 w 3785642"/>
                <a:gd name="connsiteY304" fmla="*/ 1520 h 479077"/>
                <a:gd name="connsiteX305" fmla="*/ 917319 w 3785642"/>
                <a:gd name="connsiteY305" fmla="*/ 1024 h 479077"/>
                <a:gd name="connsiteX306" fmla="*/ 933689 w 3785642"/>
                <a:gd name="connsiteY306" fmla="*/ 2512 h 479077"/>
                <a:gd name="connsiteX307" fmla="*/ 950060 w 3785642"/>
                <a:gd name="connsiteY307" fmla="*/ 1520 h 479077"/>
                <a:gd name="connsiteX308" fmla="*/ 966431 w 3785642"/>
                <a:gd name="connsiteY308" fmla="*/ 2016 h 479077"/>
                <a:gd name="connsiteX309" fmla="*/ 982801 w 3785642"/>
                <a:gd name="connsiteY309" fmla="*/ 2512 h 479077"/>
                <a:gd name="connsiteX310" fmla="*/ 999172 w 3785642"/>
                <a:gd name="connsiteY310" fmla="*/ 1520 h 479077"/>
                <a:gd name="connsiteX311" fmla="*/ 1015542 w 3785642"/>
                <a:gd name="connsiteY311" fmla="*/ 2512 h 479077"/>
                <a:gd name="connsiteX312" fmla="*/ 1031913 w 3785642"/>
                <a:gd name="connsiteY312" fmla="*/ 1520 h 479077"/>
                <a:gd name="connsiteX313" fmla="*/ 1048283 w 3785642"/>
                <a:gd name="connsiteY313" fmla="*/ 2016 h 479077"/>
                <a:gd name="connsiteX314" fmla="*/ 1064654 w 3785642"/>
                <a:gd name="connsiteY314" fmla="*/ 3504 h 479077"/>
                <a:gd name="connsiteX315" fmla="*/ 1081025 w 3785642"/>
                <a:gd name="connsiteY315" fmla="*/ 2016 h 479077"/>
                <a:gd name="connsiteX316" fmla="*/ 1097395 w 3785642"/>
                <a:gd name="connsiteY316" fmla="*/ 2512 h 479077"/>
                <a:gd name="connsiteX317" fmla="*/ 1113766 w 3785642"/>
                <a:gd name="connsiteY317" fmla="*/ 2512 h 479077"/>
                <a:gd name="connsiteX318" fmla="*/ 1130136 w 3785642"/>
                <a:gd name="connsiteY318" fmla="*/ 3504 h 479077"/>
                <a:gd name="connsiteX319" fmla="*/ 1146507 w 3785642"/>
                <a:gd name="connsiteY319" fmla="*/ 1520 h 479077"/>
                <a:gd name="connsiteX320" fmla="*/ 1162878 w 3785642"/>
                <a:gd name="connsiteY320" fmla="*/ 3008 h 479077"/>
                <a:gd name="connsiteX321" fmla="*/ 1179248 w 3785642"/>
                <a:gd name="connsiteY321" fmla="*/ 4000 h 479077"/>
                <a:gd name="connsiteX322" fmla="*/ 1195619 w 3785642"/>
                <a:gd name="connsiteY322" fmla="*/ 3504 h 479077"/>
                <a:gd name="connsiteX323" fmla="*/ 1211989 w 3785642"/>
                <a:gd name="connsiteY323" fmla="*/ 1520 h 479077"/>
                <a:gd name="connsiteX324" fmla="*/ 1228360 w 3785642"/>
                <a:gd name="connsiteY324" fmla="*/ 3504 h 479077"/>
                <a:gd name="connsiteX325" fmla="*/ 1244730 w 3785642"/>
                <a:gd name="connsiteY325" fmla="*/ 1520 h 479077"/>
                <a:gd name="connsiteX326" fmla="*/ 1261101 w 3785642"/>
                <a:gd name="connsiteY326" fmla="*/ 2512 h 479077"/>
                <a:gd name="connsiteX327" fmla="*/ 1277471 w 3785642"/>
                <a:gd name="connsiteY327" fmla="*/ 3504 h 479077"/>
                <a:gd name="connsiteX328" fmla="*/ 1293842 w 3785642"/>
                <a:gd name="connsiteY328" fmla="*/ 4000 h 479077"/>
                <a:gd name="connsiteX329" fmla="*/ 1310213 w 3785642"/>
                <a:gd name="connsiteY329" fmla="*/ 1520 h 479077"/>
                <a:gd name="connsiteX330" fmla="*/ 1326583 w 3785642"/>
                <a:gd name="connsiteY330" fmla="*/ 2016 h 479077"/>
                <a:gd name="connsiteX331" fmla="*/ 1342954 w 3785642"/>
                <a:gd name="connsiteY331" fmla="*/ 3008 h 479077"/>
                <a:gd name="connsiteX332" fmla="*/ 1359324 w 3785642"/>
                <a:gd name="connsiteY332" fmla="*/ 3008 h 479077"/>
                <a:gd name="connsiteX333" fmla="*/ 1375695 w 3785642"/>
                <a:gd name="connsiteY333" fmla="*/ 2512 h 479077"/>
                <a:gd name="connsiteX334" fmla="*/ 1392066 w 3785642"/>
                <a:gd name="connsiteY334" fmla="*/ 2512 h 479077"/>
                <a:gd name="connsiteX335" fmla="*/ 1408436 w 3785642"/>
                <a:gd name="connsiteY335" fmla="*/ 3504 h 479077"/>
                <a:gd name="connsiteX336" fmla="*/ 1424807 w 3785642"/>
                <a:gd name="connsiteY336" fmla="*/ 3504 h 479077"/>
                <a:gd name="connsiteX337" fmla="*/ 1441177 w 3785642"/>
                <a:gd name="connsiteY337" fmla="*/ 1520 h 479077"/>
                <a:gd name="connsiteX338" fmla="*/ 1457548 w 3785642"/>
                <a:gd name="connsiteY338" fmla="*/ 2512 h 479077"/>
                <a:gd name="connsiteX339" fmla="*/ 1473919 w 3785642"/>
                <a:gd name="connsiteY339" fmla="*/ 2016 h 479077"/>
                <a:gd name="connsiteX340" fmla="*/ 1490289 w 3785642"/>
                <a:gd name="connsiteY340" fmla="*/ 2016 h 479077"/>
                <a:gd name="connsiteX341" fmla="*/ 1506660 w 3785642"/>
                <a:gd name="connsiteY341" fmla="*/ 1520 h 479077"/>
                <a:gd name="connsiteX342" fmla="*/ 1523030 w 3785642"/>
                <a:gd name="connsiteY342" fmla="*/ 3504 h 479077"/>
                <a:gd name="connsiteX343" fmla="*/ 1539401 w 3785642"/>
                <a:gd name="connsiteY343" fmla="*/ 3008 h 479077"/>
                <a:gd name="connsiteX344" fmla="*/ 1555771 w 3785642"/>
                <a:gd name="connsiteY344" fmla="*/ 3008 h 479077"/>
                <a:gd name="connsiteX345" fmla="*/ 1572142 w 3785642"/>
                <a:gd name="connsiteY345" fmla="*/ 2512 h 479077"/>
                <a:gd name="connsiteX346" fmla="*/ 1588512 w 3785642"/>
                <a:gd name="connsiteY346" fmla="*/ 2016 h 479077"/>
                <a:gd name="connsiteX347" fmla="*/ 1604883 w 3785642"/>
                <a:gd name="connsiteY347" fmla="*/ 3008 h 479077"/>
                <a:gd name="connsiteX348" fmla="*/ 1621253 w 3785642"/>
                <a:gd name="connsiteY348" fmla="*/ 3008 h 479077"/>
                <a:gd name="connsiteX349" fmla="*/ 1637624 w 3785642"/>
                <a:gd name="connsiteY34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13375 w 3785642"/>
                <a:gd name="connsiteY22" fmla="*/ 10945 h 479077"/>
                <a:gd name="connsiteX23" fmla="*/ 3300973 w 3785642"/>
                <a:gd name="connsiteY23" fmla="*/ 21363 h 479077"/>
                <a:gd name="connsiteX24" fmla="*/ 3289068 w 3785642"/>
                <a:gd name="connsiteY24" fmla="*/ 32276 h 479077"/>
                <a:gd name="connsiteX25" fmla="*/ 3277658 w 3785642"/>
                <a:gd name="connsiteY25" fmla="*/ 43686 h 479077"/>
                <a:gd name="connsiteX26" fmla="*/ 3266248 w 3785642"/>
                <a:gd name="connsiteY26" fmla="*/ 55592 h 479077"/>
                <a:gd name="connsiteX27" fmla="*/ 3255830 w 3785642"/>
                <a:gd name="connsiteY27" fmla="*/ 68490 h 479077"/>
                <a:gd name="connsiteX28" fmla="*/ 3243924 w 3785642"/>
                <a:gd name="connsiteY28" fmla="*/ 79900 h 479077"/>
                <a:gd name="connsiteX29" fmla="*/ 3231522 w 3785642"/>
                <a:gd name="connsiteY29" fmla="*/ 90814 h 479077"/>
                <a:gd name="connsiteX30" fmla="*/ 3220609 w 3785642"/>
                <a:gd name="connsiteY30" fmla="*/ 102720 h 479077"/>
                <a:gd name="connsiteX31" fmla="*/ 3208207 w 3785642"/>
                <a:gd name="connsiteY31" fmla="*/ 113137 h 479077"/>
                <a:gd name="connsiteX32" fmla="*/ 3197293 w 3785642"/>
                <a:gd name="connsiteY32" fmla="*/ 125043 h 479077"/>
                <a:gd name="connsiteX33" fmla="*/ 3185387 w 3785642"/>
                <a:gd name="connsiteY33" fmla="*/ 136453 h 479077"/>
                <a:gd name="connsiteX34" fmla="*/ 3174970 w 3785642"/>
                <a:gd name="connsiteY34" fmla="*/ 148855 h 479077"/>
                <a:gd name="connsiteX35" fmla="*/ 3162071 w 3785642"/>
                <a:gd name="connsiteY35" fmla="*/ 159272 h 479077"/>
                <a:gd name="connsiteX36" fmla="*/ 3151158 w 3785642"/>
                <a:gd name="connsiteY36" fmla="*/ 171674 h 479077"/>
                <a:gd name="connsiteX37" fmla="*/ 3139252 w 3785642"/>
                <a:gd name="connsiteY37" fmla="*/ 182588 h 479077"/>
                <a:gd name="connsiteX38" fmla="*/ 3127843 w 3785642"/>
                <a:gd name="connsiteY38" fmla="*/ 194494 h 479077"/>
                <a:gd name="connsiteX39" fmla="*/ 3116432 w 3785642"/>
                <a:gd name="connsiteY39" fmla="*/ 205904 h 479077"/>
                <a:gd name="connsiteX40" fmla="*/ 3105022 w 3785642"/>
                <a:gd name="connsiteY40" fmla="*/ 217810 h 479077"/>
                <a:gd name="connsiteX41" fmla="*/ 3093117 w 3785642"/>
                <a:gd name="connsiteY41" fmla="*/ 229219 h 479077"/>
                <a:gd name="connsiteX42" fmla="*/ 3081707 w 3785642"/>
                <a:gd name="connsiteY42" fmla="*/ 240629 h 479077"/>
                <a:gd name="connsiteX43" fmla="*/ 3069305 w 3785642"/>
                <a:gd name="connsiteY43" fmla="*/ 251543 h 479077"/>
                <a:gd name="connsiteX44" fmla="*/ 3057895 w 3785642"/>
                <a:gd name="connsiteY44" fmla="*/ 263449 h 479077"/>
                <a:gd name="connsiteX45" fmla="*/ 3046486 w 3785642"/>
                <a:gd name="connsiteY45" fmla="*/ 275355 h 479077"/>
                <a:gd name="connsiteX46" fmla="*/ 3035572 w 3785642"/>
                <a:gd name="connsiteY46" fmla="*/ 287260 h 479077"/>
                <a:gd name="connsiteX47" fmla="*/ 3024658 w 3785642"/>
                <a:gd name="connsiteY47" fmla="*/ 299166 h 479077"/>
                <a:gd name="connsiteX48" fmla="*/ 3013248 w 3785642"/>
                <a:gd name="connsiteY48" fmla="*/ 311072 h 479077"/>
                <a:gd name="connsiteX49" fmla="*/ 3000350 w 3785642"/>
                <a:gd name="connsiteY49" fmla="*/ 321490 h 479077"/>
                <a:gd name="connsiteX50" fmla="*/ 2988941 w 3785642"/>
                <a:gd name="connsiteY50" fmla="*/ 333396 h 479077"/>
                <a:gd name="connsiteX51" fmla="*/ 2976539 w 3785642"/>
                <a:gd name="connsiteY51" fmla="*/ 344309 h 479077"/>
                <a:gd name="connsiteX52" fmla="*/ 2965129 w 3785642"/>
                <a:gd name="connsiteY52" fmla="*/ 356215 h 479077"/>
                <a:gd name="connsiteX53" fmla="*/ 2953223 w 3785642"/>
                <a:gd name="connsiteY53" fmla="*/ 367625 h 479077"/>
                <a:gd name="connsiteX54" fmla="*/ 2941813 w 3785642"/>
                <a:gd name="connsiteY54" fmla="*/ 379531 h 479077"/>
                <a:gd name="connsiteX55" fmla="*/ 2931395 w 3785642"/>
                <a:gd name="connsiteY55" fmla="*/ 392429 h 479077"/>
                <a:gd name="connsiteX56" fmla="*/ 2918497 w 3785642"/>
                <a:gd name="connsiteY56" fmla="*/ 402847 h 479077"/>
                <a:gd name="connsiteX57" fmla="*/ 2907584 w 3785642"/>
                <a:gd name="connsiteY57" fmla="*/ 415249 h 479077"/>
                <a:gd name="connsiteX58" fmla="*/ 2896174 w 3785642"/>
                <a:gd name="connsiteY58" fmla="*/ 426658 h 479077"/>
                <a:gd name="connsiteX59" fmla="*/ 2884268 w 3785642"/>
                <a:gd name="connsiteY59" fmla="*/ 438068 h 479077"/>
                <a:gd name="connsiteX60" fmla="*/ 2873354 w 3785642"/>
                <a:gd name="connsiteY60" fmla="*/ 450470 h 479077"/>
                <a:gd name="connsiteX61" fmla="*/ 2860952 w 3785642"/>
                <a:gd name="connsiteY61" fmla="*/ 461384 h 479077"/>
                <a:gd name="connsiteX62" fmla="*/ 2850039 w 3785642"/>
                <a:gd name="connsiteY62" fmla="*/ 473786 h 479077"/>
                <a:gd name="connsiteX63" fmla="*/ 2833668 w 3785642"/>
                <a:gd name="connsiteY63" fmla="*/ 473786 h 479077"/>
                <a:gd name="connsiteX64" fmla="*/ 2817297 w 3785642"/>
                <a:gd name="connsiteY64" fmla="*/ 473290 h 479077"/>
                <a:gd name="connsiteX65" fmla="*/ 2800927 w 3785642"/>
                <a:gd name="connsiteY65" fmla="*/ 473290 h 479077"/>
                <a:gd name="connsiteX66" fmla="*/ 2784556 w 3785642"/>
                <a:gd name="connsiteY66" fmla="*/ 473786 h 479077"/>
                <a:gd name="connsiteX67" fmla="*/ 2768186 w 3785642"/>
                <a:gd name="connsiteY67" fmla="*/ 474282 h 479077"/>
                <a:gd name="connsiteX68" fmla="*/ 2751815 w 3785642"/>
                <a:gd name="connsiteY68" fmla="*/ 474282 h 479077"/>
                <a:gd name="connsiteX69" fmla="*/ 2735444 w 3785642"/>
                <a:gd name="connsiteY69" fmla="*/ 473290 h 479077"/>
                <a:gd name="connsiteX70" fmla="*/ 2719074 w 3785642"/>
                <a:gd name="connsiteY70" fmla="*/ 474282 h 479077"/>
                <a:gd name="connsiteX71" fmla="*/ 2702703 w 3785642"/>
                <a:gd name="connsiteY71" fmla="*/ 472298 h 479077"/>
                <a:gd name="connsiteX72" fmla="*/ 2686333 w 3785642"/>
                <a:gd name="connsiteY72" fmla="*/ 472794 h 479077"/>
                <a:gd name="connsiteX73" fmla="*/ 2669962 w 3785642"/>
                <a:gd name="connsiteY73" fmla="*/ 474282 h 479077"/>
                <a:gd name="connsiteX74" fmla="*/ 2653592 w 3785642"/>
                <a:gd name="connsiteY74" fmla="*/ 472298 h 479077"/>
                <a:gd name="connsiteX75" fmla="*/ 2637221 w 3785642"/>
                <a:gd name="connsiteY75" fmla="*/ 474282 h 479077"/>
                <a:gd name="connsiteX76" fmla="*/ 2620851 w 3785642"/>
                <a:gd name="connsiteY76" fmla="*/ 474282 h 479077"/>
                <a:gd name="connsiteX77" fmla="*/ 2604480 w 3785642"/>
                <a:gd name="connsiteY77" fmla="*/ 472298 h 479077"/>
                <a:gd name="connsiteX78" fmla="*/ 2588109 w 3785642"/>
                <a:gd name="connsiteY78" fmla="*/ 473786 h 479077"/>
                <a:gd name="connsiteX79" fmla="*/ 2571739 w 3785642"/>
                <a:gd name="connsiteY79" fmla="*/ 472298 h 479077"/>
                <a:gd name="connsiteX80" fmla="*/ 2555368 w 3785642"/>
                <a:gd name="connsiteY80" fmla="*/ 473290 h 479077"/>
                <a:gd name="connsiteX81" fmla="*/ 2538998 w 3785642"/>
                <a:gd name="connsiteY81" fmla="*/ 474282 h 479077"/>
                <a:gd name="connsiteX82" fmla="*/ 2522627 w 3785642"/>
                <a:gd name="connsiteY82" fmla="*/ 473290 h 479077"/>
                <a:gd name="connsiteX83" fmla="*/ 2506257 w 3785642"/>
                <a:gd name="connsiteY83" fmla="*/ 474282 h 479077"/>
                <a:gd name="connsiteX84" fmla="*/ 2489886 w 3785642"/>
                <a:gd name="connsiteY84" fmla="*/ 473786 h 479077"/>
                <a:gd name="connsiteX85" fmla="*/ 2473516 w 3785642"/>
                <a:gd name="connsiteY85" fmla="*/ 474282 h 479077"/>
                <a:gd name="connsiteX86" fmla="*/ 2457145 w 3785642"/>
                <a:gd name="connsiteY86" fmla="*/ 472794 h 479077"/>
                <a:gd name="connsiteX87" fmla="*/ 2440775 w 3785642"/>
                <a:gd name="connsiteY87" fmla="*/ 472298 h 479077"/>
                <a:gd name="connsiteX88" fmla="*/ 2424404 w 3785642"/>
                <a:gd name="connsiteY88" fmla="*/ 473786 h 479077"/>
                <a:gd name="connsiteX89" fmla="*/ 2408033 w 3785642"/>
                <a:gd name="connsiteY89" fmla="*/ 472794 h 479077"/>
                <a:gd name="connsiteX90" fmla="*/ 2391663 w 3785642"/>
                <a:gd name="connsiteY90" fmla="*/ 473290 h 479077"/>
                <a:gd name="connsiteX91" fmla="*/ 2375292 w 3785642"/>
                <a:gd name="connsiteY91" fmla="*/ 473290 h 479077"/>
                <a:gd name="connsiteX92" fmla="*/ 2358922 w 3785642"/>
                <a:gd name="connsiteY92" fmla="*/ 472794 h 479077"/>
                <a:gd name="connsiteX93" fmla="*/ 2342551 w 3785642"/>
                <a:gd name="connsiteY93" fmla="*/ 472298 h 479077"/>
                <a:gd name="connsiteX94" fmla="*/ 2326180 w 3785642"/>
                <a:gd name="connsiteY94" fmla="*/ 473786 h 479077"/>
                <a:gd name="connsiteX95" fmla="*/ 2309810 w 3785642"/>
                <a:gd name="connsiteY95" fmla="*/ 473786 h 479077"/>
                <a:gd name="connsiteX96" fmla="*/ 2293439 w 3785642"/>
                <a:gd name="connsiteY96" fmla="*/ 473786 h 479077"/>
                <a:gd name="connsiteX97" fmla="*/ 2277069 w 3785642"/>
                <a:gd name="connsiteY97" fmla="*/ 472794 h 479077"/>
                <a:gd name="connsiteX98" fmla="*/ 2260698 w 3785642"/>
                <a:gd name="connsiteY98" fmla="*/ 474282 h 479077"/>
                <a:gd name="connsiteX99" fmla="*/ 2244327 w 3785642"/>
                <a:gd name="connsiteY99" fmla="*/ 472298 h 479077"/>
                <a:gd name="connsiteX100" fmla="*/ 2227957 w 3785642"/>
                <a:gd name="connsiteY100" fmla="*/ 474282 h 479077"/>
                <a:gd name="connsiteX101" fmla="*/ 2211586 w 3785642"/>
                <a:gd name="connsiteY101" fmla="*/ 473290 h 479077"/>
                <a:gd name="connsiteX102" fmla="*/ 2195216 w 3785642"/>
                <a:gd name="connsiteY102" fmla="*/ 474282 h 479077"/>
                <a:gd name="connsiteX103" fmla="*/ 2178845 w 3785642"/>
                <a:gd name="connsiteY103" fmla="*/ 472794 h 479077"/>
                <a:gd name="connsiteX104" fmla="*/ 2162474 w 3785642"/>
                <a:gd name="connsiteY104" fmla="*/ 474778 h 479077"/>
                <a:gd name="connsiteX105" fmla="*/ 2146104 w 3785642"/>
                <a:gd name="connsiteY105" fmla="*/ 473290 h 479077"/>
                <a:gd name="connsiteX106" fmla="*/ 2129733 w 3785642"/>
                <a:gd name="connsiteY106" fmla="*/ 474778 h 479077"/>
                <a:gd name="connsiteX107" fmla="*/ 2113363 w 3785642"/>
                <a:gd name="connsiteY107" fmla="*/ 474778 h 479077"/>
                <a:gd name="connsiteX108" fmla="*/ 2096992 w 3785642"/>
                <a:gd name="connsiteY108" fmla="*/ 474778 h 479077"/>
                <a:gd name="connsiteX109" fmla="*/ 2080621 w 3785642"/>
                <a:gd name="connsiteY109" fmla="*/ 474282 h 479077"/>
                <a:gd name="connsiteX110" fmla="*/ 2064251 w 3785642"/>
                <a:gd name="connsiteY110" fmla="*/ 472794 h 479077"/>
                <a:gd name="connsiteX111" fmla="*/ 2047880 w 3785642"/>
                <a:gd name="connsiteY111" fmla="*/ 474778 h 479077"/>
                <a:gd name="connsiteX112" fmla="*/ 2031510 w 3785642"/>
                <a:gd name="connsiteY112" fmla="*/ 474778 h 479077"/>
                <a:gd name="connsiteX113" fmla="*/ 2015139 w 3785642"/>
                <a:gd name="connsiteY113" fmla="*/ 474778 h 479077"/>
                <a:gd name="connsiteX114" fmla="*/ 1998769 w 3785642"/>
                <a:gd name="connsiteY114" fmla="*/ 474282 h 479077"/>
                <a:gd name="connsiteX115" fmla="*/ 1982398 w 3785642"/>
                <a:gd name="connsiteY115" fmla="*/ 473786 h 479077"/>
                <a:gd name="connsiteX116" fmla="*/ 1966028 w 3785642"/>
                <a:gd name="connsiteY116" fmla="*/ 473786 h 479077"/>
                <a:gd name="connsiteX117" fmla="*/ 1949657 w 3785642"/>
                <a:gd name="connsiteY117" fmla="*/ 472794 h 479077"/>
                <a:gd name="connsiteX118" fmla="*/ 1933287 w 3785642"/>
                <a:gd name="connsiteY118" fmla="*/ 473290 h 479077"/>
                <a:gd name="connsiteX119" fmla="*/ 1916916 w 3785642"/>
                <a:gd name="connsiteY119" fmla="*/ 474778 h 479077"/>
                <a:gd name="connsiteX120" fmla="*/ 1900546 w 3785642"/>
                <a:gd name="connsiteY120" fmla="*/ 472794 h 479077"/>
                <a:gd name="connsiteX121" fmla="*/ 1884175 w 3785642"/>
                <a:gd name="connsiteY121" fmla="*/ 473786 h 479077"/>
                <a:gd name="connsiteX122" fmla="*/ 1867804 w 3785642"/>
                <a:gd name="connsiteY122" fmla="*/ 474778 h 479077"/>
                <a:gd name="connsiteX123" fmla="*/ 1851434 w 3785642"/>
                <a:gd name="connsiteY123" fmla="*/ 474778 h 479077"/>
                <a:gd name="connsiteX124" fmla="*/ 1835063 w 3785642"/>
                <a:gd name="connsiteY124" fmla="*/ 474778 h 479077"/>
                <a:gd name="connsiteX125" fmla="*/ 1818693 w 3785642"/>
                <a:gd name="connsiteY125" fmla="*/ 474282 h 479077"/>
                <a:gd name="connsiteX126" fmla="*/ 1802322 w 3785642"/>
                <a:gd name="connsiteY126" fmla="*/ 472794 h 479077"/>
                <a:gd name="connsiteX127" fmla="*/ 1785951 w 3785642"/>
                <a:gd name="connsiteY127" fmla="*/ 473786 h 479077"/>
                <a:gd name="connsiteX128" fmla="*/ 1769581 w 3785642"/>
                <a:gd name="connsiteY128" fmla="*/ 473290 h 479077"/>
                <a:gd name="connsiteX129" fmla="*/ 1753210 w 3785642"/>
                <a:gd name="connsiteY129" fmla="*/ 472298 h 479077"/>
                <a:gd name="connsiteX130" fmla="*/ 1736840 w 3785642"/>
                <a:gd name="connsiteY130" fmla="*/ 473290 h 479077"/>
                <a:gd name="connsiteX131" fmla="*/ 1720469 w 3785642"/>
                <a:gd name="connsiteY131" fmla="*/ 474778 h 479077"/>
                <a:gd name="connsiteX132" fmla="*/ 1704098 w 3785642"/>
                <a:gd name="connsiteY132" fmla="*/ 472794 h 479077"/>
                <a:gd name="connsiteX133" fmla="*/ 1687728 w 3785642"/>
                <a:gd name="connsiteY133" fmla="*/ 474778 h 479077"/>
                <a:gd name="connsiteX134" fmla="*/ 1671357 w 3785642"/>
                <a:gd name="connsiteY134" fmla="*/ 474778 h 479077"/>
                <a:gd name="connsiteX135" fmla="*/ 1654987 w 3785642"/>
                <a:gd name="connsiteY135" fmla="*/ 472298 h 479077"/>
                <a:gd name="connsiteX136" fmla="*/ 1638616 w 3785642"/>
                <a:gd name="connsiteY136" fmla="*/ 472794 h 479077"/>
                <a:gd name="connsiteX137" fmla="*/ 1622246 w 3785642"/>
                <a:gd name="connsiteY137" fmla="*/ 473786 h 479077"/>
                <a:gd name="connsiteX138" fmla="*/ 1605875 w 3785642"/>
                <a:gd name="connsiteY138" fmla="*/ 474778 h 479077"/>
                <a:gd name="connsiteX139" fmla="*/ 1589505 w 3785642"/>
                <a:gd name="connsiteY139" fmla="*/ 473290 h 479077"/>
                <a:gd name="connsiteX140" fmla="*/ 1573134 w 3785642"/>
                <a:gd name="connsiteY140" fmla="*/ 474778 h 479077"/>
                <a:gd name="connsiteX141" fmla="*/ 1556763 w 3785642"/>
                <a:gd name="connsiteY141" fmla="*/ 472794 h 479077"/>
                <a:gd name="connsiteX142" fmla="*/ 1540393 w 3785642"/>
                <a:gd name="connsiteY142" fmla="*/ 472794 h 479077"/>
                <a:gd name="connsiteX143" fmla="*/ 1524022 w 3785642"/>
                <a:gd name="connsiteY143" fmla="*/ 474282 h 479077"/>
                <a:gd name="connsiteX144" fmla="*/ 1507652 w 3785642"/>
                <a:gd name="connsiteY144" fmla="*/ 472794 h 479077"/>
                <a:gd name="connsiteX145" fmla="*/ 1491281 w 3785642"/>
                <a:gd name="connsiteY145" fmla="*/ 474282 h 479077"/>
                <a:gd name="connsiteX146" fmla="*/ 1474910 w 3785642"/>
                <a:gd name="connsiteY146" fmla="*/ 474282 h 479077"/>
                <a:gd name="connsiteX147" fmla="*/ 1458540 w 3785642"/>
                <a:gd name="connsiteY147" fmla="*/ 472794 h 479077"/>
                <a:gd name="connsiteX148" fmla="*/ 1442169 w 3785642"/>
                <a:gd name="connsiteY148" fmla="*/ 471802 h 479077"/>
                <a:gd name="connsiteX149" fmla="*/ 1425799 w 3785642"/>
                <a:gd name="connsiteY149" fmla="*/ 472298 h 479077"/>
                <a:gd name="connsiteX150" fmla="*/ 1409428 w 3785642"/>
                <a:gd name="connsiteY150" fmla="*/ 472794 h 479077"/>
                <a:gd name="connsiteX151" fmla="*/ 1393058 w 3785642"/>
                <a:gd name="connsiteY151" fmla="*/ 473786 h 479077"/>
                <a:gd name="connsiteX152" fmla="*/ 1376687 w 3785642"/>
                <a:gd name="connsiteY152" fmla="*/ 471802 h 479077"/>
                <a:gd name="connsiteX153" fmla="*/ 1360317 w 3785642"/>
                <a:gd name="connsiteY153" fmla="*/ 473786 h 479077"/>
                <a:gd name="connsiteX154" fmla="*/ 1343946 w 3785642"/>
                <a:gd name="connsiteY154" fmla="*/ 473786 h 479077"/>
                <a:gd name="connsiteX155" fmla="*/ 1327576 w 3785642"/>
                <a:gd name="connsiteY155" fmla="*/ 472794 h 479077"/>
                <a:gd name="connsiteX156" fmla="*/ 1311205 w 3785642"/>
                <a:gd name="connsiteY156" fmla="*/ 473786 h 479077"/>
                <a:gd name="connsiteX157" fmla="*/ 1294834 w 3785642"/>
                <a:gd name="connsiteY157" fmla="*/ 473786 h 479077"/>
                <a:gd name="connsiteX158" fmla="*/ 1278464 w 3785642"/>
                <a:gd name="connsiteY158" fmla="*/ 473786 h 479077"/>
                <a:gd name="connsiteX159" fmla="*/ 1262093 w 3785642"/>
                <a:gd name="connsiteY159" fmla="*/ 473786 h 479077"/>
                <a:gd name="connsiteX160" fmla="*/ 1245723 w 3785642"/>
                <a:gd name="connsiteY160" fmla="*/ 473290 h 479077"/>
                <a:gd name="connsiteX161" fmla="*/ 1229352 w 3785642"/>
                <a:gd name="connsiteY161" fmla="*/ 472794 h 479077"/>
                <a:gd name="connsiteX162" fmla="*/ 1212981 w 3785642"/>
                <a:gd name="connsiteY162" fmla="*/ 473786 h 479077"/>
                <a:gd name="connsiteX163" fmla="*/ 1196611 w 3785642"/>
                <a:gd name="connsiteY163" fmla="*/ 472298 h 479077"/>
                <a:gd name="connsiteX164" fmla="*/ 1180240 w 3785642"/>
                <a:gd name="connsiteY164" fmla="*/ 472794 h 479077"/>
                <a:gd name="connsiteX165" fmla="*/ 1163870 w 3785642"/>
                <a:gd name="connsiteY165" fmla="*/ 472794 h 479077"/>
                <a:gd name="connsiteX166" fmla="*/ 1147499 w 3785642"/>
                <a:gd name="connsiteY166" fmla="*/ 473786 h 479077"/>
                <a:gd name="connsiteX167" fmla="*/ 1131128 w 3785642"/>
                <a:gd name="connsiteY167" fmla="*/ 473786 h 479077"/>
                <a:gd name="connsiteX168" fmla="*/ 1114758 w 3785642"/>
                <a:gd name="connsiteY168" fmla="*/ 472794 h 479077"/>
                <a:gd name="connsiteX169" fmla="*/ 1098387 w 3785642"/>
                <a:gd name="connsiteY169" fmla="*/ 473786 h 479077"/>
                <a:gd name="connsiteX170" fmla="*/ 1082017 w 3785642"/>
                <a:gd name="connsiteY170" fmla="*/ 474778 h 479077"/>
                <a:gd name="connsiteX171" fmla="*/ 1065646 w 3785642"/>
                <a:gd name="connsiteY171" fmla="*/ 474778 h 479077"/>
                <a:gd name="connsiteX172" fmla="*/ 1049276 w 3785642"/>
                <a:gd name="connsiteY172" fmla="*/ 474282 h 479077"/>
                <a:gd name="connsiteX173" fmla="*/ 1032905 w 3785642"/>
                <a:gd name="connsiteY173" fmla="*/ 473290 h 479077"/>
                <a:gd name="connsiteX174" fmla="*/ 1016535 w 3785642"/>
                <a:gd name="connsiteY174" fmla="*/ 474282 h 479077"/>
                <a:gd name="connsiteX175" fmla="*/ 1000164 w 3785642"/>
                <a:gd name="connsiteY175" fmla="*/ 474282 h 479077"/>
                <a:gd name="connsiteX176" fmla="*/ 983793 w 3785642"/>
                <a:gd name="connsiteY176" fmla="*/ 472794 h 479077"/>
                <a:gd name="connsiteX177" fmla="*/ 967423 w 3785642"/>
                <a:gd name="connsiteY177" fmla="*/ 472794 h 479077"/>
                <a:gd name="connsiteX178" fmla="*/ 951052 w 3785642"/>
                <a:gd name="connsiteY178" fmla="*/ 473786 h 479077"/>
                <a:gd name="connsiteX179" fmla="*/ 934682 w 3785642"/>
                <a:gd name="connsiteY179" fmla="*/ 474282 h 479077"/>
                <a:gd name="connsiteX180" fmla="*/ 918311 w 3785642"/>
                <a:gd name="connsiteY180" fmla="*/ 474778 h 479077"/>
                <a:gd name="connsiteX181" fmla="*/ 901940 w 3785642"/>
                <a:gd name="connsiteY181" fmla="*/ 473290 h 479077"/>
                <a:gd name="connsiteX182" fmla="*/ 885570 w 3785642"/>
                <a:gd name="connsiteY182" fmla="*/ 474778 h 479077"/>
                <a:gd name="connsiteX183" fmla="*/ 869199 w 3785642"/>
                <a:gd name="connsiteY183" fmla="*/ 474282 h 479077"/>
                <a:gd name="connsiteX184" fmla="*/ 852829 w 3785642"/>
                <a:gd name="connsiteY184" fmla="*/ 473786 h 479077"/>
                <a:gd name="connsiteX185" fmla="*/ 836458 w 3785642"/>
                <a:gd name="connsiteY185" fmla="*/ 474778 h 479077"/>
                <a:gd name="connsiteX186" fmla="*/ 820088 w 3785642"/>
                <a:gd name="connsiteY186" fmla="*/ 475274 h 479077"/>
                <a:gd name="connsiteX187" fmla="*/ 803717 w 3785642"/>
                <a:gd name="connsiteY187" fmla="*/ 473786 h 479077"/>
                <a:gd name="connsiteX188" fmla="*/ 787347 w 3785642"/>
                <a:gd name="connsiteY188" fmla="*/ 475770 h 479077"/>
                <a:gd name="connsiteX189" fmla="*/ 770976 w 3785642"/>
                <a:gd name="connsiteY189" fmla="*/ 474778 h 479077"/>
                <a:gd name="connsiteX190" fmla="*/ 754605 w 3785642"/>
                <a:gd name="connsiteY190" fmla="*/ 475274 h 479077"/>
                <a:gd name="connsiteX191" fmla="*/ 738235 w 3785642"/>
                <a:gd name="connsiteY191" fmla="*/ 473786 h 479077"/>
                <a:gd name="connsiteX192" fmla="*/ 721864 w 3785642"/>
                <a:gd name="connsiteY192" fmla="*/ 475274 h 479077"/>
                <a:gd name="connsiteX193" fmla="*/ 705494 w 3785642"/>
                <a:gd name="connsiteY193" fmla="*/ 475770 h 479077"/>
                <a:gd name="connsiteX194" fmla="*/ 689123 w 3785642"/>
                <a:gd name="connsiteY194" fmla="*/ 474282 h 479077"/>
                <a:gd name="connsiteX195" fmla="*/ 672753 w 3785642"/>
                <a:gd name="connsiteY195" fmla="*/ 475274 h 479077"/>
                <a:gd name="connsiteX196" fmla="*/ 656382 w 3785642"/>
                <a:gd name="connsiteY196" fmla="*/ 474778 h 479077"/>
                <a:gd name="connsiteX197" fmla="*/ 640011 w 3785642"/>
                <a:gd name="connsiteY197" fmla="*/ 475770 h 479077"/>
                <a:gd name="connsiteX198" fmla="*/ 623641 w 3785642"/>
                <a:gd name="connsiteY198" fmla="*/ 473786 h 479077"/>
                <a:gd name="connsiteX199" fmla="*/ 607270 w 3785642"/>
                <a:gd name="connsiteY199" fmla="*/ 474778 h 479077"/>
                <a:gd name="connsiteX200" fmla="*/ 590900 w 3785642"/>
                <a:gd name="connsiteY200" fmla="*/ 475274 h 479077"/>
                <a:gd name="connsiteX201" fmla="*/ 574529 w 3785642"/>
                <a:gd name="connsiteY201" fmla="*/ 474282 h 479077"/>
                <a:gd name="connsiteX202" fmla="*/ 558158 w 3785642"/>
                <a:gd name="connsiteY202" fmla="*/ 475274 h 479077"/>
                <a:gd name="connsiteX203" fmla="*/ 541788 w 3785642"/>
                <a:gd name="connsiteY203" fmla="*/ 475770 h 479077"/>
                <a:gd name="connsiteX204" fmla="*/ 525417 w 3785642"/>
                <a:gd name="connsiteY204" fmla="*/ 474282 h 479077"/>
                <a:gd name="connsiteX205" fmla="*/ 509047 w 3785642"/>
                <a:gd name="connsiteY205" fmla="*/ 473786 h 479077"/>
                <a:gd name="connsiteX206" fmla="*/ 492676 w 3785642"/>
                <a:gd name="connsiteY206" fmla="*/ 473786 h 479077"/>
                <a:gd name="connsiteX207" fmla="*/ 476306 w 3785642"/>
                <a:gd name="connsiteY207" fmla="*/ 474778 h 479077"/>
                <a:gd name="connsiteX208" fmla="*/ 459935 w 3785642"/>
                <a:gd name="connsiteY208" fmla="*/ 473786 h 479077"/>
                <a:gd name="connsiteX209" fmla="*/ 443565 w 3785642"/>
                <a:gd name="connsiteY209" fmla="*/ 474778 h 479077"/>
                <a:gd name="connsiteX210" fmla="*/ 427194 w 3785642"/>
                <a:gd name="connsiteY210" fmla="*/ 474282 h 479077"/>
                <a:gd name="connsiteX211" fmla="*/ 410823 w 3785642"/>
                <a:gd name="connsiteY211" fmla="*/ 473290 h 479077"/>
                <a:gd name="connsiteX212" fmla="*/ 394453 w 3785642"/>
                <a:gd name="connsiteY212" fmla="*/ 475770 h 479077"/>
                <a:gd name="connsiteX213" fmla="*/ 378082 w 3785642"/>
                <a:gd name="connsiteY213" fmla="*/ 475274 h 479077"/>
                <a:gd name="connsiteX214" fmla="*/ 361712 w 3785642"/>
                <a:gd name="connsiteY214" fmla="*/ 474778 h 479077"/>
                <a:gd name="connsiteX215" fmla="*/ 345341 w 3785642"/>
                <a:gd name="connsiteY215" fmla="*/ 476266 h 479077"/>
                <a:gd name="connsiteX216" fmla="*/ 328970 w 3785642"/>
                <a:gd name="connsiteY216" fmla="*/ 474282 h 479077"/>
                <a:gd name="connsiteX217" fmla="*/ 312600 w 3785642"/>
                <a:gd name="connsiteY217" fmla="*/ 475274 h 479077"/>
                <a:gd name="connsiteX218" fmla="*/ 296229 w 3785642"/>
                <a:gd name="connsiteY218" fmla="*/ 474282 h 479077"/>
                <a:gd name="connsiteX219" fmla="*/ 279859 w 3785642"/>
                <a:gd name="connsiteY219" fmla="*/ 475770 h 479077"/>
                <a:gd name="connsiteX220" fmla="*/ 263488 w 3785642"/>
                <a:gd name="connsiteY220" fmla="*/ 476266 h 479077"/>
                <a:gd name="connsiteX221" fmla="*/ 247118 w 3785642"/>
                <a:gd name="connsiteY221" fmla="*/ 476266 h 479077"/>
                <a:gd name="connsiteX222" fmla="*/ 230747 w 3785642"/>
                <a:gd name="connsiteY222" fmla="*/ 474778 h 479077"/>
                <a:gd name="connsiteX223" fmla="*/ 214376 w 3785642"/>
                <a:gd name="connsiteY223" fmla="*/ 474778 h 479077"/>
                <a:gd name="connsiteX224" fmla="*/ 198006 w 3785642"/>
                <a:gd name="connsiteY224" fmla="*/ 476762 h 479077"/>
                <a:gd name="connsiteX225" fmla="*/ 181635 w 3785642"/>
                <a:gd name="connsiteY225" fmla="*/ 476266 h 479077"/>
                <a:gd name="connsiteX226" fmla="*/ 165265 w 3785642"/>
                <a:gd name="connsiteY226" fmla="*/ 474778 h 479077"/>
                <a:gd name="connsiteX227" fmla="*/ 148894 w 3785642"/>
                <a:gd name="connsiteY227" fmla="*/ 476762 h 479077"/>
                <a:gd name="connsiteX228" fmla="*/ 132524 w 3785642"/>
                <a:gd name="connsiteY228" fmla="*/ 476266 h 479077"/>
                <a:gd name="connsiteX229" fmla="*/ 116153 w 3785642"/>
                <a:gd name="connsiteY229" fmla="*/ 475274 h 479077"/>
                <a:gd name="connsiteX230" fmla="*/ 99783 w 3785642"/>
                <a:gd name="connsiteY230" fmla="*/ 475274 h 479077"/>
                <a:gd name="connsiteX231" fmla="*/ 83412 w 3785642"/>
                <a:gd name="connsiteY231" fmla="*/ 475274 h 479077"/>
                <a:gd name="connsiteX232" fmla="*/ 67041 w 3785642"/>
                <a:gd name="connsiteY232" fmla="*/ 474778 h 479077"/>
                <a:gd name="connsiteX233" fmla="*/ 50671 w 3785642"/>
                <a:gd name="connsiteY233" fmla="*/ 475274 h 479077"/>
                <a:gd name="connsiteX234" fmla="*/ 34300 w 3785642"/>
                <a:gd name="connsiteY234" fmla="*/ 475274 h 479077"/>
                <a:gd name="connsiteX235" fmla="*/ 17930 w 3785642"/>
                <a:gd name="connsiteY235" fmla="*/ 475770 h 479077"/>
                <a:gd name="connsiteX236" fmla="*/ 567 w 3785642"/>
                <a:gd name="connsiteY236" fmla="*/ 475770 h 479077"/>
                <a:gd name="connsiteX237" fmla="*/ 12969 w 3785642"/>
                <a:gd name="connsiteY237" fmla="*/ 463368 h 479077"/>
                <a:gd name="connsiteX238" fmla="*/ 24379 w 3785642"/>
                <a:gd name="connsiteY238" fmla="*/ 451958 h 479077"/>
                <a:gd name="connsiteX239" fmla="*/ 35788 w 3785642"/>
                <a:gd name="connsiteY239" fmla="*/ 440053 h 479077"/>
                <a:gd name="connsiteX240" fmla="*/ 48686 w 3785642"/>
                <a:gd name="connsiteY240" fmla="*/ 430131 h 479077"/>
                <a:gd name="connsiteX241" fmla="*/ 59600 w 3785642"/>
                <a:gd name="connsiteY241" fmla="*/ 418225 h 479077"/>
                <a:gd name="connsiteX242" fmla="*/ 70514 w 3785642"/>
                <a:gd name="connsiteY242" fmla="*/ 405823 h 479077"/>
                <a:gd name="connsiteX243" fmla="*/ 83412 w 3785642"/>
                <a:gd name="connsiteY243" fmla="*/ 395406 h 479077"/>
                <a:gd name="connsiteX244" fmla="*/ 94822 w 3785642"/>
                <a:gd name="connsiteY244" fmla="*/ 383500 h 479077"/>
                <a:gd name="connsiteX245" fmla="*/ 106728 w 3785642"/>
                <a:gd name="connsiteY245" fmla="*/ 372090 h 479077"/>
                <a:gd name="connsiteX246" fmla="*/ 117145 w 3785642"/>
                <a:gd name="connsiteY246" fmla="*/ 359688 h 479077"/>
                <a:gd name="connsiteX247" fmla="*/ 128555 w 3785642"/>
                <a:gd name="connsiteY247" fmla="*/ 348278 h 479077"/>
                <a:gd name="connsiteX248" fmla="*/ 140461 w 3785642"/>
                <a:gd name="connsiteY248" fmla="*/ 336868 h 479077"/>
                <a:gd name="connsiteX249" fmla="*/ 152863 w 3785642"/>
                <a:gd name="connsiteY249" fmla="*/ 326451 h 479077"/>
                <a:gd name="connsiteX250" fmla="*/ 164769 w 3785642"/>
                <a:gd name="connsiteY250" fmla="*/ 315041 h 479077"/>
                <a:gd name="connsiteX251" fmla="*/ 176178 w 3785642"/>
                <a:gd name="connsiteY251" fmla="*/ 303135 h 479077"/>
                <a:gd name="connsiteX252" fmla="*/ 188084 w 3785642"/>
                <a:gd name="connsiteY252" fmla="*/ 291725 h 479077"/>
                <a:gd name="connsiteX253" fmla="*/ 199494 w 3785642"/>
                <a:gd name="connsiteY253" fmla="*/ 280315 h 479077"/>
                <a:gd name="connsiteX254" fmla="*/ 210904 w 3785642"/>
                <a:gd name="connsiteY254" fmla="*/ 268906 h 479077"/>
                <a:gd name="connsiteX255" fmla="*/ 221818 w 3785642"/>
                <a:gd name="connsiteY255" fmla="*/ 256504 h 479077"/>
                <a:gd name="connsiteX256" fmla="*/ 233724 w 3785642"/>
                <a:gd name="connsiteY256" fmla="*/ 245094 h 479077"/>
                <a:gd name="connsiteX257" fmla="*/ 244141 w 3785642"/>
                <a:gd name="connsiteY257" fmla="*/ 232692 h 479077"/>
                <a:gd name="connsiteX258" fmla="*/ 257039 w 3785642"/>
                <a:gd name="connsiteY258" fmla="*/ 222770 h 479077"/>
                <a:gd name="connsiteX259" fmla="*/ 266961 w 3785642"/>
                <a:gd name="connsiteY259" fmla="*/ 209376 h 479077"/>
                <a:gd name="connsiteX260" fmla="*/ 278371 w 3785642"/>
                <a:gd name="connsiteY260" fmla="*/ 197966 h 479077"/>
                <a:gd name="connsiteX261" fmla="*/ 291269 w 3785642"/>
                <a:gd name="connsiteY261" fmla="*/ 188045 h 479077"/>
                <a:gd name="connsiteX262" fmla="*/ 301686 w 3785642"/>
                <a:gd name="connsiteY262" fmla="*/ 175147 h 479077"/>
                <a:gd name="connsiteX263" fmla="*/ 313592 w 3785642"/>
                <a:gd name="connsiteY263" fmla="*/ 163737 h 479077"/>
                <a:gd name="connsiteX264" fmla="*/ 325994 w 3785642"/>
                <a:gd name="connsiteY264" fmla="*/ 153319 h 479077"/>
                <a:gd name="connsiteX265" fmla="*/ 337404 w 3785642"/>
                <a:gd name="connsiteY265" fmla="*/ 141910 h 479077"/>
                <a:gd name="connsiteX266" fmla="*/ 347325 w 3785642"/>
                <a:gd name="connsiteY266" fmla="*/ 129012 h 479077"/>
                <a:gd name="connsiteX267" fmla="*/ 360224 w 3785642"/>
                <a:gd name="connsiteY267" fmla="*/ 118594 h 479077"/>
                <a:gd name="connsiteX268" fmla="*/ 371137 w 3785642"/>
                <a:gd name="connsiteY268" fmla="*/ 106192 h 479077"/>
                <a:gd name="connsiteX269" fmla="*/ 382051 w 3785642"/>
                <a:gd name="connsiteY269" fmla="*/ 93790 h 479077"/>
                <a:gd name="connsiteX270" fmla="*/ 393957 w 3785642"/>
                <a:gd name="connsiteY270" fmla="*/ 82380 h 479077"/>
                <a:gd name="connsiteX271" fmla="*/ 405366 w 3785642"/>
                <a:gd name="connsiteY271" fmla="*/ 70475 h 479077"/>
                <a:gd name="connsiteX272" fmla="*/ 417272 w 3785642"/>
                <a:gd name="connsiteY272" fmla="*/ 59561 h 479077"/>
                <a:gd name="connsiteX273" fmla="*/ 429674 w 3785642"/>
                <a:gd name="connsiteY273" fmla="*/ 48647 h 479077"/>
                <a:gd name="connsiteX274" fmla="*/ 440092 w 3785642"/>
                <a:gd name="connsiteY274" fmla="*/ 35749 h 479077"/>
                <a:gd name="connsiteX275" fmla="*/ 452494 w 3785642"/>
                <a:gd name="connsiteY275" fmla="*/ 24835 h 479077"/>
                <a:gd name="connsiteX276" fmla="*/ 463904 w 3785642"/>
                <a:gd name="connsiteY276" fmla="*/ 12929 h 479077"/>
                <a:gd name="connsiteX277" fmla="*/ 475313 w 3785642"/>
                <a:gd name="connsiteY277" fmla="*/ 1024 h 479077"/>
                <a:gd name="connsiteX278" fmla="*/ 491684 w 3785642"/>
                <a:gd name="connsiteY278" fmla="*/ 2512 h 479077"/>
                <a:gd name="connsiteX279" fmla="*/ 508055 w 3785642"/>
                <a:gd name="connsiteY279" fmla="*/ 2512 h 479077"/>
                <a:gd name="connsiteX280" fmla="*/ 524425 w 3785642"/>
                <a:gd name="connsiteY280" fmla="*/ 2512 h 479077"/>
                <a:gd name="connsiteX281" fmla="*/ 540796 w 3785642"/>
                <a:gd name="connsiteY281" fmla="*/ 1024 h 479077"/>
                <a:gd name="connsiteX282" fmla="*/ 557166 w 3785642"/>
                <a:gd name="connsiteY282" fmla="*/ 2512 h 479077"/>
                <a:gd name="connsiteX283" fmla="*/ 573537 w 3785642"/>
                <a:gd name="connsiteY283" fmla="*/ 1024 h 479077"/>
                <a:gd name="connsiteX284" fmla="*/ 589908 w 3785642"/>
                <a:gd name="connsiteY284" fmla="*/ 527 h 479077"/>
                <a:gd name="connsiteX285" fmla="*/ 606278 w 3785642"/>
                <a:gd name="connsiteY285" fmla="*/ 1520 h 479077"/>
                <a:gd name="connsiteX286" fmla="*/ 622649 w 3785642"/>
                <a:gd name="connsiteY286" fmla="*/ 1520 h 479077"/>
                <a:gd name="connsiteX287" fmla="*/ 639019 w 3785642"/>
                <a:gd name="connsiteY287" fmla="*/ 2016 h 479077"/>
                <a:gd name="connsiteX288" fmla="*/ 655390 w 3785642"/>
                <a:gd name="connsiteY288" fmla="*/ 527 h 479077"/>
                <a:gd name="connsiteX289" fmla="*/ 671760 w 3785642"/>
                <a:gd name="connsiteY289" fmla="*/ 1520 h 479077"/>
                <a:gd name="connsiteX290" fmla="*/ 688131 w 3785642"/>
                <a:gd name="connsiteY290" fmla="*/ 2512 h 479077"/>
                <a:gd name="connsiteX291" fmla="*/ 704501 w 3785642"/>
                <a:gd name="connsiteY291" fmla="*/ 1024 h 479077"/>
                <a:gd name="connsiteX292" fmla="*/ 720872 w 3785642"/>
                <a:gd name="connsiteY292" fmla="*/ 1520 h 479077"/>
                <a:gd name="connsiteX293" fmla="*/ 737243 w 3785642"/>
                <a:gd name="connsiteY293" fmla="*/ 2016 h 479077"/>
                <a:gd name="connsiteX294" fmla="*/ 753613 w 3785642"/>
                <a:gd name="connsiteY294" fmla="*/ 1024 h 479077"/>
                <a:gd name="connsiteX295" fmla="*/ 769984 w 3785642"/>
                <a:gd name="connsiteY295" fmla="*/ 527 h 479077"/>
                <a:gd name="connsiteX296" fmla="*/ 786354 w 3785642"/>
                <a:gd name="connsiteY296" fmla="*/ 1520 h 479077"/>
                <a:gd name="connsiteX297" fmla="*/ 802725 w 3785642"/>
                <a:gd name="connsiteY297" fmla="*/ 527 h 479077"/>
                <a:gd name="connsiteX298" fmla="*/ 819096 w 3785642"/>
                <a:gd name="connsiteY298" fmla="*/ 2512 h 479077"/>
                <a:gd name="connsiteX299" fmla="*/ 835466 w 3785642"/>
                <a:gd name="connsiteY299" fmla="*/ 527 h 479077"/>
                <a:gd name="connsiteX300" fmla="*/ 851837 w 3785642"/>
                <a:gd name="connsiteY300" fmla="*/ 1520 h 479077"/>
                <a:gd name="connsiteX301" fmla="*/ 868207 w 3785642"/>
                <a:gd name="connsiteY301" fmla="*/ 2016 h 479077"/>
                <a:gd name="connsiteX302" fmla="*/ 884578 w 3785642"/>
                <a:gd name="connsiteY302" fmla="*/ 2512 h 479077"/>
                <a:gd name="connsiteX303" fmla="*/ 900948 w 3785642"/>
                <a:gd name="connsiteY303" fmla="*/ 1520 h 479077"/>
                <a:gd name="connsiteX304" fmla="*/ 917319 w 3785642"/>
                <a:gd name="connsiteY304" fmla="*/ 1024 h 479077"/>
                <a:gd name="connsiteX305" fmla="*/ 933689 w 3785642"/>
                <a:gd name="connsiteY305" fmla="*/ 2512 h 479077"/>
                <a:gd name="connsiteX306" fmla="*/ 950060 w 3785642"/>
                <a:gd name="connsiteY306" fmla="*/ 1520 h 479077"/>
                <a:gd name="connsiteX307" fmla="*/ 966431 w 3785642"/>
                <a:gd name="connsiteY307" fmla="*/ 2016 h 479077"/>
                <a:gd name="connsiteX308" fmla="*/ 982801 w 3785642"/>
                <a:gd name="connsiteY308" fmla="*/ 2512 h 479077"/>
                <a:gd name="connsiteX309" fmla="*/ 999172 w 3785642"/>
                <a:gd name="connsiteY309" fmla="*/ 1520 h 479077"/>
                <a:gd name="connsiteX310" fmla="*/ 1015542 w 3785642"/>
                <a:gd name="connsiteY310" fmla="*/ 2512 h 479077"/>
                <a:gd name="connsiteX311" fmla="*/ 1031913 w 3785642"/>
                <a:gd name="connsiteY311" fmla="*/ 1520 h 479077"/>
                <a:gd name="connsiteX312" fmla="*/ 1048283 w 3785642"/>
                <a:gd name="connsiteY312" fmla="*/ 2016 h 479077"/>
                <a:gd name="connsiteX313" fmla="*/ 1064654 w 3785642"/>
                <a:gd name="connsiteY313" fmla="*/ 3504 h 479077"/>
                <a:gd name="connsiteX314" fmla="*/ 1081025 w 3785642"/>
                <a:gd name="connsiteY314" fmla="*/ 2016 h 479077"/>
                <a:gd name="connsiteX315" fmla="*/ 1097395 w 3785642"/>
                <a:gd name="connsiteY315" fmla="*/ 2512 h 479077"/>
                <a:gd name="connsiteX316" fmla="*/ 1113766 w 3785642"/>
                <a:gd name="connsiteY316" fmla="*/ 2512 h 479077"/>
                <a:gd name="connsiteX317" fmla="*/ 1130136 w 3785642"/>
                <a:gd name="connsiteY317" fmla="*/ 3504 h 479077"/>
                <a:gd name="connsiteX318" fmla="*/ 1146507 w 3785642"/>
                <a:gd name="connsiteY318" fmla="*/ 1520 h 479077"/>
                <a:gd name="connsiteX319" fmla="*/ 1162878 w 3785642"/>
                <a:gd name="connsiteY319" fmla="*/ 3008 h 479077"/>
                <a:gd name="connsiteX320" fmla="*/ 1179248 w 3785642"/>
                <a:gd name="connsiteY320" fmla="*/ 4000 h 479077"/>
                <a:gd name="connsiteX321" fmla="*/ 1195619 w 3785642"/>
                <a:gd name="connsiteY321" fmla="*/ 3504 h 479077"/>
                <a:gd name="connsiteX322" fmla="*/ 1211989 w 3785642"/>
                <a:gd name="connsiteY322" fmla="*/ 1520 h 479077"/>
                <a:gd name="connsiteX323" fmla="*/ 1228360 w 3785642"/>
                <a:gd name="connsiteY323" fmla="*/ 3504 h 479077"/>
                <a:gd name="connsiteX324" fmla="*/ 1244730 w 3785642"/>
                <a:gd name="connsiteY324" fmla="*/ 1520 h 479077"/>
                <a:gd name="connsiteX325" fmla="*/ 1261101 w 3785642"/>
                <a:gd name="connsiteY325" fmla="*/ 2512 h 479077"/>
                <a:gd name="connsiteX326" fmla="*/ 1277471 w 3785642"/>
                <a:gd name="connsiteY326" fmla="*/ 3504 h 479077"/>
                <a:gd name="connsiteX327" fmla="*/ 1293842 w 3785642"/>
                <a:gd name="connsiteY327" fmla="*/ 4000 h 479077"/>
                <a:gd name="connsiteX328" fmla="*/ 1310213 w 3785642"/>
                <a:gd name="connsiteY328" fmla="*/ 1520 h 479077"/>
                <a:gd name="connsiteX329" fmla="*/ 1326583 w 3785642"/>
                <a:gd name="connsiteY329" fmla="*/ 2016 h 479077"/>
                <a:gd name="connsiteX330" fmla="*/ 1342954 w 3785642"/>
                <a:gd name="connsiteY330" fmla="*/ 3008 h 479077"/>
                <a:gd name="connsiteX331" fmla="*/ 1359324 w 3785642"/>
                <a:gd name="connsiteY331" fmla="*/ 3008 h 479077"/>
                <a:gd name="connsiteX332" fmla="*/ 1375695 w 3785642"/>
                <a:gd name="connsiteY332" fmla="*/ 2512 h 479077"/>
                <a:gd name="connsiteX333" fmla="*/ 1392066 w 3785642"/>
                <a:gd name="connsiteY333" fmla="*/ 2512 h 479077"/>
                <a:gd name="connsiteX334" fmla="*/ 1408436 w 3785642"/>
                <a:gd name="connsiteY334" fmla="*/ 3504 h 479077"/>
                <a:gd name="connsiteX335" fmla="*/ 1424807 w 3785642"/>
                <a:gd name="connsiteY335" fmla="*/ 3504 h 479077"/>
                <a:gd name="connsiteX336" fmla="*/ 1441177 w 3785642"/>
                <a:gd name="connsiteY336" fmla="*/ 1520 h 479077"/>
                <a:gd name="connsiteX337" fmla="*/ 1457548 w 3785642"/>
                <a:gd name="connsiteY337" fmla="*/ 2512 h 479077"/>
                <a:gd name="connsiteX338" fmla="*/ 1473919 w 3785642"/>
                <a:gd name="connsiteY338" fmla="*/ 2016 h 479077"/>
                <a:gd name="connsiteX339" fmla="*/ 1490289 w 3785642"/>
                <a:gd name="connsiteY339" fmla="*/ 2016 h 479077"/>
                <a:gd name="connsiteX340" fmla="*/ 1506660 w 3785642"/>
                <a:gd name="connsiteY340" fmla="*/ 1520 h 479077"/>
                <a:gd name="connsiteX341" fmla="*/ 1523030 w 3785642"/>
                <a:gd name="connsiteY341" fmla="*/ 3504 h 479077"/>
                <a:gd name="connsiteX342" fmla="*/ 1539401 w 3785642"/>
                <a:gd name="connsiteY342" fmla="*/ 3008 h 479077"/>
                <a:gd name="connsiteX343" fmla="*/ 1555771 w 3785642"/>
                <a:gd name="connsiteY343" fmla="*/ 3008 h 479077"/>
                <a:gd name="connsiteX344" fmla="*/ 1572142 w 3785642"/>
                <a:gd name="connsiteY344" fmla="*/ 2512 h 479077"/>
                <a:gd name="connsiteX345" fmla="*/ 1588512 w 3785642"/>
                <a:gd name="connsiteY345" fmla="*/ 2016 h 479077"/>
                <a:gd name="connsiteX346" fmla="*/ 1604883 w 3785642"/>
                <a:gd name="connsiteY346" fmla="*/ 3008 h 479077"/>
                <a:gd name="connsiteX347" fmla="*/ 1621253 w 3785642"/>
                <a:gd name="connsiteY347" fmla="*/ 3008 h 479077"/>
                <a:gd name="connsiteX348" fmla="*/ 1637624 w 3785642"/>
                <a:gd name="connsiteY34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313375 w 3785642"/>
                <a:gd name="connsiteY21" fmla="*/ 10945 h 479077"/>
                <a:gd name="connsiteX22" fmla="*/ 3300973 w 3785642"/>
                <a:gd name="connsiteY22" fmla="*/ 21363 h 479077"/>
                <a:gd name="connsiteX23" fmla="*/ 3289068 w 3785642"/>
                <a:gd name="connsiteY23" fmla="*/ 32276 h 479077"/>
                <a:gd name="connsiteX24" fmla="*/ 3277658 w 3785642"/>
                <a:gd name="connsiteY24" fmla="*/ 43686 h 479077"/>
                <a:gd name="connsiteX25" fmla="*/ 3266248 w 3785642"/>
                <a:gd name="connsiteY25" fmla="*/ 55592 h 479077"/>
                <a:gd name="connsiteX26" fmla="*/ 3255830 w 3785642"/>
                <a:gd name="connsiteY26" fmla="*/ 68490 h 479077"/>
                <a:gd name="connsiteX27" fmla="*/ 3243924 w 3785642"/>
                <a:gd name="connsiteY27" fmla="*/ 79900 h 479077"/>
                <a:gd name="connsiteX28" fmla="*/ 3231522 w 3785642"/>
                <a:gd name="connsiteY28" fmla="*/ 90814 h 479077"/>
                <a:gd name="connsiteX29" fmla="*/ 3220609 w 3785642"/>
                <a:gd name="connsiteY29" fmla="*/ 102720 h 479077"/>
                <a:gd name="connsiteX30" fmla="*/ 3208207 w 3785642"/>
                <a:gd name="connsiteY30" fmla="*/ 113137 h 479077"/>
                <a:gd name="connsiteX31" fmla="*/ 3197293 w 3785642"/>
                <a:gd name="connsiteY31" fmla="*/ 125043 h 479077"/>
                <a:gd name="connsiteX32" fmla="*/ 3185387 w 3785642"/>
                <a:gd name="connsiteY32" fmla="*/ 136453 h 479077"/>
                <a:gd name="connsiteX33" fmla="*/ 3174970 w 3785642"/>
                <a:gd name="connsiteY33" fmla="*/ 148855 h 479077"/>
                <a:gd name="connsiteX34" fmla="*/ 3162071 w 3785642"/>
                <a:gd name="connsiteY34" fmla="*/ 159272 h 479077"/>
                <a:gd name="connsiteX35" fmla="*/ 3151158 w 3785642"/>
                <a:gd name="connsiteY35" fmla="*/ 171674 h 479077"/>
                <a:gd name="connsiteX36" fmla="*/ 3139252 w 3785642"/>
                <a:gd name="connsiteY36" fmla="*/ 182588 h 479077"/>
                <a:gd name="connsiteX37" fmla="*/ 3127843 w 3785642"/>
                <a:gd name="connsiteY37" fmla="*/ 194494 h 479077"/>
                <a:gd name="connsiteX38" fmla="*/ 3116432 w 3785642"/>
                <a:gd name="connsiteY38" fmla="*/ 205904 h 479077"/>
                <a:gd name="connsiteX39" fmla="*/ 3105022 w 3785642"/>
                <a:gd name="connsiteY39" fmla="*/ 217810 h 479077"/>
                <a:gd name="connsiteX40" fmla="*/ 3093117 w 3785642"/>
                <a:gd name="connsiteY40" fmla="*/ 229219 h 479077"/>
                <a:gd name="connsiteX41" fmla="*/ 3081707 w 3785642"/>
                <a:gd name="connsiteY41" fmla="*/ 240629 h 479077"/>
                <a:gd name="connsiteX42" fmla="*/ 3069305 w 3785642"/>
                <a:gd name="connsiteY42" fmla="*/ 251543 h 479077"/>
                <a:gd name="connsiteX43" fmla="*/ 3057895 w 3785642"/>
                <a:gd name="connsiteY43" fmla="*/ 263449 h 479077"/>
                <a:gd name="connsiteX44" fmla="*/ 3046486 w 3785642"/>
                <a:gd name="connsiteY44" fmla="*/ 275355 h 479077"/>
                <a:gd name="connsiteX45" fmla="*/ 3035572 w 3785642"/>
                <a:gd name="connsiteY45" fmla="*/ 287260 h 479077"/>
                <a:gd name="connsiteX46" fmla="*/ 3024658 w 3785642"/>
                <a:gd name="connsiteY46" fmla="*/ 299166 h 479077"/>
                <a:gd name="connsiteX47" fmla="*/ 3013248 w 3785642"/>
                <a:gd name="connsiteY47" fmla="*/ 311072 h 479077"/>
                <a:gd name="connsiteX48" fmla="*/ 3000350 w 3785642"/>
                <a:gd name="connsiteY48" fmla="*/ 321490 h 479077"/>
                <a:gd name="connsiteX49" fmla="*/ 2988941 w 3785642"/>
                <a:gd name="connsiteY49" fmla="*/ 333396 h 479077"/>
                <a:gd name="connsiteX50" fmla="*/ 2976539 w 3785642"/>
                <a:gd name="connsiteY50" fmla="*/ 344309 h 479077"/>
                <a:gd name="connsiteX51" fmla="*/ 2965129 w 3785642"/>
                <a:gd name="connsiteY51" fmla="*/ 356215 h 479077"/>
                <a:gd name="connsiteX52" fmla="*/ 2953223 w 3785642"/>
                <a:gd name="connsiteY52" fmla="*/ 367625 h 479077"/>
                <a:gd name="connsiteX53" fmla="*/ 2941813 w 3785642"/>
                <a:gd name="connsiteY53" fmla="*/ 379531 h 479077"/>
                <a:gd name="connsiteX54" fmla="*/ 2931395 w 3785642"/>
                <a:gd name="connsiteY54" fmla="*/ 392429 h 479077"/>
                <a:gd name="connsiteX55" fmla="*/ 2918497 w 3785642"/>
                <a:gd name="connsiteY55" fmla="*/ 402847 h 479077"/>
                <a:gd name="connsiteX56" fmla="*/ 2907584 w 3785642"/>
                <a:gd name="connsiteY56" fmla="*/ 415249 h 479077"/>
                <a:gd name="connsiteX57" fmla="*/ 2896174 w 3785642"/>
                <a:gd name="connsiteY57" fmla="*/ 426658 h 479077"/>
                <a:gd name="connsiteX58" fmla="*/ 2884268 w 3785642"/>
                <a:gd name="connsiteY58" fmla="*/ 438068 h 479077"/>
                <a:gd name="connsiteX59" fmla="*/ 2873354 w 3785642"/>
                <a:gd name="connsiteY59" fmla="*/ 450470 h 479077"/>
                <a:gd name="connsiteX60" fmla="*/ 2860952 w 3785642"/>
                <a:gd name="connsiteY60" fmla="*/ 461384 h 479077"/>
                <a:gd name="connsiteX61" fmla="*/ 2850039 w 3785642"/>
                <a:gd name="connsiteY61" fmla="*/ 473786 h 479077"/>
                <a:gd name="connsiteX62" fmla="*/ 2833668 w 3785642"/>
                <a:gd name="connsiteY62" fmla="*/ 473786 h 479077"/>
                <a:gd name="connsiteX63" fmla="*/ 2817297 w 3785642"/>
                <a:gd name="connsiteY63" fmla="*/ 473290 h 479077"/>
                <a:gd name="connsiteX64" fmla="*/ 2800927 w 3785642"/>
                <a:gd name="connsiteY64" fmla="*/ 473290 h 479077"/>
                <a:gd name="connsiteX65" fmla="*/ 2784556 w 3785642"/>
                <a:gd name="connsiteY65" fmla="*/ 473786 h 479077"/>
                <a:gd name="connsiteX66" fmla="*/ 2768186 w 3785642"/>
                <a:gd name="connsiteY66" fmla="*/ 474282 h 479077"/>
                <a:gd name="connsiteX67" fmla="*/ 2751815 w 3785642"/>
                <a:gd name="connsiteY67" fmla="*/ 474282 h 479077"/>
                <a:gd name="connsiteX68" fmla="*/ 2735444 w 3785642"/>
                <a:gd name="connsiteY68" fmla="*/ 473290 h 479077"/>
                <a:gd name="connsiteX69" fmla="*/ 2719074 w 3785642"/>
                <a:gd name="connsiteY69" fmla="*/ 474282 h 479077"/>
                <a:gd name="connsiteX70" fmla="*/ 2702703 w 3785642"/>
                <a:gd name="connsiteY70" fmla="*/ 472298 h 479077"/>
                <a:gd name="connsiteX71" fmla="*/ 2686333 w 3785642"/>
                <a:gd name="connsiteY71" fmla="*/ 472794 h 479077"/>
                <a:gd name="connsiteX72" fmla="*/ 2669962 w 3785642"/>
                <a:gd name="connsiteY72" fmla="*/ 474282 h 479077"/>
                <a:gd name="connsiteX73" fmla="*/ 2653592 w 3785642"/>
                <a:gd name="connsiteY73" fmla="*/ 472298 h 479077"/>
                <a:gd name="connsiteX74" fmla="*/ 2637221 w 3785642"/>
                <a:gd name="connsiteY74" fmla="*/ 474282 h 479077"/>
                <a:gd name="connsiteX75" fmla="*/ 2620851 w 3785642"/>
                <a:gd name="connsiteY75" fmla="*/ 474282 h 479077"/>
                <a:gd name="connsiteX76" fmla="*/ 2604480 w 3785642"/>
                <a:gd name="connsiteY76" fmla="*/ 472298 h 479077"/>
                <a:gd name="connsiteX77" fmla="*/ 2588109 w 3785642"/>
                <a:gd name="connsiteY77" fmla="*/ 473786 h 479077"/>
                <a:gd name="connsiteX78" fmla="*/ 2571739 w 3785642"/>
                <a:gd name="connsiteY78" fmla="*/ 472298 h 479077"/>
                <a:gd name="connsiteX79" fmla="*/ 2555368 w 3785642"/>
                <a:gd name="connsiteY79" fmla="*/ 473290 h 479077"/>
                <a:gd name="connsiteX80" fmla="*/ 2538998 w 3785642"/>
                <a:gd name="connsiteY80" fmla="*/ 474282 h 479077"/>
                <a:gd name="connsiteX81" fmla="*/ 2522627 w 3785642"/>
                <a:gd name="connsiteY81" fmla="*/ 473290 h 479077"/>
                <a:gd name="connsiteX82" fmla="*/ 2506257 w 3785642"/>
                <a:gd name="connsiteY82" fmla="*/ 474282 h 479077"/>
                <a:gd name="connsiteX83" fmla="*/ 2489886 w 3785642"/>
                <a:gd name="connsiteY83" fmla="*/ 473786 h 479077"/>
                <a:gd name="connsiteX84" fmla="*/ 2473516 w 3785642"/>
                <a:gd name="connsiteY84" fmla="*/ 474282 h 479077"/>
                <a:gd name="connsiteX85" fmla="*/ 2457145 w 3785642"/>
                <a:gd name="connsiteY85" fmla="*/ 472794 h 479077"/>
                <a:gd name="connsiteX86" fmla="*/ 2440775 w 3785642"/>
                <a:gd name="connsiteY86" fmla="*/ 472298 h 479077"/>
                <a:gd name="connsiteX87" fmla="*/ 2424404 w 3785642"/>
                <a:gd name="connsiteY87" fmla="*/ 473786 h 479077"/>
                <a:gd name="connsiteX88" fmla="*/ 2408033 w 3785642"/>
                <a:gd name="connsiteY88" fmla="*/ 472794 h 479077"/>
                <a:gd name="connsiteX89" fmla="*/ 2391663 w 3785642"/>
                <a:gd name="connsiteY89" fmla="*/ 473290 h 479077"/>
                <a:gd name="connsiteX90" fmla="*/ 2375292 w 3785642"/>
                <a:gd name="connsiteY90" fmla="*/ 473290 h 479077"/>
                <a:gd name="connsiteX91" fmla="*/ 2358922 w 3785642"/>
                <a:gd name="connsiteY91" fmla="*/ 472794 h 479077"/>
                <a:gd name="connsiteX92" fmla="*/ 2342551 w 3785642"/>
                <a:gd name="connsiteY92" fmla="*/ 472298 h 479077"/>
                <a:gd name="connsiteX93" fmla="*/ 2326180 w 3785642"/>
                <a:gd name="connsiteY93" fmla="*/ 473786 h 479077"/>
                <a:gd name="connsiteX94" fmla="*/ 2309810 w 3785642"/>
                <a:gd name="connsiteY94" fmla="*/ 473786 h 479077"/>
                <a:gd name="connsiteX95" fmla="*/ 2293439 w 3785642"/>
                <a:gd name="connsiteY95" fmla="*/ 473786 h 479077"/>
                <a:gd name="connsiteX96" fmla="*/ 2277069 w 3785642"/>
                <a:gd name="connsiteY96" fmla="*/ 472794 h 479077"/>
                <a:gd name="connsiteX97" fmla="*/ 2260698 w 3785642"/>
                <a:gd name="connsiteY97" fmla="*/ 474282 h 479077"/>
                <a:gd name="connsiteX98" fmla="*/ 2244327 w 3785642"/>
                <a:gd name="connsiteY98" fmla="*/ 472298 h 479077"/>
                <a:gd name="connsiteX99" fmla="*/ 2227957 w 3785642"/>
                <a:gd name="connsiteY99" fmla="*/ 474282 h 479077"/>
                <a:gd name="connsiteX100" fmla="*/ 2211586 w 3785642"/>
                <a:gd name="connsiteY100" fmla="*/ 473290 h 479077"/>
                <a:gd name="connsiteX101" fmla="*/ 2195216 w 3785642"/>
                <a:gd name="connsiteY101" fmla="*/ 474282 h 479077"/>
                <a:gd name="connsiteX102" fmla="*/ 2178845 w 3785642"/>
                <a:gd name="connsiteY102" fmla="*/ 472794 h 479077"/>
                <a:gd name="connsiteX103" fmla="*/ 2162474 w 3785642"/>
                <a:gd name="connsiteY103" fmla="*/ 474778 h 479077"/>
                <a:gd name="connsiteX104" fmla="*/ 2146104 w 3785642"/>
                <a:gd name="connsiteY104" fmla="*/ 473290 h 479077"/>
                <a:gd name="connsiteX105" fmla="*/ 2129733 w 3785642"/>
                <a:gd name="connsiteY105" fmla="*/ 474778 h 479077"/>
                <a:gd name="connsiteX106" fmla="*/ 2113363 w 3785642"/>
                <a:gd name="connsiteY106" fmla="*/ 474778 h 479077"/>
                <a:gd name="connsiteX107" fmla="*/ 2096992 w 3785642"/>
                <a:gd name="connsiteY107" fmla="*/ 474778 h 479077"/>
                <a:gd name="connsiteX108" fmla="*/ 2080621 w 3785642"/>
                <a:gd name="connsiteY108" fmla="*/ 474282 h 479077"/>
                <a:gd name="connsiteX109" fmla="*/ 2064251 w 3785642"/>
                <a:gd name="connsiteY109" fmla="*/ 472794 h 479077"/>
                <a:gd name="connsiteX110" fmla="*/ 2047880 w 3785642"/>
                <a:gd name="connsiteY110" fmla="*/ 474778 h 479077"/>
                <a:gd name="connsiteX111" fmla="*/ 2031510 w 3785642"/>
                <a:gd name="connsiteY111" fmla="*/ 474778 h 479077"/>
                <a:gd name="connsiteX112" fmla="*/ 2015139 w 3785642"/>
                <a:gd name="connsiteY112" fmla="*/ 474778 h 479077"/>
                <a:gd name="connsiteX113" fmla="*/ 1998769 w 3785642"/>
                <a:gd name="connsiteY113" fmla="*/ 474282 h 479077"/>
                <a:gd name="connsiteX114" fmla="*/ 1982398 w 3785642"/>
                <a:gd name="connsiteY114" fmla="*/ 473786 h 479077"/>
                <a:gd name="connsiteX115" fmla="*/ 1966028 w 3785642"/>
                <a:gd name="connsiteY115" fmla="*/ 473786 h 479077"/>
                <a:gd name="connsiteX116" fmla="*/ 1949657 w 3785642"/>
                <a:gd name="connsiteY116" fmla="*/ 472794 h 479077"/>
                <a:gd name="connsiteX117" fmla="*/ 1933287 w 3785642"/>
                <a:gd name="connsiteY117" fmla="*/ 473290 h 479077"/>
                <a:gd name="connsiteX118" fmla="*/ 1916916 w 3785642"/>
                <a:gd name="connsiteY118" fmla="*/ 474778 h 479077"/>
                <a:gd name="connsiteX119" fmla="*/ 1900546 w 3785642"/>
                <a:gd name="connsiteY119" fmla="*/ 472794 h 479077"/>
                <a:gd name="connsiteX120" fmla="*/ 1884175 w 3785642"/>
                <a:gd name="connsiteY120" fmla="*/ 473786 h 479077"/>
                <a:gd name="connsiteX121" fmla="*/ 1867804 w 3785642"/>
                <a:gd name="connsiteY121" fmla="*/ 474778 h 479077"/>
                <a:gd name="connsiteX122" fmla="*/ 1851434 w 3785642"/>
                <a:gd name="connsiteY122" fmla="*/ 474778 h 479077"/>
                <a:gd name="connsiteX123" fmla="*/ 1835063 w 3785642"/>
                <a:gd name="connsiteY123" fmla="*/ 474778 h 479077"/>
                <a:gd name="connsiteX124" fmla="*/ 1818693 w 3785642"/>
                <a:gd name="connsiteY124" fmla="*/ 474282 h 479077"/>
                <a:gd name="connsiteX125" fmla="*/ 1802322 w 3785642"/>
                <a:gd name="connsiteY125" fmla="*/ 472794 h 479077"/>
                <a:gd name="connsiteX126" fmla="*/ 1785951 w 3785642"/>
                <a:gd name="connsiteY126" fmla="*/ 473786 h 479077"/>
                <a:gd name="connsiteX127" fmla="*/ 1769581 w 3785642"/>
                <a:gd name="connsiteY127" fmla="*/ 473290 h 479077"/>
                <a:gd name="connsiteX128" fmla="*/ 1753210 w 3785642"/>
                <a:gd name="connsiteY128" fmla="*/ 472298 h 479077"/>
                <a:gd name="connsiteX129" fmla="*/ 1736840 w 3785642"/>
                <a:gd name="connsiteY129" fmla="*/ 473290 h 479077"/>
                <a:gd name="connsiteX130" fmla="*/ 1720469 w 3785642"/>
                <a:gd name="connsiteY130" fmla="*/ 474778 h 479077"/>
                <a:gd name="connsiteX131" fmla="*/ 1704098 w 3785642"/>
                <a:gd name="connsiteY131" fmla="*/ 472794 h 479077"/>
                <a:gd name="connsiteX132" fmla="*/ 1687728 w 3785642"/>
                <a:gd name="connsiteY132" fmla="*/ 474778 h 479077"/>
                <a:gd name="connsiteX133" fmla="*/ 1671357 w 3785642"/>
                <a:gd name="connsiteY133" fmla="*/ 474778 h 479077"/>
                <a:gd name="connsiteX134" fmla="*/ 1654987 w 3785642"/>
                <a:gd name="connsiteY134" fmla="*/ 472298 h 479077"/>
                <a:gd name="connsiteX135" fmla="*/ 1638616 w 3785642"/>
                <a:gd name="connsiteY135" fmla="*/ 472794 h 479077"/>
                <a:gd name="connsiteX136" fmla="*/ 1622246 w 3785642"/>
                <a:gd name="connsiteY136" fmla="*/ 473786 h 479077"/>
                <a:gd name="connsiteX137" fmla="*/ 1605875 w 3785642"/>
                <a:gd name="connsiteY137" fmla="*/ 474778 h 479077"/>
                <a:gd name="connsiteX138" fmla="*/ 1589505 w 3785642"/>
                <a:gd name="connsiteY138" fmla="*/ 473290 h 479077"/>
                <a:gd name="connsiteX139" fmla="*/ 1573134 w 3785642"/>
                <a:gd name="connsiteY139" fmla="*/ 474778 h 479077"/>
                <a:gd name="connsiteX140" fmla="*/ 1556763 w 3785642"/>
                <a:gd name="connsiteY140" fmla="*/ 472794 h 479077"/>
                <a:gd name="connsiteX141" fmla="*/ 1540393 w 3785642"/>
                <a:gd name="connsiteY141" fmla="*/ 472794 h 479077"/>
                <a:gd name="connsiteX142" fmla="*/ 1524022 w 3785642"/>
                <a:gd name="connsiteY142" fmla="*/ 474282 h 479077"/>
                <a:gd name="connsiteX143" fmla="*/ 1507652 w 3785642"/>
                <a:gd name="connsiteY143" fmla="*/ 472794 h 479077"/>
                <a:gd name="connsiteX144" fmla="*/ 1491281 w 3785642"/>
                <a:gd name="connsiteY144" fmla="*/ 474282 h 479077"/>
                <a:gd name="connsiteX145" fmla="*/ 1474910 w 3785642"/>
                <a:gd name="connsiteY145" fmla="*/ 474282 h 479077"/>
                <a:gd name="connsiteX146" fmla="*/ 1458540 w 3785642"/>
                <a:gd name="connsiteY146" fmla="*/ 472794 h 479077"/>
                <a:gd name="connsiteX147" fmla="*/ 1442169 w 3785642"/>
                <a:gd name="connsiteY147" fmla="*/ 471802 h 479077"/>
                <a:gd name="connsiteX148" fmla="*/ 1425799 w 3785642"/>
                <a:gd name="connsiteY148" fmla="*/ 472298 h 479077"/>
                <a:gd name="connsiteX149" fmla="*/ 1409428 w 3785642"/>
                <a:gd name="connsiteY149" fmla="*/ 472794 h 479077"/>
                <a:gd name="connsiteX150" fmla="*/ 1393058 w 3785642"/>
                <a:gd name="connsiteY150" fmla="*/ 473786 h 479077"/>
                <a:gd name="connsiteX151" fmla="*/ 1376687 w 3785642"/>
                <a:gd name="connsiteY151" fmla="*/ 471802 h 479077"/>
                <a:gd name="connsiteX152" fmla="*/ 1360317 w 3785642"/>
                <a:gd name="connsiteY152" fmla="*/ 473786 h 479077"/>
                <a:gd name="connsiteX153" fmla="*/ 1343946 w 3785642"/>
                <a:gd name="connsiteY153" fmla="*/ 473786 h 479077"/>
                <a:gd name="connsiteX154" fmla="*/ 1327576 w 3785642"/>
                <a:gd name="connsiteY154" fmla="*/ 472794 h 479077"/>
                <a:gd name="connsiteX155" fmla="*/ 1311205 w 3785642"/>
                <a:gd name="connsiteY155" fmla="*/ 473786 h 479077"/>
                <a:gd name="connsiteX156" fmla="*/ 1294834 w 3785642"/>
                <a:gd name="connsiteY156" fmla="*/ 473786 h 479077"/>
                <a:gd name="connsiteX157" fmla="*/ 1278464 w 3785642"/>
                <a:gd name="connsiteY157" fmla="*/ 473786 h 479077"/>
                <a:gd name="connsiteX158" fmla="*/ 1262093 w 3785642"/>
                <a:gd name="connsiteY158" fmla="*/ 473786 h 479077"/>
                <a:gd name="connsiteX159" fmla="*/ 1245723 w 3785642"/>
                <a:gd name="connsiteY159" fmla="*/ 473290 h 479077"/>
                <a:gd name="connsiteX160" fmla="*/ 1229352 w 3785642"/>
                <a:gd name="connsiteY160" fmla="*/ 472794 h 479077"/>
                <a:gd name="connsiteX161" fmla="*/ 1212981 w 3785642"/>
                <a:gd name="connsiteY161" fmla="*/ 473786 h 479077"/>
                <a:gd name="connsiteX162" fmla="*/ 1196611 w 3785642"/>
                <a:gd name="connsiteY162" fmla="*/ 472298 h 479077"/>
                <a:gd name="connsiteX163" fmla="*/ 1180240 w 3785642"/>
                <a:gd name="connsiteY163" fmla="*/ 472794 h 479077"/>
                <a:gd name="connsiteX164" fmla="*/ 1163870 w 3785642"/>
                <a:gd name="connsiteY164" fmla="*/ 472794 h 479077"/>
                <a:gd name="connsiteX165" fmla="*/ 1147499 w 3785642"/>
                <a:gd name="connsiteY165" fmla="*/ 473786 h 479077"/>
                <a:gd name="connsiteX166" fmla="*/ 1131128 w 3785642"/>
                <a:gd name="connsiteY166" fmla="*/ 473786 h 479077"/>
                <a:gd name="connsiteX167" fmla="*/ 1114758 w 3785642"/>
                <a:gd name="connsiteY167" fmla="*/ 472794 h 479077"/>
                <a:gd name="connsiteX168" fmla="*/ 1098387 w 3785642"/>
                <a:gd name="connsiteY168" fmla="*/ 473786 h 479077"/>
                <a:gd name="connsiteX169" fmla="*/ 1082017 w 3785642"/>
                <a:gd name="connsiteY169" fmla="*/ 474778 h 479077"/>
                <a:gd name="connsiteX170" fmla="*/ 1065646 w 3785642"/>
                <a:gd name="connsiteY170" fmla="*/ 474778 h 479077"/>
                <a:gd name="connsiteX171" fmla="*/ 1049276 w 3785642"/>
                <a:gd name="connsiteY171" fmla="*/ 474282 h 479077"/>
                <a:gd name="connsiteX172" fmla="*/ 1032905 w 3785642"/>
                <a:gd name="connsiteY172" fmla="*/ 473290 h 479077"/>
                <a:gd name="connsiteX173" fmla="*/ 1016535 w 3785642"/>
                <a:gd name="connsiteY173" fmla="*/ 474282 h 479077"/>
                <a:gd name="connsiteX174" fmla="*/ 1000164 w 3785642"/>
                <a:gd name="connsiteY174" fmla="*/ 474282 h 479077"/>
                <a:gd name="connsiteX175" fmla="*/ 983793 w 3785642"/>
                <a:gd name="connsiteY175" fmla="*/ 472794 h 479077"/>
                <a:gd name="connsiteX176" fmla="*/ 967423 w 3785642"/>
                <a:gd name="connsiteY176" fmla="*/ 472794 h 479077"/>
                <a:gd name="connsiteX177" fmla="*/ 951052 w 3785642"/>
                <a:gd name="connsiteY177" fmla="*/ 473786 h 479077"/>
                <a:gd name="connsiteX178" fmla="*/ 934682 w 3785642"/>
                <a:gd name="connsiteY178" fmla="*/ 474282 h 479077"/>
                <a:gd name="connsiteX179" fmla="*/ 918311 w 3785642"/>
                <a:gd name="connsiteY179" fmla="*/ 474778 h 479077"/>
                <a:gd name="connsiteX180" fmla="*/ 901940 w 3785642"/>
                <a:gd name="connsiteY180" fmla="*/ 473290 h 479077"/>
                <a:gd name="connsiteX181" fmla="*/ 885570 w 3785642"/>
                <a:gd name="connsiteY181" fmla="*/ 474778 h 479077"/>
                <a:gd name="connsiteX182" fmla="*/ 869199 w 3785642"/>
                <a:gd name="connsiteY182" fmla="*/ 474282 h 479077"/>
                <a:gd name="connsiteX183" fmla="*/ 852829 w 3785642"/>
                <a:gd name="connsiteY183" fmla="*/ 473786 h 479077"/>
                <a:gd name="connsiteX184" fmla="*/ 836458 w 3785642"/>
                <a:gd name="connsiteY184" fmla="*/ 474778 h 479077"/>
                <a:gd name="connsiteX185" fmla="*/ 820088 w 3785642"/>
                <a:gd name="connsiteY185" fmla="*/ 475274 h 479077"/>
                <a:gd name="connsiteX186" fmla="*/ 803717 w 3785642"/>
                <a:gd name="connsiteY186" fmla="*/ 473786 h 479077"/>
                <a:gd name="connsiteX187" fmla="*/ 787347 w 3785642"/>
                <a:gd name="connsiteY187" fmla="*/ 475770 h 479077"/>
                <a:gd name="connsiteX188" fmla="*/ 770976 w 3785642"/>
                <a:gd name="connsiteY188" fmla="*/ 474778 h 479077"/>
                <a:gd name="connsiteX189" fmla="*/ 754605 w 3785642"/>
                <a:gd name="connsiteY189" fmla="*/ 475274 h 479077"/>
                <a:gd name="connsiteX190" fmla="*/ 738235 w 3785642"/>
                <a:gd name="connsiteY190" fmla="*/ 473786 h 479077"/>
                <a:gd name="connsiteX191" fmla="*/ 721864 w 3785642"/>
                <a:gd name="connsiteY191" fmla="*/ 475274 h 479077"/>
                <a:gd name="connsiteX192" fmla="*/ 705494 w 3785642"/>
                <a:gd name="connsiteY192" fmla="*/ 475770 h 479077"/>
                <a:gd name="connsiteX193" fmla="*/ 689123 w 3785642"/>
                <a:gd name="connsiteY193" fmla="*/ 474282 h 479077"/>
                <a:gd name="connsiteX194" fmla="*/ 672753 w 3785642"/>
                <a:gd name="connsiteY194" fmla="*/ 475274 h 479077"/>
                <a:gd name="connsiteX195" fmla="*/ 656382 w 3785642"/>
                <a:gd name="connsiteY195" fmla="*/ 474778 h 479077"/>
                <a:gd name="connsiteX196" fmla="*/ 640011 w 3785642"/>
                <a:gd name="connsiteY196" fmla="*/ 475770 h 479077"/>
                <a:gd name="connsiteX197" fmla="*/ 623641 w 3785642"/>
                <a:gd name="connsiteY197" fmla="*/ 473786 h 479077"/>
                <a:gd name="connsiteX198" fmla="*/ 607270 w 3785642"/>
                <a:gd name="connsiteY198" fmla="*/ 474778 h 479077"/>
                <a:gd name="connsiteX199" fmla="*/ 590900 w 3785642"/>
                <a:gd name="connsiteY199" fmla="*/ 475274 h 479077"/>
                <a:gd name="connsiteX200" fmla="*/ 574529 w 3785642"/>
                <a:gd name="connsiteY200" fmla="*/ 474282 h 479077"/>
                <a:gd name="connsiteX201" fmla="*/ 558158 w 3785642"/>
                <a:gd name="connsiteY201" fmla="*/ 475274 h 479077"/>
                <a:gd name="connsiteX202" fmla="*/ 541788 w 3785642"/>
                <a:gd name="connsiteY202" fmla="*/ 475770 h 479077"/>
                <a:gd name="connsiteX203" fmla="*/ 525417 w 3785642"/>
                <a:gd name="connsiteY203" fmla="*/ 474282 h 479077"/>
                <a:gd name="connsiteX204" fmla="*/ 509047 w 3785642"/>
                <a:gd name="connsiteY204" fmla="*/ 473786 h 479077"/>
                <a:gd name="connsiteX205" fmla="*/ 492676 w 3785642"/>
                <a:gd name="connsiteY205" fmla="*/ 473786 h 479077"/>
                <a:gd name="connsiteX206" fmla="*/ 476306 w 3785642"/>
                <a:gd name="connsiteY206" fmla="*/ 474778 h 479077"/>
                <a:gd name="connsiteX207" fmla="*/ 459935 w 3785642"/>
                <a:gd name="connsiteY207" fmla="*/ 473786 h 479077"/>
                <a:gd name="connsiteX208" fmla="*/ 443565 w 3785642"/>
                <a:gd name="connsiteY208" fmla="*/ 474778 h 479077"/>
                <a:gd name="connsiteX209" fmla="*/ 427194 w 3785642"/>
                <a:gd name="connsiteY209" fmla="*/ 474282 h 479077"/>
                <a:gd name="connsiteX210" fmla="*/ 410823 w 3785642"/>
                <a:gd name="connsiteY210" fmla="*/ 473290 h 479077"/>
                <a:gd name="connsiteX211" fmla="*/ 394453 w 3785642"/>
                <a:gd name="connsiteY211" fmla="*/ 475770 h 479077"/>
                <a:gd name="connsiteX212" fmla="*/ 378082 w 3785642"/>
                <a:gd name="connsiteY212" fmla="*/ 475274 h 479077"/>
                <a:gd name="connsiteX213" fmla="*/ 361712 w 3785642"/>
                <a:gd name="connsiteY213" fmla="*/ 474778 h 479077"/>
                <a:gd name="connsiteX214" fmla="*/ 345341 w 3785642"/>
                <a:gd name="connsiteY214" fmla="*/ 476266 h 479077"/>
                <a:gd name="connsiteX215" fmla="*/ 328970 w 3785642"/>
                <a:gd name="connsiteY215" fmla="*/ 474282 h 479077"/>
                <a:gd name="connsiteX216" fmla="*/ 312600 w 3785642"/>
                <a:gd name="connsiteY216" fmla="*/ 475274 h 479077"/>
                <a:gd name="connsiteX217" fmla="*/ 296229 w 3785642"/>
                <a:gd name="connsiteY217" fmla="*/ 474282 h 479077"/>
                <a:gd name="connsiteX218" fmla="*/ 279859 w 3785642"/>
                <a:gd name="connsiteY218" fmla="*/ 475770 h 479077"/>
                <a:gd name="connsiteX219" fmla="*/ 263488 w 3785642"/>
                <a:gd name="connsiteY219" fmla="*/ 476266 h 479077"/>
                <a:gd name="connsiteX220" fmla="*/ 247118 w 3785642"/>
                <a:gd name="connsiteY220" fmla="*/ 476266 h 479077"/>
                <a:gd name="connsiteX221" fmla="*/ 230747 w 3785642"/>
                <a:gd name="connsiteY221" fmla="*/ 474778 h 479077"/>
                <a:gd name="connsiteX222" fmla="*/ 214376 w 3785642"/>
                <a:gd name="connsiteY222" fmla="*/ 474778 h 479077"/>
                <a:gd name="connsiteX223" fmla="*/ 198006 w 3785642"/>
                <a:gd name="connsiteY223" fmla="*/ 476762 h 479077"/>
                <a:gd name="connsiteX224" fmla="*/ 181635 w 3785642"/>
                <a:gd name="connsiteY224" fmla="*/ 476266 h 479077"/>
                <a:gd name="connsiteX225" fmla="*/ 165265 w 3785642"/>
                <a:gd name="connsiteY225" fmla="*/ 474778 h 479077"/>
                <a:gd name="connsiteX226" fmla="*/ 148894 w 3785642"/>
                <a:gd name="connsiteY226" fmla="*/ 476762 h 479077"/>
                <a:gd name="connsiteX227" fmla="*/ 132524 w 3785642"/>
                <a:gd name="connsiteY227" fmla="*/ 476266 h 479077"/>
                <a:gd name="connsiteX228" fmla="*/ 116153 w 3785642"/>
                <a:gd name="connsiteY228" fmla="*/ 475274 h 479077"/>
                <a:gd name="connsiteX229" fmla="*/ 99783 w 3785642"/>
                <a:gd name="connsiteY229" fmla="*/ 475274 h 479077"/>
                <a:gd name="connsiteX230" fmla="*/ 83412 w 3785642"/>
                <a:gd name="connsiteY230" fmla="*/ 475274 h 479077"/>
                <a:gd name="connsiteX231" fmla="*/ 67041 w 3785642"/>
                <a:gd name="connsiteY231" fmla="*/ 474778 h 479077"/>
                <a:gd name="connsiteX232" fmla="*/ 50671 w 3785642"/>
                <a:gd name="connsiteY232" fmla="*/ 475274 h 479077"/>
                <a:gd name="connsiteX233" fmla="*/ 34300 w 3785642"/>
                <a:gd name="connsiteY233" fmla="*/ 475274 h 479077"/>
                <a:gd name="connsiteX234" fmla="*/ 17930 w 3785642"/>
                <a:gd name="connsiteY234" fmla="*/ 475770 h 479077"/>
                <a:gd name="connsiteX235" fmla="*/ 567 w 3785642"/>
                <a:gd name="connsiteY235" fmla="*/ 475770 h 479077"/>
                <a:gd name="connsiteX236" fmla="*/ 12969 w 3785642"/>
                <a:gd name="connsiteY236" fmla="*/ 463368 h 479077"/>
                <a:gd name="connsiteX237" fmla="*/ 24379 w 3785642"/>
                <a:gd name="connsiteY237" fmla="*/ 451958 h 479077"/>
                <a:gd name="connsiteX238" fmla="*/ 35788 w 3785642"/>
                <a:gd name="connsiteY238" fmla="*/ 440053 h 479077"/>
                <a:gd name="connsiteX239" fmla="*/ 48686 w 3785642"/>
                <a:gd name="connsiteY239" fmla="*/ 430131 h 479077"/>
                <a:gd name="connsiteX240" fmla="*/ 59600 w 3785642"/>
                <a:gd name="connsiteY240" fmla="*/ 418225 h 479077"/>
                <a:gd name="connsiteX241" fmla="*/ 70514 w 3785642"/>
                <a:gd name="connsiteY241" fmla="*/ 405823 h 479077"/>
                <a:gd name="connsiteX242" fmla="*/ 83412 w 3785642"/>
                <a:gd name="connsiteY242" fmla="*/ 395406 h 479077"/>
                <a:gd name="connsiteX243" fmla="*/ 94822 w 3785642"/>
                <a:gd name="connsiteY243" fmla="*/ 383500 h 479077"/>
                <a:gd name="connsiteX244" fmla="*/ 106728 w 3785642"/>
                <a:gd name="connsiteY244" fmla="*/ 372090 h 479077"/>
                <a:gd name="connsiteX245" fmla="*/ 117145 w 3785642"/>
                <a:gd name="connsiteY245" fmla="*/ 359688 h 479077"/>
                <a:gd name="connsiteX246" fmla="*/ 128555 w 3785642"/>
                <a:gd name="connsiteY246" fmla="*/ 348278 h 479077"/>
                <a:gd name="connsiteX247" fmla="*/ 140461 w 3785642"/>
                <a:gd name="connsiteY247" fmla="*/ 336868 h 479077"/>
                <a:gd name="connsiteX248" fmla="*/ 152863 w 3785642"/>
                <a:gd name="connsiteY248" fmla="*/ 326451 h 479077"/>
                <a:gd name="connsiteX249" fmla="*/ 164769 w 3785642"/>
                <a:gd name="connsiteY249" fmla="*/ 315041 h 479077"/>
                <a:gd name="connsiteX250" fmla="*/ 176178 w 3785642"/>
                <a:gd name="connsiteY250" fmla="*/ 303135 h 479077"/>
                <a:gd name="connsiteX251" fmla="*/ 188084 w 3785642"/>
                <a:gd name="connsiteY251" fmla="*/ 291725 h 479077"/>
                <a:gd name="connsiteX252" fmla="*/ 199494 w 3785642"/>
                <a:gd name="connsiteY252" fmla="*/ 280315 h 479077"/>
                <a:gd name="connsiteX253" fmla="*/ 210904 w 3785642"/>
                <a:gd name="connsiteY253" fmla="*/ 268906 h 479077"/>
                <a:gd name="connsiteX254" fmla="*/ 221818 w 3785642"/>
                <a:gd name="connsiteY254" fmla="*/ 256504 h 479077"/>
                <a:gd name="connsiteX255" fmla="*/ 233724 w 3785642"/>
                <a:gd name="connsiteY255" fmla="*/ 245094 h 479077"/>
                <a:gd name="connsiteX256" fmla="*/ 244141 w 3785642"/>
                <a:gd name="connsiteY256" fmla="*/ 232692 h 479077"/>
                <a:gd name="connsiteX257" fmla="*/ 257039 w 3785642"/>
                <a:gd name="connsiteY257" fmla="*/ 222770 h 479077"/>
                <a:gd name="connsiteX258" fmla="*/ 266961 w 3785642"/>
                <a:gd name="connsiteY258" fmla="*/ 209376 h 479077"/>
                <a:gd name="connsiteX259" fmla="*/ 278371 w 3785642"/>
                <a:gd name="connsiteY259" fmla="*/ 197966 h 479077"/>
                <a:gd name="connsiteX260" fmla="*/ 291269 w 3785642"/>
                <a:gd name="connsiteY260" fmla="*/ 188045 h 479077"/>
                <a:gd name="connsiteX261" fmla="*/ 301686 w 3785642"/>
                <a:gd name="connsiteY261" fmla="*/ 175147 h 479077"/>
                <a:gd name="connsiteX262" fmla="*/ 313592 w 3785642"/>
                <a:gd name="connsiteY262" fmla="*/ 163737 h 479077"/>
                <a:gd name="connsiteX263" fmla="*/ 325994 w 3785642"/>
                <a:gd name="connsiteY263" fmla="*/ 153319 h 479077"/>
                <a:gd name="connsiteX264" fmla="*/ 337404 w 3785642"/>
                <a:gd name="connsiteY264" fmla="*/ 141910 h 479077"/>
                <a:gd name="connsiteX265" fmla="*/ 347325 w 3785642"/>
                <a:gd name="connsiteY265" fmla="*/ 129012 h 479077"/>
                <a:gd name="connsiteX266" fmla="*/ 360224 w 3785642"/>
                <a:gd name="connsiteY266" fmla="*/ 118594 h 479077"/>
                <a:gd name="connsiteX267" fmla="*/ 371137 w 3785642"/>
                <a:gd name="connsiteY267" fmla="*/ 106192 h 479077"/>
                <a:gd name="connsiteX268" fmla="*/ 382051 w 3785642"/>
                <a:gd name="connsiteY268" fmla="*/ 93790 h 479077"/>
                <a:gd name="connsiteX269" fmla="*/ 393957 w 3785642"/>
                <a:gd name="connsiteY269" fmla="*/ 82380 h 479077"/>
                <a:gd name="connsiteX270" fmla="*/ 405366 w 3785642"/>
                <a:gd name="connsiteY270" fmla="*/ 70475 h 479077"/>
                <a:gd name="connsiteX271" fmla="*/ 417272 w 3785642"/>
                <a:gd name="connsiteY271" fmla="*/ 59561 h 479077"/>
                <a:gd name="connsiteX272" fmla="*/ 429674 w 3785642"/>
                <a:gd name="connsiteY272" fmla="*/ 48647 h 479077"/>
                <a:gd name="connsiteX273" fmla="*/ 440092 w 3785642"/>
                <a:gd name="connsiteY273" fmla="*/ 35749 h 479077"/>
                <a:gd name="connsiteX274" fmla="*/ 452494 w 3785642"/>
                <a:gd name="connsiteY274" fmla="*/ 24835 h 479077"/>
                <a:gd name="connsiteX275" fmla="*/ 463904 w 3785642"/>
                <a:gd name="connsiteY275" fmla="*/ 12929 h 479077"/>
                <a:gd name="connsiteX276" fmla="*/ 475313 w 3785642"/>
                <a:gd name="connsiteY276" fmla="*/ 1024 h 479077"/>
                <a:gd name="connsiteX277" fmla="*/ 491684 w 3785642"/>
                <a:gd name="connsiteY277" fmla="*/ 2512 h 479077"/>
                <a:gd name="connsiteX278" fmla="*/ 508055 w 3785642"/>
                <a:gd name="connsiteY278" fmla="*/ 2512 h 479077"/>
                <a:gd name="connsiteX279" fmla="*/ 524425 w 3785642"/>
                <a:gd name="connsiteY279" fmla="*/ 2512 h 479077"/>
                <a:gd name="connsiteX280" fmla="*/ 540796 w 3785642"/>
                <a:gd name="connsiteY280" fmla="*/ 1024 h 479077"/>
                <a:gd name="connsiteX281" fmla="*/ 557166 w 3785642"/>
                <a:gd name="connsiteY281" fmla="*/ 2512 h 479077"/>
                <a:gd name="connsiteX282" fmla="*/ 573537 w 3785642"/>
                <a:gd name="connsiteY282" fmla="*/ 1024 h 479077"/>
                <a:gd name="connsiteX283" fmla="*/ 589908 w 3785642"/>
                <a:gd name="connsiteY283" fmla="*/ 527 h 479077"/>
                <a:gd name="connsiteX284" fmla="*/ 606278 w 3785642"/>
                <a:gd name="connsiteY284" fmla="*/ 1520 h 479077"/>
                <a:gd name="connsiteX285" fmla="*/ 622649 w 3785642"/>
                <a:gd name="connsiteY285" fmla="*/ 1520 h 479077"/>
                <a:gd name="connsiteX286" fmla="*/ 639019 w 3785642"/>
                <a:gd name="connsiteY286" fmla="*/ 2016 h 479077"/>
                <a:gd name="connsiteX287" fmla="*/ 655390 w 3785642"/>
                <a:gd name="connsiteY287" fmla="*/ 527 h 479077"/>
                <a:gd name="connsiteX288" fmla="*/ 671760 w 3785642"/>
                <a:gd name="connsiteY288" fmla="*/ 1520 h 479077"/>
                <a:gd name="connsiteX289" fmla="*/ 688131 w 3785642"/>
                <a:gd name="connsiteY289" fmla="*/ 2512 h 479077"/>
                <a:gd name="connsiteX290" fmla="*/ 704501 w 3785642"/>
                <a:gd name="connsiteY290" fmla="*/ 1024 h 479077"/>
                <a:gd name="connsiteX291" fmla="*/ 720872 w 3785642"/>
                <a:gd name="connsiteY291" fmla="*/ 1520 h 479077"/>
                <a:gd name="connsiteX292" fmla="*/ 737243 w 3785642"/>
                <a:gd name="connsiteY292" fmla="*/ 2016 h 479077"/>
                <a:gd name="connsiteX293" fmla="*/ 753613 w 3785642"/>
                <a:gd name="connsiteY293" fmla="*/ 1024 h 479077"/>
                <a:gd name="connsiteX294" fmla="*/ 769984 w 3785642"/>
                <a:gd name="connsiteY294" fmla="*/ 527 h 479077"/>
                <a:gd name="connsiteX295" fmla="*/ 786354 w 3785642"/>
                <a:gd name="connsiteY295" fmla="*/ 1520 h 479077"/>
                <a:gd name="connsiteX296" fmla="*/ 802725 w 3785642"/>
                <a:gd name="connsiteY296" fmla="*/ 527 h 479077"/>
                <a:gd name="connsiteX297" fmla="*/ 819096 w 3785642"/>
                <a:gd name="connsiteY297" fmla="*/ 2512 h 479077"/>
                <a:gd name="connsiteX298" fmla="*/ 835466 w 3785642"/>
                <a:gd name="connsiteY298" fmla="*/ 527 h 479077"/>
                <a:gd name="connsiteX299" fmla="*/ 851837 w 3785642"/>
                <a:gd name="connsiteY299" fmla="*/ 1520 h 479077"/>
                <a:gd name="connsiteX300" fmla="*/ 868207 w 3785642"/>
                <a:gd name="connsiteY300" fmla="*/ 2016 h 479077"/>
                <a:gd name="connsiteX301" fmla="*/ 884578 w 3785642"/>
                <a:gd name="connsiteY301" fmla="*/ 2512 h 479077"/>
                <a:gd name="connsiteX302" fmla="*/ 900948 w 3785642"/>
                <a:gd name="connsiteY302" fmla="*/ 1520 h 479077"/>
                <a:gd name="connsiteX303" fmla="*/ 917319 w 3785642"/>
                <a:gd name="connsiteY303" fmla="*/ 1024 h 479077"/>
                <a:gd name="connsiteX304" fmla="*/ 933689 w 3785642"/>
                <a:gd name="connsiteY304" fmla="*/ 2512 h 479077"/>
                <a:gd name="connsiteX305" fmla="*/ 950060 w 3785642"/>
                <a:gd name="connsiteY305" fmla="*/ 1520 h 479077"/>
                <a:gd name="connsiteX306" fmla="*/ 966431 w 3785642"/>
                <a:gd name="connsiteY306" fmla="*/ 2016 h 479077"/>
                <a:gd name="connsiteX307" fmla="*/ 982801 w 3785642"/>
                <a:gd name="connsiteY307" fmla="*/ 2512 h 479077"/>
                <a:gd name="connsiteX308" fmla="*/ 999172 w 3785642"/>
                <a:gd name="connsiteY308" fmla="*/ 1520 h 479077"/>
                <a:gd name="connsiteX309" fmla="*/ 1015542 w 3785642"/>
                <a:gd name="connsiteY309" fmla="*/ 2512 h 479077"/>
                <a:gd name="connsiteX310" fmla="*/ 1031913 w 3785642"/>
                <a:gd name="connsiteY310" fmla="*/ 1520 h 479077"/>
                <a:gd name="connsiteX311" fmla="*/ 1048283 w 3785642"/>
                <a:gd name="connsiteY311" fmla="*/ 2016 h 479077"/>
                <a:gd name="connsiteX312" fmla="*/ 1064654 w 3785642"/>
                <a:gd name="connsiteY312" fmla="*/ 3504 h 479077"/>
                <a:gd name="connsiteX313" fmla="*/ 1081025 w 3785642"/>
                <a:gd name="connsiteY313" fmla="*/ 2016 h 479077"/>
                <a:gd name="connsiteX314" fmla="*/ 1097395 w 3785642"/>
                <a:gd name="connsiteY314" fmla="*/ 2512 h 479077"/>
                <a:gd name="connsiteX315" fmla="*/ 1113766 w 3785642"/>
                <a:gd name="connsiteY315" fmla="*/ 2512 h 479077"/>
                <a:gd name="connsiteX316" fmla="*/ 1130136 w 3785642"/>
                <a:gd name="connsiteY316" fmla="*/ 3504 h 479077"/>
                <a:gd name="connsiteX317" fmla="*/ 1146507 w 3785642"/>
                <a:gd name="connsiteY317" fmla="*/ 1520 h 479077"/>
                <a:gd name="connsiteX318" fmla="*/ 1162878 w 3785642"/>
                <a:gd name="connsiteY318" fmla="*/ 3008 h 479077"/>
                <a:gd name="connsiteX319" fmla="*/ 1179248 w 3785642"/>
                <a:gd name="connsiteY319" fmla="*/ 4000 h 479077"/>
                <a:gd name="connsiteX320" fmla="*/ 1195619 w 3785642"/>
                <a:gd name="connsiteY320" fmla="*/ 3504 h 479077"/>
                <a:gd name="connsiteX321" fmla="*/ 1211989 w 3785642"/>
                <a:gd name="connsiteY321" fmla="*/ 1520 h 479077"/>
                <a:gd name="connsiteX322" fmla="*/ 1228360 w 3785642"/>
                <a:gd name="connsiteY322" fmla="*/ 3504 h 479077"/>
                <a:gd name="connsiteX323" fmla="*/ 1244730 w 3785642"/>
                <a:gd name="connsiteY323" fmla="*/ 1520 h 479077"/>
                <a:gd name="connsiteX324" fmla="*/ 1261101 w 3785642"/>
                <a:gd name="connsiteY324" fmla="*/ 2512 h 479077"/>
                <a:gd name="connsiteX325" fmla="*/ 1277471 w 3785642"/>
                <a:gd name="connsiteY325" fmla="*/ 3504 h 479077"/>
                <a:gd name="connsiteX326" fmla="*/ 1293842 w 3785642"/>
                <a:gd name="connsiteY326" fmla="*/ 4000 h 479077"/>
                <a:gd name="connsiteX327" fmla="*/ 1310213 w 3785642"/>
                <a:gd name="connsiteY327" fmla="*/ 1520 h 479077"/>
                <a:gd name="connsiteX328" fmla="*/ 1326583 w 3785642"/>
                <a:gd name="connsiteY328" fmla="*/ 2016 h 479077"/>
                <a:gd name="connsiteX329" fmla="*/ 1342954 w 3785642"/>
                <a:gd name="connsiteY329" fmla="*/ 3008 h 479077"/>
                <a:gd name="connsiteX330" fmla="*/ 1359324 w 3785642"/>
                <a:gd name="connsiteY330" fmla="*/ 3008 h 479077"/>
                <a:gd name="connsiteX331" fmla="*/ 1375695 w 3785642"/>
                <a:gd name="connsiteY331" fmla="*/ 2512 h 479077"/>
                <a:gd name="connsiteX332" fmla="*/ 1392066 w 3785642"/>
                <a:gd name="connsiteY332" fmla="*/ 2512 h 479077"/>
                <a:gd name="connsiteX333" fmla="*/ 1408436 w 3785642"/>
                <a:gd name="connsiteY333" fmla="*/ 3504 h 479077"/>
                <a:gd name="connsiteX334" fmla="*/ 1424807 w 3785642"/>
                <a:gd name="connsiteY334" fmla="*/ 3504 h 479077"/>
                <a:gd name="connsiteX335" fmla="*/ 1441177 w 3785642"/>
                <a:gd name="connsiteY335" fmla="*/ 1520 h 479077"/>
                <a:gd name="connsiteX336" fmla="*/ 1457548 w 3785642"/>
                <a:gd name="connsiteY336" fmla="*/ 2512 h 479077"/>
                <a:gd name="connsiteX337" fmla="*/ 1473919 w 3785642"/>
                <a:gd name="connsiteY337" fmla="*/ 2016 h 479077"/>
                <a:gd name="connsiteX338" fmla="*/ 1490289 w 3785642"/>
                <a:gd name="connsiteY338" fmla="*/ 2016 h 479077"/>
                <a:gd name="connsiteX339" fmla="*/ 1506660 w 3785642"/>
                <a:gd name="connsiteY339" fmla="*/ 1520 h 479077"/>
                <a:gd name="connsiteX340" fmla="*/ 1523030 w 3785642"/>
                <a:gd name="connsiteY340" fmla="*/ 3504 h 479077"/>
                <a:gd name="connsiteX341" fmla="*/ 1539401 w 3785642"/>
                <a:gd name="connsiteY341" fmla="*/ 3008 h 479077"/>
                <a:gd name="connsiteX342" fmla="*/ 1555771 w 3785642"/>
                <a:gd name="connsiteY342" fmla="*/ 3008 h 479077"/>
                <a:gd name="connsiteX343" fmla="*/ 1572142 w 3785642"/>
                <a:gd name="connsiteY343" fmla="*/ 2512 h 479077"/>
                <a:gd name="connsiteX344" fmla="*/ 1588512 w 3785642"/>
                <a:gd name="connsiteY344" fmla="*/ 2016 h 479077"/>
                <a:gd name="connsiteX345" fmla="*/ 1604883 w 3785642"/>
                <a:gd name="connsiteY345" fmla="*/ 3008 h 479077"/>
                <a:gd name="connsiteX346" fmla="*/ 1621253 w 3785642"/>
                <a:gd name="connsiteY346" fmla="*/ 3008 h 479077"/>
                <a:gd name="connsiteX347" fmla="*/ 1637624 w 3785642"/>
                <a:gd name="connsiteY34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313375 w 3785642"/>
                <a:gd name="connsiteY20" fmla="*/ 10945 h 479077"/>
                <a:gd name="connsiteX21" fmla="*/ 3300973 w 3785642"/>
                <a:gd name="connsiteY21" fmla="*/ 21363 h 479077"/>
                <a:gd name="connsiteX22" fmla="*/ 3289068 w 3785642"/>
                <a:gd name="connsiteY22" fmla="*/ 32276 h 479077"/>
                <a:gd name="connsiteX23" fmla="*/ 3277658 w 3785642"/>
                <a:gd name="connsiteY23" fmla="*/ 43686 h 479077"/>
                <a:gd name="connsiteX24" fmla="*/ 3266248 w 3785642"/>
                <a:gd name="connsiteY24" fmla="*/ 55592 h 479077"/>
                <a:gd name="connsiteX25" fmla="*/ 3255830 w 3785642"/>
                <a:gd name="connsiteY25" fmla="*/ 68490 h 479077"/>
                <a:gd name="connsiteX26" fmla="*/ 3243924 w 3785642"/>
                <a:gd name="connsiteY26" fmla="*/ 79900 h 479077"/>
                <a:gd name="connsiteX27" fmla="*/ 3231522 w 3785642"/>
                <a:gd name="connsiteY27" fmla="*/ 90814 h 479077"/>
                <a:gd name="connsiteX28" fmla="*/ 3220609 w 3785642"/>
                <a:gd name="connsiteY28" fmla="*/ 102720 h 479077"/>
                <a:gd name="connsiteX29" fmla="*/ 3208207 w 3785642"/>
                <a:gd name="connsiteY29" fmla="*/ 113137 h 479077"/>
                <a:gd name="connsiteX30" fmla="*/ 3197293 w 3785642"/>
                <a:gd name="connsiteY30" fmla="*/ 125043 h 479077"/>
                <a:gd name="connsiteX31" fmla="*/ 3185387 w 3785642"/>
                <a:gd name="connsiteY31" fmla="*/ 136453 h 479077"/>
                <a:gd name="connsiteX32" fmla="*/ 3174970 w 3785642"/>
                <a:gd name="connsiteY32" fmla="*/ 148855 h 479077"/>
                <a:gd name="connsiteX33" fmla="*/ 3162071 w 3785642"/>
                <a:gd name="connsiteY33" fmla="*/ 159272 h 479077"/>
                <a:gd name="connsiteX34" fmla="*/ 3151158 w 3785642"/>
                <a:gd name="connsiteY34" fmla="*/ 171674 h 479077"/>
                <a:gd name="connsiteX35" fmla="*/ 3139252 w 3785642"/>
                <a:gd name="connsiteY35" fmla="*/ 182588 h 479077"/>
                <a:gd name="connsiteX36" fmla="*/ 3127843 w 3785642"/>
                <a:gd name="connsiteY36" fmla="*/ 194494 h 479077"/>
                <a:gd name="connsiteX37" fmla="*/ 3116432 w 3785642"/>
                <a:gd name="connsiteY37" fmla="*/ 205904 h 479077"/>
                <a:gd name="connsiteX38" fmla="*/ 3105022 w 3785642"/>
                <a:gd name="connsiteY38" fmla="*/ 217810 h 479077"/>
                <a:gd name="connsiteX39" fmla="*/ 3093117 w 3785642"/>
                <a:gd name="connsiteY39" fmla="*/ 229219 h 479077"/>
                <a:gd name="connsiteX40" fmla="*/ 3081707 w 3785642"/>
                <a:gd name="connsiteY40" fmla="*/ 240629 h 479077"/>
                <a:gd name="connsiteX41" fmla="*/ 3069305 w 3785642"/>
                <a:gd name="connsiteY41" fmla="*/ 251543 h 479077"/>
                <a:gd name="connsiteX42" fmla="*/ 3057895 w 3785642"/>
                <a:gd name="connsiteY42" fmla="*/ 263449 h 479077"/>
                <a:gd name="connsiteX43" fmla="*/ 3046486 w 3785642"/>
                <a:gd name="connsiteY43" fmla="*/ 275355 h 479077"/>
                <a:gd name="connsiteX44" fmla="*/ 3035572 w 3785642"/>
                <a:gd name="connsiteY44" fmla="*/ 287260 h 479077"/>
                <a:gd name="connsiteX45" fmla="*/ 3024658 w 3785642"/>
                <a:gd name="connsiteY45" fmla="*/ 299166 h 479077"/>
                <a:gd name="connsiteX46" fmla="*/ 3013248 w 3785642"/>
                <a:gd name="connsiteY46" fmla="*/ 311072 h 479077"/>
                <a:gd name="connsiteX47" fmla="*/ 3000350 w 3785642"/>
                <a:gd name="connsiteY47" fmla="*/ 321490 h 479077"/>
                <a:gd name="connsiteX48" fmla="*/ 2988941 w 3785642"/>
                <a:gd name="connsiteY48" fmla="*/ 333396 h 479077"/>
                <a:gd name="connsiteX49" fmla="*/ 2976539 w 3785642"/>
                <a:gd name="connsiteY49" fmla="*/ 344309 h 479077"/>
                <a:gd name="connsiteX50" fmla="*/ 2965129 w 3785642"/>
                <a:gd name="connsiteY50" fmla="*/ 356215 h 479077"/>
                <a:gd name="connsiteX51" fmla="*/ 2953223 w 3785642"/>
                <a:gd name="connsiteY51" fmla="*/ 367625 h 479077"/>
                <a:gd name="connsiteX52" fmla="*/ 2941813 w 3785642"/>
                <a:gd name="connsiteY52" fmla="*/ 379531 h 479077"/>
                <a:gd name="connsiteX53" fmla="*/ 2931395 w 3785642"/>
                <a:gd name="connsiteY53" fmla="*/ 392429 h 479077"/>
                <a:gd name="connsiteX54" fmla="*/ 2918497 w 3785642"/>
                <a:gd name="connsiteY54" fmla="*/ 402847 h 479077"/>
                <a:gd name="connsiteX55" fmla="*/ 2907584 w 3785642"/>
                <a:gd name="connsiteY55" fmla="*/ 415249 h 479077"/>
                <a:gd name="connsiteX56" fmla="*/ 2896174 w 3785642"/>
                <a:gd name="connsiteY56" fmla="*/ 426658 h 479077"/>
                <a:gd name="connsiteX57" fmla="*/ 2884268 w 3785642"/>
                <a:gd name="connsiteY57" fmla="*/ 438068 h 479077"/>
                <a:gd name="connsiteX58" fmla="*/ 2873354 w 3785642"/>
                <a:gd name="connsiteY58" fmla="*/ 450470 h 479077"/>
                <a:gd name="connsiteX59" fmla="*/ 2860952 w 3785642"/>
                <a:gd name="connsiteY59" fmla="*/ 461384 h 479077"/>
                <a:gd name="connsiteX60" fmla="*/ 2850039 w 3785642"/>
                <a:gd name="connsiteY60" fmla="*/ 473786 h 479077"/>
                <a:gd name="connsiteX61" fmla="*/ 2833668 w 3785642"/>
                <a:gd name="connsiteY61" fmla="*/ 473786 h 479077"/>
                <a:gd name="connsiteX62" fmla="*/ 2817297 w 3785642"/>
                <a:gd name="connsiteY62" fmla="*/ 473290 h 479077"/>
                <a:gd name="connsiteX63" fmla="*/ 2800927 w 3785642"/>
                <a:gd name="connsiteY63" fmla="*/ 473290 h 479077"/>
                <a:gd name="connsiteX64" fmla="*/ 2784556 w 3785642"/>
                <a:gd name="connsiteY64" fmla="*/ 473786 h 479077"/>
                <a:gd name="connsiteX65" fmla="*/ 2768186 w 3785642"/>
                <a:gd name="connsiteY65" fmla="*/ 474282 h 479077"/>
                <a:gd name="connsiteX66" fmla="*/ 2751815 w 3785642"/>
                <a:gd name="connsiteY66" fmla="*/ 474282 h 479077"/>
                <a:gd name="connsiteX67" fmla="*/ 2735444 w 3785642"/>
                <a:gd name="connsiteY67" fmla="*/ 473290 h 479077"/>
                <a:gd name="connsiteX68" fmla="*/ 2719074 w 3785642"/>
                <a:gd name="connsiteY68" fmla="*/ 474282 h 479077"/>
                <a:gd name="connsiteX69" fmla="*/ 2702703 w 3785642"/>
                <a:gd name="connsiteY69" fmla="*/ 472298 h 479077"/>
                <a:gd name="connsiteX70" fmla="*/ 2686333 w 3785642"/>
                <a:gd name="connsiteY70" fmla="*/ 472794 h 479077"/>
                <a:gd name="connsiteX71" fmla="*/ 2669962 w 3785642"/>
                <a:gd name="connsiteY71" fmla="*/ 474282 h 479077"/>
                <a:gd name="connsiteX72" fmla="*/ 2653592 w 3785642"/>
                <a:gd name="connsiteY72" fmla="*/ 472298 h 479077"/>
                <a:gd name="connsiteX73" fmla="*/ 2637221 w 3785642"/>
                <a:gd name="connsiteY73" fmla="*/ 474282 h 479077"/>
                <a:gd name="connsiteX74" fmla="*/ 2620851 w 3785642"/>
                <a:gd name="connsiteY74" fmla="*/ 474282 h 479077"/>
                <a:gd name="connsiteX75" fmla="*/ 2604480 w 3785642"/>
                <a:gd name="connsiteY75" fmla="*/ 472298 h 479077"/>
                <a:gd name="connsiteX76" fmla="*/ 2588109 w 3785642"/>
                <a:gd name="connsiteY76" fmla="*/ 473786 h 479077"/>
                <a:gd name="connsiteX77" fmla="*/ 2571739 w 3785642"/>
                <a:gd name="connsiteY77" fmla="*/ 472298 h 479077"/>
                <a:gd name="connsiteX78" fmla="*/ 2555368 w 3785642"/>
                <a:gd name="connsiteY78" fmla="*/ 473290 h 479077"/>
                <a:gd name="connsiteX79" fmla="*/ 2538998 w 3785642"/>
                <a:gd name="connsiteY79" fmla="*/ 474282 h 479077"/>
                <a:gd name="connsiteX80" fmla="*/ 2522627 w 3785642"/>
                <a:gd name="connsiteY80" fmla="*/ 473290 h 479077"/>
                <a:gd name="connsiteX81" fmla="*/ 2506257 w 3785642"/>
                <a:gd name="connsiteY81" fmla="*/ 474282 h 479077"/>
                <a:gd name="connsiteX82" fmla="*/ 2489886 w 3785642"/>
                <a:gd name="connsiteY82" fmla="*/ 473786 h 479077"/>
                <a:gd name="connsiteX83" fmla="*/ 2473516 w 3785642"/>
                <a:gd name="connsiteY83" fmla="*/ 474282 h 479077"/>
                <a:gd name="connsiteX84" fmla="*/ 2457145 w 3785642"/>
                <a:gd name="connsiteY84" fmla="*/ 472794 h 479077"/>
                <a:gd name="connsiteX85" fmla="*/ 2440775 w 3785642"/>
                <a:gd name="connsiteY85" fmla="*/ 472298 h 479077"/>
                <a:gd name="connsiteX86" fmla="*/ 2424404 w 3785642"/>
                <a:gd name="connsiteY86" fmla="*/ 473786 h 479077"/>
                <a:gd name="connsiteX87" fmla="*/ 2408033 w 3785642"/>
                <a:gd name="connsiteY87" fmla="*/ 472794 h 479077"/>
                <a:gd name="connsiteX88" fmla="*/ 2391663 w 3785642"/>
                <a:gd name="connsiteY88" fmla="*/ 473290 h 479077"/>
                <a:gd name="connsiteX89" fmla="*/ 2375292 w 3785642"/>
                <a:gd name="connsiteY89" fmla="*/ 473290 h 479077"/>
                <a:gd name="connsiteX90" fmla="*/ 2358922 w 3785642"/>
                <a:gd name="connsiteY90" fmla="*/ 472794 h 479077"/>
                <a:gd name="connsiteX91" fmla="*/ 2342551 w 3785642"/>
                <a:gd name="connsiteY91" fmla="*/ 472298 h 479077"/>
                <a:gd name="connsiteX92" fmla="*/ 2326180 w 3785642"/>
                <a:gd name="connsiteY92" fmla="*/ 473786 h 479077"/>
                <a:gd name="connsiteX93" fmla="*/ 2309810 w 3785642"/>
                <a:gd name="connsiteY93" fmla="*/ 473786 h 479077"/>
                <a:gd name="connsiteX94" fmla="*/ 2293439 w 3785642"/>
                <a:gd name="connsiteY94" fmla="*/ 473786 h 479077"/>
                <a:gd name="connsiteX95" fmla="*/ 2277069 w 3785642"/>
                <a:gd name="connsiteY95" fmla="*/ 472794 h 479077"/>
                <a:gd name="connsiteX96" fmla="*/ 2260698 w 3785642"/>
                <a:gd name="connsiteY96" fmla="*/ 474282 h 479077"/>
                <a:gd name="connsiteX97" fmla="*/ 2244327 w 3785642"/>
                <a:gd name="connsiteY97" fmla="*/ 472298 h 479077"/>
                <a:gd name="connsiteX98" fmla="*/ 2227957 w 3785642"/>
                <a:gd name="connsiteY98" fmla="*/ 474282 h 479077"/>
                <a:gd name="connsiteX99" fmla="*/ 2211586 w 3785642"/>
                <a:gd name="connsiteY99" fmla="*/ 473290 h 479077"/>
                <a:gd name="connsiteX100" fmla="*/ 2195216 w 3785642"/>
                <a:gd name="connsiteY100" fmla="*/ 474282 h 479077"/>
                <a:gd name="connsiteX101" fmla="*/ 2178845 w 3785642"/>
                <a:gd name="connsiteY101" fmla="*/ 472794 h 479077"/>
                <a:gd name="connsiteX102" fmla="*/ 2162474 w 3785642"/>
                <a:gd name="connsiteY102" fmla="*/ 474778 h 479077"/>
                <a:gd name="connsiteX103" fmla="*/ 2146104 w 3785642"/>
                <a:gd name="connsiteY103" fmla="*/ 473290 h 479077"/>
                <a:gd name="connsiteX104" fmla="*/ 2129733 w 3785642"/>
                <a:gd name="connsiteY104" fmla="*/ 474778 h 479077"/>
                <a:gd name="connsiteX105" fmla="*/ 2113363 w 3785642"/>
                <a:gd name="connsiteY105" fmla="*/ 474778 h 479077"/>
                <a:gd name="connsiteX106" fmla="*/ 2096992 w 3785642"/>
                <a:gd name="connsiteY106" fmla="*/ 474778 h 479077"/>
                <a:gd name="connsiteX107" fmla="*/ 2080621 w 3785642"/>
                <a:gd name="connsiteY107" fmla="*/ 474282 h 479077"/>
                <a:gd name="connsiteX108" fmla="*/ 2064251 w 3785642"/>
                <a:gd name="connsiteY108" fmla="*/ 472794 h 479077"/>
                <a:gd name="connsiteX109" fmla="*/ 2047880 w 3785642"/>
                <a:gd name="connsiteY109" fmla="*/ 474778 h 479077"/>
                <a:gd name="connsiteX110" fmla="*/ 2031510 w 3785642"/>
                <a:gd name="connsiteY110" fmla="*/ 474778 h 479077"/>
                <a:gd name="connsiteX111" fmla="*/ 2015139 w 3785642"/>
                <a:gd name="connsiteY111" fmla="*/ 474778 h 479077"/>
                <a:gd name="connsiteX112" fmla="*/ 1998769 w 3785642"/>
                <a:gd name="connsiteY112" fmla="*/ 474282 h 479077"/>
                <a:gd name="connsiteX113" fmla="*/ 1982398 w 3785642"/>
                <a:gd name="connsiteY113" fmla="*/ 473786 h 479077"/>
                <a:gd name="connsiteX114" fmla="*/ 1966028 w 3785642"/>
                <a:gd name="connsiteY114" fmla="*/ 473786 h 479077"/>
                <a:gd name="connsiteX115" fmla="*/ 1949657 w 3785642"/>
                <a:gd name="connsiteY115" fmla="*/ 472794 h 479077"/>
                <a:gd name="connsiteX116" fmla="*/ 1933287 w 3785642"/>
                <a:gd name="connsiteY116" fmla="*/ 473290 h 479077"/>
                <a:gd name="connsiteX117" fmla="*/ 1916916 w 3785642"/>
                <a:gd name="connsiteY117" fmla="*/ 474778 h 479077"/>
                <a:gd name="connsiteX118" fmla="*/ 1900546 w 3785642"/>
                <a:gd name="connsiteY118" fmla="*/ 472794 h 479077"/>
                <a:gd name="connsiteX119" fmla="*/ 1884175 w 3785642"/>
                <a:gd name="connsiteY119" fmla="*/ 473786 h 479077"/>
                <a:gd name="connsiteX120" fmla="*/ 1867804 w 3785642"/>
                <a:gd name="connsiteY120" fmla="*/ 474778 h 479077"/>
                <a:gd name="connsiteX121" fmla="*/ 1851434 w 3785642"/>
                <a:gd name="connsiteY121" fmla="*/ 474778 h 479077"/>
                <a:gd name="connsiteX122" fmla="*/ 1835063 w 3785642"/>
                <a:gd name="connsiteY122" fmla="*/ 474778 h 479077"/>
                <a:gd name="connsiteX123" fmla="*/ 1818693 w 3785642"/>
                <a:gd name="connsiteY123" fmla="*/ 474282 h 479077"/>
                <a:gd name="connsiteX124" fmla="*/ 1802322 w 3785642"/>
                <a:gd name="connsiteY124" fmla="*/ 472794 h 479077"/>
                <a:gd name="connsiteX125" fmla="*/ 1785951 w 3785642"/>
                <a:gd name="connsiteY125" fmla="*/ 473786 h 479077"/>
                <a:gd name="connsiteX126" fmla="*/ 1769581 w 3785642"/>
                <a:gd name="connsiteY126" fmla="*/ 473290 h 479077"/>
                <a:gd name="connsiteX127" fmla="*/ 1753210 w 3785642"/>
                <a:gd name="connsiteY127" fmla="*/ 472298 h 479077"/>
                <a:gd name="connsiteX128" fmla="*/ 1736840 w 3785642"/>
                <a:gd name="connsiteY128" fmla="*/ 473290 h 479077"/>
                <a:gd name="connsiteX129" fmla="*/ 1720469 w 3785642"/>
                <a:gd name="connsiteY129" fmla="*/ 474778 h 479077"/>
                <a:gd name="connsiteX130" fmla="*/ 1704098 w 3785642"/>
                <a:gd name="connsiteY130" fmla="*/ 472794 h 479077"/>
                <a:gd name="connsiteX131" fmla="*/ 1687728 w 3785642"/>
                <a:gd name="connsiteY131" fmla="*/ 474778 h 479077"/>
                <a:gd name="connsiteX132" fmla="*/ 1671357 w 3785642"/>
                <a:gd name="connsiteY132" fmla="*/ 474778 h 479077"/>
                <a:gd name="connsiteX133" fmla="*/ 1654987 w 3785642"/>
                <a:gd name="connsiteY133" fmla="*/ 472298 h 479077"/>
                <a:gd name="connsiteX134" fmla="*/ 1638616 w 3785642"/>
                <a:gd name="connsiteY134" fmla="*/ 472794 h 479077"/>
                <a:gd name="connsiteX135" fmla="*/ 1622246 w 3785642"/>
                <a:gd name="connsiteY135" fmla="*/ 473786 h 479077"/>
                <a:gd name="connsiteX136" fmla="*/ 1605875 w 3785642"/>
                <a:gd name="connsiteY136" fmla="*/ 474778 h 479077"/>
                <a:gd name="connsiteX137" fmla="*/ 1589505 w 3785642"/>
                <a:gd name="connsiteY137" fmla="*/ 473290 h 479077"/>
                <a:gd name="connsiteX138" fmla="*/ 1573134 w 3785642"/>
                <a:gd name="connsiteY138" fmla="*/ 474778 h 479077"/>
                <a:gd name="connsiteX139" fmla="*/ 1556763 w 3785642"/>
                <a:gd name="connsiteY139" fmla="*/ 472794 h 479077"/>
                <a:gd name="connsiteX140" fmla="*/ 1540393 w 3785642"/>
                <a:gd name="connsiteY140" fmla="*/ 472794 h 479077"/>
                <a:gd name="connsiteX141" fmla="*/ 1524022 w 3785642"/>
                <a:gd name="connsiteY141" fmla="*/ 474282 h 479077"/>
                <a:gd name="connsiteX142" fmla="*/ 1507652 w 3785642"/>
                <a:gd name="connsiteY142" fmla="*/ 472794 h 479077"/>
                <a:gd name="connsiteX143" fmla="*/ 1491281 w 3785642"/>
                <a:gd name="connsiteY143" fmla="*/ 474282 h 479077"/>
                <a:gd name="connsiteX144" fmla="*/ 1474910 w 3785642"/>
                <a:gd name="connsiteY144" fmla="*/ 474282 h 479077"/>
                <a:gd name="connsiteX145" fmla="*/ 1458540 w 3785642"/>
                <a:gd name="connsiteY145" fmla="*/ 472794 h 479077"/>
                <a:gd name="connsiteX146" fmla="*/ 1442169 w 3785642"/>
                <a:gd name="connsiteY146" fmla="*/ 471802 h 479077"/>
                <a:gd name="connsiteX147" fmla="*/ 1425799 w 3785642"/>
                <a:gd name="connsiteY147" fmla="*/ 472298 h 479077"/>
                <a:gd name="connsiteX148" fmla="*/ 1409428 w 3785642"/>
                <a:gd name="connsiteY148" fmla="*/ 472794 h 479077"/>
                <a:gd name="connsiteX149" fmla="*/ 1393058 w 3785642"/>
                <a:gd name="connsiteY149" fmla="*/ 473786 h 479077"/>
                <a:gd name="connsiteX150" fmla="*/ 1376687 w 3785642"/>
                <a:gd name="connsiteY150" fmla="*/ 471802 h 479077"/>
                <a:gd name="connsiteX151" fmla="*/ 1360317 w 3785642"/>
                <a:gd name="connsiteY151" fmla="*/ 473786 h 479077"/>
                <a:gd name="connsiteX152" fmla="*/ 1343946 w 3785642"/>
                <a:gd name="connsiteY152" fmla="*/ 473786 h 479077"/>
                <a:gd name="connsiteX153" fmla="*/ 1327576 w 3785642"/>
                <a:gd name="connsiteY153" fmla="*/ 472794 h 479077"/>
                <a:gd name="connsiteX154" fmla="*/ 1311205 w 3785642"/>
                <a:gd name="connsiteY154" fmla="*/ 473786 h 479077"/>
                <a:gd name="connsiteX155" fmla="*/ 1294834 w 3785642"/>
                <a:gd name="connsiteY155" fmla="*/ 473786 h 479077"/>
                <a:gd name="connsiteX156" fmla="*/ 1278464 w 3785642"/>
                <a:gd name="connsiteY156" fmla="*/ 473786 h 479077"/>
                <a:gd name="connsiteX157" fmla="*/ 1262093 w 3785642"/>
                <a:gd name="connsiteY157" fmla="*/ 473786 h 479077"/>
                <a:gd name="connsiteX158" fmla="*/ 1245723 w 3785642"/>
                <a:gd name="connsiteY158" fmla="*/ 473290 h 479077"/>
                <a:gd name="connsiteX159" fmla="*/ 1229352 w 3785642"/>
                <a:gd name="connsiteY159" fmla="*/ 472794 h 479077"/>
                <a:gd name="connsiteX160" fmla="*/ 1212981 w 3785642"/>
                <a:gd name="connsiteY160" fmla="*/ 473786 h 479077"/>
                <a:gd name="connsiteX161" fmla="*/ 1196611 w 3785642"/>
                <a:gd name="connsiteY161" fmla="*/ 472298 h 479077"/>
                <a:gd name="connsiteX162" fmla="*/ 1180240 w 3785642"/>
                <a:gd name="connsiteY162" fmla="*/ 472794 h 479077"/>
                <a:gd name="connsiteX163" fmla="*/ 1163870 w 3785642"/>
                <a:gd name="connsiteY163" fmla="*/ 472794 h 479077"/>
                <a:gd name="connsiteX164" fmla="*/ 1147499 w 3785642"/>
                <a:gd name="connsiteY164" fmla="*/ 473786 h 479077"/>
                <a:gd name="connsiteX165" fmla="*/ 1131128 w 3785642"/>
                <a:gd name="connsiteY165" fmla="*/ 473786 h 479077"/>
                <a:gd name="connsiteX166" fmla="*/ 1114758 w 3785642"/>
                <a:gd name="connsiteY166" fmla="*/ 472794 h 479077"/>
                <a:gd name="connsiteX167" fmla="*/ 1098387 w 3785642"/>
                <a:gd name="connsiteY167" fmla="*/ 473786 h 479077"/>
                <a:gd name="connsiteX168" fmla="*/ 1082017 w 3785642"/>
                <a:gd name="connsiteY168" fmla="*/ 474778 h 479077"/>
                <a:gd name="connsiteX169" fmla="*/ 1065646 w 3785642"/>
                <a:gd name="connsiteY169" fmla="*/ 474778 h 479077"/>
                <a:gd name="connsiteX170" fmla="*/ 1049276 w 3785642"/>
                <a:gd name="connsiteY170" fmla="*/ 474282 h 479077"/>
                <a:gd name="connsiteX171" fmla="*/ 1032905 w 3785642"/>
                <a:gd name="connsiteY171" fmla="*/ 473290 h 479077"/>
                <a:gd name="connsiteX172" fmla="*/ 1016535 w 3785642"/>
                <a:gd name="connsiteY172" fmla="*/ 474282 h 479077"/>
                <a:gd name="connsiteX173" fmla="*/ 1000164 w 3785642"/>
                <a:gd name="connsiteY173" fmla="*/ 474282 h 479077"/>
                <a:gd name="connsiteX174" fmla="*/ 983793 w 3785642"/>
                <a:gd name="connsiteY174" fmla="*/ 472794 h 479077"/>
                <a:gd name="connsiteX175" fmla="*/ 967423 w 3785642"/>
                <a:gd name="connsiteY175" fmla="*/ 472794 h 479077"/>
                <a:gd name="connsiteX176" fmla="*/ 951052 w 3785642"/>
                <a:gd name="connsiteY176" fmla="*/ 473786 h 479077"/>
                <a:gd name="connsiteX177" fmla="*/ 934682 w 3785642"/>
                <a:gd name="connsiteY177" fmla="*/ 474282 h 479077"/>
                <a:gd name="connsiteX178" fmla="*/ 918311 w 3785642"/>
                <a:gd name="connsiteY178" fmla="*/ 474778 h 479077"/>
                <a:gd name="connsiteX179" fmla="*/ 901940 w 3785642"/>
                <a:gd name="connsiteY179" fmla="*/ 473290 h 479077"/>
                <a:gd name="connsiteX180" fmla="*/ 885570 w 3785642"/>
                <a:gd name="connsiteY180" fmla="*/ 474778 h 479077"/>
                <a:gd name="connsiteX181" fmla="*/ 869199 w 3785642"/>
                <a:gd name="connsiteY181" fmla="*/ 474282 h 479077"/>
                <a:gd name="connsiteX182" fmla="*/ 852829 w 3785642"/>
                <a:gd name="connsiteY182" fmla="*/ 473786 h 479077"/>
                <a:gd name="connsiteX183" fmla="*/ 836458 w 3785642"/>
                <a:gd name="connsiteY183" fmla="*/ 474778 h 479077"/>
                <a:gd name="connsiteX184" fmla="*/ 820088 w 3785642"/>
                <a:gd name="connsiteY184" fmla="*/ 475274 h 479077"/>
                <a:gd name="connsiteX185" fmla="*/ 803717 w 3785642"/>
                <a:gd name="connsiteY185" fmla="*/ 473786 h 479077"/>
                <a:gd name="connsiteX186" fmla="*/ 787347 w 3785642"/>
                <a:gd name="connsiteY186" fmla="*/ 475770 h 479077"/>
                <a:gd name="connsiteX187" fmla="*/ 770976 w 3785642"/>
                <a:gd name="connsiteY187" fmla="*/ 474778 h 479077"/>
                <a:gd name="connsiteX188" fmla="*/ 754605 w 3785642"/>
                <a:gd name="connsiteY188" fmla="*/ 475274 h 479077"/>
                <a:gd name="connsiteX189" fmla="*/ 738235 w 3785642"/>
                <a:gd name="connsiteY189" fmla="*/ 473786 h 479077"/>
                <a:gd name="connsiteX190" fmla="*/ 721864 w 3785642"/>
                <a:gd name="connsiteY190" fmla="*/ 475274 h 479077"/>
                <a:gd name="connsiteX191" fmla="*/ 705494 w 3785642"/>
                <a:gd name="connsiteY191" fmla="*/ 475770 h 479077"/>
                <a:gd name="connsiteX192" fmla="*/ 689123 w 3785642"/>
                <a:gd name="connsiteY192" fmla="*/ 474282 h 479077"/>
                <a:gd name="connsiteX193" fmla="*/ 672753 w 3785642"/>
                <a:gd name="connsiteY193" fmla="*/ 475274 h 479077"/>
                <a:gd name="connsiteX194" fmla="*/ 656382 w 3785642"/>
                <a:gd name="connsiteY194" fmla="*/ 474778 h 479077"/>
                <a:gd name="connsiteX195" fmla="*/ 640011 w 3785642"/>
                <a:gd name="connsiteY195" fmla="*/ 475770 h 479077"/>
                <a:gd name="connsiteX196" fmla="*/ 623641 w 3785642"/>
                <a:gd name="connsiteY196" fmla="*/ 473786 h 479077"/>
                <a:gd name="connsiteX197" fmla="*/ 607270 w 3785642"/>
                <a:gd name="connsiteY197" fmla="*/ 474778 h 479077"/>
                <a:gd name="connsiteX198" fmla="*/ 590900 w 3785642"/>
                <a:gd name="connsiteY198" fmla="*/ 475274 h 479077"/>
                <a:gd name="connsiteX199" fmla="*/ 574529 w 3785642"/>
                <a:gd name="connsiteY199" fmla="*/ 474282 h 479077"/>
                <a:gd name="connsiteX200" fmla="*/ 558158 w 3785642"/>
                <a:gd name="connsiteY200" fmla="*/ 475274 h 479077"/>
                <a:gd name="connsiteX201" fmla="*/ 541788 w 3785642"/>
                <a:gd name="connsiteY201" fmla="*/ 475770 h 479077"/>
                <a:gd name="connsiteX202" fmla="*/ 525417 w 3785642"/>
                <a:gd name="connsiteY202" fmla="*/ 474282 h 479077"/>
                <a:gd name="connsiteX203" fmla="*/ 509047 w 3785642"/>
                <a:gd name="connsiteY203" fmla="*/ 473786 h 479077"/>
                <a:gd name="connsiteX204" fmla="*/ 492676 w 3785642"/>
                <a:gd name="connsiteY204" fmla="*/ 473786 h 479077"/>
                <a:gd name="connsiteX205" fmla="*/ 476306 w 3785642"/>
                <a:gd name="connsiteY205" fmla="*/ 474778 h 479077"/>
                <a:gd name="connsiteX206" fmla="*/ 459935 w 3785642"/>
                <a:gd name="connsiteY206" fmla="*/ 473786 h 479077"/>
                <a:gd name="connsiteX207" fmla="*/ 443565 w 3785642"/>
                <a:gd name="connsiteY207" fmla="*/ 474778 h 479077"/>
                <a:gd name="connsiteX208" fmla="*/ 427194 w 3785642"/>
                <a:gd name="connsiteY208" fmla="*/ 474282 h 479077"/>
                <a:gd name="connsiteX209" fmla="*/ 410823 w 3785642"/>
                <a:gd name="connsiteY209" fmla="*/ 473290 h 479077"/>
                <a:gd name="connsiteX210" fmla="*/ 394453 w 3785642"/>
                <a:gd name="connsiteY210" fmla="*/ 475770 h 479077"/>
                <a:gd name="connsiteX211" fmla="*/ 378082 w 3785642"/>
                <a:gd name="connsiteY211" fmla="*/ 475274 h 479077"/>
                <a:gd name="connsiteX212" fmla="*/ 361712 w 3785642"/>
                <a:gd name="connsiteY212" fmla="*/ 474778 h 479077"/>
                <a:gd name="connsiteX213" fmla="*/ 345341 w 3785642"/>
                <a:gd name="connsiteY213" fmla="*/ 476266 h 479077"/>
                <a:gd name="connsiteX214" fmla="*/ 328970 w 3785642"/>
                <a:gd name="connsiteY214" fmla="*/ 474282 h 479077"/>
                <a:gd name="connsiteX215" fmla="*/ 312600 w 3785642"/>
                <a:gd name="connsiteY215" fmla="*/ 475274 h 479077"/>
                <a:gd name="connsiteX216" fmla="*/ 296229 w 3785642"/>
                <a:gd name="connsiteY216" fmla="*/ 474282 h 479077"/>
                <a:gd name="connsiteX217" fmla="*/ 279859 w 3785642"/>
                <a:gd name="connsiteY217" fmla="*/ 475770 h 479077"/>
                <a:gd name="connsiteX218" fmla="*/ 263488 w 3785642"/>
                <a:gd name="connsiteY218" fmla="*/ 476266 h 479077"/>
                <a:gd name="connsiteX219" fmla="*/ 247118 w 3785642"/>
                <a:gd name="connsiteY219" fmla="*/ 476266 h 479077"/>
                <a:gd name="connsiteX220" fmla="*/ 230747 w 3785642"/>
                <a:gd name="connsiteY220" fmla="*/ 474778 h 479077"/>
                <a:gd name="connsiteX221" fmla="*/ 214376 w 3785642"/>
                <a:gd name="connsiteY221" fmla="*/ 474778 h 479077"/>
                <a:gd name="connsiteX222" fmla="*/ 198006 w 3785642"/>
                <a:gd name="connsiteY222" fmla="*/ 476762 h 479077"/>
                <a:gd name="connsiteX223" fmla="*/ 181635 w 3785642"/>
                <a:gd name="connsiteY223" fmla="*/ 476266 h 479077"/>
                <a:gd name="connsiteX224" fmla="*/ 165265 w 3785642"/>
                <a:gd name="connsiteY224" fmla="*/ 474778 h 479077"/>
                <a:gd name="connsiteX225" fmla="*/ 148894 w 3785642"/>
                <a:gd name="connsiteY225" fmla="*/ 476762 h 479077"/>
                <a:gd name="connsiteX226" fmla="*/ 132524 w 3785642"/>
                <a:gd name="connsiteY226" fmla="*/ 476266 h 479077"/>
                <a:gd name="connsiteX227" fmla="*/ 116153 w 3785642"/>
                <a:gd name="connsiteY227" fmla="*/ 475274 h 479077"/>
                <a:gd name="connsiteX228" fmla="*/ 99783 w 3785642"/>
                <a:gd name="connsiteY228" fmla="*/ 475274 h 479077"/>
                <a:gd name="connsiteX229" fmla="*/ 83412 w 3785642"/>
                <a:gd name="connsiteY229" fmla="*/ 475274 h 479077"/>
                <a:gd name="connsiteX230" fmla="*/ 67041 w 3785642"/>
                <a:gd name="connsiteY230" fmla="*/ 474778 h 479077"/>
                <a:gd name="connsiteX231" fmla="*/ 50671 w 3785642"/>
                <a:gd name="connsiteY231" fmla="*/ 475274 h 479077"/>
                <a:gd name="connsiteX232" fmla="*/ 34300 w 3785642"/>
                <a:gd name="connsiteY232" fmla="*/ 475274 h 479077"/>
                <a:gd name="connsiteX233" fmla="*/ 17930 w 3785642"/>
                <a:gd name="connsiteY233" fmla="*/ 475770 h 479077"/>
                <a:gd name="connsiteX234" fmla="*/ 567 w 3785642"/>
                <a:gd name="connsiteY234" fmla="*/ 475770 h 479077"/>
                <a:gd name="connsiteX235" fmla="*/ 12969 w 3785642"/>
                <a:gd name="connsiteY235" fmla="*/ 463368 h 479077"/>
                <a:gd name="connsiteX236" fmla="*/ 24379 w 3785642"/>
                <a:gd name="connsiteY236" fmla="*/ 451958 h 479077"/>
                <a:gd name="connsiteX237" fmla="*/ 35788 w 3785642"/>
                <a:gd name="connsiteY237" fmla="*/ 440053 h 479077"/>
                <a:gd name="connsiteX238" fmla="*/ 48686 w 3785642"/>
                <a:gd name="connsiteY238" fmla="*/ 430131 h 479077"/>
                <a:gd name="connsiteX239" fmla="*/ 59600 w 3785642"/>
                <a:gd name="connsiteY239" fmla="*/ 418225 h 479077"/>
                <a:gd name="connsiteX240" fmla="*/ 70514 w 3785642"/>
                <a:gd name="connsiteY240" fmla="*/ 405823 h 479077"/>
                <a:gd name="connsiteX241" fmla="*/ 83412 w 3785642"/>
                <a:gd name="connsiteY241" fmla="*/ 395406 h 479077"/>
                <a:gd name="connsiteX242" fmla="*/ 94822 w 3785642"/>
                <a:gd name="connsiteY242" fmla="*/ 383500 h 479077"/>
                <a:gd name="connsiteX243" fmla="*/ 106728 w 3785642"/>
                <a:gd name="connsiteY243" fmla="*/ 372090 h 479077"/>
                <a:gd name="connsiteX244" fmla="*/ 117145 w 3785642"/>
                <a:gd name="connsiteY244" fmla="*/ 359688 h 479077"/>
                <a:gd name="connsiteX245" fmla="*/ 128555 w 3785642"/>
                <a:gd name="connsiteY245" fmla="*/ 348278 h 479077"/>
                <a:gd name="connsiteX246" fmla="*/ 140461 w 3785642"/>
                <a:gd name="connsiteY246" fmla="*/ 336868 h 479077"/>
                <a:gd name="connsiteX247" fmla="*/ 152863 w 3785642"/>
                <a:gd name="connsiteY247" fmla="*/ 326451 h 479077"/>
                <a:gd name="connsiteX248" fmla="*/ 164769 w 3785642"/>
                <a:gd name="connsiteY248" fmla="*/ 315041 h 479077"/>
                <a:gd name="connsiteX249" fmla="*/ 176178 w 3785642"/>
                <a:gd name="connsiteY249" fmla="*/ 303135 h 479077"/>
                <a:gd name="connsiteX250" fmla="*/ 188084 w 3785642"/>
                <a:gd name="connsiteY250" fmla="*/ 291725 h 479077"/>
                <a:gd name="connsiteX251" fmla="*/ 199494 w 3785642"/>
                <a:gd name="connsiteY251" fmla="*/ 280315 h 479077"/>
                <a:gd name="connsiteX252" fmla="*/ 210904 w 3785642"/>
                <a:gd name="connsiteY252" fmla="*/ 268906 h 479077"/>
                <a:gd name="connsiteX253" fmla="*/ 221818 w 3785642"/>
                <a:gd name="connsiteY253" fmla="*/ 256504 h 479077"/>
                <a:gd name="connsiteX254" fmla="*/ 233724 w 3785642"/>
                <a:gd name="connsiteY254" fmla="*/ 245094 h 479077"/>
                <a:gd name="connsiteX255" fmla="*/ 244141 w 3785642"/>
                <a:gd name="connsiteY255" fmla="*/ 232692 h 479077"/>
                <a:gd name="connsiteX256" fmla="*/ 257039 w 3785642"/>
                <a:gd name="connsiteY256" fmla="*/ 222770 h 479077"/>
                <a:gd name="connsiteX257" fmla="*/ 266961 w 3785642"/>
                <a:gd name="connsiteY257" fmla="*/ 209376 h 479077"/>
                <a:gd name="connsiteX258" fmla="*/ 278371 w 3785642"/>
                <a:gd name="connsiteY258" fmla="*/ 197966 h 479077"/>
                <a:gd name="connsiteX259" fmla="*/ 291269 w 3785642"/>
                <a:gd name="connsiteY259" fmla="*/ 188045 h 479077"/>
                <a:gd name="connsiteX260" fmla="*/ 301686 w 3785642"/>
                <a:gd name="connsiteY260" fmla="*/ 175147 h 479077"/>
                <a:gd name="connsiteX261" fmla="*/ 313592 w 3785642"/>
                <a:gd name="connsiteY261" fmla="*/ 163737 h 479077"/>
                <a:gd name="connsiteX262" fmla="*/ 325994 w 3785642"/>
                <a:gd name="connsiteY262" fmla="*/ 153319 h 479077"/>
                <a:gd name="connsiteX263" fmla="*/ 337404 w 3785642"/>
                <a:gd name="connsiteY263" fmla="*/ 141910 h 479077"/>
                <a:gd name="connsiteX264" fmla="*/ 347325 w 3785642"/>
                <a:gd name="connsiteY264" fmla="*/ 129012 h 479077"/>
                <a:gd name="connsiteX265" fmla="*/ 360224 w 3785642"/>
                <a:gd name="connsiteY265" fmla="*/ 118594 h 479077"/>
                <a:gd name="connsiteX266" fmla="*/ 371137 w 3785642"/>
                <a:gd name="connsiteY266" fmla="*/ 106192 h 479077"/>
                <a:gd name="connsiteX267" fmla="*/ 382051 w 3785642"/>
                <a:gd name="connsiteY267" fmla="*/ 93790 h 479077"/>
                <a:gd name="connsiteX268" fmla="*/ 393957 w 3785642"/>
                <a:gd name="connsiteY268" fmla="*/ 82380 h 479077"/>
                <a:gd name="connsiteX269" fmla="*/ 405366 w 3785642"/>
                <a:gd name="connsiteY269" fmla="*/ 70475 h 479077"/>
                <a:gd name="connsiteX270" fmla="*/ 417272 w 3785642"/>
                <a:gd name="connsiteY270" fmla="*/ 59561 h 479077"/>
                <a:gd name="connsiteX271" fmla="*/ 429674 w 3785642"/>
                <a:gd name="connsiteY271" fmla="*/ 48647 h 479077"/>
                <a:gd name="connsiteX272" fmla="*/ 440092 w 3785642"/>
                <a:gd name="connsiteY272" fmla="*/ 35749 h 479077"/>
                <a:gd name="connsiteX273" fmla="*/ 452494 w 3785642"/>
                <a:gd name="connsiteY273" fmla="*/ 24835 h 479077"/>
                <a:gd name="connsiteX274" fmla="*/ 463904 w 3785642"/>
                <a:gd name="connsiteY274" fmla="*/ 12929 h 479077"/>
                <a:gd name="connsiteX275" fmla="*/ 475313 w 3785642"/>
                <a:gd name="connsiteY275" fmla="*/ 1024 h 479077"/>
                <a:gd name="connsiteX276" fmla="*/ 491684 w 3785642"/>
                <a:gd name="connsiteY276" fmla="*/ 2512 h 479077"/>
                <a:gd name="connsiteX277" fmla="*/ 508055 w 3785642"/>
                <a:gd name="connsiteY277" fmla="*/ 2512 h 479077"/>
                <a:gd name="connsiteX278" fmla="*/ 524425 w 3785642"/>
                <a:gd name="connsiteY278" fmla="*/ 2512 h 479077"/>
                <a:gd name="connsiteX279" fmla="*/ 540796 w 3785642"/>
                <a:gd name="connsiteY279" fmla="*/ 1024 h 479077"/>
                <a:gd name="connsiteX280" fmla="*/ 557166 w 3785642"/>
                <a:gd name="connsiteY280" fmla="*/ 2512 h 479077"/>
                <a:gd name="connsiteX281" fmla="*/ 573537 w 3785642"/>
                <a:gd name="connsiteY281" fmla="*/ 1024 h 479077"/>
                <a:gd name="connsiteX282" fmla="*/ 589908 w 3785642"/>
                <a:gd name="connsiteY282" fmla="*/ 527 h 479077"/>
                <a:gd name="connsiteX283" fmla="*/ 606278 w 3785642"/>
                <a:gd name="connsiteY283" fmla="*/ 1520 h 479077"/>
                <a:gd name="connsiteX284" fmla="*/ 622649 w 3785642"/>
                <a:gd name="connsiteY284" fmla="*/ 1520 h 479077"/>
                <a:gd name="connsiteX285" fmla="*/ 639019 w 3785642"/>
                <a:gd name="connsiteY285" fmla="*/ 2016 h 479077"/>
                <a:gd name="connsiteX286" fmla="*/ 655390 w 3785642"/>
                <a:gd name="connsiteY286" fmla="*/ 527 h 479077"/>
                <a:gd name="connsiteX287" fmla="*/ 671760 w 3785642"/>
                <a:gd name="connsiteY287" fmla="*/ 1520 h 479077"/>
                <a:gd name="connsiteX288" fmla="*/ 688131 w 3785642"/>
                <a:gd name="connsiteY288" fmla="*/ 2512 h 479077"/>
                <a:gd name="connsiteX289" fmla="*/ 704501 w 3785642"/>
                <a:gd name="connsiteY289" fmla="*/ 1024 h 479077"/>
                <a:gd name="connsiteX290" fmla="*/ 720872 w 3785642"/>
                <a:gd name="connsiteY290" fmla="*/ 1520 h 479077"/>
                <a:gd name="connsiteX291" fmla="*/ 737243 w 3785642"/>
                <a:gd name="connsiteY291" fmla="*/ 2016 h 479077"/>
                <a:gd name="connsiteX292" fmla="*/ 753613 w 3785642"/>
                <a:gd name="connsiteY292" fmla="*/ 1024 h 479077"/>
                <a:gd name="connsiteX293" fmla="*/ 769984 w 3785642"/>
                <a:gd name="connsiteY293" fmla="*/ 527 h 479077"/>
                <a:gd name="connsiteX294" fmla="*/ 786354 w 3785642"/>
                <a:gd name="connsiteY294" fmla="*/ 1520 h 479077"/>
                <a:gd name="connsiteX295" fmla="*/ 802725 w 3785642"/>
                <a:gd name="connsiteY295" fmla="*/ 527 h 479077"/>
                <a:gd name="connsiteX296" fmla="*/ 819096 w 3785642"/>
                <a:gd name="connsiteY296" fmla="*/ 2512 h 479077"/>
                <a:gd name="connsiteX297" fmla="*/ 835466 w 3785642"/>
                <a:gd name="connsiteY297" fmla="*/ 527 h 479077"/>
                <a:gd name="connsiteX298" fmla="*/ 851837 w 3785642"/>
                <a:gd name="connsiteY298" fmla="*/ 1520 h 479077"/>
                <a:gd name="connsiteX299" fmla="*/ 868207 w 3785642"/>
                <a:gd name="connsiteY299" fmla="*/ 2016 h 479077"/>
                <a:gd name="connsiteX300" fmla="*/ 884578 w 3785642"/>
                <a:gd name="connsiteY300" fmla="*/ 2512 h 479077"/>
                <a:gd name="connsiteX301" fmla="*/ 900948 w 3785642"/>
                <a:gd name="connsiteY301" fmla="*/ 1520 h 479077"/>
                <a:gd name="connsiteX302" fmla="*/ 917319 w 3785642"/>
                <a:gd name="connsiteY302" fmla="*/ 1024 h 479077"/>
                <a:gd name="connsiteX303" fmla="*/ 933689 w 3785642"/>
                <a:gd name="connsiteY303" fmla="*/ 2512 h 479077"/>
                <a:gd name="connsiteX304" fmla="*/ 950060 w 3785642"/>
                <a:gd name="connsiteY304" fmla="*/ 1520 h 479077"/>
                <a:gd name="connsiteX305" fmla="*/ 966431 w 3785642"/>
                <a:gd name="connsiteY305" fmla="*/ 2016 h 479077"/>
                <a:gd name="connsiteX306" fmla="*/ 982801 w 3785642"/>
                <a:gd name="connsiteY306" fmla="*/ 2512 h 479077"/>
                <a:gd name="connsiteX307" fmla="*/ 999172 w 3785642"/>
                <a:gd name="connsiteY307" fmla="*/ 1520 h 479077"/>
                <a:gd name="connsiteX308" fmla="*/ 1015542 w 3785642"/>
                <a:gd name="connsiteY308" fmla="*/ 2512 h 479077"/>
                <a:gd name="connsiteX309" fmla="*/ 1031913 w 3785642"/>
                <a:gd name="connsiteY309" fmla="*/ 1520 h 479077"/>
                <a:gd name="connsiteX310" fmla="*/ 1048283 w 3785642"/>
                <a:gd name="connsiteY310" fmla="*/ 2016 h 479077"/>
                <a:gd name="connsiteX311" fmla="*/ 1064654 w 3785642"/>
                <a:gd name="connsiteY311" fmla="*/ 3504 h 479077"/>
                <a:gd name="connsiteX312" fmla="*/ 1081025 w 3785642"/>
                <a:gd name="connsiteY312" fmla="*/ 2016 h 479077"/>
                <a:gd name="connsiteX313" fmla="*/ 1097395 w 3785642"/>
                <a:gd name="connsiteY313" fmla="*/ 2512 h 479077"/>
                <a:gd name="connsiteX314" fmla="*/ 1113766 w 3785642"/>
                <a:gd name="connsiteY314" fmla="*/ 2512 h 479077"/>
                <a:gd name="connsiteX315" fmla="*/ 1130136 w 3785642"/>
                <a:gd name="connsiteY315" fmla="*/ 3504 h 479077"/>
                <a:gd name="connsiteX316" fmla="*/ 1146507 w 3785642"/>
                <a:gd name="connsiteY316" fmla="*/ 1520 h 479077"/>
                <a:gd name="connsiteX317" fmla="*/ 1162878 w 3785642"/>
                <a:gd name="connsiteY317" fmla="*/ 3008 h 479077"/>
                <a:gd name="connsiteX318" fmla="*/ 1179248 w 3785642"/>
                <a:gd name="connsiteY318" fmla="*/ 4000 h 479077"/>
                <a:gd name="connsiteX319" fmla="*/ 1195619 w 3785642"/>
                <a:gd name="connsiteY319" fmla="*/ 3504 h 479077"/>
                <a:gd name="connsiteX320" fmla="*/ 1211989 w 3785642"/>
                <a:gd name="connsiteY320" fmla="*/ 1520 h 479077"/>
                <a:gd name="connsiteX321" fmla="*/ 1228360 w 3785642"/>
                <a:gd name="connsiteY321" fmla="*/ 3504 h 479077"/>
                <a:gd name="connsiteX322" fmla="*/ 1244730 w 3785642"/>
                <a:gd name="connsiteY322" fmla="*/ 1520 h 479077"/>
                <a:gd name="connsiteX323" fmla="*/ 1261101 w 3785642"/>
                <a:gd name="connsiteY323" fmla="*/ 2512 h 479077"/>
                <a:gd name="connsiteX324" fmla="*/ 1277471 w 3785642"/>
                <a:gd name="connsiteY324" fmla="*/ 3504 h 479077"/>
                <a:gd name="connsiteX325" fmla="*/ 1293842 w 3785642"/>
                <a:gd name="connsiteY325" fmla="*/ 4000 h 479077"/>
                <a:gd name="connsiteX326" fmla="*/ 1310213 w 3785642"/>
                <a:gd name="connsiteY326" fmla="*/ 1520 h 479077"/>
                <a:gd name="connsiteX327" fmla="*/ 1326583 w 3785642"/>
                <a:gd name="connsiteY327" fmla="*/ 2016 h 479077"/>
                <a:gd name="connsiteX328" fmla="*/ 1342954 w 3785642"/>
                <a:gd name="connsiteY328" fmla="*/ 3008 h 479077"/>
                <a:gd name="connsiteX329" fmla="*/ 1359324 w 3785642"/>
                <a:gd name="connsiteY329" fmla="*/ 3008 h 479077"/>
                <a:gd name="connsiteX330" fmla="*/ 1375695 w 3785642"/>
                <a:gd name="connsiteY330" fmla="*/ 2512 h 479077"/>
                <a:gd name="connsiteX331" fmla="*/ 1392066 w 3785642"/>
                <a:gd name="connsiteY331" fmla="*/ 2512 h 479077"/>
                <a:gd name="connsiteX332" fmla="*/ 1408436 w 3785642"/>
                <a:gd name="connsiteY332" fmla="*/ 3504 h 479077"/>
                <a:gd name="connsiteX333" fmla="*/ 1424807 w 3785642"/>
                <a:gd name="connsiteY333" fmla="*/ 3504 h 479077"/>
                <a:gd name="connsiteX334" fmla="*/ 1441177 w 3785642"/>
                <a:gd name="connsiteY334" fmla="*/ 1520 h 479077"/>
                <a:gd name="connsiteX335" fmla="*/ 1457548 w 3785642"/>
                <a:gd name="connsiteY335" fmla="*/ 2512 h 479077"/>
                <a:gd name="connsiteX336" fmla="*/ 1473919 w 3785642"/>
                <a:gd name="connsiteY336" fmla="*/ 2016 h 479077"/>
                <a:gd name="connsiteX337" fmla="*/ 1490289 w 3785642"/>
                <a:gd name="connsiteY337" fmla="*/ 2016 h 479077"/>
                <a:gd name="connsiteX338" fmla="*/ 1506660 w 3785642"/>
                <a:gd name="connsiteY338" fmla="*/ 1520 h 479077"/>
                <a:gd name="connsiteX339" fmla="*/ 1523030 w 3785642"/>
                <a:gd name="connsiteY339" fmla="*/ 3504 h 479077"/>
                <a:gd name="connsiteX340" fmla="*/ 1539401 w 3785642"/>
                <a:gd name="connsiteY340" fmla="*/ 3008 h 479077"/>
                <a:gd name="connsiteX341" fmla="*/ 1555771 w 3785642"/>
                <a:gd name="connsiteY341" fmla="*/ 3008 h 479077"/>
                <a:gd name="connsiteX342" fmla="*/ 1572142 w 3785642"/>
                <a:gd name="connsiteY342" fmla="*/ 2512 h 479077"/>
                <a:gd name="connsiteX343" fmla="*/ 1588512 w 3785642"/>
                <a:gd name="connsiteY343" fmla="*/ 2016 h 479077"/>
                <a:gd name="connsiteX344" fmla="*/ 1604883 w 3785642"/>
                <a:gd name="connsiteY344" fmla="*/ 3008 h 479077"/>
                <a:gd name="connsiteX345" fmla="*/ 1621253 w 3785642"/>
                <a:gd name="connsiteY345" fmla="*/ 3008 h 479077"/>
                <a:gd name="connsiteX346" fmla="*/ 1637624 w 3785642"/>
                <a:gd name="connsiteY34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313375 w 3785642"/>
                <a:gd name="connsiteY19" fmla="*/ 10945 h 479077"/>
                <a:gd name="connsiteX20" fmla="*/ 3300973 w 3785642"/>
                <a:gd name="connsiteY20" fmla="*/ 21363 h 479077"/>
                <a:gd name="connsiteX21" fmla="*/ 3289068 w 3785642"/>
                <a:gd name="connsiteY21" fmla="*/ 32276 h 479077"/>
                <a:gd name="connsiteX22" fmla="*/ 3277658 w 3785642"/>
                <a:gd name="connsiteY22" fmla="*/ 43686 h 479077"/>
                <a:gd name="connsiteX23" fmla="*/ 3266248 w 3785642"/>
                <a:gd name="connsiteY23" fmla="*/ 55592 h 479077"/>
                <a:gd name="connsiteX24" fmla="*/ 3255830 w 3785642"/>
                <a:gd name="connsiteY24" fmla="*/ 68490 h 479077"/>
                <a:gd name="connsiteX25" fmla="*/ 3243924 w 3785642"/>
                <a:gd name="connsiteY25" fmla="*/ 79900 h 479077"/>
                <a:gd name="connsiteX26" fmla="*/ 3231522 w 3785642"/>
                <a:gd name="connsiteY26" fmla="*/ 90814 h 479077"/>
                <a:gd name="connsiteX27" fmla="*/ 3220609 w 3785642"/>
                <a:gd name="connsiteY27" fmla="*/ 102720 h 479077"/>
                <a:gd name="connsiteX28" fmla="*/ 3208207 w 3785642"/>
                <a:gd name="connsiteY28" fmla="*/ 113137 h 479077"/>
                <a:gd name="connsiteX29" fmla="*/ 3197293 w 3785642"/>
                <a:gd name="connsiteY29" fmla="*/ 125043 h 479077"/>
                <a:gd name="connsiteX30" fmla="*/ 3185387 w 3785642"/>
                <a:gd name="connsiteY30" fmla="*/ 136453 h 479077"/>
                <a:gd name="connsiteX31" fmla="*/ 3174970 w 3785642"/>
                <a:gd name="connsiteY31" fmla="*/ 148855 h 479077"/>
                <a:gd name="connsiteX32" fmla="*/ 3162071 w 3785642"/>
                <a:gd name="connsiteY32" fmla="*/ 159272 h 479077"/>
                <a:gd name="connsiteX33" fmla="*/ 3151158 w 3785642"/>
                <a:gd name="connsiteY33" fmla="*/ 171674 h 479077"/>
                <a:gd name="connsiteX34" fmla="*/ 3139252 w 3785642"/>
                <a:gd name="connsiteY34" fmla="*/ 182588 h 479077"/>
                <a:gd name="connsiteX35" fmla="*/ 3127843 w 3785642"/>
                <a:gd name="connsiteY35" fmla="*/ 194494 h 479077"/>
                <a:gd name="connsiteX36" fmla="*/ 3116432 w 3785642"/>
                <a:gd name="connsiteY36" fmla="*/ 205904 h 479077"/>
                <a:gd name="connsiteX37" fmla="*/ 3105022 w 3785642"/>
                <a:gd name="connsiteY37" fmla="*/ 217810 h 479077"/>
                <a:gd name="connsiteX38" fmla="*/ 3093117 w 3785642"/>
                <a:gd name="connsiteY38" fmla="*/ 229219 h 479077"/>
                <a:gd name="connsiteX39" fmla="*/ 3081707 w 3785642"/>
                <a:gd name="connsiteY39" fmla="*/ 240629 h 479077"/>
                <a:gd name="connsiteX40" fmla="*/ 3069305 w 3785642"/>
                <a:gd name="connsiteY40" fmla="*/ 251543 h 479077"/>
                <a:gd name="connsiteX41" fmla="*/ 3057895 w 3785642"/>
                <a:gd name="connsiteY41" fmla="*/ 263449 h 479077"/>
                <a:gd name="connsiteX42" fmla="*/ 3046486 w 3785642"/>
                <a:gd name="connsiteY42" fmla="*/ 275355 h 479077"/>
                <a:gd name="connsiteX43" fmla="*/ 3035572 w 3785642"/>
                <a:gd name="connsiteY43" fmla="*/ 287260 h 479077"/>
                <a:gd name="connsiteX44" fmla="*/ 3024658 w 3785642"/>
                <a:gd name="connsiteY44" fmla="*/ 299166 h 479077"/>
                <a:gd name="connsiteX45" fmla="*/ 3013248 w 3785642"/>
                <a:gd name="connsiteY45" fmla="*/ 311072 h 479077"/>
                <a:gd name="connsiteX46" fmla="*/ 3000350 w 3785642"/>
                <a:gd name="connsiteY46" fmla="*/ 321490 h 479077"/>
                <a:gd name="connsiteX47" fmla="*/ 2988941 w 3785642"/>
                <a:gd name="connsiteY47" fmla="*/ 333396 h 479077"/>
                <a:gd name="connsiteX48" fmla="*/ 2976539 w 3785642"/>
                <a:gd name="connsiteY48" fmla="*/ 344309 h 479077"/>
                <a:gd name="connsiteX49" fmla="*/ 2965129 w 3785642"/>
                <a:gd name="connsiteY49" fmla="*/ 356215 h 479077"/>
                <a:gd name="connsiteX50" fmla="*/ 2953223 w 3785642"/>
                <a:gd name="connsiteY50" fmla="*/ 367625 h 479077"/>
                <a:gd name="connsiteX51" fmla="*/ 2941813 w 3785642"/>
                <a:gd name="connsiteY51" fmla="*/ 379531 h 479077"/>
                <a:gd name="connsiteX52" fmla="*/ 2931395 w 3785642"/>
                <a:gd name="connsiteY52" fmla="*/ 392429 h 479077"/>
                <a:gd name="connsiteX53" fmla="*/ 2918497 w 3785642"/>
                <a:gd name="connsiteY53" fmla="*/ 402847 h 479077"/>
                <a:gd name="connsiteX54" fmla="*/ 2907584 w 3785642"/>
                <a:gd name="connsiteY54" fmla="*/ 415249 h 479077"/>
                <a:gd name="connsiteX55" fmla="*/ 2896174 w 3785642"/>
                <a:gd name="connsiteY55" fmla="*/ 426658 h 479077"/>
                <a:gd name="connsiteX56" fmla="*/ 2884268 w 3785642"/>
                <a:gd name="connsiteY56" fmla="*/ 438068 h 479077"/>
                <a:gd name="connsiteX57" fmla="*/ 2873354 w 3785642"/>
                <a:gd name="connsiteY57" fmla="*/ 450470 h 479077"/>
                <a:gd name="connsiteX58" fmla="*/ 2860952 w 3785642"/>
                <a:gd name="connsiteY58" fmla="*/ 461384 h 479077"/>
                <a:gd name="connsiteX59" fmla="*/ 2850039 w 3785642"/>
                <a:gd name="connsiteY59" fmla="*/ 473786 h 479077"/>
                <a:gd name="connsiteX60" fmla="*/ 2833668 w 3785642"/>
                <a:gd name="connsiteY60" fmla="*/ 473786 h 479077"/>
                <a:gd name="connsiteX61" fmla="*/ 2817297 w 3785642"/>
                <a:gd name="connsiteY61" fmla="*/ 473290 h 479077"/>
                <a:gd name="connsiteX62" fmla="*/ 2800927 w 3785642"/>
                <a:gd name="connsiteY62" fmla="*/ 473290 h 479077"/>
                <a:gd name="connsiteX63" fmla="*/ 2784556 w 3785642"/>
                <a:gd name="connsiteY63" fmla="*/ 473786 h 479077"/>
                <a:gd name="connsiteX64" fmla="*/ 2768186 w 3785642"/>
                <a:gd name="connsiteY64" fmla="*/ 474282 h 479077"/>
                <a:gd name="connsiteX65" fmla="*/ 2751815 w 3785642"/>
                <a:gd name="connsiteY65" fmla="*/ 474282 h 479077"/>
                <a:gd name="connsiteX66" fmla="*/ 2735444 w 3785642"/>
                <a:gd name="connsiteY66" fmla="*/ 473290 h 479077"/>
                <a:gd name="connsiteX67" fmla="*/ 2719074 w 3785642"/>
                <a:gd name="connsiteY67" fmla="*/ 474282 h 479077"/>
                <a:gd name="connsiteX68" fmla="*/ 2702703 w 3785642"/>
                <a:gd name="connsiteY68" fmla="*/ 472298 h 479077"/>
                <a:gd name="connsiteX69" fmla="*/ 2686333 w 3785642"/>
                <a:gd name="connsiteY69" fmla="*/ 472794 h 479077"/>
                <a:gd name="connsiteX70" fmla="*/ 2669962 w 3785642"/>
                <a:gd name="connsiteY70" fmla="*/ 474282 h 479077"/>
                <a:gd name="connsiteX71" fmla="*/ 2653592 w 3785642"/>
                <a:gd name="connsiteY71" fmla="*/ 472298 h 479077"/>
                <a:gd name="connsiteX72" fmla="*/ 2637221 w 3785642"/>
                <a:gd name="connsiteY72" fmla="*/ 474282 h 479077"/>
                <a:gd name="connsiteX73" fmla="*/ 2620851 w 3785642"/>
                <a:gd name="connsiteY73" fmla="*/ 474282 h 479077"/>
                <a:gd name="connsiteX74" fmla="*/ 2604480 w 3785642"/>
                <a:gd name="connsiteY74" fmla="*/ 472298 h 479077"/>
                <a:gd name="connsiteX75" fmla="*/ 2588109 w 3785642"/>
                <a:gd name="connsiteY75" fmla="*/ 473786 h 479077"/>
                <a:gd name="connsiteX76" fmla="*/ 2571739 w 3785642"/>
                <a:gd name="connsiteY76" fmla="*/ 472298 h 479077"/>
                <a:gd name="connsiteX77" fmla="*/ 2555368 w 3785642"/>
                <a:gd name="connsiteY77" fmla="*/ 473290 h 479077"/>
                <a:gd name="connsiteX78" fmla="*/ 2538998 w 3785642"/>
                <a:gd name="connsiteY78" fmla="*/ 474282 h 479077"/>
                <a:gd name="connsiteX79" fmla="*/ 2522627 w 3785642"/>
                <a:gd name="connsiteY79" fmla="*/ 473290 h 479077"/>
                <a:gd name="connsiteX80" fmla="*/ 2506257 w 3785642"/>
                <a:gd name="connsiteY80" fmla="*/ 474282 h 479077"/>
                <a:gd name="connsiteX81" fmla="*/ 2489886 w 3785642"/>
                <a:gd name="connsiteY81" fmla="*/ 473786 h 479077"/>
                <a:gd name="connsiteX82" fmla="*/ 2473516 w 3785642"/>
                <a:gd name="connsiteY82" fmla="*/ 474282 h 479077"/>
                <a:gd name="connsiteX83" fmla="*/ 2457145 w 3785642"/>
                <a:gd name="connsiteY83" fmla="*/ 472794 h 479077"/>
                <a:gd name="connsiteX84" fmla="*/ 2440775 w 3785642"/>
                <a:gd name="connsiteY84" fmla="*/ 472298 h 479077"/>
                <a:gd name="connsiteX85" fmla="*/ 2424404 w 3785642"/>
                <a:gd name="connsiteY85" fmla="*/ 473786 h 479077"/>
                <a:gd name="connsiteX86" fmla="*/ 2408033 w 3785642"/>
                <a:gd name="connsiteY86" fmla="*/ 472794 h 479077"/>
                <a:gd name="connsiteX87" fmla="*/ 2391663 w 3785642"/>
                <a:gd name="connsiteY87" fmla="*/ 473290 h 479077"/>
                <a:gd name="connsiteX88" fmla="*/ 2375292 w 3785642"/>
                <a:gd name="connsiteY88" fmla="*/ 473290 h 479077"/>
                <a:gd name="connsiteX89" fmla="*/ 2358922 w 3785642"/>
                <a:gd name="connsiteY89" fmla="*/ 472794 h 479077"/>
                <a:gd name="connsiteX90" fmla="*/ 2342551 w 3785642"/>
                <a:gd name="connsiteY90" fmla="*/ 472298 h 479077"/>
                <a:gd name="connsiteX91" fmla="*/ 2326180 w 3785642"/>
                <a:gd name="connsiteY91" fmla="*/ 473786 h 479077"/>
                <a:gd name="connsiteX92" fmla="*/ 2309810 w 3785642"/>
                <a:gd name="connsiteY92" fmla="*/ 473786 h 479077"/>
                <a:gd name="connsiteX93" fmla="*/ 2293439 w 3785642"/>
                <a:gd name="connsiteY93" fmla="*/ 473786 h 479077"/>
                <a:gd name="connsiteX94" fmla="*/ 2277069 w 3785642"/>
                <a:gd name="connsiteY94" fmla="*/ 472794 h 479077"/>
                <a:gd name="connsiteX95" fmla="*/ 2260698 w 3785642"/>
                <a:gd name="connsiteY95" fmla="*/ 474282 h 479077"/>
                <a:gd name="connsiteX96" fmla="*/ 2244327 w 3785642"/>
                <a:gd name="connsiteY96" fmla="*/ 472298 h 479077"/>
                <a:gd name="connsiteX97" fmla="*/ 2227957 w 3785642"/>
                <a:gd name="connsiteY97" fmla="*/ 474282 h 479077"/>
                <a:gd name="connsiteX98" fmla="*/ 2211586 w 3785642"/>
                <a:gd name="connsiteY98" fmla="*/ 473290 h 479077"/>
                <a:gd name="connsiteX99" fmla="*/ 2195216 w 3785642"/>
                <a:gd name="connsiteY99" fmla="*/ 474282 h 479077"/>
                <a:gd name="connsiteX100" fmla="*/ 2178845 w 3785642"/>
                <a:gd name="connsiteY100" fmla="*/ 472794 h 479077"/>
                <a:gd name="connsiteX101" fmla="*/ 2162474 w 3785642"/>
                <a:gd name="connsiteY101" fmla="*/ 474778 h 479077"/>
                <a:gd name="connsiteX102" fmla="*/ 2146104 w 3785642"/>
                <a:gd name="connsiteY102" fmla="*/ 473290 h 479077"/>
                <a:gd name="connsiteX103" fmla="*/ 2129733 w 3785642"/>
                <a:gd name="connsiteY103" fmla="*/ 474778 h 479077"/>
                <a:gd name="connsiteX104" fmla="*/ 2113363 w 3785642"/>
                <a:gd name="connsiteY104" fmla="*/ 474778 h 479077"/>
                <a:gd name="connsiteX105" fmla="*/ 2096992 w 3785642"/>
                <a:gd name="connsiteY105" fmla="*/ 474778 h 479077"/>
                <a:gd name="connsiteX106" fmla="*/ 2080621 w 3785642"/>
                <a:gd name="connsiteY106" fmla="*/ 474282 h 479077"/>
                <a:gd name="connsiteX107" fmla="*/ 2064251 w 3785642"/>
                <a:gd name="connsiteY107" fmla="*/ 472794 h 479077"/>
                <a:gd name="connsiteX108" fmla="*/ 2047880 w 3785642"/>
                <a:gd name="connsiteY108" fmla="*/ 474778 h 479077"/>
                <a:gd name="connsiteX109" fmla="*/ 2031510 w 3785642"/>
                <a:gd name="connsiteY109" fmla="*/ 474778 h 479077"/>
                <a:gd name="connsiteX110" fmla="*/ 2015139 w 3785642"/>
                <a:gd name="connsiteY110" fmla="*/ 474778 h 479077"/>
                <a:gd name="connsiteX111" fmla="*/ 1998769 w 3785642"/>
                <a:gd name="connsiteY111" fmla="*/ 474282 h 479077"/>
                <a:gd name="connsiteX112" fmla="*/ 1982398 w 3785642"/>
                <a:gd name="connsiteY112" fmla="*/ 473786 h 479077"/>
                <a:gd name="connsiteX113" fmla="*/ 1966028 w 3785642"/>
                <a:gd name="connsiteY113" fmla="*/ 473786 h 479077"/>
                <a:gd name="connsiteX114" fmla="*/ 1949657 w 3785642"/>
                <a:gd name="connsiteY114" fmla="*/ 472794 h 479077"/>
                <a:gd name="connsiteX115" fmla="*/ 1933287 w 3785642"/>
                <a:gd name="connsiteY115" fmla="*/ 473290 h 479077"/>
                <a:gd name="connsiteX116" fmla="*/ 1916916 w 3785642"/>
                <a:gd name="connsiteY116" fmla="*/ 474778 h 479077"/>
                <a:gd name="connsiteX117" fmla="*/ 1900546 w 3785642"/>
                <a:gd name="connsiteY117" fmla="*/ 472794 h 479077"/>
                <a:gd name="connsiteX118" fmla="*/ 1884175 w 3785642"/>
                <a:gd name="connsiteY118" fmla="*/ 473786 h 479077"/>
                <a:gd name="connsiteX119" fmla="*/ 1867804 w 3785642"/>
                <a:gd name="connsiteY119" fmla="*/ 474778 h 479077"/>
                <a:gd name="connsiteX120" fmla="*/ 1851434 w 3785642"/>
                <a:gd name="connsiteY120" fmla="*/ 474778 h 479077"/>
                <a:gd name="connsiteX121" fmla="*/ 1835063 w 3785642"/>
                <a:gd name="connsiteY121" fmla="*/ 474778 h 479077"/>
                <a:gd name="connsiteX122" fmla="*/ 1818693 w 3785642"/>
                <a:gd name="connsiteY122" fmla="*/ 474282 h 479077"/>
                <a:gd name="connsiteX123" fmla="*/ 1802322 w 3785642"/>
                <a:gd name="connsiteY123" fmla="*/ 472794 h 479077"/>
                <a:gd name="connsiteX124" fmla="*/ 1785951 w 3785642"/>
                <a:gd name="connsiteY124" fmla="*/ 473786 h 479077"/>
                <a:gd name="connsiteX125" fmla="*/ 1769581 w 3785642"/>
                <a:gd name="connsiteY125" fmla="*/ 473290 h 479077"/>
                <a:gd name="connsiteX126" fmla="*/ 1753210 w 3785642"/>
                <a:gd name="connsiteY126" fmla="*/ 472298 h 479077"/>
                <a:gd name="connsiteX127" fmla="*/ 1736840 w 3785642"/>
                <a:gd name="connsiteY127" fmla="*/ 473290 h 479077"/>
                <a:gd name="connsiteX128" fmla="*/ 1720469 w 3785642"/>
                <a:gd name="connsiteY128" fmla="*/ 474778 h 479077"/>
                <a:gd name="connsiteX129" fmla="*/ 1704098 w 3785642"/>
                <a:gd name="connsiteY129" fmla="*/ 472794 h 479077"/>
                <a:gd name="connsiteX130" fmla="*/ 1687728 w 3785642"/>
                <a:gd name="connsiteY130" fmla="*/ 474778 h 479077"/>
                <a:gd name="connsiteX131" fmla="*/ 1671357 w 3785642"/>
                <a:gd name="connsiteY131" fmla="*/ 474778 h 479077"/>
                <a:gd name="connsiteX132" fmla="*/ 1654987 w 3785642"/>
                <a:gd name="connsiteY132" fmla="*/ 472298 h 479077"/>
                <a:gd name="connsiteX133" fmla="*/ 1638616 w 3785642"/>
                <a:gd name="connsiteY133" fmla="*/ 472794 h 479077"/>
                <a:gd name="connsiteX134" fmla="*/ 1622246 w 3785642"/>
                <a:gd name="connsiteY134" fmla="*/ 473786 h 479077"/>
                <a:gd name="connsiteX135" fmla="*/ 1605875 w 3785642"/>
                <a:gd name="connsiteY135" fmla="*/ 474778 h 479077"/>
                <a:gd name="connsiteX136" fmla="*/ 1589505 w 3785642"/>
                <a:gd name="connsiteY136" fmla="*/ 473290 h 479077"/>
                <a:gd name="connsiteX137" fmla="*/ 1573134 w 3785642"/>
                <a:gd name="connsiteY137" fmla="*/ 474778 h 479077"/>
                <a:gd name="connsiteX138" fmla="*/ 1556763 w 3785642"/>
                <a:gd name="connsiteY138" fmla="*/ 472794 h 479077"/>
                <a:gd name="connsiteX139" fmla="*/ 1540393 w 3785642"/>
                <a:gd name="connsiteY139" fmla="*/ 472794 h 479077"/>
                <a:gd name="connsiteX140" fmla="*/ 1524022 w 3785642"/>
                <a:gd name="connsiteY140" fmla="*/ 474282 h 479077"/>
                <a:gd name="connsiteX141" fmla="*/ 1507652 w 3785642"/>
                <a:gd name="connsiteY141" fmla="*/ 472794 h 479077"/>
                <a:gd name="connsiteX142" fmla="*/ 1491281 w 3785642"/>
                <a:gd name="connsiteY142" fmla="*/ 474282 h 479077"/>
                <a:gd name="connsiteX143" fmla="*/ 1474910 w 3785642"/>
                <a:gd name="connsiteY143" fmla="*/ 474282 h 479077"/>
                <a:gd name="connsiteX144" fmla="*/ 1458540 w 3785642"/>
                <a:gd name="connsiteY144" fmla="*/ 472794 h 479077"/>
                <a:gd name="connsiteX145" fmla="*/ 1442169 w 3785642"/>
                <a:gd name="connsiteY145" fmla="*/ 471802 h 479077"/>
                <a:gd name="connsiteX146" fmla="*/ 1425799 w 3785642"/>
                <a:gd name="connsiteY146" fmla="*/ 472298 h 479077"/>
                <a:gd name="connsiteX147" fmla="*/ 1409428 w 3785642"/>
                <a:gd name="connsiteY147" fmla="*/ 472794 h 479077"/>
                <a:gd name="connsiteX148" fmla="*/ 1393058 w 3785642"/>
                <a:gd name="connsiteY148" fmla="*/ 473786 h 479077"/>
                <a:gd name="connsiteX149" fmla="*/ 1376687 w 3785642"/>
                <a:gd name="connsiteY149" fmla="*/ 471802 h 479077"/>
                <a:gd name="connsiteX150" fmla="*/ 1360317 w 3785642"/>
                <a:gd name="connsiteY150" fmla="*/ 473786 h 479077"/>
                <a:gd name="connsiteX151" fmla="*/ 1343946 w 3785642"/>
                <a:gd name="connsiteY151" fmla="*/ 473786 h 479077"/>
                <a:gd name="connsiteX152" fmla="*/ 1327576 w 3785642"/>
                <a:gd name="connsiteY152" fmla="*/ 472794 h 479077"/>
                <a:gd name="connsiteX153" fmla="*/ 1311205 w 3785642"/>
                <a:gd name="connsiteY153" fmla="*/ 473786 h 479077"/>
                <a:gd name="connsiteX154" fmla="*/ 1294834 w 3785642"/>
                <a:gd name="connsiteY154" fmla="*/ 473786 h 479077"/>
                <a:gd name="connsiteX155" fmla="*/ 1278464 w 3785642"/>
                <a:gd name="connsiteY155" fmla="*/ 473786 h 479077"/>
                <a:gd name="connsiteX156" fmla="*/ 1262093 w 3785642"/>
                <a:gd name="connsiteY156" fmla="*/ 473786 h 479077"/>
                <a:gd name="connsiteX157" fmla="*/ 1245723 w 3785642"/>
                <a:gd name="connsiteY157" fmla="*/ 473290 h 479077"/>
                <a:gd name="connsiteX158" fmla="*/ 1229352 w 3785642"/>
                <a:gd name="connsiteY158" fmla="*/ 472794 h 479077"/>
                <a:gd name="connsiteX159" fmla="*/ 1212981 w 3785642"/>
                <a:gd name="connsiteY159" fmla="*/ 473786 h 479077"/>
                <a:gd name="connsiteX160" fmla="*/ 1196611 w 3785642"/>
                <a:gd name="connsiteY160" fmla="*/ 472298 h 479077"/>
                <a:gd name="connsiteX161" fmla="*/ 1180240 w 3785642"/>
                <a:gd name="connsiteY161" fmla="*/ 472794 h 479077"/>
                <a:gd name="connsiteX162" fmla="*/ 1163870 w 3785642"/>
                <a:gd name="connsiteY162" fmla="*/ 472794 h 479077"/>
                <a:gd name="connsiteX163" fmla="*/ 1147499 w 3785642"/>
                <a:gd name="connsiteY163" fmla="*/ 473786 h 479077"/>
                <a:gd name="connsiteX164" fmla="*/ 1131128 w 3785642"/>
                <a:gd name="connsiteY164" fmla="*/ 473786 h 479077"/>
                <a:gd name="connsiteX165" fmla="*/ 1114758 w 3785642"/>
                <a:gd name="connsiteY165" fmla="*/ 472794 h 479077"/>
                <a:gd name="connsiteX166" fmla="*/ 1098387 w 3785642"/>
                <a:gd name="connsiteY166" fmla="*/ 473786 h 479077"/>
                <a:gd name="connsiteX167" fmla="*/ 1082017 w 3785642"/>
                <a:gd name="connsiteY167" fmla="*/ 474778 h 479077"/>
                <a:gd name="connsiteX168" fmla="*/ 1065646 w 3785642"/>
                <a:gd name="connsiteY168" fmla="*/ 474778 h 479077"/>
                <a:gd name="connsiteX169" fmla="*/ 1049276 w 3785642"/>
                <a:gd name="connsiteY169" fmla="*/ 474282 h 479077"/>
                <a:gd name="connsiteX170" fmla="*/ 1032905 w 3785642"/>
                <a:gd name="connsiteY170" fmla="*/ 473290 h 479077"/>
                <a:gd name="connsiteX171" fmla="*/ 1016535 w 3785642"/>
                <a:gd name="connsiteY171" fmla="*/ 474282 h 479077"/>
                <a:gd name="connsiteX172" fmla="*/ 1000164 w 3785642"/>
                <a:gd name="connsiteY172" fmla="*/ 474282 h 479077"/>
                <a:gd name="connsiteX173" fmla="*/ 983793 w 3785642"/>
                <a:gd name="connsiteY173" fmla="*/ 472794 h 479077"/>
                <a:gd name="connsiteX174" fmla="*/ 967423 w 3785642"/>
                <a:gd name="connsiteY174" fmla="*/ 472794 h 479077"/>
                <a:gd name="connsiteX175" fmla="*/ 951052 w 3785642"/>
                <a:gd name="connsiteY175" fmla="*/ 473786 h 479077"/>
                <a:gd name="connsiteX176" fmla="*/ 934682 w 3785642"/>
                <a:gd name="connsiteY176" fmla="*/ 474282 h 479077"/>
                <a:gd name="connsiteX177" fmla="*/ 918311 w 3785642"/>
                <a:gd name="connsiteY177" fmla="*/ 474778 h 479077"/>
                <a:gd name="connsiteX178" fmla="*/ 901940 w 3785642"/>
                <a:gd name="connsiteY178" fmla="*/ 473290 h 479077"/>
                <a:gd name="connsiteX179" fmla="*/ 885570 w 3785642"/>
                <a:gd name="connsiteY179" fmla="*/ 474778 h 479077"/>
                <a:gd name="connsiteX180" fmla="*/ 869199 w 3785642"/>
                <a:gd name="connsiteY180" fmla="*/ 474282 h 479077"/>
                <a:gd name="connsiteX181" fmla="*/ 852829 w 3785642"/>
                <a:gd name="connsiteY181" fmla="*/ 473786 h 479077"/>
                <a:gd name="connsiteX182" fmla="*/ 836458 w 3785642"/>
                <a:gd name="connsiteY182" fmla="*/ 474778 h 479077"/>
                <a:gd name="connsiteX183" fmla="*/ 820088 w 3785642"/>
                <a:gd name="connsiteY183" fmla="*/ 475274 h 479077"/>
                <a:gd name="connsiteX184" fmla="*/ 803717 w 3785642"/>
                <a:gd name="connsiteY184" fmla="*/ 473786 h 479077"/>
                <a:gd name="connsiteX185" fmla="*/ 787347 w 3785642"/>
                <a:gd name="connsiteY185" fmla="*/ 475770 h 479077"/>
                <a:gd name="connsiteX186" fmla="*/ 770976 w 3785642"/>
                <a:gd name="connsiteY186" fmla="*/ 474778 h 479077"/>
                <a:gd name="connsiteX187" fmla="*/ 754605 w 3785642"/>
                <a:gd name="connsiteY187" fmla="*/ 475274 h 479077"/>
                <a:gd name="connsiteX188" fmla="*/ 738235 w 3785642"/>
                <a:gd name="connsiteY188" fmla="*/ 473786 h 479077"/>
                <a:gd name="connsiteX189" fmla="*/ 721864 w 3785642"/>
                <a:gd name="connsiteY189" fmla="*/ 475274 h 479077"/>
                <a:gd name="connsiteX190" fmla="*/ 705494 w 3785642"/>
                <a:gd name="connsiteY190" fmla="*/ 475770 h 479077"/>
                <a:gd name="connsiteX191" fmla="*/ 689123 w 3785642"/>
                <a:gd name="connsiteY191" fmla="*/ 474282 h 479077"/>
                <a:gd name="connsiteX192" fmla="*/ 672753 w 3785642"/>
                <a:gd name="connsiteY192" fmla="*/ 475274 h 479077"/>
                <a:gd name="connsiteX193" fmla="*/ 656382 w 3785642"/>
                <a:gd name="connsiteY193" fmla="*/ 474778 h 479077"/>
                <a:gd name="connsiteX194" fmla="*/ 640011 w 3785642"/>
                <a:gd name="connsiteY194" fmla="*/ 475770 h 479077"/>
                <a:gd name="connsiteX195" fmla="*/ 623641 w 3785642"/>
                <a:gd name="connsiteY195" fmla="*/ 473786 h 479077"/>
                <a:gd name="connsiteX196" fmla="*/ 607270 w 3785642"/>
                <a:gd name="connsiteY196" fmla="*/ 474778 h 479077"/>
                <a:gd name="connsiteX197" fmla="*/ 590900 w 3785642"/>
                <a:gd name="connsiteY197" fmla="*/ 475274 h 479077"/>
                <a:gd name="connsiteX198" fmla="*/ 574529 w 3785642"/>
                <a:gd name="connsiteY198" fmla="*/ 474282 h 479077"/>
                <a:gd name="connsiteX199" fmla="*/ 558158 w 3785642"/>
                <a:gd name="connsiteY199" fmla="*/ 475274 h 479077"/>
                <a:gd name="connsiteX200" fmla="*/ 541788 w 3785642"/>
                <a:gd name="connsiteY200" fmla="*/ 475770 h 479077"/>
                <a:gd name="connsiteX201" fmla="*/ 525417 w 3785642"/>
                <a:gd name="connsiteY201" fmla="*/ 474282 h 479077"/>
                <a:gd name="connsiteX202" fmla="*/ 509047 w 3785642"/>
                <a:gd name="connsiteY202" fmla="*/ 473786 h 479077"/>
                <a:gd name="connsiteX203" fmla="*/ 492676 w 3785642"/>
                <a:gd name="connsiteY203" fmla="*/ 473786 h 479077"/>
                <a:gd name="connsiteX204" fmla="*/ 476306 w 3785642"/>
                <a:gd name="connsiteY204" fmla="*/ 474778 h 479077"/>
                <a:gd name="connsiteX205" fmla="*/ 459935 w 3785642"/>
                <a:gd name="connsiteY205" fmla="*/ 473786 h 479077"/>
                <a:gd name="connsiteX206" fmla="*/ 443565 w 3785642"/>
                <a:gd name="connsiteY206" fmla="*/ 474778 h 479077"/>
                <a:gd name="connsiteX207" fmla="*/ 427194 w 3785642"/>
                <a:gd name="connsiteY207" fmla="*/ 474282 h 479077"/>
                <a:gd name="connsiteX208" fmla="*/ 410823 w 3785642"/>
                <a:gd name="connsiteY208" fmla="*/ 473290 h 479077"/>
                <a:gd name="connsiteX209" fmla="*/ 394453 w 3785642"/>
                <a:gd name="connsiteY209" fmla="*/ 475770 h 479077"/>
                <a:gd name="connsiteX210" fmla="*/ 378082 w 3785642"/>
                <a:gd name="connsiteY210" fmla="*/ 475274 h 479077"/>
                <a:gd name="connsiteX211" fmla="*/ 361712 w 3785642"/>
                <a:gd name="connsiteY211" fmla="*/ 474778 h 479077"/>
                <a:gd name="connsiteX212" fmla="*/ 345341 w 3785642"/>
                <a:gd name="connsiteY212" fmla="*/ 476266 h 479077"/>
                <a:gd name="connsiteX213" fmla="*/ 328970 w 3785642"/>
                <a:gd name="connsiteY213" fmla="*/ 474282 h 479077"/>
                <a:gd name="connsiteX214" fmla="*/ 312600 w 3785642"/>
                <a:gd name="connsiteY214" fmla="*/ 475274 h 479077"/>
                <a:gd name="connsiteX215" fmla="*/ 296229 w 3785642"/>
                <a:gd name="connsiteY215" fmla="*/ 474282 h 479077"/>
                <a:gd name="connsiteX216" fmla="*/ 279859 w 3785642"/>
                <a:gd name="connsiteY216" fmla="*/ 475770 h 479077"/>
                <a:gd name="connsiteX217" fmla="*/ 263488 w 3785642"/>
                <a:gd name="connsiteY217" fmla="*/ 476266 h 479077"/>
                <a:gd name="connsiteX218" fmla="*/ 247118 w 3785642"/>
                <a:gd name="connsiteY218" fmla="*/ 476266 h 479077"/>
                <a:gd name="connsiteX219" fmla="*/ 230747 w 3785642"/>
                <a:gd name="connsiteY219" fmla="*/ 474778 h 479077"/>
                <a:gd name="connsiteX220" fmla="*/ 214376 w 3785642"/>
                <a:gd name="connsiteY220" fmla="*/ 474778 h 479077"/>
                <a:gd name="connsiteX221" fmla="*/ 198006 w 3785642"/>
                <a:gd name="connsiteY221" fmla="*/ 476762 h 479077"/>
                <a:gd name="connsiteX222" fmla="*/ 181635 w 3785642"/>
                <a:gd name="connsiteY222" fmla="*/ 476266 h 479077"/>
                <a:gd name="connsiteX223" fmla="*/ 165265 w 3785642"/>
                <a:gd name="connsiteY223" fmla="*/ 474778 h 479077"/>
                <a:gd name="connsiteX224" fmla="*/ 148894 w 3785642"/>
                <a:gd name="connsiteY224" fmla="*/ 476762 h 479077"/>
                <a:gd name="connsiteX225" fmla="*/ 132524 w 3785642"/>
                <a:gd name="connsiteY225" fmla="*/ 476266 h 479077"/>
                <a:gd name="connsiteX226" fmla="*/ 116153 w 3785642"/>
                <a:gd name="connsiteY226" fmla="*/ 475274 h 479077"/>
                <a:gd name="connsiteX227" fmla="*/ 99783 w 3785642"/>
                <a:gd name="connsiteY227" fmla="*/ 475274 h 479077"/>
                <a:gd name="connsiteX228" fmla="*/ 83412 w 3785642"/>
                <a:gd name="connsiteY228" fmla="*/ 475274 h 479077"/>
                <a:gd name="connsiteX229" fmla="*/ 67041 w 3785642"/>
                <a:gd name="connsiteY229" fmla="*/ 474778 h 479077"/>
                <a:gd name="connsiteX230" fmla="*/ 50671 w 3785642"/>
                <a:gd name="connsiteY230" fmla="*/ 475274 h 479077"/>
                <a:gd name="connsiteX231" fmla="*/ 34300 w 3785642"/>
                <a:gd name="connsiteY231" fmla="*/ 475274 h 479077"/>
                <a:gd name="connsiteX232" fmla="*/ 17930 w 3785642"/>
                <a:gd name="connsiteY232" fmla="*/ 475770 h 479077"/>
                <a:gd name="connsiteX233" fmla="*/ 567 w 3785642"/>
                <a:gd name="connsiteY233" fmla="*/ 475770 h 479077"/>
                <a:gd name="connsiteX234" fmla="*/ 12969 w 3785642"/>
                <a:gd name="connsiteY234" fmla="*/ 463368 h 479077"/>
                <a:gd name="connsiteX235" fmla="*/ 24379 w 3785642"/>
                <a:gd name="connsiteY235" fmla="*/ 451958 h 479077"/>
                <a:gd name="connsiteX236" fmla="*/ 35788 w 3785642"/>
                <a:gd name="connsiteY236" fmla="*/ 440053 h 479077"/>
                <a:gd name="connsiteX237" fmla="*/ 48686 w 3785642"/>
                <a:gd name="connsiteY237" fmla="*/ 430131 h 479077"/>
                <a:gd name="connsiteX238" fmla="*/ 59600 w 3785642"/>
                <a:gd name="connsiteY238" fmla="*/ 418225 h 479077"/>
                <a:gd name="connsiteX239" fmla="*/ 70514 w 3785642"/>
                <a:gd name="connsiteY239" fmla="*/ 405823 h 479077"/>
                <a:gd name="connsiteX240" fmla="*/ 83412 w 3785642"/>
                <a:gd name="connsiteY240" fmla="*/ 395406 h 479077"/>
                <a:gd name="connsiteX241" fmla="*/ 94822 w 3785642"/>
                <a:gd name="connsiteY241" fmla="*/ 383500 h 479077"/>
                <a:gd name="connsiteX242" fmla="*/ 106728 w 3785642"/>
                <a:gd name="connsiteY242" fmla="*/ 372090 h 479077"/>
                <a:gd name="connsiteX243" fmla="*/ 117145 w 3785642"/>
                <a:gd name="connsiteY243" fmla="*/ 359688 h 479077"/>
                <a:gd name="connsiteX244" fmla="*/ 128555 w 3785642"/>
                <a:gd name="connsiteY244" fmla="*/ 348278 h 479077"/>
                <a:gd name="connsiteX245" fmla="*/ 140461 w 3785642"/>
                <a:gd name="connsiteY245" fmla="*/ 336868 h 479077"/>
                <a:gd name="connsiteX246" fmla="*/ 152863 w 3785642"/>
                <a:gd name="connsiteY246" fmla="*/ 326451 h 479077"/>
                <a:gd name="connsiteX247" fmla="*/ 164769 w 3785642"/>
                <a:gd name="connsiteY247" fmla="*/ 315041 h 479077"/>
                <a:gd name="connsiteX248" fmla="*/ 176178 w 3785642"/>
                <a:gd name="connsiteY248" fmla="*/ 303135 h 479077"/>
                <a:gd name="connsiteX249" fmla="*/ 188084 w 3785642"/>
                <a:gd name="connsiteY249" fmla="*/ 291725 h 479077"/>
                <a:gd name="connsiteX250" fmla="*/ 199494 w 3785642"/>
                <a:gd name="connsiteY250" fmla="*/ 280315 h 479077"/>
                <a:gd name="connsiteX251" fmla="*/ 210904 w 3785642"/>
                <a:gd name="connsiteY251" fmla="*/ 268906 h 479077"/>
                <a:gd name="connsiteX252" fmla="*/ 221818 w 3785642"/>
                <a:gd name="connsiteY252" fmla="*/ 256504 h 479077"/>
                <a:gd name="connsiteX253" fmla="*/ 233724 w 3785642"/>
                <a:gd name="connsiteY253" fmla="*/ 245094 h 479077"/>
                <a:gd name="connsiteX254" fmla="*/ 244141 w 3785642"/>
                <a:gd name="connsiteY254" fmla="*/ 232692 h 479077"/>
                <a:gd name="connsiteX255" fmla="*/ 257039 w 3785642"/>
                <a:gd name="connsiteY255" fmla="*/ 222770 h 479077"/>
                <a:gd name="connsiteX256" fmla="*/ 266961 w 3785642"/>
                <a:gd name="connsiteY256" fmla="*/ 209376 h 479077"/>
                <a:gd name="connsiteX257" fmla="*/ 278371 w 3785642"/>
                <a:gd name="connsiteY257" fmla="*/ 197966 h 479077"/>
                <a:gd name="connsiteX258" fmla="*/ 291269 w 3785642"/>
                <a:gd name="connsiteY258" fmla="*/ 188045 h 479077"/>
                <a:gd name="connsiteX259" fmla="*/ 301686 w 3785642"/>
                <a:gd name="connsiteY259" fmla="*/ 175147 h 479077"/>
                <a:gd name="connsiteX260" fmla="*/ 313592 w 3785642"/>
                <a:gd name="connsiteY260" fmla="*/ 163737 h 479077"/>
                <a:gd name="connsiteX261" fmla="*/ 325994 w 3785642"/>
                <a:gd name="connsiteY261" fmla="*/ 153319 h 479077"/>
                <a:gd name="connsiteX262" fmla="*/ 337404 w 3785642"/>
                <a:gd name="connsiteY262" fmla="*/ 141910 h 479077"/>
                <a:gd name="connsiteX263" fmla="*/ 347325 w 3785642"/>
                <a:gd name="connsiteY263" fmla="*/ 129012 h 479077"/>
                <a:gd name="connsiteX264" fmla="*/ 360224 w 3785642"/>
                <a:gd name="connsiteY264" fmla="*/ 118594 h 479077"/>
                <a:gd name="connsiteX265" fmla="*/ 371137 w 3785642"/>
                <a:gd name="connsiteY265" fmla="*/ 106192 h 479077"/>
                <a:gd name="connsiteX266" fmla="*/ 382051 w 3785642"/>
                <a:gd name="connsiteY266" fmla="*/ 93790 h 479077"/>
                <a:gd name="connsiteX267" fmla="*/ 393957 w 3785642"/>
                <a:gd name="connsiteY267" fmla="*/ 82380 h 479077"/>
                <a:gd name="connsiteX268" fmla="*/ 405366 w 3785642"/>
                <a:gd name="connsiteY268" fmla="*/ 70475 h 479077"/>
                <a:gd name="connsiteX269" fmla="*/ 417272 w 3785642"/>
                <a:gd name="connsiteY269" fmla="*/ 59561 h 479077"/>
                <a:gd name="connsiteX270" fmla="*/ 429674 w 3785642"/>
                <a:gd name="connsiteY270" fmla="*/ 48647 h 479077"/>
                <a:gd name="connsiteX271" fmla="*/ 440092 w 3785642"/>
                <a:gd name="connsiteY271" fmla="*/ 35749 h 479077"/>
                <a:gd name="connsiteX272" fmla="*/ 452494 w 3785642"/>
                <a:gd name="connsiteY272" fmla="*/ 24835 h 479077"/>
                <a:gd name="connsiteX273" fmla="*/ 463904 w 3785642"/>
                <a:gd name="connsiteY273" fmla="*/ 12929 h 479077"/>
                <a:gd name="connsiteX274" fmla="*/ 475313 w 3785642"/>
                <a:gd name="connsiteY274" fmla="*/ 1024 h 479077"/>
                <a:gd name="connsiteX275" fmla="*/ 491684 w 3785642"/>
                <a:gd name="connsiteY275" fmla="*/ 2512 h 479077"/>
                <a:gd name="connsiteX276" fmla="*/ 508055 w 3785642"/>
                <a:gd name="connsiteY276" fmla="*/ 2512 h 479077"/>
                <a:gd name="connsiteX277" fmla="*/ 524425 w 3785642"/>
                <a:gd name="connsiteY277" fmla="*/ 2512 h 479077"/>
                <a:gd name="connsiteX278" fmla="*/ 540796 w 3785642"/>
                <a:gd name="connsiteY278" fmla="*/ 1024 h 479077"/>
                <a:gd name="connsiteX279" fmla="*/ 557166 w 3785642"/>
                <a:gd name="connsiteY279" fmla="*/ 2512 h 479077"/>
                <a:gd name="connsiteX280" fmla="*/ 573537 w 3785642"/>
                <a:gd name="connsiteY280" fmla="*/ 1024 h 479077"/>
                <a:gd name="connsiteX281" fmla="*/ 589908 w 3785642"/>
                <a:gd name="connsiteY281" fmla="*/ 527 h 479077"/>
                <a:gd name="connsiteX282" fmla="*/ 606278 w 3785642"/>
                <a:gd name="connsiteY282" fmla="*/ 1520 h 479077"/>
                <a:gd name="connsiteX283" fmla="*/ 622649 w 3785642"/>
                <a:gd name="connsiteY283" fmla="*/ 1520 h 479077"/>
                <a:gd name="connsiteX284" fmla="*/ 639019 w 3785642"/>
                <a:gd name="connsiteY284" fmla="*/ 2016 h 479077"/>
                <a:gd name="connsiteX285" fmla="*/ 655390 w 3785642"/>
                <a:gd name="connsiteY285" fmla="*/ 527 h 479077"/>
                <a:gd name="connsiteX286" fmla="*/ 671760 w 3785642"/>
                <a:gd name="connsiteY286" fmla="*/ 1520 h 479077"/>
                <a:gd name="connsiteX287" fmla="*/ 688131 w 3785642"/>
                <a:gd name="connsiteY287" fmla="*/ 2512 h 479077"/>
                <a:gd name="connsiteX288" fmla="*/ 704501 w 3785642"/>
                <a:gd name="connsiteY288" fmla="*/ 1024 h 479077"/>
                <a:gd name="connsiteX289" fmla="*/ 720872 w 3785642"/>
                <a:gd name="connsiteY289" fmla="*/ 1520 h 479077"/>
                <a:gd name="connsiteX290" fmla="*/ 737243 w 3785642"/>
                <a:gd name="connsiteY290" fmla="*/ 2016 h 479077"/>
                <a:gd name="connsiteX291" fmla="*/ 753613 w 3785642"/>
                <a:gd name="connsiteY291" fmla="*/ 1024 h 479077"/>
                <a:gd name="connsiteX292" fmla="*/ 769984 w 3785642"/>
                <a:gd name="connsiteY292" fmla="*/ 527 h 479077"/>
                <a:gd name="connsiteX293" fmla="*/ 786354 w 3785642"/>
                <a:gd name="connsiteY293" fmla="*/ 1520 h 479077"/>
                <a:gd name="connsiteX294" fmla="*/ 802725 w 3785642"/>
                <a:gd name="connsiteY294" fmla="*/ 527 h 479077"/>
                <a:gd name="connsiteX295" fmla="*/ 819096 w 3785642"/>
                <a:gd name="connsiteY295" fmla="*/ 2512 h 479077"/>
                <a:gd name="connsiteX296" fmla="*/ 835466 w 3785642"/>
                <a:gd name="connsiteY296" fmla="*/ 527 h 479077"/>
                <a:gd name="connsiteX297" fmla="*/ 851837 w 3785642"/>
                <a:gd name="connsiteY297" fmla="*/ 1520 h 479077"/>
                <a:gd name="connsiteX298" fmla="*/ 868207 w 3785642"/>
                <a:gd name="connsiteY298" fmla="*/ 2016 h 479077"/>
                <a:gd name="connsiteX299" fmla="*/ 884578 w 3785642"/>
                <a:gd name="connsiteY299" fmla="*/ 2512 h 479077"/>
                <a:gd name="connsiteX300" fmla="*/ 900948 w 3785642"/>
                <a:gd name="connsiteY300" fmla="*/ 1520 h 479077"/>
                <a:gd name="connsiteX301" fmla="*/ 917319 w 3785642"/>
                <a:gd name="connsiteY301" fmla="*/ 1024 h 479077"/>
                <a:gd name="connsiteX302" fmla="*/ 933689 w 3785642"/>
                <a:gd name="connsiteY302" fmla="*/ 2512 h 479077"/>
                <a:gd name="connsiteX303" fmla="*/ 950060 w 3785642"/>
                <a:gd name="connsiteY303" fmla="*/ 1520 h 479077"/>
                <a:gd name="connsiteX304" fmla="*/ 966431 w 3785642"/>
                <a:gd name="connsiteY304" fmla="*/ 2016 h 479077"/>
                <a:gd name="connsiteX305" fmla="*/ 982801 w 3785642"/>
                <a:gd name="connsiteY305" fmla="*/ 2512 h 479077"/>
                <a:gd name="connsiteX306" fmla="*/ 999172 w 3785642"/>
                <a:gd name="connsiteY306" fmla="*/ 1520 h 479077"/>
                <a:gd name="connsiteX307" fmla="*/ 1015542 w 3785642"/>
                <a:gd name="connsiteY307" fmla="*/ 2512 h 479077"/>
                <a:gd name="connsiteX308" fmla="*/ 1031913 w 3785642"/>
                <a:gd name="connsiteY308" fmla="*/ 1520 h 479077"/>
                <a:gd name="connsiteX309" fmla="*/ 1048283 w 3785642"/>
                <a:gd name="connsiteY309" fmla="*/ 2016 h 479077"/>
                <a:gd name="connsiteX310" fmla="*/ 1064654 w 3785642"/>
                <a:gd name="connsiteY310" fmla="*/ 3504 h 479077"/>
                <a:gd name="connsiteX311" fmla="*/ 1081025 w 3785642"/>
                <a:gd name="connsiteY311" fmla="*/ 2016 h 479077"/>
                <a:gd name="connsiteX312" fmla="*/ 1097395 w 3785642"/>
                <a:gd name="connsiteY312" fmla="*/ 2512 h 479077"/>
                <a:gd name="connsiteX313" fmla="*/ 1113766 w 3785642"/>
                <a:gd name="connsiteY313" fmla="*/ 2512 h 479077"/>
                <a:gd name="connsiteX314" fmla="*/ 1130136 w 3785642"/>
                <a:gd name="connsiteY314" fmla="*/ 3504 h 479077"/>
                <a:gd name="connsiteX315" fmla="*/ 1146507 w 3785642"/>
                <a:gd name="connsiteY315" fmla="*/ 1520 h 479077"/>
                <a:gd name="connsiteX316" fmla="*/ 1162878 w 3785642"/>
                <a:gd name="connsiteY316" fmla="*/ 3008 h 479077"/>
                <a:gd name="connsiteX317" fmla="*/ 1179248 w 3785642"/>
                <a:gd name="connsiteY317" fmla="*/ 4000 h 479077"/>
                <a:gd name="connsiteX318" fmla="*/ 1195619 w 3785642"/>
                <a:gd name="connsiteY318" fmla="*/ 3504 h 479077"/>
                <a:gd name="connsiteX319" fmla="*/ 1211989 w 3785642"/>
                <a:gd name="connsiteY319" fmla="*/ 1520 h 479077"/>
                <a:gd name="connsiteX320" fmla="*/ 1228360 w 3785642"/>
                <a:gd name="connsiteY320" fmla="*/ 3504 h 479077"/>
                <a:gd name="connsiteX321" fmla="*/ 1244730 w 3785642"/>
                <a:gd name="connsiteY321" fmla="*/ 1520 h 479077"/>
                <a:gd name="connsiteX322" fmla="*/ 1261101 w 3785642"/>
                <a:gd name="connsiteY322" fmla="*/ 2512 h 479077"/>
                <a:gd name="connsiteX323" fmla="*/ 1277471 w 3785642"/>
                <a:gd name="connsiteY323" fmla="*/ 3504 h 479077"/>
                <a:gd name="connsiteX324" fmla="*/ 1293842 w 3785642"/>
                <a:gd name="connsiteY324" fmla="*/ 4000 h 479077"/>
                <a:gd name="connsiteX325" fmla="*/ 1310213 w 3785642"/>
                <a:gd name="connsiteY325" fmla="*/ 1520 h 479077"/>
                <a:gd name="connsiteX326" fmla="*/ 1326583 w 3785642"/>
                <a:gd name="connsiteY326" fmla="*/ 2016 h 479077"/>
                <a:gd name="connsiteX327" fmla="*/ 1342954 w 3785642"/>
                <a:gd name="connsiteY327" fmla="*/ 3008 h 479077"/>
                <a:gd name="connsiteX328" fmla="*/ 1359324 w 3785642"/>
                <a:gd name="connsiteY328" fmla="*/ 3008 h 479077"/>
                <a:gd name="connsiteX329" fmla="*/ 1375695 w 3785642"/>
                <a:gd name="connsiteY329" fmla="*/ 2512 h 479077"/>
                <a:gd name="connsiteX330" fmla="*/ 1392066 w 3785642"/>
                <a:gd name="connsiteY330" fmla="*/ 2512 h 479077"/>
                <a:gd name="connsiteX331" fmla="*/ 1408436 w 3785642"/>
                <a:gd name="connsiteY331" fmla="*/ 3504 h 479077"/>
                <a:gd name="connsiteX332" fmla="*/ 1424807 w 3785642"/>
                <a:gd name="connsiteY332" fmla="*/ 3504 h 479077"/>
                <a:gd name="connsiteX333" fmla="*/ 1441177 w 3785642"/>
                <a:gd name="connsiteY333" fmla="*/ 1520 h 479077"/>
                <a:gd name="connsiteX334" fmla="*/ 1457548 w 3785642"/>
                <a:gd name="connsiteY334" fmla="*/ 2512 h 479077"/>
                <a:gd name="connsiteX335" fmla="*/ 1473919 w 3785642"/>
                <a:gd name="connsiteY335" fmla="*/ 2016 h 479077"/>
                <a:gd name="connsiteX336" fmla="*/ 1490289 w 3785642"/>
                <a:gd name="connsiteY336" fmla="*/ 2016 h 479077"/>
                <a:gd name="connsiteX337" fmla="*/ 1506660 w 3785642"/>
                <a:gd name="connsiteY337" fmla="*/ 1520 h 479077"/>
                <a:gd name="connsiteX338" fmla="*/ 1523030 w 3785642"/>
                <a:gd name="connsiteY338" fmla="*/ 3504 h 479077"/>
                <a:gd name="connsiteX339" fmla="*/ 1539401 w 3785642"/>
                <a:gd name="connsiteY339" fmla="*/ 3008 h 479077"/>
                <a:gd name="connsiteX340" fmla="*/ 1555771 w 3785642"/>
                <a:gd name="connsiteY340" fmla="*/ 3008 h 479077"/>
                <a:gd name="connsiteX341" fmla="*/ 1572142 w 3785642"/>
                <a:gd name="connsiteY341" fmla="*/ 2512 h 479077"/>
                <a:gd name="connsiteX342" fmla="*/ 1588512 w 3785642"/>
                <a:gd name="connsiteY342" fmla="*/ 2016 h 479077"/>
                <a:gd name="connsiteX343" fmla="*/ 1604883 w 3785642"/>
                <a:gd name="connsiteY343" fmla="*/ 3008 h 479077"/>
                <a:gd name="connsiteX344" fmla="*/ 1621253 w 3785642"/>
                <a:gd name="connsiteY344" fmla="*/ 3008 h 479077"/>
                <a:gd name="connsiteX345" fmla="*/ 1637624 w 3785642"/>
                <a:gd name="connsiteY34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578281 w 3785642"/>
                <a:gd name="connsiteY17" fmla="*/ 253527 h 479077"/>
                <a:gd name="connsiteX18" fmla="*/ 3313375 w 3785642"/>
                <a:gd name="connsiteY18" fmla="*/ 10945 h 479077"/>
                <a:gd name="connsiteX19" fmla="*/ 3300973 w 3785642"/>
                <a:gd name="connsiteY19" fmla="*/ 21363 h 479077"/>
                <a:gd name="connsiteX20" fmla="*/ 3289068 w 3785642"/>
                <a:gd name="connsiteY20" fmla="*/ 32276 h 479077"/>
                <a:gd name="connsiteX21" fmla="*/ 3277658 w 3785642"/>
                <a:gd name="connsiteY21" fmla="*/ 43686 h 479077"/>
                <a:gd name="connsiteX22" fmla="*/ 3266248 w 3785642"/>
                <a:gd name="connsiteY22" fmla="*/ 55592 h 479077"/>
                <a:gd name="connsiteX23" fmla="*/ 3255830 w 3785642"/>
                <a:gd name="connsiteY23" fmla="*/ 68490 h 479077"/>
                <a:gd name="connsiteX24" fmla="*/ 3243924 w 3785642"/>
                <a:gd name="connsiteY24" fmla="*/ 79900 h 479077"/>
                <a:gd name="connsiteX25" fmla="*/ 3231522 w 3785642"/>
                <a:gd name="connsiteY25" fmla="*/ 90814 h 479077"/>
                <a:gd name="connsiteX26" fmla="*/ 3220609 w 3785642"/>
                <a:gd name="connsiteY26" fmla="*/ 102720 h 479077"/>
                <a:gd name="connsiteX27" fmla="*/ 3208207 w 3785642"/>
                <a:gd name="connsiteY27" fmla="*/ 113137 h 479077"/>
                <a:gd name="connsiteX28" fmla="*/ 3197293 w 3785642"/>
                <a:gd name="connsiteY28" fmla="*/ 125043 h 479077"/>
                <a:gd name="connsiteX29" fmla="*/ 3185387 w 3785642"/>
                <a:gd name="connsiteY29" fmla="*/ 136453 h 479077"/>
                <a:gd name="connsiteX30" fmla="*/ 3174970 w 3785642"/>
                <a:gd name="connsiteY30" fmla="*/ 148855 h 479077"/>
                <a:gd name="connsiteX31" fmla="*/ 3162071 w 3785642"/>
                <a:gd name="connsiteY31" fmla="*/ 159272 h 479077"/>
                <a:gd name="connsiteX32" fmla="*/ 3151158 w 3785642"/>
                <a:gd name="connsiteY32" fmla="*/ 171674 h 479077"/>
                <a:gd name="connsiteX33" fmla="*/ 3139252 w 3785642"/>
                <a:gd name="connsiteY33" fmla="*/ 182588 h 479077"/>
                <a:gd name="connsiteX34" fmla="*/ 3127843 w 3785642"/>
                <a:gd name="connsiteY34" fmla="*/ 194494 h 479077"/>
                <a:gd name="connsiteX35" fmla="*/ 3116432 w 3785642"/>
                <a:gd name="connsiteY35" fmla="*/ 205904 h 479077"/>
                <a:gd name="connsiteX36" fmla="*/ 3105022 w 3785642"/>
                <a:gd name="connsiteY36" fmla="*/ 217810 h 479077"/>
                <a:gd name="connsiteX37" fmla="*/ 3093117 w 3785642"/>
                <a:gd name="connsiteY37" fmla="*/ 229219 h 479077"/>
                <a:gd name="connsiteX38" fmla="*/ 3081707 w 3785642"/>
                <a:gd name="connsiteY38" fmla="*/ 240629 h 479077"/>
                <a:gd name="connsiteX39" fmla="*/ 3069305 w 3785642"/>
                <a:gd name="connsiteY39" fmla="*/ 251543 h 479077"/>
                <a:gd name="connsiteX40" fmla="*/ 3057895 w 3785642"/>
                <a:gd name="connsiteY40" fmla="*/ 263449 h 479077"/>
                <a:gd name="connsiteX41" fmla="*/ 3046486 w 3785642"/>
                <a:gd name="connsiteY41" fmla="*/ 275355 h 479077"/>
                <a:gd name="connsiteX42" fmla="*/ 3035572 w 3785642"/>
                <a:gd name="connsiteY42" fmla="*/ 287260 h 479077"/>
                <a:gd name="connsiteX43" fmla="*/ 3024658 w 3785642"/>
                <a:gd name="connsiteY43" fmla="*/ 299166 h 479077"/>
                <a:gd name="connsiteX44" fmla="*/ 3013248 w 3785642"/>
                <a:gd name="connsiteY44" fmla="*/ 311072 h 479077"/>
                <a:gd name="connsiteX45" fmla="*/ 3000350 w 3785642"/>
                <a:gd name="connsiteY45" fmla="*/ 321490 h 479077"/>
                <a:gd name="connsiteX46" fmla="*/ 2988941 w 3785642"/>
                <a:gd name="connsiteY46" fmla="*/ 333396 h 479077"/>
                <a:gd name="connsiteX47" fmla="*/ 2976539 w 3785642"/>
                <a:gd name="connsiteY47" fmla="*/ 344309 h 479077"/>
                <a:gd name="connsiteX48" fmla="*/ 2965129 w 3785642"/>
                <a:gd name="connsiteY48" fmla="*/ 356215 h 479077"/>
                <a:gd name="connsiteX49" fmla="*/ 2953223 w 3785642"/>
                <a:gd name="connsiteY49" fmla="*/ 367625 h 479077"/>
                <a:gd name="connsiteX50" fmla="*/ 2941813 w 3785642"/>
                <a:gd name="connsiteY50" fmla="*/ 379531 h 479077"/>
                <a:gd name="connsiteX51" fmla="*/ 2931395 w 3785642"/>
                <a:gd name="connsiteY51" fmla="*/ 392429 h 479077"/>
                <a:gd name="connsiteX52" fmla="*/ 2918497 w 3785642"/>
                <a:gd name="connsiteY52" fmla="*/ 402847 h 479077"/>
                <a:gd name="connsiteX53" fmla="*/ 2907584 w 3785642"/>
                <a:gd name="connsiteY53" fmla="*/ 415249 h 479077"/>
                <a:gd name="connsiteX54" fmla="*/ 2896174 w 3785642"/>
                <a:gd name="connsiteY54" fmla="*/ 426658 h 479077"/>
                <a:gd name="connsiteX55" fmla="*/ 2884268 w 3785642"/>
                <a:gd name="connsiteY55" fmla="*/ 438068 h 479077"/>
                <a:gd name="connsiteX56" fmla="*/ 2873354 w 3785642"/>
                <a:gd name="connsiteY56" fmla="*/ 450470 h 479077"/>
                <a:gd name="connsiteX57" fmla="*/ 2860952 w 3785642"/>
                <a:gd name="connsiteY57" fmla="*/ 461384 h 479077"/>
                <a:gd name="connsiteX58" fmla="*/ 2850039 w 3785642"/>
                <a:gd name="connsiteY58" fmla="*/ 473786 h 479077"/>
                <a:gd name="connsiteX59" fmla="*/ 2833668 w 3785642"/>
                <a:gd name="connsiteY59" fmla="*/ 473786 h 479077"/>
                <a:gd name="connsiteX60" fmla="*/ 2817297 w 3785642"/>
                <a:gd name="connsiteY60" fmla="*/ 473290 h 479077"/>
                <a:gd name="connsiteX61" fmla="*/ 2800927 w 3785642"/>
                <a:gd name="connsiteY61" fmla="*/ 473290 h 479077"/>
                <a:gd name="connsiteX62" fmla="*/ 2784556 w 3785642"/>
                <a:gd name="connsiteY62" fmla="*/ 473786 h 479077"/>
                <a:gd name="connsiteX63" fmla="*/ 2768186 w 3785642"/>
                <a:gd name="connsiteY63" fmla="*/ 474282 h 479077"/>
                <a:gd name="connsiteX64" fmla="*/ 2751815 w 3785642"/>
                <a:gd name="connsiteY64" fmla="*/ 474282 h 479077"/>
                <a:gd name="connsiteX65" fmla="*/ 2735444 w 3785642"/>
                <a:gd name="connsiteY65" fmla="*/ 473290 h 479077"/>
                <a:gd name="connsiteX66" fmla="*/ 2719074 w 3785642"/>
                <a:gd name="connsiteY66" fmla="*/ 474282 h 479077"/>
                <a:gd name="connsiteX67" fmla="*/ 2702703 w 3785642"/>
                <a:gd name="connsiteY67" fmla="*/ 472298 h 479077"/>
                <a:gd name="connsiteX68" fmla="*/ 2686333 w 3785642"/>
                <a:gd name="connsiteY68" fmla="*/ 472794 h 479077"/>
                <a:gd name="connsiteX69" fmla="*/ 2669962 w 3785642"/>
                <a:gd name="connsiteY69" fmla="*/ 474282 h 479077"/>
                <a:gd name="connsiteX70" fmla="*/ 2653592 w 3785642"/>
                <a:gd name="connsiteY70" fmla="*/ 472298 h 479077"/>
                <a:gd name="connsiteX71" fmla="*/ 2637221 w 3785642"/>
                <a:gd name="connsiteY71" fmla="*/ 474282 h 479077"/>
                <a:gd name="connsiteX72" fmla="*/ 2620851 w 3785642"/>
                <a:gd name="connsiteY72" fmla="*/ 474282 h 479077"/>
                <a:gd name="connsiteX73" fmla="*/ 2604480 w 3785642"/>
                <a:gd name="connsiteY73" fmla="*/ 472298 h 479077"/>
                <a:gd name="connsiteX74" fmla="*/ 2588109 w 3785642"/>
                <a:gd name="connsiteY74" fmla="*/ 473786 h 479077"/>
                <a:gd name="connsiteX75" fmla="*/ 2571739 w 3785642"/>
                <a:gd name="connsiteY75" fmla="*/ 472298 h 479077"/>
                <a:gd name="connsiteX76" fmla="*/ 2555368 w 3785642"/>
                <a:gd name="connsiteY76" fmla="*/ 473290 h 479077"/>
                <a:gd name="connsiteX77" fmla="*/ 2538998 w 3785642"/>
                <a:gd name="connsiteY77" fmla="*/ 474282 h 479077"/>
                <a:gd name="connsiteX78" fmla="*/ 2522627 w 3785642"/>
                <a:gd name="connsiteY78" fmla="*/ 473290 h 479077"/>
                <a:gd name="connsiteX79" fmla="*/ 2506257 w 3785642"/>
                <a:gd name="connsiteY79" fmla="*/ 474282 h 479077"/>
                <a:gd name="connsiteX80" fmla="*/ 2489886 w 3785642"/>
                <a:gd name="connsiteY80" fmla="*/ 473786 h 479077"/>
                <a:gd name="connsiteX81" fmla="*/ 2473516 w 3785642"/>
                <a:gd name="connsiteY81" fmla="*/ 474282 h 479077"/>
                <a:gd name="connsiteX82" fmla="*/ 2457145 w 3785642"/>
                <a:gd name="connsiteY82" fmla="*/ 472794 h 479077"/>
                <a:gd name="connsiteX83" fmla="*/ 2440775 w 3785642"/>
                <a:gd name="connsiteY83" fmla="*/ 472298 h 479077"/>
                <a:gd name="connsiteX84" fmla="*/ 2424404 w 3785642"/>
                <a:gd name="connsiteY84" fmla="*/ 473786 h 479077"/>
                <a:gd name="connsiteX85" fmla="*/ 2408033 w 3785642"/>
                <a:gd name="connsiteY85" fmla="*/ 472794 h 479077"/>
                <a:gd name="connsiteX86" fmla="*/ 2391663 w 3785642"/>
                <a:gd name="connsiteY86" fmla="*/ 473290 h 479077"/>
                <a:gd name="connsiteX87" fmla="*/ 2375292 w 3785642"/>
                <a:gd name="connsiteY87" fmla="*/ 473290 h 479077"/>
                <a:gd name="connsiteX88" fmla="*/ 2358922 w 3785642"/>
                <a:gd name="connsiteY88" fmla="*/ 472794 h 479077"/>
                <a:gd name="connsiteX89" fmla="*/ 2342551 w 3785642"/>
                <a:gd name="connsiteY89" fmla="*/ 472298 h 479077"/>
                <a:gd name="connsiteX90" fmla="*/ 2326180 w 3785642"/>
                <a:gd name="connsiteY90" fmla="*/ 473786 h 479077"/>
                <a:gd name="connsiteX91" fmla="*/ 2309810 w 3785642"/>
                <a:gd name="connsiteY91" fmla="*/ 473786 h 479077"/>
                <a:gd name="connsiteX92" fmla="*/ 2293439 w 3785642"/>
                <a:gd name="connsiteY92" fmla="*/ 473786 h 479077"/>
                <a:gd name="connsiteX93" fmla="*/ 2277069 w 3785642"/>
                <a:gd name="connsiteY93" fmla="*/ 472794 h 479077"/>
                <a:gd name="connsiteX94" fmla="*/ 2260698 w 3785642"/>
                <a:gd name="connsiteY94" fmla="*/ 474282 h 479077"/>
                <a:gd name="connsiteX95" fmla="*/ 2244327 w 3785642"/>
                <a:gd name="connsiteY95" fmla="*/ 472298 h 479077"/>
                <a:gd name="connsiteX96" fmla="*/ 2227957 w 3785642"/>
                <a:gd name="connsiteY96" fmla="*/ 474282 h 479077"/>
                <a:gd name="connsiteX97" fmla="*/ 2211586 w 3785642"/>
                <a:gd name="connsiteY97" fmla="*/ 473290 h 479077"/>
                <a:gd name="connsiteX98" fmla="*/ 2195216 w 3785642"/>
                <a:gd name="connsiteY98" fmla="*/ 474282 h 479077"/>
                <a:gd name="connsiteX99" fmla="*/ 2178845 w 3785642"/>
                <a:gd name="connsiteY99" fmla="*/ 472794 h 479077"/>
                <a:gd name="connsiteX100" fmla="*/ 2162474 w 3785642"/>
                <a:gd name="connsiteY100" fmla="*/ 474778 h 479077"/>
                <a:gd name="connsiteX101" fmla="*/ 2146104 w 3785642"/>
                <a:gd name="connsiteY101" fmla="*/ 473290 h 479077"/>
                <a:gd name="connsiteX102" fmla="*/ 2129733 w 3785642"/>
                <a:gd name="connsiteY102" fmla="*/ 474778 h 479077"/>
                <a:gd name="connsiteX103" fmla="*/ 2113363 w 3785642"/>
                <a:gd name="connsiteY103" fmla="*/ 474778 h 479077"/>
                <a:gd name="connsiteX104" fmla="*/ 2096992 w 3785642"/>
                <a:gd name="connsiteY104" fmla="*/ 474778 h 479077"/>
                <a:gd name="connsiteX105" fmla="*/ 2080621 w 3785642"/>
                <a:gd name="connsiteY105" fmla="*/ 474282 h 479077"/>
                <a:gd name="connsiteX106" fmla="*/ 2064251 w 3785642"/>
                <a:gd name="connsiteY106" fmla="*/ 472794 h 479077"/>
                <a:gd name="connsiteX107" fmla="*/ 2047880 w 3785642"/>
                <a:gd name="connsiteY107" fmla="*/ 474778 h 479077"/>
                <a:gd name="connsiteX108" fmla="*/ 2031510 w 3785642"/>
                <a:gd name="connsiteY108" fmla="*/ 474778 h 479077"/>
                <a:gd name="connsiteX109" fmla="*/ 2015139 w 3785642"/>
                <a:gd name="connsiteY109" fmla="*/ 474778 h 479077"/>
                <a:gd name="connsiteX110" fmla="*/ 1998769 w 3785642"/>
                <a:gd name="connsiteY110" fmla="*/ 474282 h 479077"/>
                <a:gd name="connsiteX111" fmla="*/ 1982398 w 3785642"/>
                <a:gd name="connsiteY111" fmla="*/ 473786 h 479077"/>
                <a:gd name="connsiteX112" fmla="*/ 1966028 w 3785642"/>
                <a:gd name="connsiteY112" fmla="*/ 473786 h 479077"/>
                <a:gd name="connsiteX113" fmla="*/ 1949657 w 3785642"/>
                <a:gd name="connsiteY113" fmla="*/ 472794 h 479077"/>
                <a:gd name="connsiteX114" fmla="*/ 1933287 w 3785642"/>
                <a:gd name="connsiteY114" fmla="*/ 473290 h 479077"/>
                <a:gd name="connsiteX115" fmla="*/ 1916916 w 3785642"/>
                <a:gd name="connsiteY115" fmla="*/ 474778 h 479077"/>
                <a:gd name="connsiteX116" fmla="*/ 1900546 w 3785642"/>
                <a:gd name="connsiteY116" fmla="*/ 472794 h 479077"/>
                <a:gd name="connsiteX117" fmla="*/ 1884175 w 3785642"/>
                <a:gd name="connsiteY117" fmla="*/ 473786 h 479077"/>
                <a:gd name="connsiteX118" fmla="*/ 1867804 w 3785642"/>
                <a:gd name="connsiteY118" fmla="*/ 474778 h 479077"/>
                <a:gd name="connsiteX119" fmla="*/ 1851434 w 3785642"/>
                <a:gd name="connsiteY119" fmla="*/ 474778 h 479077"/>
                <a:gd name="connsiteX120" fmla="*/ 1835063 w 3785642"/>
                <a:gd name="connsiteY120" fmla="*/ 474778 h 479077"/>
                <a:gd name="connsiteX121" fmla="*/ 1818693 w 3785642"/>
                <a:gd name="connsiteY121" fmla="*/ 474282 h 479077"/>
                <a:gd name="connsiteX122" fmla="*/ 1802322 w 3785642"/>
                <a:gd name="connsiteY122" fmla="*/ 472794 h 479077"/>
                <a:gd name="connsiteX123" fmla="*/ 1785951 w 3785642"/>
                <a:gd name="connsiteY123" fmla="*/ 473786 h 479077"/>
                <a:gd name="connsiteX124" fmla="*/ 1769581 w 3785642"/>
                <a:gd name="connsiteY124" fmla="*/ 473290 h 479077"/>
                <a:gd name="connsiteX125" fmla="*/ 1753210 w 3785642"/>
                <a:gd name="connsiteY125" fmla="*/ 472298 h 479077"/>
                <a:gd name="connsiteX126" fmla="*/ 1736840 w 3785642"/>
                <a:gd name="connsiteY126" fmla="*/ 473290 h 479077"/>
                <a:gd name="connsiteX127" fmla="*/ 1720469 w 3785642"/>
                <a:gd name="connsiteY127" fmla="*/ 474778 h 479077"/>
                <a:gd name="connsiteX128" fmla="*/ 1704098 w 3785642"/>
                <a:gd name="connsiteY128" fmla="*/ 472794 h 479077"/>
                <a:gd name="connsiteX129" fmla="*/ 1687728 w 3785642"/>
                <a:gd name="connsiteY129" fmla="*/ 474778 h 479077"/>
                <a:gd name="connsiteX130" fmla="*/ 1671357 w 3785642"/>
                <a:gd name="connsiteY130" fmla="*/ 474778 h 479077"/>
                <a:gd name="connsiteX131" fmla="*/ 1654987 w 3785642"/>
                <a:gd name="connsiteY131" fmla="*/ 472298 h 479077"/>
                <a:gd name="connsiteX132" fmla="*/ 1638616 w 3785642"/>
                <a:gd name="connsiteY132" fmla="*/ 472794 h 479077"/>
                <a:gd name="connsiteX133" fmla="*/ 1622246 w 3785642"/>
                <a:gd name="connsiteY133" fmla="*/ 473786 h 479077"/>
                <a:gd name="connsiteX134" fmla="*/ 1605875 w 3785642"/>
                <a:gd name="connsiteY134" fmla="*/ 474778 h 479077"/>
                <a:gd name="connsiteX135" fmla="*/ 1589505 w 3785642"/>
                <a:gd name="connsiteY135" fmla="*/ 473290 h 479077"/>
                <a:gd name="connsiteX136" fmla="*/ 1573134 w 3785642"/>
                <a:gd name="connsiteY136" fmla="*/ 474778 h 479077"/>
                <a:gd name="connsiteX137" fmla="*/ 1556763 w 3785642"/>
                <a:gd name="connsiteY137" fmla="*/ 472794 h 479077"/>
                <a:gd name="connsiteX138" fmla="*/ 1540393 w 3785642"/>
                <a:gd name="connsiteY138" fmla="*/ 472794 h 479077"/>
                <a:gd name="connsiteX139" fmla="*/ 1524022 w 3785642"/>
                <a:gd name="connsiteY139" fmla="*/ 474282 h 479077"/>
                <a:gd name="connsiteX140" fmla="*/ 1507652 w 3785642"/>
                <a:gd name="connsiteY140" fmla="*/ 472794 h 479077"/>
                <a:gd name="connsiteX141" fmla="*/ 1491281 w 3785642"/>
                <a:gd name="connsiteY141" fmla="*/ 474282 h 479077"/>
                <a:gd name="connsiteX142" fmla="*/ 1474910 w 3785642"/>
                <a:gd name="connsiteY142" fmla="*/ 474282 h 479077"/>
                <a:gd name="connsiteX143" fmla="*/ 1458540 w 3785642"/>
                <a:gd name="connsiteY143" fmla="*/ 472794 h 479077"/>
                <a:gd name="connsiteX144" fmla="*/ 1442169 w 3785642"/>
                <a:gd name="connsiteY144" fmla="*/ 471802 h 479077"/>
                <a:gd name="connsiteX145" fmla="*/ 1425799 w 3785642"/>
                <a:gd name="connsiteY145" fmla="*/ 472298 h 479077"/>
                <a:gd name="connsiteX146" fmla="*/ 1409428 w 3785642"/>
                <a:gd name="connsiteY146" fmla="*/ 472794 h 479077"/>
                <a:gd name="connsiteX147" fmla="*/ 1393058 w 3785642"/>
                <a:gd name="connsiteY147" fmla="*/ 473786 h 479077"/>
                <a:gd name="connsiteX148" fmla="*/ 1376687 w 3785642"/>
                <a:gd name="connsiteY148" fmla="*/ 471802 h 479077"/>
                <a:gd name="connsiteX149" fmla="*/ 1360317 w 3785642"/>
                <a:gd name="connsiteY149" fmla="*/ 473786 h 479077"/>
                <a:gd name="connsiteX150" fmla="*/ 1343946 w 3785642"/>
                <a:gd name="connsiteY150" fmla="*/ 473786 h 479077"/>
                <a:gd name="connsiteX151" fmla="*/ 1327576 w 3785642"/>
                <a:gd name="connsiteY151" fmla="*/ 472794 h 479077"/>
                <a:gd name="connsiteX152" fmla="*/ 1311205 w 3785642"/>
                <a:gd name="connsiteY152" fmla="*/ 473786 h 479077"/>
                <a:gd name="connsiteX153" fmla="*/ 1294834 w 3785642"/>
                <a:gd name="connsiteY153" fmla="*/ 473786 h 479077"/>
                <a:gd name="connsiteX154" fmla="*/ 1278464 w 3785642"/>
                <a:gd name="connsiteY154" fmla="*/ 473786 h 479077"/>
                <a:gd name="connsiteX155" fmla="*/ 1262093 w 3785642"/>
                <a:gd name="connsiteY155" fmla="*/ 473786 h 479077"/>
                <a:gd name="connsiteX156" fmla="*/ 1245723 w 3785642"/>
                <a:gd name="connsiteY156" fmla="*/ 473290 h 479077"/>
                <a:gd name="connsiteX157" fmla="*/ 1229352 w 3785642"/>
                <a:gd name="connsiteY157" fmla="*/ 472794 h 479077"/>
                <a:gd name="connsiteX158" fmla="*/ 1212981 w 3785642"/>
                <a:gd name="connsiteY158" fmla="*/ 473786 h 479077"/>
                <a:gd name="connsiteX159" fmla="*/ 1196611 w 3785642"/>
                <a:gd name="connsiteY159" fmla="*/ 472298 h 479077"/>
                <a:gd name="connsiteX160" fmla="*/ 1180240 w 3785642"/>
                <a:gd name="connsiteY160" fmla="*/ 472794 h 479077"/>
                <a:gd name="connsiteX161" fmla="*/ 1163870 w 3785642"/>
                <a:gd name="connsiteY161" fmla="*/ 472794 h 479077"/>
                <a:gd name="connsiteX162" fmla="*/ 1147499 w 3785642"/>
                <a:gd name="connsiteY162" fmla="*/ 473786 h 479077"/>
                <a:gd name="connsiteX163" fmla="*/ 1131128 w 3785642"/>
                <a:gd name="connsiteY163" fmla="*/ 473786 h 479077"/>
                <a:gd name="connsiteX164" fmla="*/ 1114758 w 3785642"/>
                <a:gd name="connsiteY164" fmla="*/ 472794 h 479077"/>
                <a:gd name="connsiteX165" fmla="*/ 1098387 w 3785642"/>
                <a:gd name="connsiteY165" fmla="*/ 473786 h 479077"/>
                <a:gd name="connsiteX166" fmla="*/ 1082017 w 3785642"/>
                <a:gd name="connsiteY166" fmla="*/ 474778 h 479077"/>
                <a:gd name="connsiteX167" fmla="*/ 1065646 w 3785642"/>
                <a:gd name="connsiteY167" fmla="*/ 474778 h 479077"/>
                <a:gd name="connsiteX168" fmla="*/ 1049276 w 3785642"/>
                <a:gd name="connsiteY168" fmla="*/ 474282 h 479077"/>
                <a:gd name="connsiteX169" fmla="*/ 1032905 w 3785642"/>
                <a:gd name="connsiteY169" fmla="*/ 473290 h 479077"/>
                <a:gd name="connsiteX170" fmla="*/ 1016535 w 3785642"/>
                <a:gd name="connsiteY170" fmla="*/ 474282 h 479077"/>
                <a:gd name="connsiteX171" fmla="*/ 1000164 w 3785642"/>
                <a:gd name="connsiteY171" fmla="*/ 474282 h 479077"/>
                <a:gd name="connsiteX172" fmla="*/ 983793 w 3785642"/>
                <a:gd name="connsiteY172" fmla="*/ 472794 h 479077"/>
                <a:gd name="connsiteX173" fmla="*/ 967423 w 3785642"/>
                <a:gd name="connsiteY173" fmla="*/ 472794 h 479077"/>
                <a:gd name="connsiteX174" fmla="*/ 951052 w 3785642"/>
                <a:gd name="connsiteY174" fmla="*/ 473786 h 479077"/>
                <a:gd name="connsiteX175" fmla="*/ 934682 w 3785642"/>
                <a:gd name="connsiteY175" fmla="*/ 474282 h 479077"/>
                <a:gd name="connsiteX176" fmla="*/ 918311 w 3785642"/>
                <a:gd name="connsiteY176" fmla="*/ 474778 h 479077"/>
                <a:gd name="connsiteX177" fmla="*/ 901940 w 3785642"/>
                <a:gd name="connsiteY177" fmla="*/ 473290 h 479077"/>
                <a:gd name="connsiteX178" fmla="*/ 885570 w 3785642"/>
                <a:gd name="connsiteY178" fmla="*/ 474778 h 479077"/>
                <a:gd name="connsiteX179" fmla="*/ 869199 w 3785642"/>
                <a:gd name="connsiteY179" fmla="*/ 474282 h 479077"/>
                <a:gd name="connsiteX180" fmla="*/ 852829 w 3785642"/>
                <a:gd name="connsiteY180" fmla="*/ 473786 h 479077"/>
                <a:gd name="connsiteX181" fmla="*/ 836458 w 3785642"/>
                <a:gd name="connsiteY181" fmla="*/ 474778 h 479077"/>
                <a:gd name="connsiteX182" fmla="*/ 820088 w 3785642"/>
                <a:gd name="connsiteY182" fmla="*/ 475274 h 479077"/>
                <a:gd name="connsiteX183" fmla="*/ 803717 w 3785642"/>
                <a:gd name="connsiteY183" fmla="*/ 473786 h 479077"/>
                <a:gd name="connsiteX184" fmla="*/ 787347 w 3785642"/>
                <a:gd name="connsiteY184" fmla="*/ 475770 h 479077"/>
                <a:gd name="connsiteX185" fmla="*/ 770976 w 3785642"/>
                <a:gd name="connsiteY185" fmla="*/ 474778 h 479077"/>
                <a:gd name="connsiteX186" fmla="*/ 754605 w 3785642"/>
                <a:gd name="connsiteY186" fmla="*/ 475274 h 479077"/>
                <a:gd name="connsiteX187" fmla="*/ 738235 w 3785642"/>
                <a:gd name="connsiteY187" fmla="*/ 473786 h 479077"/>
                <a:gd name="connsiteX188" fmla="*/ 721864 w 3785642"/>
                <a:gd name="connsiteY188" fmla="*/ 475274 h 479077"/>
                <a:gd name="connsiteX189" fmla="*/ 705494 w 3785642"/>
                <a:gd name="connsiteY189" fmla="*/ 475770 h 479077"/>
                <a:gd name="connsiteX190" fmla="*/ 689123 w 3785642"/>
                <a:gd name="connsiteY190" fmla="*/ 474282 h 479077"/>
                <a:gd name="connsiteX191" fmla="*/ 672753 w 3785642"/>
                <a:gd name="connsiteY191" fmla="*/ 475274 h 479077"/>
                <a:gd name="connsiteX192" fmla="*/ 656382 w 3785642"/>
                <a:gd name="connsiteY192" fmla="*/ 474778 h 479077"/>
                <a:gd name="connsiteX193" fmla="*/ 640011 w 3785642"/>
                <a:gd name="connsiteY193" fmla="*/ 475770 h 479077"/>
                <a:gd name="connsiteX194" fmla="*/ 623641 w 3785642"/>
                <a:gd name="connsiteY194" fmla="*/ 473786 h 479077"/>
                <a:gd name="connsiteX195" fmla="*/ 607270 w 3785642"/>
                <a:gd name="connsiteY195" fmla="*/ 474778 h 479077"/>
                <a:gd name="connsiteX196" fmla="*/ 590900 w 3785642"/>
                <a:gd name="connsiteY196" fmla="*/ 475274 h 479077"/>
                <a:gd name="connsiteX197" fmla="*/ 574529 w 3785642"/>
                <a:gd name="connsiteY197" fmla="*/ 474282 h 479077"/>
                <a:gd name="connsiteX198" fmla="*/ 558158 w 3785642"/>
                <a:gd name="connsiteY198" fmla="*/ 475274 h 479077"/>
                <a:gd name="connsiteX199" fmla="*/ 541788 w 3785642"/>
                <a:gd name="connsiteY199" fmla="*/ 475770 h 479077"/>
                <a:gd name="connsiteX200" fmla="*/ 525417 w 3785642"/>
                <a:gd name="connsiteY200" fmla="*/ 474282 h 479077"/>
                <a:gd name="connsiteX201" fmla="*/ 509047 w 3785642"/>
                <a:gd name="connsiteY201" fmla="*/ 473786 h 479077"/>
                <a:gd name="connsiteX202" fmla="*/ 492676 w 3785642"/>
                <a:gd name="connsiteY202" fmla="*/ 473786 h 479077"/>
                <a:gd name="connsiteX203" fmla="*/ 476306 w 3785642"/>
                <a:gd name="connsiteY203" fmla="*/ 474778 h 479077"/>
                <a:gd name="connsiteX204" fmla="*/ 459935 w 3785642"/>
                <a:gd name="connsiteY204" fmla="*/ 473786 h 479077"/>
                <a:gd name="connsiteX205" fmla="*/ 443565 w 3785642"/>
                <a:gd name="connsiteY205" fmla="*/ 474778 h 479077"/>
                <a:gd name="connsiteX206" fmla="*/ 427194 w 3785642"/>
                <a:gd name="connsiteY206" fmla="*/ 474282 h 479077"/>
                <a:gd name="connsiteX207" fmla="*/ 410823 w 3785642"/>
                <a:gd name="connsiteY207" fmla="*/ 473290 h 479077"/>
                <a:gd name="connsiteX208" fmla="*/ 394453 w 3785642"/>
                <a:gd name="connsiteY208" fmla="*/ 475770 h 479077"/>
                <a:gd name="connsiteX209" fmla="*/ 378082 w 3785642"/>
                <a:gd name="connsiteY209" fmla="*/ 475274 h 479077"/>
                <a:gd name="connsiteX210" fmla="*/ 361712 w 3785642"/>
                <a:gd name="connsiteY210" fmla="*/ 474778 h 479077"/>
                <a:gd name="connsiteX211" fmla="*/ 345341 w 3785642"/>
                <a:gd name="connsiteY211" fmla="*/ 476266 h 479077"/>
                <a:gd name="connsiteX212" fmla="*/ 328970 w 3785642"/>
                <a:gd name="connsiteY212" fmla="*/ 474282 h 479077"/>
                <a:gd name="connsiteX213" fmla="*/ 312600 w 3785642"/>
                <a:gd name="connsiteY213" fmla="*/ 475274 h 479077"/>
                <a:gd name="connsiteX214" fmla="*/ 296229 w 3785642"/>
                <a:gd name="connsiteY214" fmla="*/ 474282 h 479077"/>
                <a:gd name="connsiteX215" fmla="*/ 279859 w 3785642"/>
                <a:gd name="connsiteY215" fmla="*/ 475770 h 479077"/>
                <a:gd name="connsiteX216" fmla="*/ 263488 w 3785642"/>
                <a:gd name="connsiteY216" fmla="*/ 476266 h 479077"/>
                <a:gd name="connsiteX217" fmla="*/ 247118 w 3785642"/>
                <a:gd name="connsiteY217" fmla="*/ 476266 h 479077"/>
                <a:gd name="connsiteX218" fmla="*/ 230747 w 3785642"/>
                <a:gd name="connsiteY218" fmla="*/ 474778 h 479077"/>
                <a:gd name="connsiteX219" fmla="*/ 214376 w 3785642"/>
                <a:gd name="connsiteY219" fmla="*/ 474778 h 479077"/>
                <a:gd name="connsiteX220" fmla="*/ 198006 w 3785642"/>
                <a:gd name="connsiteY220" fmla="*/ 476762 h 479077"/>
                <a:gd name="connsiteX221" fmla="*/ 181635 w 3785642"/>
                <a:gd name="connsiteY221" fmla="*/ 476266 h 479077"/>
                <a:gd name="connsiteX222" fmla="*/ 165265 w 3785642"/>
                <a:gd name="connsiteY222" fmla="*/ 474778 h 479077"/>
                <a:gd name="connsiteX223" fmla="*/ 148894 w 3785642"/>
                <a:gd name="connsiteY223" fmla="*/ 476762 h 479077"/>
                <a:gd name="connsiteX224" fmla="*/ 132524 w 3785642"/>
                <a:gd name="connsiteY224" fmla="*/ 476266 h 479077"/>
                <a:gd name="connsiteX225" fmla="*/ 116153 w 3785642"/>
                <a:gd name="connsiteY225" fmla="*/ 475274 h 479077"/>
                <a:gd name="connsiteX226" fmla="*/ 99783 w 3785642"/>
                <a:gd name="connsiteY226" fmla="*/ 475274 h 479077"/>
                <a:gd name="connsiteX227" fmla="*/ 83412 w 3785642"/>
                <a:gd name="connsiteY227" fmla="*/ 475274 h 479077"/>
                <a:gd name="connsiteX228" fmla="*/ 67041 w 3785642"/>
                <a:gd name="connsiteY228" fmla="*/ 474778 h 479077"/>
                <a:gd name="connsiteX229" fmla="*/ 50671 w 3785642"/>
                <a:gd name="connsiteY229" fmla="*/ 475274 h 479077"/>
                <a:gd name="connsiteX230" fmla="*/ 34300 w 3785642"/>
                <a:gd name="connsiteY230" fmla="*/ 475274 h 479077"/>
                <a:gd name="connsiteX231" fmla="*/ 17930 w 3785642"/>
                <a:gd name="connsiteY231" fmla="*/ 475770 h 479077"/>
                <a:gd name="connsiteX232" fmla="*/ 567 w 3785642"/>
                <a:gd name="connsiteY232" fmla="*/ 475770 h 479077"/>
                <a:gd name="connsiteX233" fmla="*/ 12969 w 3785642"/>
                <a:gd name="connsiteY233" fmla="*/ 463368 h 479077"/>
                <a:gd name="connsiteX234" fmla="*/ 24379 w 3785642"/>
                <a:gd name="connsiteY234" fmla="*/ 451958 h 479077"/>
                <a:gd name="connsiteX235" fmla="*/ 35788 w 3785642"/>
                <a:gd name="connsiteY235" fmla="*/ 440053 h 479077"/>
                <a:gd name="connsiteX236" fmla="*/ 48686 w 3785642"/>
                <a:gd name="connsiteY236" fmla="*/ 430131 h 479077"/>
                <a:gd name="connsiteX237" fmla="*/ 59600 w 3785642"/>
                <a:gd name="connsiteY237" fmla="*/ 418225 h 479077"/>
                <a:gd name="connsiteX238" fmla="*/ 70514 w 3785642"/>
                <a:gd name="connsiteY238" fmla="*/ 405823 h 479077"/>
                <a:gd name="connsiteX239" fmla="*/ 83412 w 3785642"/>
                <a:gd name="connsiteY239" fmla="*/ 395406 h 479077"/>
                <a:gd name="connsiteX240" fmla="*/ 94822 w 3785642"/>
                <a:gd name="connsiteY240" fmla="*/ 383500 h 479077"/>
                <a:gd name="connsiteX241" fmla="*/ 106728 w 3785642"/>
                <a:gd name="connsiteY241" fmla="*/ 372090 h 479077"/>
                <a:gd name="connsiteX242" fmla="*/ 117145 w 3785642"/>
                <a:gd name="connsiteY242" fmla="*/ 359688 h 479077"/>
                <a:gd name="connsiteX243" fmla="*/ 128555 w 3785642"/>
                <a:gd name="connsiteY243" fmla="*/ 348278 h 479077"/>
                <a:gd name="connsiteX244" fmla="*/ 140461 w 3785642"/>
                <a:gd name="connsiteY244" fmla="*/ 336868 h 479077"/>
                <a:gd name="connsiteX245" fmla="*/ 152863 w 3785642"/>
                <a:gd name="connsiteY245" fmla="*/ 326451 h 479077"/>
                <a:gd name="connsiteX246" fmla="*/ 164769 w 3785642"/>
                <a:gd name="connsiteY246" fmla="*/ 315041 h 479077"/>
                <a:gd name="connsiteX247" fmla="*/ 176178 w 3785642"/>
                <a:gd name="connsiteY247" fmla="*/ 303135 h 479077"/>
                <a:gd name="connsiteX248" fmla="*/ 188084 w 3785642"/>
                <a:gd name="connsiteY248" fmla="*/ 291725 h 479077"/>
                <a:gd name="connsiteX249" fmla="*/ 199494 w 3785642"/>
                <a:gd name="connsiteY249" fmla="*/ 280315 h 479077"/>
                <a:gd name="connsiteX250" fmla="*/ 210904 w 3785642"/>
                <a:gd name="connsiteY250" fmla="*/ 268906 h 479077"/>
                <a:gd name="connsiteX251" fmla="*/ 221818 w 3785642"/>
                <a:gd name="connsiteY251" fmla="*/ 256504 h 479077"/>
                <a:gd name="connsiteX252" fmla="*/ 233724 w 3785642"/>
                <a:gd name="connsiteY252" fmla="*/ 245094 h 479077"/>
                <a:gd name="connsiteX253" fmla="*/ 244141 w 3785642"/>
                <a:gd name="connsiteY253" fmla="*/ 232692 h 479077"/>
                <a:gd name="connsiteX254" fmla="*/ 257039 w 3785642"/>
                <a:gd name="connsiteY254" fmla="*/ 222770 h 479077"/>
                <a:gd name="connsiteX255" fmla="*/ 266961 w 3785642"/>
                <a:gd name="connsiteY255" fmla="*/ 209376 h 479077"/>
                <a:gd name="connsiteX256" fmla="*/ 278371 w 3785642"/>
                <a:gd name="connsiteY256" fmla="*/ 197966 h 479077"/>
                <a:gd name="connsiteX257" fmla="*/ 291269 w 3785642"/>
                <a:gd name="connsiteY257" fmla="*/ 188045 h 479077"/>
                <a:gd name="connsiteX258" fmla="*/ 301686 w 3785642"/>
                <a:gd name="connsiteY258" fmla="*/ 175147 h 479077"/>
                <a:gd name="connsiteX259" fmla="*/ 313592 w 3785642"/>
                <a:gd name="connsiteY259" fmla="*/ 163737 h 479077"/>
                <a:gd name="connsiteX260" fmla="*/ 325994 w 3785642"/>
                <a:gd name="connsiteY260" fmla="*/ 153319 h 479077"/>
                <a:gd name="connsiteX261" fmla="*/ 337404 w 3785642"/>
                <a:gd name="connsiteY261" fmla="*/ 141910 h 479077"/>
                <a:gd name="connsiteX262" fmla="*/ 347325 w 3785642"/>
                <a:gd name="connsiteY262" fmla="*/ 129012 h 479077"/>
                <a:gd name="connsiteX263" fmla="*/ 360224 w 3785642"/>
                <a:gd name="connsiteY263" fmla="*/ 118594 h 479077"/>
                <a:gd name="connsiteX264" fmla="*/ 371137 w 3785642"/>
                <a:gd name="connsiteY264" fmla="*/ 106192 h 479077"/>
                <a:gd name="connsiteX265" fmla="*/ 382051 w 3785642"/>
                <a:gd name="connsiteY265" fmla="*/ 93790 h 479077"/>
                <a:gd name="connsiteX266" fmla="*/ 393957 w 3785642"/>
                <a:gd name="connsiteY266" fmla="*/ 82380 h 479077"/>
                <a:gd name="connsiteX267" fmla="*/ 405366 w 3785642"/>
                <a:gd name="connsiteY267" fmla="*/ 70475 h 479077"/>
                <a:gd name="connsiteX268" fmla="*/ 417272 w 3785642"/>
                <a:gd name="connsiteY268" fmla="*/ 59561 h 479077"/>
                <a:gd name="connsiteX269" fmla="*/ 429674 w 3785642"/>
                <a:gd name="connsiteY269" fmla="*/ 48647 h 479077"/>
                <a:gd name="connsiteX270" fmla="*/ 440092 w 3785642"/>
                <a:gd name="connsiteY270" fmla="*/ 35749 h 479077"/>
                <a:gd name="connsiteX271" fmla="*/ 452494 w 3785642"/>
                <a:gd name="connsiteY271" fmla="*/ 24835 h 479077"/>
                <a:gd name="connsiteX272" fmla="*/ 463904 w 3785642"/>
                <a:gd name="connsiteY272" fmla="*/ 12929 h 479077"/>
                <a:gd name="connsiteX273" fmla="*/ 475313 w 3785642"/>
                <a:gd name="connsiteY273" fmla="*/ 1024 h 479077"/>
                <a:gd name="connsiteX274" fmla="*/ 491684 w 3785642"/>
                <a:gd name="connsiteY274" fmla="*/ 2512 h 479077"/>
                <a:gd name="connsiteX275" fmla="*/ 508055 w 3785642"/>
                <a:gd name="connsiteY275" fmla="*/ 2512 h 479077"/>
                <a:gd name="connsiteX276" fmla="*/ 524425 w 3785642"/>
                <a:gd name="connsiteY276" fmla="*/ 2512 h 479077"/>
                <a:gd name="connsiteX277" fmla="*/ 540796 w 3785642"/>
                <a:gd name="connsiteY277" fmla="*/ 1024 h 479077"/>
                <a:gd name="connsiteX278" fmla="*/ 557166 w 3785642"/>
                <a:gd name="connsiteY278" fmla="*/ 2512 h 479077"/>
                <a:gd name="connsiteX279" fmla="*/ 573537 w 3785642"/>
                <a:gd name="connsiteY279" fmla="*/ 1024 h 479077"/>
                <a:gd name="connsiteX280" fmla="*/ 589908 w 3785642"/>
                <a:gd name="connsiteY280" fmla="*/ 527 h 479077"/>
                <a:gd name="connsiteX281" fmla="*/ 606278 w 3785642"/>
                <a:gd name="connsiteY281" fmla="*/ 1520 h 479077"/>
                <a:gd name="connsiteX282" fmla="*/ 622649 w 3785642"/>
                <a:gd name="connsiteY282" fmla="*/ 1520 h 479077"/>
                <a:gd name="connsiteX283" fmla="*/ 639019 w 3785642"/>
                <a:gd name="connsiteY283" fmla="*/ 2016 h 479077"/>
                <a:gd name="connsiteX284" fmla="*/ 655390 w 3785642"/>
                <a:gd name="connsiteY284" fmla="*/ 527 h 479077"/>
                <a:gd name="connsiteX285" fmla="*/ 671760 w 3785642"/>
                <a:gd name="connsiteY285" fmla="*/ 1520 h 479077"/>
                <a:gd name="connsiteX286" fmla="*/ 688131 w 3785642"/>
                <a:gd name="connsiteY286" fmla="*/ 2512 h 479077"/>
                <a:gd name="connsiteX287" fmla="*/ 704501 w 3785642"/>
                <a:gd name="connsiteY287" fmla="*/ 1024 h 479077"/>
                <a:gd name="connsiteX288" fmla="*/ 720872 w 3785642"/>
                <a:gd name="connsiteY288" fmla="*/ 1520 h 479077"/>
                <a:gd name="connsiteX289" fmla="*/ 737243 w 3785642"/>
                <a:gd name="connsiteY289" fmla="*/ 2016 h 479077"/>
                <a:gd name="connsiteX290" fmla="*/ 753613 w 3785642"/>
                <a:gd name="connsiteY290" fmla="*/ 1024 h 479077"/>
                <a:gd name="connsiteX291" fmla="*/ 769984 w 3785642"/>
                <a:gd name="connsiteY291" fmla="*/ 527 h 479077"/>
                <a:gd name="connsiteX292" fmla="*/ 786354 w 3785642"/>
                <a:gd name="connsiteY292" fmla="*/ 1520 h 479077"/>
                <a:gd name="connsiteX293" fmla="*/ 802725 w 3785642"/>
                <a:gd name="connsiteY293" fmla="*/ 527 h 479077"/>
                <a:gd name="connsiteX294" fmla="*/ 819096 w 3785642"/>
                <a:gd name="connsiteY294" fmla="*/ 2512 h 479077"/>
                <a:gd name="connsiteX295" fmla="*/ 835466 w 3785642"/>
                <a:gd name="connsiteY295" fmla="*/ 527 h 479077"/>
                <a:gd name="connsiteX296" fmla="*/ 851837 w 3785642"/>
                <a:gd name="connsiteY296" fmla="*/ 1520 h 479077"/>
                <a:gd name="connsiteX297" fmla="*/ 868207 w 3785642"/>
                <a:gd name="connsiteY297" fmla="*/ 2016 h 479077"/>
                <a:gd name="connsiteX298" fmla="*/ 884578 w 3785642"/>
                <a:gd name="connsiteY298" fmla="*/ 2512 h 479077"/>
                <a:gd name="connsiteX299" fmla="*/ 900948 w 3785642"/>
                <a:gd name="connsiteY299" fmla="*/ 1520 h 479077"/>
                <a:gd name="connsiteX300" fmla="*/ 917319 w 3785642"/>
                <a:gd name="connsiteY300" fmla="*/ 1024 h 479077"/>
                <a:gd name="connsiteX301" fmla="*/ 933689 w 3785642"/>
                <a:gd name="connsiteY301" fmla="*/ 2512 h 479077"/>
                <a:gd name="connsiteX302" fmla="*/ 950060 w 3785642"/>
                <a:gd name="connsiteY302" fmla="*/ 1520 h 479077"/>
                <a:gd name="connsiteX303" fmla="*/ 966431 w 3785642"/>
                <a:gd name="connsiteY303" fmla="*/ 2016 h 479077"/>
                <a:gd name="connsiteX304" fmla="*/ 982801 w 3785642"/>
                <a:gd name="connsiteY304" fmla="*/ 2512 h 479077"/>
                <a:gd name="connsiteX305" fmla="*/ 999172 w 3785642"/>
                <a:gd name="connsiteY305" fmla="*/ 1520 h 479077"/>
                <a:gd name="connsiteX306" fmla="*/ 1015542 w 3785642"/>
                <a:gd name="connsiteY306" fmla="*/ 2512 h 479077"/>
                <a:gd name="connsiteX307" fmla="*/ 1031913 w 3785642"/>
                <a:gd name="connsiteY307" fmla="*/ 1520 h 479077"/>
                <a:gd name="connsiteX308" fmla="*/ 1048283 w 3785642"/>
                <a:gd name="connsiteY308" fmla="*/ 2016 h 479077"/>
                <a:gd name="connsiteX309" fmla="*/ 1064654 w 3785642"/>
                <a:gd name="connsiteY309" fmla="*/ 3504 h 479077"/>
                <a:gd name="connsiteX310" fmla="*/ 1081025 w 3785642"/>
                <a:gd name="connsiteY310" fmla="*/ 2016 h 479077"/>
                <a:gd name="connsiteX311" fmla="*/ 1097395 w 3785642"/>
                <a:gd name="connsiteY311" fmla="*/ 2512 h 479077"/>
                <a:gd name="connsiteX312" fmla="*/ 1113766 w 3785642"/>
                <a:gd name="connsiteY312" fmla="*/ 2512 h 479077"/>
                <a:gd name="connsiteX313" fmla="*/ 1130136 w 3785642"/>
                <a:gd name="connsiteY313" fmla="*/ 3504 h 479077"/>
                <a:gd name="connsiteX314" fmla="*/ 1146507 w 3785642"/>
                <a:gd name="connsiteY314" fmla="*/ 1520 h 479077"/>
                <a:gd name="connsiteX315" fmla="*/ 1162878 w 3785642"/>
                <a:gd name="connsiteY315" fmla="*/ 3008 h 479077"/>
                <a:gd name="connsiteX316" fmla="*/ 1179248 w 3785642"/>
                <a:gd name="connsiteY316" fmla="*/ 4000 h 479077"/>
                <a:gd name="connsiteX317" fmla="*/ 1195619 w 3785642"/>
                <a:gd name="connsiteY317" fmla="*/ 3504 h 479077"/>
                <a:gd name="connsiteX318" fmla="*/ 1211989 w 3785642"/>
                <a:gd name="connsiteY318" fmla="*/ 1520 h 479077"/>
                <a:gd name="connsiteX319" fmla="*/ 1228360 w 3785642"/>
                <a:gd name="connsiteY319" fmla="*/ 3504 h 479077"/>
                <a:gd name="connsiteX320" fmla="*/ 1244730 w 3785642"/>
                <a:gd name="connsiteY320" fmla="*/ 1520 h 479077"/>
                <a:gd name="connsiteX321" fmla="*/ 1261101 w 3785642"/>
                <a:gd name="connsiteY321" fmla="*/ 2512 h 479077"/>
                <a:gd name="connsiteX322" fmla="*/ 1277471 w 3785642"/>
                <a:gd name="connsiteY322" fmla="*/ 3504 h 479077"/>
                <a:gd name="connsiteX323" fmla="*/ 1293842 w 3785642"/>
                <a:gd name="connsiteY323" fmla="*/ 4000 h 479077"/>
                <a:gd name="connsiteX324" fmla="*/ 1310213 w 3785642"/>
                <a:gd name="connsiteY324" fmla="*/ 1520 h 479077"/>
                <a:gd name="connsiteX325" fmla="*/ 1326583 w 3785642"/>
                <a:gd name="connsiteY325" fmla="*/ 2016 h 479077"/>
                <a:gd name="connsiteX326" fmla="*/ 1342954 w 3785642"/>
                <a:gd name="connsiteY326" fmla="*/ 3008 h 479077"/>
                <a:gd name="connsiteX327" fmla="*/ 1359324 w 3785642"/>
                <a:gd name="connsiteY327" fmla="*/ 3008 h 479077"/>
                <a:gd name="connsiteX328" fmla="*/ 1375695 w 3785642"/>
                <a:gd name="connsiteY328" fmla="*/ 2512 h 479077"/>
                <a:gd name="connsiteX329" fmla="*/ 1392066 w 3785642"/>
                <a:gd name="connsiteY329" fmla="*/ 2512 h 479077"/>
                <a:gd name="connsiteX330" fmla="*/ 1408436 w 3785642"/>
                <a:gd name="connsiteY330" fmla="*/ 3504 h 479077"/>
                <a:gd name="connsiteX331" fmla="*/ 1424807 w 3785642"/>
                <a:gd name="connsiteY331" fmla="*/ 3504 h 479077"/>
                <a:gd name="connsiteX332" fmla="*/ 1441177 w 3785642"/>
                <a:gd name="connsiteY332" fmla="*/ 1520 h 479077"/>
                <a:gd name="connsiteX333" fmla="*/ 1457548 w 3785642"/>
                <a:gd name="connsiteY333" fmla="*/ 2512 h 479077"/>
                <a:gd name="connsiteX334" fmla="*/ 1473919 w 3785642"/>
                <a:gd name="connsiteY334" fmla="*/ 2016 h 479077"/>
                <a:gd name="connsiteX335" fmla="*/ 1490289 w 3785642"/>
                <a:gd name="connsiteY335" fmla="*/ 2016 h 479077"/>
                <a:gd name="connsiteX336" fmla="*/ 1506660 w 3785642"/>
                <a:gd name="connsiteY336" fmla="*/ 1520 h 479077"/>
                <a:gd name="connsiteX337" fmla="*/ 1523030 w 3785642"/>
                <a:gd name="connsiteY337" fmla="*/ 3504 h 479077"/>
                <a:gd name="connsiteX338" fmla="*/ 1539401 w 3785642"/>
                <a:gd name="connsiteY338" fmla="*/ 3008 h 479077"/>
                <a:gd name="connsiteX339" fmla="*/ 1555771 w 3785642"/>
                <a:gd name="connsiteY339" fmla="*/ 3008 h 479077"/>
                <a:gd name="connsiteX340" fmla="*/ 1572142 w 3785642"/>
                <a:gd name="connsiteY340" fmla="*/ 2512 h 479077"/>
                <a:gd name="connsiteX341" fmla="*/ 1588512 w 3785642"/>
                <a:gd name="connsiteY341" fmla="*/ 2016 h 479077"/>
                <a:gd name="connsiteX342" fmla="*/ 1604883 w 3785642"/>
                <a:gd name="connsiteY342" fmla="*/ 3008 h 479077"/>
                <a:gd name="connsiteX343" fmla="*/ 1621253 w 3785642"/>
                <a:gd name="connsiteY343" fmla="*/ 3008 h 479077"/>
                <a:gd name="connsiteX344" fmla="*/ 1637624 w 3785642"/>
                <a:gd name="connsiteY34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313375 w 3785642"/>
                <a:gd name="connsiteY17" fmla="*/ 10945 h 479077"/>
                <a:gd name="connsiteX18" fmla="*/ 3300973 w 3785642"/>
                <a:gd name="connsiteY18" fmla="*/ 21363 h 479077"/>
                <a:gd name="connsiteX19" fmla="*/ 3289068 w 3785642"/>
                <a:gd name="connsiteY19" fmla="*/ 32276 h 479077"/>
                <a:gd name="connsiteX20" fmla="*/ 3277658 w 3785642"/>
                <a:gd name="connsiteY20" fmla="*/ 43686 h 479077"/>
                <a:gd name="connsiteX21" fmla="*/ 3266248 w 3785642"/>
                <a:gd name="connsiteY21" fmla="*/ 55592 h 479077"/>
                <a:gd name="connsiteX22" fmla="*/ 3255830 w 3785642"/>
                <a:gd name="connsiteY22" fmla="*/ 68490 h 479077"/>
                <a:gd name="connsiteX23" fmla="*/ 3243924 w 3785642"/>
                <a:gd name="connsiteY23" fmla="*/ 79900 h 479077"/>
                <a:gd name="connsiteX24" fmla="*/ 3231522 w 3785642"/>
                <a:gd name="connsiteY24" fmla="*/ 90814 h 479077"/>
                <a:gd name="connsiteX25" fmla="*/ 3220609 w 3785642"/>
                <a:gd name="connsiteY25" fmla="*/ 102720 h 479077"/>
                <a:gd name="connsiteX26" fmla="*/ 3208207 w 3785642"/>
                <a:gd name="connsiteY26" fmla="*/ 113137 h 479077"/>
                <a:gd name="connsiteX27" fmla="*/ 3197293 w 3785642"/>
                <a:gd name="connsiteY27" fmla="*/ 125043 h 479077"/>
                <a:gd name="connsiteX28" fmla="*/ 3185387 w 3785642"/>
                <a:gd name="connsiteY28" fmla="*/ 136453 h 479077"/>
                <a:gd name="connsiteX29" fmla="*/ 3174970 w 3785642"/>
                <a:gd name="connsiteY29" fmla="*/ 148855 h 479077"/>
                <a:gd name="connsiteX30" fmla="*/ 3162071 w 3785642"/>
                <a:gd name="connsiteY30" fmla="*/ 159272 h 479077"/>
                <a:gd name="connsiteX31" fmla="*/ 3151158 w 3785642"/>
                <a:gd name="connsiteY31" fmla="*/ 171674 h 479077"/>
                <a:gd name="connsiteX32" fmla="*/ 3139252 w 3785642"/>
                <a:gd name="connsiteY32" fmla="*/ 182588 h 479077"/>
                <a:gd name="connsiteX33" fmla="*/ 3127843 w 3785642"/>
                <a:gd name="connsiteY33" fmla="*/ 194494 h 479077"/>
                <a:gd name="connsiteX34" fmla="*/ 3116432 w 3785642"/>
                <a:gd name="connsiteY34" fmla="*/ 205904 h 479077"/>
                <a:gd name="connsiteX35" fmla="*/ 3105022 w 3785642"/>
                <a:gd name="connsiteY35" fmla="*/ 217810 h 479077"/>
                <a:gd name="connsiteX36" fmla="*/ 3093117 w 3785642"/>
                <a:gd name="connsiteY36" fmla="*/ 229219 h 479077"/>
                <a:gd name="connsiteX37" fmla="*/ 3081707 w 3785642"/>
                <a:gd name="connsiteY37" fmla="*/ 240629 h 479077"/>
                <a:gd name="connsiteX38" fmla="*/ 3069305 w 3785642"/>
                <a:gd name="connsiteY38" fmla="*/ 251543 h 479077"/>
                <a:gd name="connsiteX39" fmla="*/ 3057895 w 3785642"/>
                <a:gd name="connsiteY39" fmla="*/ 263449 h 479077"/>
                <a:gd name="connsiteX40" fmla="*/ 3046486 w 3785642"/>
                <a:gd name="connsiteY40" fmla="*/ 275355 h 479077"/>
                <a:gd name="connsiteX41" fmla="*/ 3035572 w 3785642"/>
                <a:gd name="connsiteY41" fmla="*/ 287260 h 479077"/>
                <a:gd name="connsiteX42" fmla="*/ 3024658 w 3785642"/>
                <a:gd name="connsiteY42" fmla="*/ 299166 h 479077"/>
                <a:gd name="connsiteX43" fmla="*/ 3013248 w 3785642"/>
                <a:gd name="connsiteY43" fmla="*/ 311072 h 479077"/>
                <a:gd name="connsiteX44" fmla="*/ 3000350 w 3785642"/>
                <a:gd name="connsiteY44" fmla="*/ 321490 h 479077"/>
                <a:gd name="connsiteX45" fmla="*/ 2988941 w 3785642"/>
                <a:gd name="connsiteY45" fmla="*/ 333396 h 479077"/>
                <a:gd name="connsiteX46" fmla="*/ 2976539 w 3785642"/>
                <a:gd name="connsiteY46" fmla="*/ 344309 h 479077"/>
                <a:gd name="connsiteX47" fmla="*/ 2965129 w 3785642"/>
                <a:gd name="connsiteY47" fmla="*/ 356215 h 479077"/>
                <a:gd name="connsiteX48" fmla="*/ 2953223 w 3785642"/>
                <a:gd name="connsiteY48" fmla="*/ 367625 h 479077"/>
                <a:gd name="connsiteX49" fmla="*/ 2941813 w 3785642"/>
                <a:gd name="connsiteY49" fmla="*/ 379531 h 479077"/>
                <a:gd name="connsiteX50" fmla="*/ 2931395 w 3785642"/>
                <a:gd name="connsiteY50" fmla="*/ 392429 h 479077"/>
                <a:gd name="connsiteX51" fmla="*/ 2918497 w 3785642"/>
                <a:gd name="connsiteY51" fmla="*/ 402847 h 479077"/>
                <a:gd name="connsiteX52" fmla="*/ 2907584 w 3785642"/>
                <a:gd name="connsiteY52" fmla="*/ 415249 h 479077"/>
                <a:gd name="connsiteX53" fmla="*/ 2896174 w 3785642"/>
                <a:gd name="connsiteY53" fmla="*/ 426658 h 479077"/>
                <a:gd name="connsiteX54" fmla="*/ 2884268 w 3785642"/>
                <a:gd name="connsiteY54" fmla="*/ 438068 h 479077"/>
                <a:gd name="connsiteX55" fmla="*/ 2873354 w 3785642"/>
                <a:gd name="connsiteY55" fmla="*/ 450470 h 479077"/>
                <a:gd name="connsiteX56" fmla="*/ 2860952 w 3785642"/>
                <a:gd name="connsiteY56" fmla="*/ 461384 h 479077"/>
                <a:gd name="connsiteX57" fmla="*/ 2850039 w 3785642"/>
                <a:gd name="connsiteY57" fmla="*/ 473786 h 479077"/>
                <a:gd name="connsiteX58" fmla="*/ 2833668 w 3785642"/>
                <a:gd name="connsiteY58" fmla="*/ 473786 h 479077"/>
                <a:gd name="connsiteX59" fmla="*/ 2817297 w 3785642"/>
                <a:gd name="connsiteY59" fmla="*/ 473290 h 479077"/>
                <a:gd name="connsiteX60" fmla="*/ 2800927 w 3785642"/>
                <a:gd name="connsiteY60" fmla="*/ 473290 h 479077"/>
                <a:gd name="connsiteX61" fmla="*/ 2784556 w 3785642"/>
                <a:gd name="connsiteY61" fmla="*/ 473786 h 479077"/>
                <a:gd name="connsiteX62" fmla="*/ 2768186 w 3785642"/>
                <a:gd name="connsiteY62" fmla="*/ 474282 h 479077"/>
                <a:gd name="connsiteX63" fmla="*/ 2751815 w 3785642"/>
                <a:gd name="connsiteY63" fmla="*/ 474282 h 479077"/>
                <a:gd name="connsiteX64" fmla="*/ 2735444 w 3785642"/>
                <a:gd name="connsiteY64" fmla="*/ 473290 h 479077"/>
                <a:gd name="connsiteX65" fmla="*/ 2719074 w 3785642"/>
                <a:gd name="connsiteY65" fmla="*/ 474282 h 479077"/>
                <a:gd name="connsiteX66" fmla="*/ 2702703 w 3785642"/>
                <a:gd name="connsiteY66" fmla="*/ 472298 h 479077"/>
                <a:gd name="connsiteX67" fmla="*/ 2686333 w 3785642"/>
                <a:gd name="connsiteY67" fmla="*/ 472794 h 479077"/>
                <a:gd name="connsiteX68" fmla="*/ 2669962 w 3785642"/>
                <a:gd name="connsiteY68" fmla="*/ 474282 h 479077"/>
                <a:gd name="connsiteX69" fmla="*/ 2653592 w 3785642"/>
                <a:gd name="connsiteY69" fmla="*/ 472298 h 479077"/>
                <a:gd name="connsiteX70" fmla="*/ 2637221 w 3785642"/>
                <a:gd name="connsiteY70" fmla="*/ 474282 h 479077"/>
                <a:gd name="connsiteX71" fmla="*/ 2620851 w 3785642"/>
                <a:gd name="connsiteY71" fmla="*/ 474282 h 479077"/>
                <a:gd name="connsiteX72" fmla="*/ 2604480 w 3785642"/>
                <a:gd name="connsiteY72" fmla="*/ 472298 h 479077"/>
                <a:gd name="connsiteX73" fmla="*/ 2588109 w 3785642"/>
                <a:gd name="connsiteY73" fmla="*/ 473786 h 479077"/>
                <a:gd name="connsiteX74" fmla="*/ 2571739 w 3785642"/>
                <a:gd name="connsiteY74" fmla="*/ 472298 h 479077"/>
                <a:gd name="connsiteX75" fmla="*/ 2555368 w 3785642"/>
                <a:gd name="connsiteY75" fmla="*/ 473290 h 479077"/>
                <a:gd name="connsiteX76" fmla="*/ 2538998 w 3785642"/>
                <a:gd name="connsiteY76" fmla="*/ 474282 h 479077"/>
                <a:gd name="connsiteX77" fmla="*/ 2522627 w 3785642"/>
                <a:gd name="connsiteY77" fmla="*/ 473290 h 479077"/>
                <a:gd name="connsiteX78" fmla="*/ 2506257 w 3785642"/>
                <a:gd name="connsiteY78" fmla="*/ 474282 h 479077"/>
                <a:gd name="connsiteX79" fmla="*/ 2489886 w 3785642"/>
                <a:gd name="connsiteY79" fmla="*/ 473786 h 479077"/>
                <a:gd name="connsiteX80" fmla="*/ 2473516 w 3785642"/>
                <a:gd name="connsiteY80" fmla="*/ 474282 h 479077"/>
                <a:gd name="connsiteX81" fmla="*/ 2457145 w 3785642"/>
                <a:gd name="connsiteY81" fmla="*/ 472794 h 479077"/>
                <a:gd name="connsiteX82" fmla="*/ 2440775 w 3785642"/>
                <a:gd name="connsiteY82" fmla="*/ 472298 h 479077"/>
                <a:gd name="connsiteX83" fmla="*/ 2424404 w 3785642"/>
                <a:gd name="connsiteY83" fmla="*/ 473786 h 479077"/>
                <a:gd name="connsiteX84" fmla="*/ 2408033 w 3785642"/>
                <a:gd name="connsiteY84" fmla="*/ 472794 h 479077"/>
                <a:gd name="connsiteX85" fmla="*/ 2391663 w 3785642"/>
                <a:gd name="connsiteY85" fmla="*/ 473290 h 479077"/>
                <a:gd name="connsiteX86" fmla="*/ 2375292 w 3785642"/>
                <a:gd name="connsiteY86" fmla="*/ 473290 h 479077"/>
                <a:gd name="connsiteX87" fmla="*/ 2358922 w 3785642"/>
                <a:gd name="connsiteY87" fmla="*/ 472794 h 479077"/>
                <a:gd name="connsiteX88" fmla="*/ 2342551 w 3785642"/>
                <a:gd name="connsiteY88" fmla="*/ 472298 h 479077"/>
                <a:gd name="connsiteX89" fmla="*/ 2326180 w 3785642"/>
                <a:gd name="connsiteY89" fmla="*/ 473786 h 479077"/>
                <a:gd name="connsiteX90" fmla="*/ 2309810 w 3785642"/>
                <a:gd name="connsiteY90" fmla="*/ 473786 h 479077"/>
                <a:gd name="connsiteX91" fmla="*/ 2293439 w 3785642"/>
                <a:gd name="connsiteY91" fmla="*/ 473786 h 479077"/>
                <a:gd name="connsiteX92" fmla="*/ 2277069 w 3785642"/>
                <a:gd name="connsiteY92" fmla="*/ 472794 h 479077"/>
                <a:gd name="connsiteX93" fmla="*/ 2260698 w 3785642"/>
                <a:gd name="connsiteY93" fmla="*/ 474282 h 479077"/>
                <a:gd name="connsiteX94" fmla="*/ 2244327 w 3785642"/>
                <a:gd name="connsiteY94" fmla="*/ 472298 h 479077"/>
                <a:gd name="connsiteX95" fmla="*/ 2227957 w 3785642"/>
                <a:gd name="connsiteY95" fmla="*/ 474282 h 479077"/>
                <a:gd name="connsiteX96" fmla="*/ 2211586 w 3785642"/>
                <a:gd name="connsiteY96" fmla="*/ 473290 h 479077"/>
                <a:gd name="connsiteX97" fmla="*/ 2195216 w 3785642"/>
                <a:gd name="connsiteY97" fmla="*/ 474282 h 479077"/>
                <a:gd name="connsiteX98" fmla="*/ 2178845 w 3785642"/>
                <a:gd name="connsiteY98" fmla="*/ 472794 h 479077"/>
                <a:gd name="connsiteX99" fmla="*/ 2162474 w 3785642"/>
                <a:gd name="connsiteY99" fmla="*/ 474778 h 479077"/>
                <a:gd name="connsiteX100" fmla="*/ 2146104 w 3785642"/>
                <a:gd name="connsiteY100" fmla="*/ 473290 h 479077"/>
                <a:gd name="connsiteX101" fmla="*/ 2129733 w 3785642"/>
                <a:gd name="connsiteY101" fmla="*/ 474778 h 479077"/>
                <a:gd name="connsiteX102" fmla="*/ 2113363 w 3785642"/>
                <a:gd name="connsiteY102" fmla="*/ 474778 h 479077"/>
                <a:gd name="connsiteX103" fmla="*/ 2096992 w 3785642"/>
                <a:gd name="connsiteY103" fmla="*/ 474778 h 479077"/>
                <a:gd name="connsiteX104" fmla="*/ 2080621 w 3785642"/>
                <a:gd name="connsiteY104" fmla="*/ 474282 h 479077"/>
                <a:gd name="connsiteX105" fmla="*/ 2064251 w 3785642"/>
                <a:gd name="connsiteY105" fmla="*/ 472794 h 479077"/>
                <a:gd name="connsiteX106" fmla="*/ 2047880 w 3785642"/>
                <a:gd name="connsiteY106" fmla="*/ 474778 h 479077"/>
                <a:gd name="connsiteX107" fmla="*/ 2031510 w 3785642"/>
                <a:gd name="connsiteY107" fmla="*/ 474778 h 479077"/>
                <a:gd name="connsiteX108" fmla="*/ 2015139 w 3785642"/>
                <a:gd name="connsiteY108" fmla="*/ 474778 h 479077"/>
                <a:gd name="connsiteX109" fmla="*/ 1998769 w 3785642"/>
                <a:gd name="connsiteY109" fmla="*/ 474282 h 479077"/>
                <a:gd name="connsiteX110" fmla="*/ 1982398 w 3785642"/>
                <a:gd name="connsiteY110" fmla="*/ 473786 h 479077"/>
                <a:gd name="connsiteX111" fmla="*/ 1966028 w 3785642"/>
                <a:gd name="connsiteY111" fmla="*/ 473786 h 479077"/>
                <a:gd name="connsiteX112" fmla="*/ 1949657 w 3785642"/>
                <a:gd name="connsiteY112" fmla="*/ 472794 h 479077"/>
                <a:gd name="connsiteX113" fmla="*/ 1933287 w 3785642"/>
                <a:gd name="connsiteY113" fmla="*/ 473290 h 479077"/>
                <a:gd name="connsiteX114" fmla="*/ 1916916 w 3785642"/>
                <a:gd name="connsiteY114" fmla="*/ 474778 h 479077"/>
                <a:gd name="connsiteX115" fmla="*/ 1900546 w 3785642"/>
                <a:gd name="connsiteY115" fmla="*/ 472794 h 479077"/>
                <a:gd name="connsiteX116" fmla="*/ 1884175 w 3785642"/>
                <a:gd name="connsiteY116" fmla="*/ 473786 h 479077"/>
                <a:gd name="connsiteX117" fmla="*/ 1867804 w 3785642"/>
                <a:gd name="connsiteY117" fmla="*/ 474778 h 479077"/>
                <a:gd name="connsiteX118" fmla="*/ 1851434 w 3785642"/>
                <a:gd name="connsiteY118" fmla="*/ 474778 h 479077"/>
                <a:gd name="connsiteX119" fmla="*/ 1835063 w 3785642"/>
                <a:gd name="connsiteY119" fmla="*/ 474778 h 479077"/>
                <a:gd name="connsiteX120" fmla="*/ 1818693 w 3785642"/>
                <a:gd name="connsiteY120" fmla="*/ 474282 h 479077"/>
                <a:gd name="connsiteX121" fmla="*/ 1802322 w 3785642"/>
                <a:gd name="connsiteY121" fmla="*/ 472794 h 479077"/>
                <a:gd name="connsiteX122" fmla="*/ 1785951 w 3785642"/>
                <a:gd name="connsiteY122" fmla="*/ 473786 h 479077"/>
                <a:gd name="connsiteX123" fmla="*/ 1769581 w 3785642"/>
                <a:gd name="connsiteY123" fmla="*/ 473290 h 479077"/>
                <a:gd name="connsiteX124" fmla="*/ 1753210 w 3785642"/>
                <a:gd name="connsiteY124" fmla="*/ 472298 h 479077"/>
                <a:gd name="connsiteX125" fmla="*/ 1736840 w 3785642"/>
                <a:gd name="connsiteY125" fmla="*/ 473290 h 479077"/>
                <a:gd name="connsiteX126" fmla="*/ 1720469 w 3785642"/>
                <a:gd name="connsiteY126" fmla="*/ 474778 h 479077"/>
                <a:gd name="connsiteX127" fmla="*/ 1704098 w 3785642"/>
                <a:gd name="connsiteY127" fmla="*/ 472794 h 479077"/>
                <a:gd name="connsiteX128" fmla="*/ 1687728 w 3785642"/>
                <a:gd name="connsiteY128" fmla="*/ 474778 h 479077"/>
                <a:gd name="connsiteX129" fmla="*/ 1671357 w 3785642"/>
                <a:gd name="connsiteY129" fmla="*/ 474778 h 479077"/>
                <a:gd name="connsiteX130" fmla="*/ 1654987 w 3785642"/>
                <a:gd name="connsiteY130" fmla="*/ 472298 h 479077"/>
                <a:gd name="connsiteX131" fmla="*/ 1638616 w 3785642"/>
                <a:gd name="connsiteY131" fmla="*/ 472794 h 479077"/>
                <a:gd name="connsiteX132" fmla="*/ 1622246 w 3785642"/>
                <a:gd name="connsiteY132" fmla="*/ 473786 h 479077"/>
                <a:gd name="connsiteX133" fmla="*/ 1605875 w 3785642"/>
                <a:gd name="connsiteY133" fmla="*/ 474778 h 479077"/>
                <a:gd name="connsiteX134" fmla="*/ 1589505 w 3785642"/>
                <a:gd name="connsiteY134" fmla="*/ 473290 h 479077"/>
                <a:gd name="connsiteX135" fmla="*/ 1573134 w 3785642"/>
                <a:gd name="connsiteY135" fmla="*/ 474778 h 479077"/>
                <a:gd name="connsiteX136" fmla="*/ 1556763 w 3785642"/>
                <a:gd name="connsiteY136" fmla="*/ 472794 h 479077"/>
                <a:gd name="connsiteX137" fmla="*/ 1540393 w 3785642"/>
                <a:gd name="connsiteY137" fmla="*/ 472794 h 479077"/>
                <a:gd name="connsiteX138" fmla="*/ 1524022 w 3785642"/>
                <a:gd name="connsiteY138" fmla="*/ 474282 h 479077"/>
                <a:gd name="connsiteX139" fmla="*/ 1507652 w 3785642"/>
                <a:gd name="connsiteY139" fmla="*/ 472794 h 479077"/>
                <a:gd name="connsiteX140" fmla="*/ 1491281 w 3785642"/>
                <a:gd name="connsiteY140" fmla="*/ 474282 h 479077"/>
                <a:gd name="connsiteX141" fmla="*/ 1474910 w 3785642"/>
                <a:gd name="connsiteY141" fmla="*/ 474282 h 479077"/>
                <a:gd name="connsiteX142" fmla="*/ 1458540 w 3785642"/>
                <a:gd name="connsiteY142" fmla="*/ 472794 h 479077"/>
                <a:gd name="connsiteX143" fmla="*/ 1442169 w 3785642"/>
                <a:gd name="connsiteY143" fmla="*/ 471802 h 479077"/>
                <a:gd name="connsiteX144" fmla="*/ 1425799 w 3785642"/>
                <a:gd name="connsiteY144" fmla="*/ 472298 h 479077"/>
                <a:gd name="connsiteX145" fmla="*/ 1409428 w 3785642"/>
                <a:gd name="connsiteY145" fmla="*/ 472794 h 479077"/>
                <a:gd name="connsiteX146" fmla="*/ 1393058 w 3785642"/>
                <a:gd name="connsiteY146" fmla="*/ 473786 h 479077"/>
                <a:gd name="connsiteX147" fmla="*/ 1376687 w 3785642"/>
                <a:gd name="connsiteY147" fmla="*/ 471802 h 479077"/>
                <a:gd name="connsiteX148" fmla="*/ 1360317 w 3785642"/>
                <a:gd name="connsiteY148" fmla="*/ 473786 h 479077"/>
                <a:gd name="connsiteX149" fmla="*/ 1343946 w 3785642"/>
                <a:gd name="connsiteY149" fmla="*/ 473786 h 479077"/>
                <a:gd name="connsiteX150" fmla="*/ 1327576 w 3785642"/>
                <a:gd name="connsiteY150" fmla="*/ 472794 h 479077"/>
                <a:gd name="connsiteX151" fmla="*/ 1311205 w 3785642"/>
                <a:gd name="connsiteY151" fmla="*/ 473786 h 479077"/>
                <a:gd name="connsiteX152" fmla="*/ 1294834 w 3785642"/>
                <a:gd name="connsiteY152" fmla="*/ 473786 h 479077"/>
                <a:gd name="connsiteX153" fmla="*/ 1278464 w 3785642"/>
                <a:gd name="connsiteY153" fmla="*/ 473786 h 479077"/>
                <a:gd name="connsiteX154" fmla="*/ 1262093 w 3785642"/>
                <a:gd name="connsiteY154" fmla="*/ 473786 h 479077"/>
                <a:gd name="connsiteX155" fmla="*/ 1245723 w 3785642"/>
                <a:gd name="connsiteY155" fmla="*/ 473290 h 479077"/>
                <a:gd name="connsiteX156" fmla="*/ 1229352 w 3785642"/>
                <a:gd name="connsiteY156" fmla="*/ 472794 h 479077"/>
                <a:gd name="connsiteX157" fmla="*/ 1212981 w 3785642"/>
                <a:gd name="connsiteY157" fmla="*/ 473786 h 479077"/>
                <a:gd name="connsiteX158" fmla="*/ 1196611 w 3785642"/>
                <a:gd name="connsiteY158" fmla="*/ 472298 h 479077"/>
                <a:gd name="connsiteX159" fmla="*/ 1180240 w 3785642"/>
                <a:gd name="connsiteY159" fmla="*/ 472794 h 479077"/>
                <a:gd name="connsiteX160" fmla="*/ 1163870 w 3785642"/>
                <a:gd name="connsiteY160" fmla="*/ 472794 h 479077"/>
                <a:gd name="connsiteX161" fmla="*/ 1147499 w 3785642"/>
                <a:gd name="connsiteY161" fmla="*/ 473786 h 479077"/>
                <a:gd name="connsiteX162" fmla="*/ 1131128 w 3785642"/>
                <a:gd name="connsiteY162" fmla="*/ 473786 h 479077"/>
                <a:gd name="connsiteX163" fmla="*/ 1114758 w 3785642"/>
                <a:gd name="connsiteY163" fmla="*/ 472794 h 479077"/>
                <a:gd name="connsiteX164" fmla="*/ 1098387 w 3785642"/>
                <a:gd name="connsiteY164" fmla="*/ 473786 h 479077"/>
                <a:gd name="connsiteX165" fmla="*/ 1082017 w 3785642"/>
                <a:gd name="connsiteY165" fmla="*/ 474778 h 479077"/>
                <a:gd name="connsiteX166" fmla="*/ 1065646 w 3785642"/>
                <a:gd name="connsiteY166" fmla="*/ 474778 h 479077"/>
                <a:gd name="connsiteX167" fmla="*/ 1049276 w 3785642"/>
                <a:gd name="connsiteY167" fmla="*/ 474282 h 479077"/>
                <a:gd name="connsiteX168" fmla="*/ 1032905 w 3785642"/>
                <a:gd name="connsiteY168" fmla="*/ 473290 h 479077"/>
                <a:gd name="connsiteX169" fmla="*/ 1016535 w 3785642"/>
                <a:gd name="connsiteY169" fmla="*/ 474282 h 479077"/>
                <a:gd name="connsiteX170" fmla="*/ 1000164 w 3785642"/>
                <a:gd name="connsiteY170" fmla="*/ 474282 h 479077"/>
                <a:gd name="connsiteX171" fmla="*/ 983793 w 3785642"/>
                <a:gd name="connsiteY171" fmla="*/ 472794 h 479077"/>
                <a:gd name="connsiteX172" fmla="*/ 967423 w 3785642"/>
                <a:gd name="connsiteY172" fmla="*/ 472794 h 479077"/>
                <a:gd name="connsiteX173" fmla="*/ 951052 w 3785642"/>
                <a:gd name="connsiteY173" fmla="*/ 473786 h 479077"/>
                <a:gd name="connsiteX174" fmla="*/ 934682 w 3785642"/>
                <a:gd name="connsiteY174" fmla="*/ 474282 h 479077"/>
                <a:gd name="connsiteX175" fmla="*/ 918311 w 3785642"/>
                <a:gd name="connsiteY175" fmla="*/ 474778 h 479077"/>
                <a:gd name="connsiteX176" fmla="*/ 901940 w 3785642"/>
                <a:gd name="connsiteY176" fmla="*/ 473290 h 479077"/>
                <a:gd name="connsiteX177" fmla="*/ 885570 w 3785642"/>
                <a:gd name="connsiteY177" fmla="*/ 474778 h 479077"/>
                <a:gd name="connsiteX178" fmla="*/ 869199 w 3785642"/>
                <a:gd name="connsiteY178" fmla="*/ 474282 h 479077"/>
                <a:gd name="connsiteX179" fmla="*/ 852829 w 3785642"/>
                <a:gd name="connsiteY179" fmla="*/ 473786 h 479077"/>
                <a:gd name="connsiteX180" fmla="*/ 836458 w 3785642"/>
                <a:gd name="connsiteY180" fmla="*/ 474778 h 479077"/>
                <a:gd name="connsiteX181" fmla="*/ 820088 w 3785642"/>
                <a:gd name="connsiteY181" fmla="*/ 475274 h 479077"/>
                <a:gd name="connsiteX182" fmla="*/ 803717 w 3785642"/>
                <a:gd name="connsiteY182" fmla="*/ 473786 h 479077"/>
                <a:gd name="connsiteX183" fmla="*/ 787347 w 3785642"/>
                <a:gd name="connsiteY183" fmla="*/ 475770 h 479077"/>
                <a:gd name="connsiteX184" fmla="*/ 770976 w 3785642"/>
                <a:gd name="connsiteY184" fmla="*/ 474778 h 479077"/>
                <a:gd name="connsiteX185" fmla="*/ 754605 w 3785642"/>
                <a:gd name="connsiteY185" fmla="*/ 475274 h 479077"/>
                <a:gd name="connsiteX186" fmla="*/ 738235 w 3785642"/>
                <a:gd name="connsiteY186" fmla="*/ 473786 h 479077"/>
                <a:gd name="connsiteX187" fmla="*/ 721864 w 3785642"/>
                <a:gd name="connsiteY187" fmla="*/ 475274 h 479077"/>
                <a:gd name="connsiteX188" fmla="*/ 705494 w 3785642"/>
                <a:gd name="connsiteY188" fmla="*/ 475770 h 479077"/>
                <a:gd name="connsiteX189" fmla="*/ 689123 w 3785642"/>
                <a:gd name="connsiteY189" fmla="*/ 474282 h 479077"/>
                <a:gd name="connsiteX190" fmla="*/ 672753 w 3785642"/>
                <a:gd name="connsiteY190" fmla="*/ 475274 h 479077"/>
                <a:gd name="connsiteX191" fmla="*/ 656382 w 3785642"/>
                <a:gd name="connsiteY191" fmla="*/ 474778 h 479077"/>
                <a:gd name="connsiteX192" fmla="*/ 640011 w 3785642"/>
                <a:gd name="connsiteY192" fmla="*/ 475770 h 479077"/>
                <a:gd name="connsiteX193" fmla="*/ 623641 w 3785642"/>
                <a:gd name="connsiteY193" fmla="*/ 473786 h 479077"/>
                <a:gd name="connsiteX194" fmla="*/ 607270 w 3785642"/>
                <a:gd name="connsiteY194" fmla="*/ 474778 h 479077"/>
                <a:gd name="connsiteX195" fmla="*/ 590900 w 3785642"/>
                <a:gd name="connsiteY195" fmla="*/ 475274 h 479077"/>
                <a:gd name="connsiteX196" fmla="*/ 574529 w 3785642"/>
                <a:gd name="connsiteY196" fmla="*/ 474282 h 479077"/>
                <a:gd name="connsiteX197" fmla="*/ 558158 w 3785642"/>
                <a:gd name="connsiteY197" fmla="*/ 475274 h 479077"/>
                <a:gd name="connsiteX198" fmla="*/ 541788 w 3785642"/>
                <a:gd name="connsiteY198" fmla="*/ 475770 h 479077"/>
                <a:gd name="connsiteX199" fmla="*/ 525417 w 3785642"/>
                <a:gd name="connsiteY199" fmla="*/ 474282 h 479077"/>
                <a:gd name="connsiteX200" fmla="*/ 509047 w 3785642"/>
                <a:gd name="connsiteY200" fmla="*/ 473786 h 479077"/>
                <a:gd name="connsiteX201" fmla="*/ 492676 w 3785642"/>
                <a:gd name="connsiteY201" fmla="*/ 473786 h 479077"/>
                <a:gd name="connsiteX202" fmla="*/ 476306 w 3785642"/>
                <a:gd name="connsiteY202" fmla="*/ 474778 h 479077"/>
                <a:gd name="connsiteX203" fmla="*/ 459935 w 3785642"/>
                <a:gd name="connsiteY203" fmla="*/ 473786 h 479077"/>
                <a:gd name="connsiteX204" fmla="*/ 443565 w 3785642"/>
                <a:gd name="connsiteY204" fmla="*/ 474778 h 479077"/>
                <a:gd name="connsiteX205" fmla="*/ 427194 w 3785642"/>
                <a:gd name="connsiteY205" fmla="*/ 474282 h 479077"/>
                <a:gd name="connsiteX206" fmla="*/ 410823 w 3785642"/>
                <a:gd name="connsiteY206" fmla="*/ 473290 h 479077"/>
                <a:gd name="connsiteX207" fmla="*/ 394453 w 3785642"/>
                <a:gd name="connsiteY207" fmla="*/ 475770 h 479077"/>
                <a:gd name="connsiteX208" fmla="*/ 378082 w 3785642"/>
                <a:gd name="connsiteY208" fmla="*/ 475274 h 479077"/>
                <a:gd name="connsiteX209" fmla="*/ 361712 w 3785642"/>
                <a:gd name="connsiteY209" fmla="*/ 474778 h 479077"/>
                <a:gd name="connsiteX210" fmla="*/ 345341 w 3785642"/>
                <a:gd name="connsiteY210" fmla="*/ 476266 h 479077"/>
                <a:gd name="connsiteX211" fmla="*/ 328970 w 3785642"/>
                <a:gd name="connsiteY211" fmla="*/ 474282 h 479077"/>
                <a:gd name="connsiteX212" fmla="*/ 312600 w 3785642"/>
                <a:gd name="connsiteY212" fmla="*/ 475274 h 479077"/>
                <a:gd name="connsiteX213" fmla="*/ 296229 w 3785642"/>
                <a:gd name="connsiteY213" fmla="*/ 474282 h 479077"/>
                <a:gd name="connsiteX214" fmla="*/ 279859 w 3785642"/>
                <a:gd name="connsiteY214" fmla="*/ 475770 h 479077"/>
                <a:gd name="connsiteX215" fmla="*/ 263488 w 3785642"/>
                <a:gd name="connsiteY215" fmla="*/ 476266 h 479077"/>
                <a:gd name="connsiteX216" fmla="*/ 247118 w 3785642"/>
                <a:gd name="connsiteY216" fmla="*/ 476266 h 479077"/>
                <a:gd name="connsiteX217" fmla="*/ 230747 w 3785642"/>
                <a:gd name="connsiteY217" fmla="*/ 474778 h 479077"/>
                <a:gd name="connsiteX218" fmla="*/ 214376 w 3785642"/>
                <a:gd name="connsiteY218" fmla="*/ 474778 h 479077"/>
                <a:gd name="connsiteX219" fmla="*/ 198006 w 3785642"/>
                <a:gd name="connsiteY219" fmla="*/ 476762 h 479077"/>
                <a:gd name="connsiteX220" fmla="*/ 181635 w 3785642"/>
                <a:gd name="connsiteY220" fmla="*/ 476266 h 479077"/>
                <a:gd name="connsiteX221" fmla="*/ 165265 w 3785642"/>
                <a:gd name="connsiteY221" fmla="*/ 474778 h 479077"/>
                <a:gd name="connsiteX222" fmla="*/ 148894 w 3785642"/>
                <a:gd name="connsiteY222" fmla="*/ 476762 h 479077"/>
                <a:gd name="connsiteX223" fmla="*/ 132524 w 3785642"/>
                <a:gd name="connsiteY223" fmla="*/ 476266 h 479077"/>
                <a:gd name="connsiteX224" fmla="*/ 116153 w 3785642"/>
                <a:gd name="connsiteY224" fmla="*/ 475274 h 479077"/>
                <a:gd name="connsiteX225" fmla="*/ 99783 w 3785642"/>
                <a:gd name="connsiteY225" fmla="*/ 475274 h 479077"/>
                <a:gd name="connsiteX226" fmla="*/ 83412 w 3785642"/>
                <a:gd name="connsiteY226" fmla="*/ 475274 h 479077"/>
                <a:gd name="connsiteX227" fmla="*/ 67041 w 3785642"/>
                <a:gd name="connsiteY227" fmla="*/ 474778 h 479077"/>
                <a:gd name="connsiteX228" fmla="*/ 50671 w 3785642"/>
                <a:gd name="connsiteY228" fmla="*/ 475274 h 479077"/>
                <a:gd name="connsiteX229" fmla="*/ 34300 w 3785642"/>
                <a:gd name="connsiteY229" fmla="*/ 475274 h 479077"/>
                <a:gd name="connsiteX230" fmla="*/ 17930 w 3785642"/>
                <a:gd name="connsiteY230" fmla="*/ 475770 h 479077"/>
                <a:gd name="connsiteX231" fmla="*/ 567 w 3785642"/>
                <a:gd name="connsiteY231" fmla="*/ 475770 h 479077"/>
                <a:gd name="connsiteX232" fmla="*/ 12969 w 3785642"/>
                <a:gd name="connsiteY232" fmla="*/ 463368 h 479077"/>
                <a:gd name="connsiteX233" fmla="*/ 24379 w 3785642"/>
                <a:gd name="connsiteY233" fmla="*/ 451958 h 479077"/>
                <a:gd name="connsiteX234" fmla="*/ 35788 w 3785642"/>
                <a:gd name="connsiteY234" fmla="*/ 440053 h 479077"/>
                <a:gd name="connsiteX235" fmla="*/ 48686 w 3785642"/>
                <a:gd name="connsiteY235" fmla="*/ 430131 h 479077"/>
                <a:gd name="connsiteX236" fmla="*/ 59600 w 3785642"/>
                <a:gd name="connsiteY236" fmla="*/ 418225 h 479077"/>
                <a:gd name="connsiteX237" fmla="*/ 70514 w 3785642"/>
                <a:gd name="connsiteY237" fmla="*/ 405823 h 479077"/>
                <a:gd name="connsiteX238" fmla="*/ 83412 w 3785642"/>
                <a:gd name="connsiteY238" fmla="*/ 395406 h 479077"/>
                <a:gd name="connsiteX239" fmla="*/ 94822 w 3785642"/>
                <a:gd name="connsiteY239" fmla="*/ 383500 h 479077"/>
                <a:gd name="connsiteX240" fmla="*/ 106728 w 3785642"/>
                <a:gd name="connsiteY240" fmla="*/ 372090 h 479077"/>
                <a:gd name="connsiteX241" fmla="*/ 117145 w 3785642"/>
                <a:gd name="connsiteY241" fmla="*/ 359688 h 479077"/>
                <a:gd name="connsiteX242" fmla="*/ 128555 w 3785642"/>
                <a:gd name="connsiteY242" fmla="*/ 348278 h 479077"/>
                <a:gd name="connsiteX243" fmla="*/ 140461 w 3785642"/>
                <a:gd name="connsiteY243" fmla="*/ 336868 h 479077"/>
                <a:gd name="connsiteX244" fmla="*/ 152863 w 3785642"/>
                <a:gd name="connsiteY244" fmla="*/ 326451 h 479077"/>
                <a:gd name="connsiteX245" fmla="*/ 164769 w 3785642"/>
                <a:gd name="connsiteY245" fmla="*/ 315041 h 479077"/>
                <a:gd name="connsiteX246" fmla="*/ 176178 w 3785642"/>
                <a:gd name="connsiteY246" fmla="*/ 303135 h 479077"/>
                <a:gd name="connsiteX247" fmla="*/ 188084 w 3785642"/>
                <a:gd name="connsiteY247" fmla="*/ 291725 h 479077"/>
                <a:gd name="connsiteX248" fmla="*/ 199494 w 3785642"/>
                <a:gd name="connsiteY248" fmla="*/ 280315 h 479077"/>
                <a:gd name="connsiteX249" fmla="*/ 210904 w 3785642"/>
                <a:gd name="connsiteY249" fmla="*/ 268906 h 479077"/>
                <a:gd name="connsiteX250" fmla="*/ 221818 w 3785642"/>
                <a:gd name="connsiteY250" fmla="*/ 256504 h 479077"/>
                <a:gd name="connsiteX251" fmla="*/ 233724 w 3785642"/>
                <a:gd name="connsiteY251" fmla="*/ 245094 h 479077"/>
                <a:gd name="connsiteX252" fmla="*/ 244141 w 3785642"/>
                <a:gd name="connsiteY252" fmla="*/ 232692 h 479077"/>
                <a:gd name="connsiteX253" fmla="*/ 257039 w 3785642"/>
                <a:gd name="connsiteY253" fmla="*/ 222770 h 479077"/>
                <a:gd name="connsiteX254" fmla="*/ 266961 w 3785642"/>
                <a:gd name="connsiteY254" fmla="*/ 209376 h 479077"/>
                <a:gd name="connsiteX255" fmla="*/ 278371 w 3785642"/>
                <a:gd name="connsiteY255" fmla="*/ 197966 h 479077"/>
                <a:gd name="connsiteX256" fmla="*/ 291269 w 3785642"/>
                <a:gd name="connsiteY256" fmla="*/ 188045 h 479077"/>
                <a:gd name="connsiteX257" fmla="*/ 301686 w 3785642"/>
                <a:gd name="connsiteY257" fmla="*/ 175147 h 479077"/>
                <a:gd name="connsiteX258" fmla="*/ 313592 w 3785642"/>
                <a:gd name="connsiteY258" fmla="*/ 163737 h 479077"/>
                <a:gd name="connsiteX259" fmla="*/ 325994 w 3785642"/>
                <a:gd name="connsiteY259" fmla="*/ 153319 h 479077"/>
                <a:gd name="connsiteX260" fmla="*/ 337404 w 3785642"/>
                <a:gd name="connsiteY260" fmla="*/ 141910 h 479077"/>
                <a:gd name="connsiteX261" fmla="*/ 347325 w 3785642"/>
                <a:gd name="connsiteY261" fmla="*/ 129012 h 479077"/>
                <a:gd name="connsiteX262" fmla="*/ 360224 w 3785642"/>
                <a:gd name="connsiteY262" fmla="*/ 118594 h 479077"/>
                <a:gd name="connsiteX263" fmla="*/ 371137 w 3785642"/>
                <a:gd name="connsiteY263" fmla="*/ 106192 h 479077"/>
                <a:gd name="connsiteX264" fmla="*/ 382051 w 3785642"/>
                <a:gd name="connsiteY264" fmla="*/ 93790 h 479077"/>
                <a:gd name="connsiteX265" fmla="*/ 393957 w 3785642"/>
                <a:gd name="connsiteY265" fmla="*/ 82380 h 479077"/>
                <a:gd name="connsiteX266" fmla="*/ 405366 w 3785642"/>
                <a:gd name="connsiteY266" fmla="*/ 70475 h 479077"/>
                <a:gd name="connsiteX267" fmla="*/ 417272 w 3785642"/>
                <a:gd name="connsiteY267" fmla="*/ 59561 h 479077"/>
                <a:gd name="connsiteX268" fmla="*/ 429674 w 3785642"/>
                <a:gd name="connsiteY268" fmla="*/ 48647 h 479077"/>
                <a:gd name="connsiteX269" fmla="*/ 440092 w 3785642"/>
                <a:gd name="connsiteY269" fmla="*/ 35749 h 479077"/>
                <a:gd name="connsiteX270" fmla="*/ 452494 w 3785642"/>
                <a:gd name="connsiteY270" fmla="*/ 24835 h 479077"/>
                <a:gd name="connsiteX271" fmla="*/ 463904 w 3785642"/>
                <a:gd name="connsiteY271" fmla="*/ 12929 h 479077"/>
                <a:gd name="connsiteX272" fmla="*/ 475313 w 3785642"/>
                <a:gd name="connsiteY272" fmla="*/ 1024 h 479077"/>
                <a:gd name="connsiteX273" fmla="*/ 491684 w 3785642"/>
                <a:gd name="connsiteY273" fmla="*/ 2512 h 479077"/>
                <a:gd name="connsiteX274" fmla="*/ 508055 w 3785642"/>
                <a:gd name="connsiteY274" fmla="*/ 2512 h 479077"/>
                <a:gd name="connsiteX275" fmla="*/ 524425 w 3785642"/>
                <a:gd name="connsiteY275" fmla="*/ 2512 h 479077"/>
                <a:gd name="connsiteX276" fmla="*/ 540796 w 3785642"/>
                <a:gd name="connsiteY276" fmla="*/ 1024 h 479077"/>
                <a:gd name="connsiteX277" fmla="*/ 557166 w 3785642"/>
                <a:gd name="connsiteY277" fmla="*/ 2512 h 479077"/>
                <a:gd name="connsiteX278" fmla="*/ 573537 w 3785642"/>
                <a:gd name="connsiteY278" fmla="*/ 1024 h 479077"/>
                <a:gd name="connsiteX279" fmla="*/ 589908 w 3785642"/>
                <a:gd name="connsiteY279" fmla="*/ 527 h 479077"/>
                <a:gd name="connsiteX280" fmla="*/ 606278 w 3785642"/>
                <a:gd name="connsiteY280" fmla="*/ 1520 h 479077"/>
                <a:gd name="connsiteX281" fmla="*/ 622649 w 3785642"/>
                <a:gd name="connsiteY281" fmla="*/ 1520 h 479077"/>
                <a:gd name="connsiteX282" fmla="*/ 639019 w 3785642"/>
                <a:gd name="connsiteY282" fmla="*/ 2016 h 479077"/>
                <a:gd name="connsiteX283" fmla="*/ 655390 w 3785642"/>
                <a:gd name="connsiteY283" fmla="*/ 527 h 479077"/>
                <a:gd name="connsiteX284" fmla="*/ 671760 w 3785642"/>
                <a:gd name="connsiteY284" fmla="*/ 1520 h 479077"/>
                <a:gd name="connsiteX285" fmla="*/ 688131 w 3785642"/>
                <a:gd name="connsiteY285" fmla="*/ 2512 h 479077"/>
                <a:gd name="connsiteX286" fmla="*/ 704501 w 3785642"/>
                <a:gd name="connsiteY286" fmla="*/ 1024 h 479077"/>
                <a:gd name="connsiteX287" fmla="*/ 720872 w 3785642"/>
                <a:gd name="connsiteY287" fmla="*/ 1520 h 479077"/>
                <a:gd name="connsiteX288" fmla="*/ 737243 w 3785642"/>
                <a:gd name="connsiteY288" fmla="*/ 2016 h 479077"/>
                <a:gd name="connsiteX289" fmla="*/ 753613 w 3785642"/>
                <a:gd name="connsiteY289" fmla="*/ 1024 h 479077"/>
                <a:gd name="connsiteX290" fmla="*/ 769984 w 3785642"/>
                <a:gd name="connsiteY290" fmla="*/ 527 h 479077"/>
                <a:gd name="connsiteX291" fmla="*/ 786354 w 3785642"/>
                <a:gd name="connsiteY291" fmla="*/ 1520 h 479077"/>
                <a:gd name="connsiteX292" fmla="*/ 802725 w 3785642"/>
                <a:gd name="connsiteY292" fmla="*/ 527 h 479077"/>
                <a:gd name="connsiteX293" fmla="*/ 819096 w 3785642"/>
                <a:gd name="connsiteY293" fmla="*/ 2512 h 479077"/>
                <a:gd name="connsiteX294" fmla="*/ 835466 w 3785642"/>
                <a:gd name="connsiteY294" fmla="*/ 527 h 479077"/>
                <a:gd name="connsiteX295" fmla="*/ 851837 w 3785642"/>
                <a:gd name="connsiteY295" fmla="*/ 1520 h 479077"/>
                <a:gd name="connsiteX296" fmla="*/ 868207 w 3785642"/>
                <a:gd name="connsiteY296" fmla="*/ 2016 h 479077"/>
                <a:gd name="connsiteX297" fmla="*/ 884578 w 3785642"/>
                <a:gd name="connsiteY297" fmla="*/ 2512 h 479077"/>
                <a:gd name="connsiteX298" fmla="*/ 900948 w 3785642"/>
                <a:gd name="connsiteY298" fmla="*/ 1520 h 479077"/>
                <a:gd name="connsiteX299" fmla="*/ 917319 w 3785642"/>
                <a:gd name="connsiteY299" fmla="*/ 1024 h 479077"/>
                <a:gd name="connsiteX300" fmla="*/ 933689 w 3785642"/>
                <a:gd name="connsiteY300" fmla="*/ 2512 h 479077"/>
                <a:gd name="connsiteX301" fmla="*/ 950060 w 3785642"/>
                <a:gd name="connsiteY301" fmla="*/ 1520 h 479077"/>
                <a:gd name="connsiteX302" fmla="*/ 966431 w 3785642"/>
                <a:gd name="connsiteY302" fmla="*/ 2016 h 479077"/>
                <a:gd name="connsiteX303" fmla="*/ 982801 w 3785642"/>
                <a:gd name="connsiteY303" fmla="*/ 2512 h 479077"/>
                <a:gd name="connsiteX304" fmla="*/ 999172 w 3785642"/>
                <a:gd name="connsiteY304" fmla="*/ 1520 h 479077"/>
                <a:gd name="connsiteX305" fmla="*/ 1015542 w 3785642"/>
                <a:gd name="connsiteY305" fmla="*/ 2512 h 479077"/>
                <a:gd name="connsiteX306" fmla="*/ 1031913 w 3785642"/>
                <a:gd name="connsiteY306" fmla="*/ 1520 h 479077"/>
                <a:gd name="connsiteX307" fmla="*/ 1048283 w 3785642"/>
                <a:gd name="connsiteY307" fmla="*/ 2016 h 479077"/>
                <a:gd name="connsiteX308" fmla="*/ 1064654 w 3785642"/>
                <a:gd name="connsiteY308" fmla="*/ 3504 h 479077"/>
                <a:gd name="connsiteX309" fmla="*/ 1081025 w 3785642"/>
                <a:gd name="connsiteY309" fmla="*/ 2016 h 479077"/>
                <a:gd name="connsiteX310" fmla="*/ 1097395 w 3785642"/>
                <a:gd name="connsiteY310" fmla="*/ 2512 h 479077"/>
                <a:gd name="connsiteX311" fmla="*/ 1113766 w 3785642"/>
                <a:gd name="connsiteY311" fmla="*/ 2512 h 479077"/>
                <a:gd name="connsiteX312" fmla="*/ 1130136 w 3785642"/>
                <a:gd name="connsiteY312" fmla="*/ 3504 h 479077"/>
                <a:gd name="connsiteX313" fmla="*/ 1146507 w 3785642"/>
                <a:gd name="connsiteY313" fmla="*/ 1520 h 479077"/>
                <a:gd name="connsiteX314" fmla="*/ 1162878 w 3785642"/>
                <a:gd name="connsiteY314" fmla="*/ 3008 h 479077"/>
                <a:gd name="connsiteX315" fmla="*/ 1179248 w 3785642"/>
                <a:gd name="connsiteY315" fmla="*/ 4000 h 479077"/>
                <a:gd name="connsiteX316" fmla="*/ 1195619 w 3785642"/>
                <a:gd name="connsiteY316" fmla="*/ 3504 h 479077"/>
                <a:gd name="connsiteX317" fmla="*/ 1211989 w 3785642"/>
                <a:gd name="connsiteY317" fmla="*/ 1520 h 479077"/>
                <a:gd name="connsiteX318" fmla="*/ 1228360 w 3785642"/>
                <a:gd name="connsiteY318" fmla="*/ 3504 h 479077"/>
                <a:gd name="connsiteX319" fmla="*/ 1244730 w 3785642"/>
                <a:gd name="connsiteY319" fmla="*/ 1520 h 479077"/>
                <a:gd name="connsiteX320" fmla="*/ 1261101 w 3785642"/>
                <a:gd name="connsiteY320" fmla="*/ 2512 h 479077"/>
                <a:gd name="connsiteX321" fmla="*/ 1277471 w 3785642"/>
                <a:gd name="connsiteY321" fmla="*/ 3504 h 479077"/>
                <a:gd name="connsiteX322" fmla="*/ 1293842 w 3785642"/>
                <a:gd name="connsiteY322" fmla="*/ 4000 h 479077"/>
                <a:gd name="connsiteX323" fmla="*/ 1310213 w 3785642"/>
                <a:gd name="connsiteY323" fmla="*/ 1520 h 479077"/>
                <a:gd name="connsiteX324" fmla="*/ 1326583 w 3785642"/>
                <a:gd name="connsiteY324" fmla="*/ 2016 h 479077"/>
                <a:gd name="connsiteX325" fmla="*/ 1342954 w 3785642"/>
                <a:gd name="connsiteY325" fmla="*/ 3008 h 479077"/>
                <a:gd name="connsiteX326" fmla="*/ 1359324 w 3785642"/>
                <a:gd name="connsiteY326" fmla="*/ 3008 h 479077"/>
                <a:gd name="connsiteX327" fmla="*/ 1375695 w 3785642"/>
                <a:gd name="connsiteY327" fmla="*/ 2512 h 479077"/>
                <a:gd name="connsiteX328" fmla="*/ 1392066 w 3785642"/>
                <a:gd name="connsiteY328" fmla="*/ 2512 h 479077"/>
                <a:gd name="connsiteX329" fmla="*/ 1408436 w 3785642"/>
                <a:gd name="connsiteY329" fmla="*/ 3504 h 479077"/>
                <a:gd name="connsiteX330" fmla="*/ 1424807 w 3785642"/>
                <a:gd name="connsiteY330" fmla="*/ 3504 h 479077"/>
                <a:gd name="connsiteX331" fmla="*/ 1441177 w 3785642"/>
                <a:gd name="connsiteY331" fmla="*/ 1520 h 479077"/>
                <a:gd name="connsiteX332" fmla="*/ 1457548 w 3785642"/>
                <a:gd name="connsiteY332" fmla="*/ 2512 h 479077"/>
                <a:gd name="connsiteX333" fmla="*/ 1473919 w 3785642"/>
                <a:gd name="connsiteY333" fmla="*/ 2016 h 479077"/>
                <a:gd name="connsiteX334" fmla="*/ 1490289 w 3785642"/>
                <a:gd name="connsiteY334" fmla="*/ 2016 h 479077"/>
                <a:gd name="connsiteX335" fmla="*/ 1506660 w 3785642"/>
                <a:gd name="connsiteY335" fmla="*/ 1520 h 479077"/>
                <a:gd name="connsiteX336" fmla="*/ 1523030 w 3785642"/>
                <a:gd name="connsiteY336" fmla="*/ 3504 h 479077"/>
                <a:gd name="connsiteX337" fmla="*/ 1539401 w 3785642"/>
                <a:gd name="connsiteY337" fmla="*/ 3008 h 479077"/>
                <a:gd name="connsiteX338" fmla="*/ 1555771 w 3785642"/>
                <a:gd name="connsiteY338" fmla="*/ 3008 h 479077"/>
                <a:gd name="connsiteX339" fmla="*/ 1572142 w 3785642"/>
                <a:gd name="connsiteY339" fmla="*/ 2512 h 479077"/>
                <a:gd name="connsiteX340" fmla="*/ 1588512 w 3785642"/>
                <a:gd name="connsiteY340" fmla="*/ 2016 h 479077"/>
                <a:gd name="connsiteX341" fmla="*/ 1604883 w 3785642"/>
                <a:gd name="connsiteY341" fmla="*/ 3008 h 479077"/>
                <a:gd name="connsiteX342" fmla="*/ 1621253 w 3785642"/>
                <a:gd name="connsiteY342" fmla="*/ 3008 h 479077"/>
                <a:gd name="connsiteX343" fmla="*/ 1637624 w 3785642"/>
                <a:gd name="connsiteY34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313375 w 3785642"/>
                <a:gd name="connsiteY16" fmla="*/ 10945 h 479077"/>
                <a:gd name="connsiteX17" fmla="*/ 3300973 w 3785642"/>
                <a:gd name="connsiteY17" fmla="*/ 21363 h 479077"/>
                <a:gd name="connsiteX18" fmla="*/ 3289068 w 3785642"/>
                <a:gd name="connsiteY18" fmla="*/ 32276 h 479077"/>
                <a:gd name="connsiteX19" fmla="*/ 3277658 w 3785642"/>
                <a:gd name="connsiteY19" fmla="*/ 43686 h 479077"/>
                <a:gd name="connsiteX20" fmla="*/ 3266248 w 3785642"/>
                <a:gd name="connsiteY20" fmla="*/ 55592 h 479077"/>
                <a:gd name="connsiteX21" fmla="*/ 3255830 w 3785642"/>
                <a:gd name="connsiteY21" fmla="*/ 68490 h 479077"/>
                <a:gd name="connsiteX22" fmla="*/ 3243924 w 3785642"/>
                <a:gd name="connsiteY22" fmla="*/ 79900 h 479077"/>
                <a:gd name="connsiteX23" fmla="*/ 3231522 w 3785642"/>
                <a:gd name="connsiteY23" fmla="*/ 90814 h 479077"/>
                <a:gd name="connsiteX24" fmla="*/ 3220609 w 3785642"/>
                <a:gd name="connsiteY24" fmla="*/ 102720 h 479077"/>
                <a:gd name="connsiteX25" fmla="*/ 3208207 w 3785642"/>
                <a:gd name="connsiteY25" fmla="*/ 113137 h 479077"/>
                <a:gd name="connsiteX26" fmla="*/ 3197293 w 3785642"/>
                <a:gd name="connsiteY26" fmla="*/ 125043 h 479077"/>
                <a:gd name="connsiteX27" fmla="*/ 3185387 w 3785642"/>
                <a:gd name="connsiteY27" fmla="*/ 136453 h 479077"/>
                <a:gd name="connsiteX28" fmla="*/ 3174970 w 3785642"/>
                <a:gd name="connsiteY28" fmla="*/ 148855 h 479077"/>
                <a:gd name="connsiteX29" fmla="*/ 3162071 w 3785642"/>
                <a:gd name="connsiteY29" fmla="*/ 159272 h 479077"/>
                <a:gd name="connsiteX30" fmla="*/ 3151158 w 3785642"/>
                <a:gd name="connsiteY30" fmla="*/ 171674 h 479077"/>
                <a:gd name="connsiteX31" fmla="*/ 3139252 w 3785642"/>
                <a:gd name="connsiteY31" fmla="*/ 182588 h 479077"/>
                <a:gd name="connsiteX32" fmla="*/ 3127843 w 3785642"/>
                <a:gd name="connsiteY32" fmla="*/ 194494 h 479077"/>
                <a:gd name="connsiteX33" fmla="*/ 3116432 w 3785642"/>
                <a:gd name="connsiteY33" fmla="*/ 205904 h 479077"/>
                <a:gd name="connsiteX34" fmla="*/ 3105022 w 3785642"/>
                <a:gd name="connsiteY34" fmla="*/ 217810 h 479077"/>
                <a:gd name="connsiteX35" fmla="*/ 3093117 w 3785642"/>
                <a:gd name="connsiteY35" fmla="*/ 229219 h 479077"/>
                <a:gd name="connsiteX36" fmla="*/ 3081707 w 3785642"/>
                <a:gd name="connsiteY36" fmla="*/ 240629 h 479077"/>
                <a:gd name="connsiteX37" fmla="*/ 3069305 w 3785642"/>
                <a:gd name="connsiteY37" fmla="*/ 251543 h 479077"/>
                <a:gd name="connsiteX38" fmla="*/ 3057895 w 3785642"/>
                <a:gd name="connsiteY38" fmla="*/ 263449 h 479077"/>
                <a:gd name="connsiteX39" fmla="*/ 3046486 w 3785642"/>
                <a:gd name="connsiteY39" fmla="*/ 275355 h 479077"/>
                <a:gd name="connsiteX40" fmla="*/ 3035572 w 3785642"/>
                <a:gd name="connsiteY40" fmla="*/ 287260 h 479077"/>
                <a:gd name="connsiteX41" fmla="*/ 3024658 w 3785642"/>
                <a:gd name="connsiteY41" fmla="*/ 299166 h 479077"/>
                <a:gd name="connsiteX42" fmla="*/ 3013248 w 3785642"/>
                <a:gd name="connsiteY42" fmla="*/ 311072 h 479077"/>
                <a:gd name="connsiteX43" fmla="*/ 3000350 w 3785642"/>
                <a:gd name="connsiteY43" fmla="*/ 321490 h 479077"/>
                <a:gd name="connsiteX44" fmla="*/ 2988941 w 3785642"/>
                <a:gd name="connsiteY44" fmla="*/ 333396 h 479077"/>
                <a:gd name="connsiteX45" fmla="*/ 2976539 w 3785642"/>
                <a:gd name="connsiteY45" fmla="*/ 344309 h 479077"/>
                <a:gd name="connsiteX46" fmla="*/ 2965129 w 3785642"/>
                <a:gd name="connsiteY46" fmla="*/ 356215 h 479077"/>
                <a:gd name="connsiteX47" fmla="*/ 2953223 w 3785642"/>
                <a:gd name="connsiteY47" fmla="*/ 367625 h 479077"/>
                <a:gd name="connsiteX48" fmla="*/ 2941813 w 3785642"/>
                <a:gd name="connsiteY48" fmla="*/ 379531 h 479077"/>
                <a:gd name="connsiteX49" fmla="*/ 2931395 w 3785642"/>
                <a:gd name="connsiteY49" fmla="*/ 392429 h 479077"/>
                <a:gd name="connsiteX50" fmla="*/ 2918497 w 3785642"/>
                <a:gd name="connsiteY50" fmla="*/ 402847 h 479077"/>
                <a:gd name="connsiteX51" fmla="*/ 2907584 w 3785642"/>
                <a:gd name="connsiteY51" fmla="*/ 415249 h 479077"/>
                <a:gd name="connsiteX52" fmla="*/ 2896174 w 3785642"/>
                <a:gd name="connsiteY52" fmla="*/ 426658 h 479077"/>
                <a:gd name="connsiteX53" fmla="*/ 2884268 w 3785642"/>
                <a:gd name="connsiteY53" fmla="*/ 438068 h 479077"/>
                <a:gd name="connsiteX54" fmla="*/ 2873354 w 3785642"/>
                <a:gd name="connsiteY54" fmla="*/ 450470 h 479077"/>
                <a:gd name="connsiteX55" fmla="*/ 2860952 w 3785642"/>
                <a:gd name="connsiteY55" fmla="*/ 461384 h 479077"/>
                <a:gd name="connsiteX56" fmla="*/ 2850039 w 3785642"/>
                <a:gd name="connsiteY56" fmla="*/ 473786 h 479077"/>
                <a:gd name="connsiteX57" fmla="*/ 2833668 w 3785642"/>
                <a:gd name="connsiteY57" fmla="*/ 473786 h 479077"/>
                <a:gd name="connsiteX58" fmla="*/ 2817297 w 3785642"/>
                <a:gd name="connsiteY58" fmla="*/ 473290 h 479077"/>
                <a:gd name="connsiteX59" fmla="*/ 2800927 w 3785642"/>
                <a:gd name="connsiteY59" fmla="*/ 473290 h 479077"/>
                <a:gd name="connsiteX60" fmla="*/ 2784556 w 3785642"/>
                <a:gd name="connsiteY60" fmla="*/ 473786 h 479077"/>
                <a:gd name="connsiteX61" fmla="*/ 2768186 w 3785642"/>
                <a:gd name="connsiteY61" fmla="*/ 474282 h 479077"/>
                <a:gd name="connsiteX62" fmla="*/ 2751815 w 3785642"/>
                <a:gd name="connsiteY62" fmla="*/ 474282 h 479077"/>
                <a:gd name="connsiteX63" fmla="*/ 2735444 w 3785642"/>
                <a:gd name="connsiteY63" fmla="*/ 473290 h 479077"/>
                <a:gd name="connsiteX64" fmla="*/ 2719074 w 3785642"/>
                <a:gd name="connsiteY64" fmla="*/ 474282 h 479077"/>
                <a:gd name="connsiteX65" fmla="*/ 2702703 w 3785642"/>
                <a:gd name="connsiteY65" fmla="*/ 472298 h 479077"/>
                <a:gd name="connsiteX66" fmla="*/ 2686333 w 3785642"/>
                <a:gd name="connsiteY66" fmla="*/ 472794 h 479077"/>
                <a:gd name="connsiteX67" fmla="*/ 2669962 w 3785642"/>
                <a:gd name="connsiteY67" fmla="*/ 474282 h 479077"/>
                <a:gd name="connsiteX68" fmla="*/ 2653592 w 3785642"/>
                <a:gd name="connsiteY68" fmla="*/ 472298 h 479077"/>
                <a:gd name="connsiteX69" fmla="*/ 2637221 w 3785642"/>
                <a:gd name="connsiteY69" fmla="*/ 474282 h 479077"/>
                <a:gd name="connsiteX70" fmla="*/ 2620851 w 3785642"/>
                <a:gd name="connsiteY70" fmla="*/ 474282 h 479077"/>
                <a:gd name="connsiteX71" fmla="*/ 2604480 w 3785642"/>
                <a:gd name="connsiteY71" fmla="*/ 472298 h 479077"/>
                <a:gd name="connsiteX72" fmla="*/ 2588109 w 3785642"/>
                <a:gd name="connsiteY72" fmla="*/ 473786 h 479077"/>
                <a:gd name="connsiteX73" fmla="*/ 2571739 w 3785642"/>
                <a:gd name="connsiteY73" fmla="*/ 472298 h 479077"/>
                <a:gd name="connsiteX74" fmla="*/ 2555368 w 3785642"/>
                <a:gd name="connsiteY74" fmla="*/ 473290 h 479077"/>
                <a:gd name="connsiteX75" fmla="*/ 2538998 w 3785642"/>
                <a:gd name="connsiteY75" fmla="*/ 474282 h 479077"/>
                <a:gd name="connsiteX76" fmla="*/ 2522627 w 3785642"/>
                <a:gd name="connsiteY76" fmla="*/ 473290 h 479077"/>
                <a:gd name="connsiteX77" fmla="*/ 2506257 w 3785642"/>
                <a:gd name="connsiteY77" fmla="*/ 474282 h 479077"/>
                <a:gd name="connsiteX78" fmla="*/ 2489886 w 3785642"/>
                <a:gd name="connsiteY78" fmla="*/ 473786 h 479077"/>
                <a:gd name="connsiteX79" fmla="*/ 2473516 w 3785642"/>
                <a:gd name="connsiteY79" fmla="*/ 474282 h 479077"/>
                <a:gd name="connsiteX80" fmla="*/ 2457145 w 3785642"/>
                <a:gd name="connsiteY80" fmla="*/ 472794 h 479077"/>
                <a:gd name="connsiteX81" fmla="*/ 2440775 w 3785642"/>
                <a:gd name="connsiteY81" fmla="*/ 472298 h 479077"/>
                <a:gd name="connsiteX82" fmla="*/ 2424404 w 3785642"/>
                <a:gd name="connsiteY82" fmla="*/ 473786 h 479077"/>
                <a:gd name="connsiteX83" fmla="*/ 2408033 w 3785642"/>
                <a:gd name="connsiteY83" fmla="*/ 472794 h 479077"/>
                <a:gd name="connsiteX84" fmla="*/ 2391663 w 3785642"/>
                <a:gd name="connsiteY84" fmla="*/ 473290 h 479077"/>
                <a:gd name="connsiteX85" fmla="*/ 2375292 w 3785642"/>
                <a:gd name="connsiteY85" fmla="*/ 473290 h 479077"/>
                <a:gd name="connsiteX86" fmla="*/ 2358922 w 3785642"/>
                <a:gd name="connsiteY86" fmla="*/ 472794 h 479077"/>
                <a:gd name="connsiteX87" fmla="*/ 2342551 w 3785642"/>
                <a:gd name="connsiteY87" fmla="*/ 472298 h 479077"/>
                <a:gd name="connsiteX88" fmla="*/ 2326180 w 3785642"/>
                <a:gd name="connsiteY88" fmla="*/ 473786 h 479077"/>
                <a:gd name="connsiteX89" fmla="*/ 2309810 w 3785642"/>
                <a:gd name="connsiteY89" fmla="*/ 473786 h 479077"/>
                <a:gd name="connsiteX90" fmla="*/ 2293439 w 3785642"/>
                <a:gd name="connsiteY90" fmla="*/ 473786 h 479077"/>
                <a:gd name="connsiteX91" fmla="*/ 2277069 w 3785642"/>
                <a:gd name="connsiteY91" fmla="*/ 472794 h 479077"/>
                <a:gd name="connsiteX92" fmla="*/ 2260698 w 3785642"/>
                <a:gd name="connsiteY92" fmla="*/ 474282 h 479077"/>
                <a:gd name="connsiteX93" fmla="*/ 2244327 w 3785642"/>
                <a:gd name="connsiteY93" fmla="*/ 472298 h 479077"/>
                <a:gd name="connsiteX94" fmla="*/ 2227957 w 3785642"/>
                <a:gd name="connsiteY94" fmla="*/ 474282 h 479077"/>
                <a:gd name="connsiteX95" fmla="*/ 2211586 w 3785642"/>
                <a:gd name="connsiteY95" fmla="*/ 473290 h 479077"/>
                <a:gd name="connsiteX96" fmla="*/ 2195216 w 3785642"/>
                <a:gd name="connsiteY96" fmla="*/ 474282 h 479077"/>
                <a:gd name="connsiteX97" fmla="*/ 2178845 w 3785642"/>
                <a:gd name="connsiteY97" fmla="*/ 472794 h 479077"/>
                <a:gd name="connsiteX98" fmla="*/ 2162474 w 3785642"/>
                <a:gd name="connsiteY98" fmla="*/ 474778 h 479077"/>
                <a:gd name="connsiteX99" fmla="*/ 2146104 w 3785642"/>
                <a:gd name="connsiteY99" fmla="*/ 473290 h 479077"/>
                <a:gd name="connsiteX100" fmla="*/ 2129733 w 3785642"/>
                <a:gd name="connsiteY100" fmla="*/ 474778 h 479077"/>
                <a:gd name="connsiteX101" fmla="*/ 2113363 w 3785642"/>
                <a:gd name="connsiteY101" fmla="*/ 474778 h 479077"/>
                <a:gd name="connsiteX102" fmla="*/ 2096992 w 3785642"/>
                <a:gd name="connsiteY102" fmla="*/ 474778 h 479077"/>
                <a:gd name="connsiteX103" fmla="*/ 2080621 w 3785642"/>
                <a:gd name="connsiteY103" fmla="*/ 474282 h 479077"/>
                <a:gd name="connsiteX104" fmla="*/ 2064251 w 3785642"/>
                <a:gd name="connsiteY104" fmla="*/ 472794 h 479077"/>
                <a:gd name="connsiteX105" fmla="*/ 2047880 w 3785642"/>
                <a:gd name="connsiteY105" fmla="*/ 474778 h 479077"/>
                <a:gd name="connsiteX106" fmla="*/ 2031510 w 3785642"/>
                <a:gd name="connsiteY106" fmla="*/ 474778 h 479077"/>
                <a:gd name="connsiteX107" fmla="*/ 2015139 w 3785642"/>
                <a:gd name="connsiteY107" fmla="*/ 474778 h 479077"/>
                <a:gd name="connsiteX108" fmla="*/ 1998769 w 3785642"/>
                <a:gd name="connsiteY108" fmla="*/ 474282 h 479077"/>
                <a:gd name="connsiteX109" fmla="*/ 1982398 w 3785642"/>
                <a:gd name="connsiteY109" fmla="*/ 473786 h 479077"/>
                <a:gd name="connsiteX110" fmla="*/ 1966028 w 3785642"/>
                <a:gd name="connsiteY110" fmla="*/ 473786 h 479077"/>
                <a:gd name="connsiteX111" fmla="*/ 1949657 w 3785642"/>
                <a:gd name="connsiteY111" fmla="*/ 472794 h 479077"/>
                <a:gd name="connsiteX112" fmla="*/ 1933287 w 3785642"/>
                <a:gd name="connsiteY112" fmla="*/ 473290 h 479077"/>
                <a:gd name="connsiteX113" fmla="*/ 1916916 w 3785642"/>
                <a:gd name="connsiteY113" fmla="*/ 474778 h 479077"/>
                <a:gd name="connsiteX114" fmla="*/ 1900546 w 3785642"/>
                <a:gd name="connsiteY114" fmla="*/ 472794 h 479077"/>
                <a:gd name="connsiteX115" fmla="*/ 1884175 w 3785642"/>
                <a:gd name="connsiteY115" fmla="*/ 473786 h 479077"/>
                <a:gd name="connsiteX116" fmla="*/ 1867804 w 3785642"/>
                <a:gd name="connsiteY116" fmla="*/ 474778 h 479077"/>
                <a:gd name="connsiteX117" fmla="*/ 1851434 w 3785642"/>
                <a:gd name="connsiteY117" fmla="*/ 474778 h 479077"/>
                <a:gd name="connsiteX118" fmla="*/ 1835063 w 3785642"/>
                <a:gd name="connsiteY118" fmla="*/ 474778 h 479077"/>
                <a:gd name="connsiteX119" fmla="*/ 1818693 w 3785642"/>
                <a:gd name="connsiteY119" fmla="*/ 474282 h 479077"/>
                <a:gd name="connsiteX120" fmla="*/ 1802322 w 3785642"/>
                <a:gd name="connsiteY120" fmla="*/ 472794 h 479077"/>
                <a:gd name="connsiteX121" fmla="*/ 1785951 w 3785642"/>
                <a:gd name="connsiteY121" fmla="*/ 473786 h 479077"/>
                <a:gd name="connsiteX122" fmla="*/ 1769581 w 3785642"/>
                <a:gd name="connsiteY122" fmla="*/ 473290 h 479077"/>
                <a:gd name="connsiteX123" fmla="*/ 1753210 w 3785642"/>
                <a:gd name="connsiteY123" fmla="*/ 472298 h 479077"/>
                <a:gd name="connsiteX124" fmla="*/ 1736840 w 3785642"/>
                <a:gd name="connsiteY124" fmla="*/ 473290 h 479077"/>
                <a:gd name="connsiteX125" fmla="*/ 1720469 w 3785642"/>
                <a:gd name="connsiteY125" fmla="*/ 474778 h 479077"/>
                <a:gd name="connsiteX126" fmla="*/ 1704098 w 3785642"/>
                <a:gd name="connsiteY126" fmla="*/ 472794 h 479077"/>
                <a:gd name="connsiteX127" fmla="*/ 1687728 w 3785642"/>
                <a:gd name="connsiteY127" fmla="*/ 474778 h 479077"/>
                <a:gd name="connsiteX128" fmla="*/ 1671357 w 3785642"/>
                <a:gd name="connsiteY128" fmla="*/ 474778 h 479077"/>
                <a:gd name="connsiteX129" fmla="*/ 1654987 w 3785642"/>
                <a:gd name="connsiteY129" fmla="*/ 472298 h 479077"/>
                <a:gd name="connsiteX130" fmla="*/ 1638616 w 3785642"/>
                <a:gd name="connsiteY130" fmla="*/ 472794 h 479077"/>
                <a:gd name="connsiteX131" fmla="*/ 1622246 w 3785642"/>
                <a:gd name="connsiteY131" fmla="*/ 473786 h 479077"/>
                <a:gd name="connsiteX132" fmla="*/ 1605875 w 3785642"/>
                <a:gd name="connsiteY132" fmla="*/ 474778 h 479077"/>
                <a:gd name="connsiteX133" fmla="*/ 1589505 w 3785642"/>
                <a:gd name="connsiteY133" fmla="*/ 473290 h 479077"/>
                <a:gd name="connsiteX134" fmla="*/ 1573134 w 3785642"/>
                <a:gd name="connsiteY134" fmla="*/ 474778 h 479077"/>
                <a:gd name="connsiteX135" fmla="*/ 1556763 w 3785642"/>
                <a:gd name="connsiteY135" fmla="*/ 472794 h 479077"/>
                <a:gd name="connsiteX136" fmla="*/ 1540393 w 3785642"/>
                <a:gd name="connsiteY136" fmla="*/ 472794 h 479077"/>
                <a:gd name="connsiteX137" fmla="*/ 1524022 w 3785642"/>
                <a:gd name="connsiteY137" fmla="*/ 474282 h 479077"/>
                <a:gd name="connsiteX138" fmla="*/ 1507652 w 3785642"/>
                <a:gd name="connsiteY138" fmla="*/ 472794 h 479077"/>
                <a:gd name="connsiteX139" fmla="*/ 1491281 w 3785642"/>
                <a:gd name="connsiteY139" fmla="*/ 474282 h 479077"/>
                <a:gd name="connsiteX140" fmla="*/ 1474910 w 3785642"/>
                <a:gd name="connsiteY140" fmla="*/ 474282 h 479077"/>
                <a:gd name="connsiteX141" fmla="*/ 1458540 w 3785642"/>
                <a:gd name="connsiteY141" fmla="*/ 472794 h 479077"/>
                <a:gd name="connsiteX142" fmla="*/ 1442169 w 3785642"/>
                <a:gd name="connsiteY142" fmla="*/ 471802 h 479077"/>
                <a:gd name="connsiteX143" fmla="*/ 1425799 w 3785642"/>
                <a:gd name="connsiteY143" fmla="*/ 472298 h 479077"/>
                <a:gd name="connsiteX144" fmla="*/ 1409428 w 3785642"/>
                <a:gd name="connsiteY144" fmla="*/ 472794 h 479077"/>
                <a:gd name="connsiteX145" fmla="*/ 1393058 w 3785642"/>
                <a:gd name="connsiteY145" fmla="*/ 473786 h 479077"/>
                <a:gd name="connsiteX146" fmla="*/ 1376687 w 3785642"/>
                <a:gd name="connsiteY146" fmla="*/ 471802 h 479077"/>
                <a:gd name="connsiteX147" fmla="*/ 1360317 w 3785642"/>
                <a:gd name="connsiteY147" fmla="*/ 473786 h 479077"/>
                <a:gd name="connsiteX148" fmla="*/ 1343946 w 3785642"/>
                <a:gd name="connsiteY148" fmla="*/ 473786 h 479077"/>
                <a:gd name="connsiteX149" fmla="*/ 1327576 w 3785642"/>
                <a:gd name="connsiteY149" fmla="*/ 472794 h 479077"/>
                <a:gd name="connsiteX150" fmla="*/ 1311205 w 3785642"/>
                <a:gd name="connsiteY150" fmla="*/ 473786 h 479077"/>
                <a:gd name="connsiteX151" fmla="*/ 1294834 w 3785642"/>
                <a:gd name="connsiteY151" fmla="*/ 473786 h 479077"/>
                <a:gd name="connsiteX152" fmla="*/ 1278464 w 3785642"/>
                <a:gd name="connsiteY152" fmla="*/ 473786 h 479077"/>
                <a:gd name="connsiteX153" fmla="*/ 1262093 w 3785642"/>
                <a:gd name="connsiteY153" fmla="*/ 473786 h 479077"/>
                <a:gd name="connsiteX154" fmla="*/ 1245723 w 3785642"/>
                <a:gd name="connsiteY154" fmla="*/ 473290 h 479077"/>
                <a:gd name="connsiteX155" fmla="*/ 1229352 w 3785642"/>
                <a:gd name="connsiteY155" fmla="*/ 472794 h 479077"/>
                <a:gd name="connsiteX156" fmla="*/ 1212981 w 3785642"/>
                <a:gd name="connsiteY156" fmla="*/ 473786 h 479077"/>
                <a:gd name="connsiteX157" fmla="*/ 1196611 w 3785642"/>
                <a:gd name="connsiteY157" fmla="*/ 472298 h 479077"/>
                <a:gd name="connsiteX158" fmla="*/ 1180240 w 3785642"/>
                <a:gd name="connsiteY158" fmla="*/ 472794 h 479077"/>
                <a:gd name="connsiteX159" fmla="*/ 1163870 w 3785642"/>
                <a:gd name="connsiteY159" fmla="*/ 472794 h 479077"/>
                <a:gd name="connsiteX160" fmla="*/ 1147499 w 3785642"/>
                <a:gd name="connsiteY160" fmla="*/ 473786 h 479077"/>
                <a:gd name="connsiteX161" fmla="*/ 1131128 w 3785642"/>
                <a:gd name="connsiteY161" fmla="*/ 473786 h 479077"/>
                <a:gd name="connsiteX162" fmla="*/ 1114758 w 3785642"/>
                <a:gd name="connsiteY162" fmla="*/ 472794 h 479077"/>
                <a:gd name="connsiteX163" fmla="*/ 1098387 w 3785642"/>
                <a:gd name="connsiteY163" fmla="*/ 473786 h 479077"/>
                <a:gd name="connsiteX164" fmla="*/ 1082017 w 3785642"/>
                <a:gd name="connsiteY164" fmla="*/ 474778 h 479077"/>
                <a:gd name="connsiteX165" fmla="*/ 1065646 w 3785642"/>
                <a:gd name="connsiteY165" fmla="*/ 474778 h 479077"/>
                <a:gd name="connsiteX166" fmla="*/ 1049276 w 3785642"/>
                <a:gd name="connsiteY166" fmla="*/ 474282 h 479077"/>
                <a:gd name="connsiteX167" fmla="*/ 1032905 w 3785642"/>
                <a:gd name="connsiteY167" fmla="*/ 473290 h 479077"/>
                <a:gd name="connsiteX168" fmla="*/ 1016535 w 3785642"/>
                <a:gd name="connsiteY168" fmla="*/ 474282 h 479077"/>
                <a:gd name="connsiteX169" fmla="*/ 1000164 w 3785642"/>
                <a:gd name="connsiteY169" fmla="*/ 474282 h 479077"/>
                <a:gd name="connsiteX170" fmla="*/ 983793 w 3785642"/>
                <a:gd name="connsiteY170" fmla="*/ 472794 h 479077"/>
                <a:gd name="connsiteX171" fmla="*/ 967423 w 3785642"/>
                <a:gd name="connsiteY171" fmla="*/ 472794 h 479077"/>
                <a:gd name="connsiteX172" fmla="*/ 951052 w 3785642"/>
                <a:gd name="connsiteY172" fmla="*/ 473786 h 479077"/>
                <a:gd name="connsiteX173" fmla="*/ 934682 w 3785642"/>
                <a:gd name="connsiteY173" fmla="*/ 474282 h 479077"/>
                <a:gd name="connsiteX174" fmla="*/ 918311 w 3785642"/>
                <a:gd name="connsiteY174" fmla="*/ 474778 h 479077"/>
                <a:gd name="connsiteX175" fmla="*/ 901940 w 3785642"/>
                <a:gd name="connsiteY175" fmla="*/ 473290 h 479077"/>
                <a:gd name="connsiteX176" fmla="*/ 885570 w 3785642"/>
                <a:gd name="connsiteY176" fmla="*/ 474778 h 479077"/>
                <a:gd name="connsiteX177" fmla="*/ 869199 w 3785642"/>
                <a:gd name="connsiteY177" fmla="*/ 474282 h 479077"/>
                <a:gd name="connsiteX178" fmla="*/ 852829 w 3785642"/>
                <a:gd name="connsiteY178" fmla="*/ 473786 h 479077"/>
                <a:gd name="connsiteX179" fmla="*/ 836458 w 3785642"/>
                <a:gd name="connsiteY179" fmla="*/ 474778 h 479077"/>
                <a:gd name="connsiteX180" fmla="*/ 820088 w 3785642"/>
                <a:gd name="connsiteY180" fmla="*/ 475274 h 479077"/>
                <a:gd name="connsiteX181" fmla="*/ 803717 w 3785642"/>
                <a:gd name="connsiteY181" fmla="*/ 473786 h 479077"/>
                <a:gd name="connsiteX182" fmla="*/ 787347 w 3785642"/>
                <a:gd name="connsiteY182" fmla="*/ 475770 h 479077"/>
                <a:gd name="connsiteX183" fmla="*/ 770976 w 3785642"/>
                <a:gd name="connsiteY183" fmla="*/ 474778 h 479077"/>
                <a:gd name="connsiteX184" fmla="*/ 754605 w 3785642"/>
                <a:gd name="connsiteY184" fmla="*/ 475274 h 479077"/>
                <a:gd name="connsiteX185" fmla="*/ 738235 w 3785642"/>
                <a:gd name="connsiteY185" fmla="*/ 473786 h 479077"/>
                <a:gd name="connsiteX186" fmla="*/ 721864 w 3785642"/>
                <a:gd name="connsiteY186" fmla="*/ 475274 h 479077"/>
                <a:gd name="connsiteX187" fmla="*/ 705494 w 3785642"/>
                <a:gd name="connsiteY187" fmla="*/ 475770 h 479077"/>
                <a:gd name="connsiteX188" fmla="*/ 689123 w 3785642"/>
                <a:gd name="connsiteY188" fmla="*/ 474282 h 479077"/>
                <a:gd name="connsiteX189" fmla="*/ 672753 w 3785642"/>
                <a:gd name="connsiteY189" fmla="*/ 475274 h 479077"/>
                <a:gd name="connsiteX190" fmla="*/ 656382 w 3785642"/>
                <a:gd name="connsiteY190" fmla="*/ 474778 h 479077"/>
                <a:gd name="connsiteX191" fmla="*/ 640011 w 3785642"/>
                <a:gd name="connsiteY191" fmla="*/ 475770 h 479077"/>
                <a:gd name="connsiteX192" fmla="*/ 623641 w 3785642"/>
                <a:gd name="connsiteY192" fmla="*/ 473786 h 479077"/>
                <a:gd name="connsiteX193" fmla="*/ 607270 w 3785642"/>
                <a:gd name="connsiteY193" fmla="*/ 474778 h 479077"/>
                <a:gd name="connsiteX194" fmla="*/ 590900 w 3785642"/>
                <a:gd name="connsiteY194" fmla="*/ 475274 h 479077"/>
                <a:gd name="connsiteX195" fmla="*/ 574529 w 3785642"/>
                <a:gd name="connsiteY195" fmla="*/ 474282 h 479077"/>
                <a:gd name="connsiteX196" fmla="*/ 558158 w 3785642"/>
                <a:gd name="connsiteY196" fmla="*/ 475274 h 479077"/>
                <a:gd name="connsiteX197" fmla="*/ 541788 w 3785642"/>
                <a:gd name="connsiteY197" fmla="*/ 475770 h 479077"/>
                <a:gd name="connsiteX198" fmla="*/ 525417 w 3785642"/>
                <a:gd name="connsiteY198" fmla="*/ 474282 h 479077"/>
                <a:gd name="connsiteX199" fmla="*/ 509047 w 3785642"/>
                <a:gd name="connsiteY199" fmla="*/ 473786 h 479077"/>
                <a:gd name="connsiteX200" fmla="*/ 492676 w 3785642"/>
                <a:gd name="connsiteY200" fmla="*/ 473786 h 479077"/>
                <a:gd name="connsiteX201" fmla="*/ 476306 w 3785642"/>
                <a:gd name="connsiteY201" fmla="*/ 474778 h 479077"/>
                <a:gd name="connsiteX202" fmla="*/ 459935 w 3785642"/>
                <a:gd name="connsiteY202" fmla="*/ 473786 h 479077"/>
                <a:gd name="connsiteX203" fmla="*/ 443565 w 3785642"/>
                <a:gd name="connsiteY203" fmla="*/ 474778 h 479077"/>
                <a:gd name="connsiteX204" fmla="*/ 427194 w 3785642"/>
                <a:gd name="connsiteY204" fmla="*/ 474282 h 479077"/>
                <a:gd name="connsiteX205" fmla="*/ 410823 w 3785642"/>
                <a:gd name="connsiteY205" fmla="*/ 473290 h 479077"/>
                <a:gd name="connsiteX206" fmla="*/ 394453 w 3785642"/>
                <a:gd name="connsiteY206" fmla="*/ 475770 h 479077"/>
                <a:gd name="connsiteX207" fmla="*/ 378082 w 3785642"/>
                <a:gd name="connsiteY207" fmla="*/ 475274 h 479077"/>
                <a:gd name="connsiteX208" fmla="*/ 361712 w 3785642"/>
                <a:gd name="connsiteY208" fmla="*/ 474778 h 479077"/>
                <a:gd name="connsiteX209" fmla="*/ 345341 w 3785642"/>
                <a:gd name="connsiteY209" fmla="*/ 476266 h 479077"/>
                <a:gd name="connsiteX210" fmla="*/ 328970 w 3785642"/>
                <a:gd name="connsiteY210" fmla="*/ 474282 h 479077"/>
                <a:gd name="connsiteX211" fmla="*/ 312600 w 3785642"/>
                <a:gd name="connsiteY211" fmla="*/ 475274 h 479077"/>
                <a:gd name="connsiteX212" fmla="*/ 296229 w 3785642"/>
                <a:gd name="connsiteY212" fmla="*/ 474282 h 479077"/>
                <a:gd name="connsiteX213" fmla="*/ 279859 w 3785642"/>
                <a:gd name="connsiteY213" fmla="*/ 475770 h 479077"/>
                <a:gd name="connsiteX214" fmla="*/ 263488 w 3785642"/>
                <a:gd name="connsiteY214" fmla="*/ 476266 h 479077"/>
                <a:gd name="connsiteX215" fmla="*/ 247118 w 3785642"/>
                <a:gd name="connsiteY215" fmla="*/ 476266 h 479077"/>
                <a:gd name="connsiteX216" fmla="*/ 230747 w 3785642"/>
                <a:gd name="connsiteY216" fmla="*/ 474778 h 479077"/>
                <a:gd name="connsiteX217" fmla="*/ 214376 w 3785642"/>
                <a:gd name="connsiteY217" fmla="*/ 474778 h 479077"/>
                <a:gd name="connsiteX218" fmla="*/ 198006 w 3785642"/>
                <a:gd name="connsiteY218" fmla="*/ 476762 h 479077"/>
                <a:gd name="connsiteX219" fmla="*/ 181635 w 3785642"/>
                <a:gd name="connsiteY219" fmla="*/ 476266 h 479077"/>
                <a:gd name="connsiteX220" fmla="*/ 165265 w 3785642"/>
                <a:gd name="connsiteY220" fmla="*/ 474778 h 479077"/>
                <a:gd name="connsiteX221" fmla="*/ 148894 w 3785642"/>
                <a:gd name="connsiteY221" fmla="*/ 476762 h 479077"/>
                <a:gd name="connsiteX222" fmla="*/ 132524 w 3785642"/>
                <a:gd name="connsiteY222" fmla="*/ 476266 h 479077"/>
                <a:gd name="connsiteX223" fmla="*/ 116153 w 3785642"/>
                <a:gd name="connsiteY223" fmla="*/ 475274 h 479077"/>
                <a:gd name="connsiteX224" fmla="*/ 99783 w 3785642"/>
                <a:gd name="connsiteY224" fmla="*/ 475274 h 479077"/>
                <a:gd name="connsiteX225" fmla="*/ 83412 w 3785642"/>
                <a:gd name="connsiteY225" fmla="*/ 475274 h 479077"/>
                <a:gd name="connsiteX226" fmla="*/ 67041 w 3785642"/>
                <a:gd name="connsiteY226" fmla="*/ 474778 h 479077"/>
                <a:gd name="connsiteX227" fmla="*/ 50671 w 3785642"/>
                <a:gd name="connsiteY227" fmla="*/ 475274 h 479077"/>
                <a:gd name="connsiteX228" fmla="*/ 34300 w 3785642"/>
                <a:gd name="connsiteY228" fmla="*/ 475274 h 479077"/>
                <a:gd name="connsiteX229" fmla="*/ 17930 w 3785642"/>
                <a:gd name="connsiteY229" fmla="*/ 475770 h 479077"/>
                <a:gd name="connsiteX230" fmla="*/ 567 w 3785642"/>
                <a:gd name="connsiteY230" fmla="*/ 475770 h 479077"/>
                <a:gd name="connsiteX231" fmla="*/ 12969 w 3785642"/>
                <a:gd name="connsiteY231" fmla="*/ 463368 h 479077"/>
                <a:gd name="connsiteX232" fmla="*/ 24379 w 3785642"/>
                <a:gd name="connsiteY232" fmla="*/ 451958 h 479077"/>
                <a:gd name="connsiteX233" fmla="*/ 35788 w 3785642"/>
                <a:gd name="connsiteY233" fmla="*/ 440053 h 479077"/>
                <a:gd name="connsiteX234" fmla="*/ 48686 w 3785642"/>
                <a:gd name="connsiteY234" fmla="*/ 430131 h 479077"/>
                <a:gd name="connsiteX235" fmla="*/ 59600 w 3785642"/>
                <a:gd name="connsiteY235" fmla="*/ 418225 h 479077"/>
                <a:gd name="connsiteX236" fmla="*/ 70514 w 3785642"/>
                <a:gd name="connsiteY236" fmla="*/ 405823 h 479077"/>
                <a:gd name="connsiteX237" fmla="*/ 83412 w 3785642"/>
                <a:gd name="connsiteY237" fmla="*/ 395406 h 479077"/>
                <a:gd name="connsiteX238" fmla="*/ 94822 w 3785642"/>
                <a:gd name="connsiteY238" fmla="*/ 383500 h 479077"/>
                <a:gd name="connsiteX239" fmla="*/ 106728 w 3785642"/>
                <a:gd name="connsiteY239" fmla="*/ 372090 h 479077"/>
                <a:gd name="connsiteX240" fmla="*/ 117145 w 3785642"/>
                <a:gd name="connsiteY240" fmla="*/ 359688 h 479077"/>
                <a:gd name="connsiteX241" fmla="*/ 128555 w 3785642"/>
                <a:gd name="connsiteY241" fmla="*/ 348278 h 479077"/>
                <a:gd name="connsiteX242" fmla="*/ 140461 w 3785642"/>
                <a:gd name="connsiteY242" fmla="*/ 336868 h 479077"/>
                <a:gd name="connsiteX243" fmla="*/ 152863 w 3785642"/>
                <a:gd name="connsiteY243" fmla="*/ 326451 h 479077"/>
                <a:gd name="connsiteX244" fmla="*/ 164769 w 3785642"/>
                <a:gd name="connsiteY244" fmla="*/ 315041 h 479077"/>
                <a:gd name="connsiteX245" fmla="*/ 176178 w 3785642"/>
                <a:gd name="connsiteY245" fmla="*/ 303135 h 479077"/>
                <a:gd name="connsiteX246" fmla="*/ 188084 w 3785642"/>
                <a:gd name="connsiteY246" fmla="*/ 291725 h 479077"/>
                <a:gd name="connsiteX247" fmla="*/ 199494 w 3785642"/>
                <a:gd name="connsiteY247" fmla="*/ 280315 h 479077"/>
                <a:gd name="connsiteX248" fmla="*/ 210904 w 3785642"/>
                <a:gd name="connsiteY248" fmla="*/ 268906 h 479077"/>
                <a:gd name="connsiteX249" fmla="*/ 221818 w 3785642"/>
                <a:gd name="connsiteY249" fmla="*/ 256504 h 479077"/>
                <a:gd name="connsiteX250" fmla="*/ 233724 w 3785642"/>
                <a:gd name="connsiteY250" fmla="*/ 245094 h 479077"/>
                <a:gd name="connsiteX251" fmla="*/ 244141 w 3785642"/>
                <a:gd name="connsiteY251" fmla="*/ 232692 h 479077"/>
                <a:gd name="connsiteX252" fmla="*/ 257039 w 3785642"/>
                <a:gd name="connsiteY252" fmla="*/ 222770 h 479077"/>
                <a:gd name="connsiteX253" fmla="*/ 266961 w 3785642"/>
                <a:gd name="connsiteY253" fmla="*/ 209376 h 479077"/>
                <a:gd name="connsiteX254" fmla="*/ 278371 w 3785642"/>
                <a:gd name="connsiteY254" fmla="*/ 197966 h 479077"/>
                <a:gd name="connsiteX255" fmla="*/ 291269 w 3785642"/>
                <a:gd name="connsiteY255" fmla="*/ 188045 h 479077"/>
                <a:gd name="connsiteX256" fmla="*/ 301686 w 3785642"/>
                <a:gd name="connsiteY256" fmla="*/ 175147 h 479077"/>
                <a:gd name="connsiteX257" fmla="*/ 313592 w 3785642"/>
                <a:gd name="connsiteY257" fmla="*/ 163737 h 479077"/>
                <a:gd name="connsiteX258" fmla="*/ 325994 w 3785642"/>
                <a:gd name="connsiteY258" fmla="*/ 153319 h 479077"/>
                <a:gd name="connsiteX259" fmla="*/ 337404 w 3785642"/>
                <a:gd name="connsiteY259" fmla="*/ 141910 h 479077"/>
                <a:gd name="connsiteX260" fmla="*/ 347325 w 3785642"/>
                <a:gd name="connsiteY260" fmla="*/ 129012 h 479077"/>
                <a:gd name="connsiteX261" fmla="*/ 360224 w 3785642"/>
                <a:gd name="connsiteY261" fmla="*/ 118594 h 479077"/>
                <a:gd name="connsiteX262" fmla="*/ 371137 w 3785642"/>
                <a:gd name="connsiteY262" fmla="*/ 106192 h 479077"/>
                <a:gd name="connsiteX263" fmla="*/ 382051 w 3785642"/>
                <a:gd name="connsiteY263" fmla="*/ 93790 h 479077"/>
                <a:gd name="connsiteX264" fmla="*/ 393957 w 3785642"/>
                <a:gd name="connsiteY264" fmla="*/ 82380 h 479077"/>
                <a:gd name="connsiteX265" fmla="*/ 405366 w 3785642"/>
                <a:gd name="connsiteY265" fmla="*/ 70475 h 479077"/>
                <a:gd name="connsiteX266" fmla="*/ 417272 w 3785642"/>
                <a:gd name="connsiteY266" fmla="*/ 59561 h 479077"/>
                <a:gd name="connsiteX267" fmla="*/ 429674 w 3785642"/>
                <a:gd name="connsiteY267" fmla="*/ 48647 h 479077"/>
                <a:gd name="connsiteX268" fmla="*/ 440092 w 3785642"/>
                <a:gd name="connsiteY268" fmla="*/ 35749 h 479077"/>
                <a:gd name="connsiteX269" fmla="*/ 452494 w 3785642"/>
                <a:gd name="connsiteY269" fmla="*/ 24835 h 479077"/>
                <a:gd name="connsiteX270" fmla="*/ 463904 w 3785642"/>
                <a:gd name="connsiteY270" fmla="*/ 12929 h 479077"/>
                <a:gd name="connsiteX271" fmla="*/ 475313 w 3785642"/>
                <a:gd name="connsiteY271" fmla="*/ 1024 h 479077"/>
                <a:gd name="connsiteX272" fmla="*/ 491684 w 3785642"/>
                <a:gd name="connsiteY272" fmla="*/ 2512 h 479077"/>
                <a:gd name="connsiteX273" fmla="*/ 508055 w 3785642"/>
                <a:gd name="connsiteY273" fmla="*/ 2512 h 479077"/>
                <a:gd name="connsiteX274" fmla="*/ 524425 w 3785642"/>
                <a:gd name="connsiteY274" fmla="*/ 2512 h 479077"/>
                <a:gd name="connsiteX275" fmla="*/ 540796 w 3785642"/>
                <a:gd name="connsiteY275" fmla="*/ 1024 h 479077"/>
                <a:gd name="connsiteX276" fmla="*/ 557166 w 3785642"/>
                <a:gd name="connsiteY276" fmla="*/ 2512 h 479077"/>
                <a:gd name="connsiteX277" fmla="*/ 573537 w 3785642"/>
                <a:gd name="connsiteY277" fmla="*/ 1024 h 479077"/>
                <a:gd name="connsiteX278" fmla="*/ 589908 w 3785642"/>
                <a:gd name="connsiteY278" fmla="*/ 527 h 479077"/>
                <a:gd name="connsiteX279" fmla="*/ 606278 w 3785642"/>
                <a:gd name="connsiteY279" fmla="*/ 1520 h 479077"/>
                <a:gd name="connsiteX280" fmla="*/ 622649 w 3785642"/>
                <a:gd name="connsiteY280" fmla="*/ 1520 h 479077"/>
                <a:gd name="connsiteX281" fmla="*/ 639019 w 3785642"/>
                <a:gd name="connsiteY281" fmla="*/ 2016 h 479077"/>
                <a:gd name="connsiteX282" fmla="*/ 655390 w 3785642"/>
                <a:gd name="connsiteY282" fmla="*/ 527 h 479077"/>
                <a:gd name="connsiteX283" fmla="*/ 671760 w 3785642"/>
                <a:gd name="connsiteY283" fmla="*/ 1520 h 479077"/>
                <a:gd name="connsiteX284" fmla="*/ 688131 w 3785642"/>
                <a:gd name="connsiteY284" fmla="*/ 2512 h 479077"/>
                <a:gd name="connsiteX285" fmla="*/ 704501 w 3785642"/>
                <a:gd name="connsiteY285" fmla="*/ 1024 h 479077"/>
                <a:gd name="connsiteX286" fmla="*/ 720872 w 3785642"/>
                <a:gd name="connsiteY286" fmla="*/ 1520 h 479077"/>
                <a:gd name="connsiteX287" fmla="*/ 737243 w 3785642"/>
                <a:gd name="connsiteY287" fmla="*/ 2016 h 479077"/>
                <a:gd name="connsiteX288" fmla="*/ 753613 w 3785642"/>
                <a:gd name="connsiteY288" fmla="*/ 1024 h 479077"/>
                <a:gd name="connsiteX289" fmla="*/ 769984 w 3785642"/>
                <a:gd name="connsiteY289" fmla="*/ 527 h 479077"/>
                <a:gd name="connsiteX290" fmla="*/ 786354 w 3785642"/>
                <a:gd name="connsiteY290" fmla="*/ 1520 h 479077"/>
                <a:gd name="connsiteX291" fmla="*/ 802725 w 3785642"/>
                <a:gd name="connsiteY291" fmla="*/ 527 h 479077"/>
                <a:gd name="connsiteX292" fmla="*/ 819096 w 3785642"/>
                <a:gd name="connsiteY292" fmla="*/ 2512 h 479077"/>
                <a:gd name="connsiteX293" fmla="*/ 835466 w 3785642"/>
                <a:gd name="connsiteY293" fmla="*/ 527 h 479077"/>
                <a:gd name="connsiteX294" fmla="*/ 851837 w 3785642"/>
                <a:gd name="connsiteY294" fmla="*/ 1520 h 479077"/>
                <a:gd name="connsiteX295" fmla="*/ 868207 w 3785642"/>
                <a:gd name="connsiteY295" fmla="*/ 2016 h 479077"/>
                <a:gd name="connsiteX296" fmla="*/ 884578 w 3785642"/>
                <a:gd name="connsiteY296" fmla="*/ 2512 h 479077"/>
                <a:gd name="connsiteX297" fmla="*/ 900948 w 3785642"/>
                <a:gd name="connsiteY297" fmla="*/ 1520 h 479077"/>
                <a:gd name="connsiteX298" fmla="*/ 917319 w 3785642"/>
                <a:gd name="connsiteY298" fmla="*/ 1024 h 479077"/>
                <a:gd name="connsiteX299" fmla="*/ 933689 w 3785642"/>
                <a:gd name="connsiteY299" fmla="*/ 2512 h 479077"/>
                <a:gd name="connsiteX300" fmla="*/ 950060 w 3785642"/>
                <a:gd name="connsiteY300" fmla="*/ 1520 h 479077"/>
                <a:gd name="connsiteX301" fmla="*/ 966431 w 3785642"/>
                <a:gd name="connsiteY301" fmla="*/ 2016 h 479077"/>
                <a:gd name="connsiteX302" fmla="*/ 982801 w 3785642"/>
                <a:gd name="connsiteY302" fmla="*/ 2512 h 479077"/>
                <a:gd name="connsiteX303" fmla="*/ 999172 w 3785642"/>
                <a:gd name="connsiteY303" fmla="*/ 1520 h 479077"/>
                <a:gd name="connsiteX304" fmla="*/ 1015542 w 3785642"/>
                <a:gd name="connsiteY304" fmla="*/ 2512 h 479077"/>
                <a:gd name="connsiteX305" fmla="*/ 1031913 w 3785642"/>
                <a:gd name="connsiteY305" fmla="*/ 1520 h 479077"/>
                <a:gd name="connsiteX306" fmla="*/ 1048283 w 3785642"/>
                <a:gd name="connsiteY306" fmla="*/ 2016 h 479077"/>
                <a:gd name="connsiteX307" fmla="*/ 1064654 w 3785642"/>
                <a:gd name="connsiteY307" fmla="*/ 3504 h 479077"/>
                <a:gd name="connsiteX308" fmla="*/ 1081025 w 3785642"/>
                <a:gd name="connsiteY308" fmla="*/ 2016 h 479077"/>
                <a:gd name="connsiteX309" fmla="*/ 1097395 w 3785642"/>
                <a:gd name="connsiteY309" fmla="*/ 2512 h 479077"/>
                <a:gd name="connsiteX310" fmla="*/ 1113766 w 3785642"/>
                <a:gd name="connsiteY310" fmla="*/ 2512 h 479077"/>
                <a:gd name="connsiteX311" fmla="*/ 1130136 w 3785642"/>
                <a:gd name="connsiteY311" fmla="*/ 3504 h 479077"/>
                <a:gd name="connsiteX312" fmla="*/ 1146507 w 3785642"/>
                <a:gd name="connsiteY312" fmla="*/ 1520 h 479077"/>
                <a:gd name="connsiteX313" fmla="*/ 1162878 w 3785642"/>
                <a:gd name="connsiteY313" fmla="*/ 3008 h 479077"/>
                <a:gd name="connsiteX314" fmla="*/ 1179248 w 3785642"/>
                <a:gd name="connsiteY314" fmla="*/ 4000 h 479077"/>
                <a:gd name="connsiteX315" fmla="*/ 1195619 w 3785642"/>
                <a:gd name="connsiteY315" fmla="*/ 3504 h 479077"/>
                <a:gd name="connsiteX316" fmla="*/ 1211989 w 3785642"/>
                <a:gd name="connsiteY316" fmla="*/ 1520 h 479077"/>
                <a:gd name="connsiteX317" fmla="*/ 1228360 w 3785642"/>
                <a:gd name="connsiteY317" fmla="*/ 3504 h 479077"/>
                <a:gd name="connsiteX318" fmla="*/ 1244730 w 3785642"/>
                <a:gd name="connsiteY318" fmla="*/ 1520 h 479077"/>
                <a:gd name="connsiteX319" fmla="*/ 1261101 w 3785642"/>
                <a:gd name="connsiteY319" fmla="*/ 2512 h 479077"/>
                <a:gd name="connsiteX320" fmla="*/ 1277471 w 3785642"/>
                <a:gd name="connsiteY320" fmla="*/ 3504 h 479077"/>
                <a:gd name="connsiteX321" fmla="*/ 1293842 w 3785642"/>
                <a:gd name="connsiteY321" fmla="*/ 4000 h 479077"/>
                <a:gd name="connsiteX322" fmla="*/ 1310213 w 3785642"/>
                <a:gd name="connsiteY322" fmla="*/ 1520 h 479077"/>
                <a:gd name="connsiteX323" fmla="*/ 1326583 w 3785642"/>
                <a:gd name="connsiteY323" fmla="*/ 2016 h 479077"/>
                <a:gd name="connsiteX324" fmla="*/ 1342954 w 3785642"/>
                <a:gd name="connsiteY324" fmla="*/ 3008 h 479077"/>
                <a:gd name="connsiteX325" fmla="*/ 1359324 w 3785642"/>
                <a:gd name="connsiteY325" fmla="*/ 3008 h 479077"/>
                <a:gd name="connsiteX326" fmla="*/ 1375695 w 3785642"/>
                <a:gd name="connsiteY326" fmla="*/ 2512 h 479077"/>
                <a:gd name="connsiteX327" fmla="*/ 1392066 w 3785642"/>
                <a:gd name="connsiteY327" fmla="*/ 2512 h 479077"/>
                <a:gd name="connsiteX328" fmla="*/ 1408436 w 3785642"/>
                <a:gd name="connsiteY328" fmla="*/ 3504 h 479077"/>
                <a:gd name="connsiteX329" fmla="*/ 1424807 w 3785642"/>
                <a:gd name="connsiteY329" fmla="*/ 3504 h 479077"/>
                <a:gd name="connsiteX330" fmla="*/ 1441177 w 3785642"/>
                <a:gd name="connsiteY330" fmla="*/ 1520 h 479077"/>
                <a:gd name="connsiteX331" fmla="*/ 1457548 w 3785642"/>
                <a:gd name="connsiteY331" fmla="*/ 2512 h 479077"/>
                <a:gd name="connsiteX332" fmla="*/ 1473919 w 3785642"/>
                <a:gd name="connsiteY332" fmla="*/ 2016 h 479077"/>
                <a:gd name="connsiteX333" fmla="*/ 1490289 w 3785642"/>
                <a:gd name="connsiteY333" fmla="*/ 2016 h 479077"/>
                <a:gd name="connsiteX334" fmla="*/ 1506660 w 3785642"/>
                <a:gd name="connsiteY334" fmla="*/ 1520 h 479077"/>
                <a:gd name="connsiteX335" fmla="*/ 1523030 w 3785642"/>
                <a:gd name="connsiteY335" fmla="*/ 3504 h 479077"/>
                <a:gd name="connsiteX336" fmla="*/ 1539401 w 3785642"/>
                <a:gd name="connsiteY336" fmla="*/ 3008 h 479077"/>
                <a:gd name="connsiteX337" fmla="*/ 1555771 w 3785642"/>
                <a:gd name="connsiteY337" fmla="*/ 3008 h 479077"/>
                <a:gd name="connsiteX338" fmla="*/ 1572142 w 3785642"/>
                <a:gd name="connsiteY338" fmla="*/ 2512 h 479077"/>
                <a:gd name="connsiteX339" fmla="*/ 1588512 w 3785642"/>
                <a:gd name="connsiteY339" fmla="*/ 2016 h 479077"/>
                <a:gd name="connsiteX340" fmla="*/ 1604883 w 3785642"/>
                <a:gd name="connsiteY340" fmla="*/ 3008 h 479077"/>
                <a:gd name="connsiteX341" fmla="*/ 1621253 w 3785642"/>
                <a:gd name="connsiteY341" fmla="*/ 3008 h 479077"/>
                <a:gd name="connsiteX342" fmla="*/ 1637624 w 3785642"/>
                <a:gd name="connsiteY34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313375 w 3785642"/>
                <a:gd name="connsiteY15" fmla="*/ 10945 h 479077"/>
                <a:gd name="connsiteX16" fmla="*/ 3300973 w 3785642"/>
                <a:gd name="connsiteY16" fmla="*/ 21363 h 479077"/>
                <a:gd name="connsiteX17" fmla="*/ 3289068 w 3785642"/>
                <a:gd name="connsiteY17" fmla="*/ 32276 h 479077"/>
                <a:gd name="connsiteX18" fmla="*/ 3277658 w 3785642"/>
                <a:gd name="connsiteY18" fmla="*/ 43686 h 479077"/>
                <a:gd name="connsiteX19" fmla="*/ 3266248 w 3785642"/>
                <a:gd name="connsiteY19" fmla="*/ 55592 h 479077"/>
                <a:gd name="connsiteX20" fmla="*/ 3255830 w 3785642"/>
                <a:gd name="connsiteY20" fmla="*/ 68490 h 479077"/>
                <a:gd name="connsiteX21" fmla="*/ 3243924 w 3785642"/>
                <a:gd name="connsiteY21" fmla="*/ 79900 h 479077"/>
                <a:gd name="connsiteX22" fmla="*/ 3231522 w 3785642"/>
                <a:gd name="connsiteY22" fmla="*/ 90814 h 479077"/>
                <a:gd name="connsiteX23" fmla="*/ 3220609 w 3785642"/>
                <a:gd name="connsiteY23" fmla="*/ 102720 h 479077"/>
                <a:gd name="connsiteX24" fmla="*/ 3208207 w 3785642"/>
                <a:gd name="connsiteY24" fmla="*/ 113137 h 479077"/>
                <a:gd name="connsiteX25" fmla="*/ 3197293 w 3785642"/>
                <a:gd name="connsiteY25" fmla="*/ 125043 h 479077"/>
                <a:gd name="connsiteX26" fmla="*/ 3185387 w 3785642"/>
                <a:gd name="connsiteY26" fmla="*/ 136453 h 479077"/>
                <a:gd name="connsiteX27" fmla="*/ 3174970 w 3785642"/>
                <a:gd name="connsiteY27" fmla="*/ 148855 h 479077"/>
                <a:gd name="connsiteX28" fmla="*/ 3162071 w 3785642"/>
                <a:gd name="connsiteY28" fmla="*/ 159272 h 479077"/>
                <a:gd name="connsiteX29" fmla="*/ 3151158 w 3785642"/>
                <a:gd name="connsiteY29" fmla="*/ 171674 h 479077"/>
                <a:gd name="connsiteX30" fmla="*/ 3139252 w 3785642"/>
                <a:gd name="connsiteY30" fmla="*/ 182588 h 479077"/>
                <a:gd name="connsiteX31" fmla="*/ 3127843 w 3785642"/>
                <a:gd name="connsiteY31" fmla="*/ 194494 h 479077"/>
                <a:gd name="connsiteX32" fmla="*/ 3116432 w 3785642"/>
                <a:gd name="connsiteY32" fmla="*/ 205904 h 479077"/>
                <a:gd name="connsiteX33" fmla="*/ 3105022 w 3785642"/>
                <a:gd name="connsiteY33" fmla="*/ 217810 h 479077"/>
                <a:gd name="connsiteX34" fmla="*/ 3093117 w 3785642"/>
                <a:gd name="connsiteY34" fmla="*/ 229219 h 479077"/>
                <a:gd name="connsiteX35" fmla="*/ 3081707 w 3785642"/>
                <a:gd name="connsiteY35" fmla="*/ 240629 h 479077"/>
                <a:gd name="connsiteX36" fmla="*/ 3069305 w 3785642"/>
                <a:gd name="connsiteY36" fmla="*/ 251543 h 479077"/>
                <a:gd name="connsiteX37" fmla="*/ 3057895 w 3785642"/>
                <a:gd name="connsiteY37" fmla="*/ 263449 h 479077"/>
                <a:gd name="connsiteX38" fmla="*/ 3046486 w 3785642"/>
                <a:gd name="connsiteY38" fmla="*/ 275355 h 479077"/>
                <a:gd name="connsiteX39" fmla="*/ 3035572 w 3785642"/>
                <a:gd name="connsiteY39" fmla="*/ 287260 h 479077"/>
                <a:gd name="connsiteX40" fmla="*/ 3024658 w 3785642"/>
                <a:gd name="connsiteY40" fmla="*/ 299166 h 479077"/>
                <a:gd name="connsiteX41" fmla="*/ 3013248 w 3785642"/>
                <a:gd name="connsiteY41" fmla="*/ 311072 h 479077"/>
                <a:gd name="connsiteX42" fmla="*/ 3000350 w 3785642"/>
                <a:gd name="connsiteY42" fmla="*/ 321490 h 479077"/>
                <a:gd name="connsiteX43" fmla="*/ 2988941 w 3785642"/>
                <a:gd name="connsiteY43" fmla="*/ 333396 h 479077"/>
                <a:gd name="connsiteX44" fmla="*/ 2976539 w 3785642"/>
                <a:gd name="connsiteY44" fmla="*/ 344309 h 479077"/>
                <a:gd name="connsiteX45" fmla="*/ 2965129 w 3785642"/>
                <a:gd name="connsiteY45" fmla="*/ 356215 h 479077"/>
                <a:gd name="connsiteX46" fmla="*/ 2953223 w 3785642"/>
                <a:gd name="connsiteY46" fmla="*/ 367625 h 479077"/>
                <a:gd name="connsiteX47" fmla="*/ 2941813 w 3785642"/>
                <a:gd name="connsiteY47" fmla="*/ 379531 h 479077"/>
                <a:gd name="connsiteX48" fmla="*/ 2931395 w 3785642"/>
                <a:gd name="connsiteY48" fmla="*/ 392429 h 479077"/>
                <a:gd name="connsiteX49" fmla="*/ 2918497 w 3785642"/>
                <a:gd name="connsiteY49" fmla="*/ 402847 h 479077"/>
                <a:gd name="connsiteX50" fmla="*/ 2907584 w 3785642"/>
                <a:gd name="connsiteY50" fmla="*/ 415249 h 479077"/>
                <a:gd name="connsiteX51" fmla="*/ 2896174 w 3785642"/>
                <a:gd name="connsiteY51" fmla="*/ 426658 h 479077"/>
                <a:gd name="connsiteX52" fmla="*/ 2884268 w 3785642"/>
                <a:gd name="connsiteY52" fmla="*/ 438068 h 479077"/>
                <a:gd name="connsiteX53" fmla="*/ 2873354 w 3785642"/>
                <a:gd name="connsiteY53" fmla="*/ 450470 h 479077"/>
                <a:gd name="connsiteX54" fmla="*/ 2860952 w 3785642"/>
                <a:gd name="connsiteY54" fmla="*/ 461384 h 479077"/>
                <a:gd name="connsiteX55" fmla="*/ 2850039 w 3785642"/>
                <a:gd name="connsiteY55" fmla="*/ 473786 h 479077"/>
                <a:gd name="connsiteX56" fmla="*/ 2833668 w 3785642"/>
                <a:gd name="connsiteY56" fmla="*/ 473786 h 479077"/>
                <a:gd name="connsiteX57" fmla="*/ 2817297 w 3785642"/>
                <a:gd name="connsiteY57" fmla="*/ 473290 h 479077"/>
                <a:gd name="connsiteX58" fmla="*/ 2800927 w 3785642"/>
                <a:gd name="connsiteY58" fmla="*/ 473290 h 479077"/>
                <a:gd name="connsiteX59" fmla="*/ 2784556 w 3785642"/>
                <a:gd name="connsiteY59" fmla="*/ 473786 h 479077"/>
                <a:gd name="connsiteX60" fmla="*/ 2768186 w 3785642"/>
                <a:gd name="connsiteY60" fmla="*/ 474282 h 479077"/>
                <a:gd name="connsiteX61" fmla="*/ 2751815 w 3785642"/>
                <a:gd name="connsiteY61" fmla="*/ 474282 h 479077"/>
                <a:gd name="connsiteX62" fmla="*/ 2735444 w 3785642"/>
                <a:gd name="connsiteY62" fmla="*/ 473290 h 479077"/>
                <a:gd name="connsiteX63" fmla="*/ 2719074 w 3785642"/>
                <a:gd name="connsiteY63" fmla="*/ 474282 h 479077"/>
                <a:gd name="connsiteX64" fmla="*/ 2702703 w 3785642"/>
                <a:gd name="connsiteY64" fmla="*/ 472298 h 479077"/>
                <a:gd name="connsiteX65" fmla="*/ 2686333 w 3785642"/>
                <a:gd name="connsiteY65" fmla="*/ 472794 h 479077"/>
                <a:gd name="connsiteX66" fmla="*/ 2669962 w 3785642"/>
                <a:gd name="connsiteY66" fmla="*/ 474282 h 479077"/>
                <a:gd name="connsiteX67" fmla="*/ 2653592 w 3785642"/>
                <a:gd name="connsiteY67" fmla="*/ 472298 h 479077"/>
                <a:gd name="connsiteX68" fmla="*/ 2637221 w 3785642"/>
                <a:gd name="connsiteY68" fmla="*/ 474282 h 479077"/>
                <a:gd name="connsiteX69" fmla="*/ 2620851 w 3785642"/>
                <a:gd name="connsiteY69" fmla="*/ 474282 h 479077"/>
                <a:gd name="connsiteX70" fmla="*/ 2604480 w 3785642"/>
                <a:gd name="connsiteY70" fmla="*/ 472298 h 479077"/>
                <a:gd name="connsiteX71" fmla="*/ 2588109 w 3785642"/>
                <a:gd name="connsiteY71" fmla="*/ 473786 h 479077"/>
                <a:gd name="connsiteX72" fmla="*/ 2571739 w 3785642"/>
                <a:gd name="connsiteY72" fmla="*/ 472298 h 479077"/>
                <a:gd name="connsiteX73" fmla="*/ 2555368 w 3785642"/>
                <a:gd name="connsiteY73" fmla="*/ 473290 h 479077"/>
                <a:gd name="connsiteX74" fmla="*/ 2538998 w 3785642"/>
                <a:gd name="connsiteY74" fmla="*/ 474282 h 479077"/>
                <a:gd name="connsiteX75" fmla="*/ 2522627 w 3785642"/>
                <a:gd name="connsiteY75" fmla="*/ 473290 h 479077"/>
                <a:gd name="connsiteX76" fmla="*/ 2506257 w 3785642"/>
                <a:gd name="connsiteY76" fmla="*/ 474282 h 479077"/>
                <a:gd name="connsiteX77" fmla="*/ 2489886 w 3785642"/>
                <a:gd name="connsiteY77" fmla="*/ 473786 h 479077"/>
                <a:gd name="connsiteX78" fmla="*/ 2473516 w 3785642"/>
                <a:gd name="connsiteY78" fmla="*/ 474282 h 479077"/>
                <a:gd name="connsiteX79" fmla="*/ 2457145 w 3785642"/>
                <a:gd name="connsiteY79" fmla="*/ 472794 h 479077"/>
                <a:gd name="connsiteX80" fmla="*/ 2440775 w 3785642"/>
                <a:gd name="connsiteY80" fmla="*/ 472298 h 479077"/>
                <a:gd name="connsiteX81" fmla="*/ 2424404 w 3785642"/>
                <a:gd name="connsiteY81" fmla="*/ 473786 h 479077"/>
                <a:gd name="connsiteX82" fmla="*/ 2408033 w 3785642"/>
                <a:gd name="connsiteY82" fmla="*/ 472794 h 479077"/>
                <a:gd name="connsiteX83" fmla="*/ 2391663 w 3785642"/>
                <a:gd name="connsiteY83" fmla="*/ 473290 h 479077"/>
                <a:gd name="connsiteX84" fmla="*/ 2375292 w 3785642"/>
                <a:gd name="connsiteY84" fmla="*/ 473290 h 479077"/>
                <a:gd name="connsiteX85" fmla="*/ 2358922 w 3785642"/>
                <a:gd name="connsiteY85" fmla="*/ 472794 h 479077"/>
                <a:gd name="connsiteX86" fmla="*/ 2342551 w 3785642"/>
                <a:gd name="connsiteY86" fmla="*/ 472298 h 479077"/>
                <a:gd name="connsiteX87" fmla="*/ 2326180 w 3785642"/>
                <a:gd name="connsiteY87" fmla="*/ 473786 h 479077"/>
                <a:gd name="connsiteX88" fmla="*/ 2309810 w 3785642"/>
                <a:gd name="connsiteY88" fmla="*/ 473786 h 479077"/>
                <a:gd name="connsiteX89" fmla="*/ 2293439 w 3785642"/>
                <a:gd name="connsiteY89" fmla="*/ 473786 h 479077"/>
                <a:gd name="connsiteX90" fmla="*/ 2277069 w 3785642"/>
                <a:gd name="connsiteY90" fmla="*/ 472794 h 479077"/>
                <a:gd name="connsiteX91" fmla="*/ 2260698 w 3785642"/>
                <a:gd name="connsiteY91" fmla="*/ 474282 h 479077"/>
                <a:gd name="connsiteX92" fmla="*/ 2244327 w 3785642"/>
                <a:gd name="connsiteY92" fmla="*/ 472298 h 479077"/>
                <a:gd name="connsiteX93" fmla="*/ 2227957 w 3785642"/>
                <a:gd name="connsiteY93" fmla="*/ 474282 h 479077"/>
                <a:gd name="connsiteX94" fmla="*/ 2211586 w 3785642"/>
                <a:gd name="connsiteY94" fmla="*/ 473290 h 479077"/>
                <a:gd name="connsiteX95" fmla="*/ 2195216 w 3785642"/>
                <a:gd name="connsiteY95" fmla="*/ 474282 h 479077"/>
                <a:gd name="connsiteX96" fmla="*/ 2178845 w 3785642"/>
                <a:gd name="connsiteY96" fmla="*/ 472794 h 479077"/>
                <a:gd name="connsiteX97" fmla="*/ 2162474 w 3785642"/>
                <a:gd name="connsiteY97" fmla="*/ 474778 h 479077"/>
                <a:gd name="connsiteX98" fmla="*/ 2146104 w 3785642"/>
                <a:gd name="connsiteY98" fmla="*/ 473290 h 479077"/>
                <a:gd name="connsiteX99" fmla="*/ 2129733 w 3785642"/>
                <a:gd name="connsiteY99" fmla="*/ 474778 h 479077"/>
                <a:gd name="connsiteX100" fmla="*/ 2113363 w 3785642"/>
                <a:gd name="connsiteY100" fmla="*/ 474778 h 479077"/>
                <a:gd name="connsiteX101" fmla="*/ 2096992 w 3785642"/>
                <a:gd name="connsiteY101" fmla="*/ 474778 h 479077"/>
                <a:gd name="connsiteX102" fmla="*/ 2080621 w 3785642"/>
                <a:gd name="connsiteY102" fmla="*/ 474282 h 479077"/>
                <a:gd name="connsiteX103" fmla="*/ 2064251 w 3785642"/>
                <a:gd name="connsiteY103" fmla="*/ 472794 h 479077"/>
                <a:gd name="connsiteX104" fmla="*/ 2047880 w 3785642"/>
                <a:gd name="connsiteY104" fmla="*/ 474778 h 479077"/>
                <a:gd name="connsiteX105" fmla="*/ 2031510 w 3785642"/>
                <a:gd name="connsiteY105" fmla="*/ 474778 h 479077"/>
                <a:gd name="connsiteX106" fmla="*/ 2015139 w 3785642"/>
                <a:gd name="connsiteY106" fmla="*/ 474778 h 479077"/>
                <a:gd name="connsiteX107" fmla="*/ 1998769 w 3785642"/>
                <a:gd name="connsiteY107" fmla="*/ 474282 h 479077"/>
                <a:gd name="connsiteX108" fmla="*/ 1982398 w 3785642"/>
                <a:gd name="connsiteY108" fmla="*/ 473786 h 479077"/>
                <a:gd name="connsiteX109" fmla="*/ 1966028 w 3785642"/>
                <a:gd name="connsiteY109" fmla="*/ 473786 h 479077"/>
                <a:gd name="connsiteX110" fmla="*/ 1949657 w 3785642"/>
                <a:gd name="connsiteY110" fmla="*/ 472794 h 479077"/>
                <a:gd name="connsiteX111" fmla="*/ 1933287 w 3785642"/>
                <a:gd name="connsiteY111" fmla="*/ 473290 h 479077"/>
                <a:gd name="connsiteX112" fmla="*/ 1916916 w 3785642"/>
                <a:gd name="connsiteY112" fmla="*/ 474778 h 479077"/>
                <a:gd name="connsiteX113" fmla="*/ 1900546 w 3785642"/>
                <a:gd name="connsiteY113" fmla="*/ 472794 h 479077"/>
                <a:gd name="connsiteX114" fmla="*/ 1884175 w 3785642"/>
                <a:gd name="connsiteY114" fmla="*/ 473786 h 479077"/>
                <a:gd name="connsiteX115" fmla="*/ 1867804 w 3785642"/>
                <a:gd name="connsiteY115" fmla="*/ 474778 h 479077"/>
                <a:gd name="connsiteX116" fmla="*/ 1851434 w 3785642"/>
                <a:gd name="connsiteY116" fmla="*/ 474778 h 479077"/>
                <a:gd name="connsiteX117" fmla="*/ 1835063 w 3785642"/>
                <a:gd name="connsiteY117" fmla="*/ 474778 h 479077"/>
                <a:gd name="connsiteX118" fmla="*/ 1818693 w 3785642"/>
                <a:gd name="connsiteY118" fmla="*/ 474282 h 479077"/>
                <a:gd name="connsiteX119" fmla="*/ 1802322 w 3785642"/>
                <a:gd name="connsiteY119" fmla="*/ 472794 h 479077"/>
                <a:gd name="connsiteX120" fmla="*/ 1785951 w 3785642"/>
                <a:gd name="connsiteY120" fmla="*/ 473786 h 479077"/>
                <a:gd name="connsiteX121" fmla="*/ 1769581 w 3785642"/>
                <a:gd name="connsiteY121" fmla="*/ 473290 h 479077"/>
                <a:gd name="connsiteX122" fmla="*/ 1753210 w 3785642"/>
                <a:gd name="connsiteY122" fmla="*/ 472298 h 479077"/>
                <a:gd name="connsiteX123" fmla="*/ 1736840 w 3785642"/>
                <a:gd name="connsiteY123" fmla="*/ 473290 h 479077"/>
                <a:gd name="connsiteX124" fmla="*/ 1720469 w 3785642"/>
                <a:gd name="connsiteY124" fmla="*/ 474778 h 479077"/>
                <a:gd name="connsiteX125" fmla="*/ 1704098 w 3785642"/>
                <a:gd name="connsiteY125" fmla="*/ 472794 h 479077"/>
                <a:gd name="connsiteX126" fmla="*/ 1687728 w 3785642"/>
                <a:gd name="connsiteY126" fmla="*/ 474778 h 479077"/>
                <a:gd name="connsiteX127" fmla="*/ 1671357 w 3785642"/>
                <a:gd name="connsiteY127" fmla="*/ 474778 h 479077"/>
                <a:gd name="connsiteX128" fmla="*/ 1654987 w 3785642"/>
                <a:gd name="connsiteY128" fmla="*/ 472298 h 479077"/>
                <a:gd name="connsiteX129" fmla="*/ 1638616 w 3785642"/>
                <a:gd name="connsiteY129" fmla="*/ 472794 h 479077"/>
                <a:gd name="connsiteX130" fmla="*/ 1622246 w 3785642"/>
                <a:gd name="connsiteY130" fmla="*/ 473786 h 479077"/>
                <a:gd name="connsiteX131" fmla="*/ 1605875 w 3785642"/>
                <a:gd name="connsiteY131" fmla="*/ 474778 h 479077"/>
                <a:gd name="connsiteX132" fmla="*/ 1589505 w 3785642"/>
                <a:gd name="connsiteY132" fmla="*/ 473290 h 479077"/>
                <a:gd name="connsiteX133" fmla="*/ 1573134 w 3785642"/>
                <a:gd name="connsiteY133" fmla="*/ 474778 h 479077"/>
                <a:gd name="connsiteX134" fmla="*/ 1556763 w 3785642"/>
                <a:gd name="connsiteY134" fmla="*/ 472794 h 479077"/>
                <a:gd name="connsiteX135" fmla="*/ 1540393 w 3785642"/>
                <a:gd name="connsiteY135" fmla="*/ 472794 h 479077"/>
                <a:gd name="connsiteX136" fmla="*/ 1524022 w 3785642"/>
                <a:gd name="connsiteY136" fmla="*/ 474282 h 479077"/>
                <a:gd name="connsiteX137" fmla="*/ 1507652 w 3785642"/>
                <a:gd name="connsiteY137" fmla="*/ 472794 h 479077"/>
                <a:gd name="connsiteX138" fmla="*/ 1491281 w 3785642"/>
                <a:gd name="connsiteY138" fmla="*/ 474282 h 479077"/>
                <a:gd name="connsiteX139" fmla="*/ 1474910 w 3785642"/>
                <a:gd name="connsiteY139" fmla="*/ 474282 h 479077"/>
                <a:gd name="connsiteX140" fmla="*/ 1458540 w 3785642"/>
                <a:gd name="connsiteY140" fmla="*/ 472794 h 479077"/>
                <a:gd name="connsiteX141" fmla="*/ 1442169 w 3785642"/>
                <a:gd name="connsiteY141" fmla="*/ 471802 h 479077"/>
                <a:gd name="connsiteX142" fmla="*/ 1425799 w 3785642"/>
                <a:gd name="connsiteY142" fmla="*/ 472298 h 479077"/>
                <a:gd name="connsiteX143" fmla="*/ 1409428 w 3785642"/>
                <a:gd name="connsiteY143" fmla="*/ 472794 h 479077"/>
                <a:gd name="connsiteX144" fmla="*/ 1393058 w 3785642"/>
                <a:gd name="connsiteY144" fmla="*/ 473786 h 479077"/>
                <a:gd name="connsiteX145" fmla="*/ 1376687 w 3785642"/>
                <a:gd name="connsiteY145" fmla="*/ 471802 h 479077"/>
                <a:gd name="connsiteX146" fmla="*/ 1360317 w 3785642"/>
                <a:gd name="connsiteY146" fmla="*/ 473786 h 479077"/>
                <a:gd name="connsiteX147" fmla="*/ 1343946 w 3785642"/>
                <a:gd name="connsiteY147" fmla="*/ 473786 h 479077"/>
                <a:gd name="connsiteX148" fmla="*/ 1327576 w 3785642"/>
                <a:gd name="connsiteY148" fmla="*/ 472794 h 479077"/>
                <a:gd name="connsiteX149" fmla="*/ 1311205 w 3785642"/>
                <a:gd name="connsiteY149" fmla="*/ 473786 h 479077"/>
                <a:gd name="connsiteX150" fmla="*/ 1294834 w 3785642"/>
                <a:gd name="connsiteY150" fmla="*/ 473786 h 479077"/>
                <a:gd name="connsiteX151" fmla="*/ 1278464 w 3785642"/>
                <a:gd name="connsiteY151" fmla="*/ 473786 h 479077"/>
                <a:gd name="connsiteX152" fmla="*/ 1262093 w 3785642"/>
                <a:gd name="connsiteY152" fmla="*/ 473786 h 479077"/>
                <a:gd name="connsiteX153" fmla="*/ 1245723 w 3785642"/>
                <a:gd name="connsiteY153" fmla="*/ 473290 h 479077"/>
                <a:gd name="connsiteX154" fmla="*/ 1229352 w 3785642"/>
                <a:gd name="connsiteY154" fmla="*/ 472794 h 479077"/>
                <a:gd name="connsiteX155" fmla="*/ 1212981 w 3785642"/>
                <a:gd name="connsiteY155" fmla="*/ 473786 h 479077"/>
                <a:gd name="connsiteX156" fmla="*/ 1196611 w 3785642"/>
                <a:gd name="connsiteY156" fmla="*/ 472298 h 479077"/>
                <a:gd name="connsiteX157" fmla="*/ 1180240 w 3785642"/>
                <a:gd name="connsiteY157" fmla="*/ 472794 h 479077"/>
                <a:gd name="connsiteX158" fmla="*/ 1163870 w 3785642"/>
                <a:gd name="connsiteY158" fmla="*/ 472794 h 479077"/>
                <a:gd name="connsiteX159" fmla="*/ 1147499 w 3785642"/>
                <a:gd name="connsiteY159" fmla="*/ 473786 h 479077"/>
                <a:gd name="connsiteX160" fmla="*/ 1131128 w 3785642"/>
                <a:gd name="connsiteY160" fmla="*/ 473786 h 479077"/>
                <a:gd name="connsiteX161" fmla="*/ 1114758 w 3785642"/>
                <a:gd name="connsiteY161" fmla="*/ 472794 h 479077"/>
                <a:gd name="connsiteX162" fmla="*/ 1098387 w 3785642"/>
                <a:gd name="connsiteY162" fmla="*/ 473786 h 479077"/>
                <a:gd name="connsiteX163" fmla="*/ 1082017 w 3785642"/>
                <a:gd name="connsiteY163" fmla="*/ 474778 h 479077"/>
                <a:gd name="connsiteX164" fmla="*/ 1065646 w 3785642"/>
                <a:gd name="connsiteY164" fmla="*/ 474778 h 479077"/>
                <a:gd name="connsiteX165" fmla="*/ 1049276 w 3785642"/>
                <a:gd name="connsiteY165" fmla="*/ 474282 h 479077"/>
                <a:gd name="connsiteX166" fmla="*/ 1032905 w 3785642"/>
                <a:gd name="connsiteY166" fmla="*/ 473290 h 479077"/>
                <a:gd name="connsiteX167" fmla="*/ 1016535 w 3785642"/>
                <a:gd name="connsiteY167" fmla="*/ 474282 h 479077"/>
                <a:gd name="connsiteX168" fmla="*/ 1000164 w 3785642"/>
                <a:gd name="connsiteY168" fmla="*/ 474282 h 479077"/>
                <a:gd name="connsiteX169" fmla="*/ 983793 w 3785642"/>
                <a:gd name="connsiteY169" fmla="*/ 472794 h 479077"/>
                <a:gd name="connsiteX170" fmla="*/ 967423 w 3785642"/>
                <a:gd name="connsiteY170" fmla="*/ 472794 h 479077"/>
                <a:gd name="connsiteX171" fmla="*/ 951052 w 3785642"/>
                <a:gd name="connsiteY171" fmla="*/ 473786 h 479077"/>
                <a:gd name="connsiteX172" fmla="*/ 934682 w 3785642"/>
                <a:gd name="connsiteY172" fmla="*/ 474282 h 479077"/>
                <a:gd name="connsiteX173" fmla="*/ 918311 w 3785642"/>
                <a:gd name="connsiteY173" fmla="*/ 474778 h 479077"/>
                <a:gd name="connsiteX174" fmla="*/ 901940 w 3785642"/>
                <a:gd name="connsiteY174" fmla="*/ 473290 h 479077"/>
                <a:gd name="connsiteX175" fmla="*/ 885570 w 3785642"/>
                <a:gd name="connsiteY175" fmla="*/ 474778 h 479077"/>
                <a:gd name="connsiteX176" fmla="*/ 869199 w 3785642"/>
                <a:gd name="connsiteY176" fmla="*/ 474282 h 479077"/>
                <a:gd name="connsiteX177" fmla="*/ 852829 w 3785642"/>
                <a:gd name="connsiteY177" fmla="*/ 473786 h 479077"/>
                <a:gd name="connsiteX178" fmla="*/ 836458 w 3785642"/>
                <a:gd name="connsiteY178" fmla="*/ 474778 h 479077"/>
                <a:gd name="connsiteX179" fmla="*/ 820088 w 3785642"/>
                <a:gd name="connsiteY179" fmla="*/ 475274 h 479077"/>
                <a:gd name="connsiteX180" fmla="*/ 803717 w 3785642"/>
                <a:gd name="connsiteY180" fmla="*/ 473786 h 479077"/>
                <a:gd name="connsiteX181" fmla="*/ 787347 w 3785642"/>
                <a:gd name="connsiteY181" fmla="*/ 475770 h 479077"/>
                <a:gd name="connsiteX182" fmla="*/ 770976 w 3785642"/>
                <a:gd name="connsiteY182" fmla="*/ 474778 h 479077"/>
                <a:gd name="connsiteX183" fmla="*/ 754605 w 3785642"/>
                <a:gd name="connsiteY183" fmla="*/ 475274 h 479077"/>
                <a:gd name="connsiteX184" fmla="*/ 738235 w 3785642"/>
                <a:gd name="connsiteY184" fmla="*/ 473786 h 479077"/>
                <a:gd name="connsiteX185" fmla="*/ 721864 w 3785642"/>
                <a:gd name="connsiteY185" fmla="*/ 475274 h 479077"/>
                <a:gd name="connsiteX186" fmla="*/ 705494 w 3785642"/>
                <a:gd name="connsiteY186" fmla="*/ 475770 h 479077"/>
                <a:gd name="connsiteX187" fmla="*/ 689123 w 3785642"/>
                <a:gd name="connsiteY187" fmla="*/ 474282 h 479077"/>
                <a:gd name="connsiteX188" fmla="*/ 672753 w 3785642"/>
                <a:gd name="connsiteY188" fmla="*/ 475274 h 479077"/>
                <a:gd name="connsiteX189" fmla="*/ 656382 w 3785642"/>
                <a:gd name="connsiteY189" fmla="*/ 474778 h 479077"/>
                <a:gd name="connsiteX190" fmla="*/ 640011 w 3785642"/>
                <a:gd name="connsiteY190" fmla="*/ 475770 h 479077"/>
                <a:gd name="connsiteX191" fmla="*/ 623641 w 3785642"/>
                <a:gd name="connsiteY191" fmla="*/ 473786 h 479077"/>
                <a:gd name="connsiteX192" fmla="*/ 607270 w 3785642"/>
                <a:gd name="connsiteY192" fmla="*/ 474778 h 479077"/>
                <a:gd name="connsiteX193" fmla="*/ 590900 w 3785642"/>
                <a:gd name="connsiteY193" fmla="*/ 475274 h 479077"/>
                <a:gd name="connsiteX194" fmla="*/ 574529 w 3785642"/>
                <a:gd name="connsiteY194" fmla="*/ 474282 h 479077"/>
                <a:gd name="connsiteX195" fmla="*/ 558158 w 3785642"/>
                <a:gd name="connsiteY195" fmla="*/ 475274 h 479077"/>
                <a:gd name="connsiteX196" fmla="*/ 541788 w 3785642"/>
                <a:gd name="connsiteY196" fmla="*/ 475770 h 479077"/>
                <a:gd name="connsiteX197" fmla="*/ 525417 w 3785642"/>
                <a:gd name="connsiteY197" fmla="*/ 474282 h 479077"/>
                <a:gd name="connsiteX198" fmla="*/ 509047 w 3785642"/>
                <a:gd name="connsiteY198" fmla="*/ 473786 h 479077"/>
                <a:gd name="connsiteX199" fmla="*/ 492676 w 3785642"/>
                <a:gd name="connsiteY199" fmla="*/ 473786 h 479077"/>
                <a:gd name="connsiteX200" fmla="*/ 476306 w 3785642"/>
                <a:gd name="connsiteY200" fmla="*/ 474778 h 479077"/>
                <a:gd name="connsiteX201" fmla="*/ 459935 w 3785642"/>
                <a:gd name="connsiteY201" fmla="*/ 473786 h 479077"/>
                <a:gd name="connsiteX202" fmla="*/ 443565 w 3785642"/>
                <a:gd name="connsiteY202" fmla="*/ 474778 h 479077"/>
                <a:gd name="connsiteX203" fmla="*/ 427194 w 3785642"/>
                <a:gd name="connsiteY203" fmla="*/ 474282 h 479077"/>
                <a:gd name="connsiteX204" fmla="*/ 410823 w 3785642"/>
                <a:gd name="connsiteY204" fmla="*/ 473290 h 479077"/>
                <a:gd name="connsiteX205" fmla="*/ 394453 w 3785642"/>
                <a:gd name="connsiteY205" fmla="*/ 475770 h 479077"/>
                <a:gd name="connsiteX206" fmla="*/ 378082 w 3785642"/>
                <a:gd name="connsiteY206" fmla="*/ 475274 h 479077"/>
                <a:gd name="connsiteX207" fmla="*/ 361712 w 3785642"/>
                <a:gd name="connsiteY207" fmla="*/ 474778 h 479077"/>
                <a:gd name="connsiteX208" fmla="*/ 345341 w 3785642"/>
                <a:gd name="connsiteY208" fmla="*/ 476266 h 479077"/>
                <a:gd name="connsiteX209" fmla="*/ 328970 w 3785642"/>
                <a:gd name="connsiteY209" fmla="*/ 474282 h 479077"/>
                <a:gd name="connsiteX210" fmla="*/ 312600 w 3785642"/>
                <a:gd name="connsiteY210" fmla="*/ 475274 h 479077"/>
                <a:gd name="connsiteX211" fmla="*/ 296229 w 3785642"/>
                <a:gd name="connsiteY211" fmla="*/ 474282 h 479077"/>
                <a:gd name="connsiteX212" fmla="*/ 279859 w 3785642"/>
                <a:gd name="connsiteY212" fmla="*/ 475770 h 479077"/>
                <a:gd name="connsiteX213" fmla="*/ 263488 w 3785642"/>
                <a:gd name="connsiteY213" fmla="*/ 476266 h 479077"/>
                <a:gd name="connsiteX214" fmla="*/ 247118 w 3785642"/>
                <a:gd name="connsiteY214" fmla="*/ 476266 h 479077"/>
                <a:gd name="connsiteX215" fmla="*/ 230747 w 3785642"/>
                <a:gd name="connsiteY215" fmla="*/ 474778 h 479077"/>
                <a:gd name="connsiteX216" fmla="*/ 214376 w 3785642"/>
                <a:gd name="connsiteY216" fmla="*/ 474778 h 479077"/>
                <a:gd name="connsiteX217" fmla="*/ 198006 w 3785642"/>
                <a:gd name="connsiteY217" fmla="*/ 476762 h 479077"/>
                <a:gd name="connsiteX218" fmla="*/ 181635 w 3785642"/>
                <a:gd name="connsiteY218" fmla="*/ 476266 h 479077"/>
                <a:gd name="connsiteX219" fmla="*/ 165265 w 3785642"/>
                <a:gd name="connsiteY219" fmla="*/ 474778 h 479077"/>
                <a:gd name="connsiteX220" fmla="*/ 148894 w 3785642"/>
                <a:gd name="connsiteY220" fmla="*/ 476762 h 479077"/>
                <a:gd name="connsiteX221" fmla="*/ 132524 w 3785642"/>
                <a:gd name="connsiteY221" fmla="*/ 476266 h 479077"/>
                <a:gd name="connsiteX222" fmla="*/ 116153 w 3785642"/>
                <a:gd name="connsiteY222" fmla="*/ 475274 h 479077"/>
                <a:gd name="connsiteX223" fmla="*/ 99783 w 3785642"/>
                <a:gd name="connsiteY223" fmla="*/ 475274 h 479077"/>
                <a:gd name="connsiteX224" fmla="*/ 83412 w 3785642"/>
                <a:gd name="connsiteY224" fmla="*/ 475274 h 479077"/>
                <a:gd name="connsiteX225" fmla="*/ 67041 w 3785642"/>
                <a:gd name="connsiteY225" fmla="*/ 474778 h 479077"/>
                <a:gd name="connsiteX226" fmla="*/ 50671 w 3785642"/>
                <a:gd name="connsiteY226" fmla="*/ 475274 h 479077"/>
                <a:gd name="connsiteX227" fmla="*/ 34300 w 3785642"/>
                <a:gd name="connsiteY227" fmla="*/ 475274 h 479077"/>
                <a:gd name="connsiteX228" fmla="*/ 17930 w 3785642"/>
                <a:gd name="connsiteY228" fmla="*/ 475770 h 479077"/>
                <a:gd name="connsiteX229" fmla="*/ 567 w 3785642"/>
                <a:gd name="connsiteY229" fmla="*/ 475770 h 479077"/>
                <a:gd name="connsiteX230" fmla="*/ 12969 w 3785642"/>
                <a:gd name="connsiteY230" fmla="*/ 463368 h 479077"/>
                <a:gd name="connsiteX231" fmla="*/ 24379 w 3785642"/>
                <a:gd name="connsiteY231" fmla="*/ 451958 h 479077"/>
                <a:gd name="connsiteX232" fmla="*/ 35788 w 3785642"/>
                <a:gd name="connsiteY232" fmla="*/ 440053 h 479077"/>
                <a:gd name="connsiteX233" fmla="*/ 48686 w 3785642"/>
                <a:gd name="connsiteY233" fmla="*/ 430131 h 479077"/>
                <a:gd name="connsiteX234" fmla="*/ 59600 w 3785642"/>
                <a:gd name="connsiteY234" fmla="*/ 418225 h 479077"/>
                <a:gd name="connsiteX235" fmla="*/ 70514 w 3785642"/>
                <a:gd name="connsiteY235" fmla="*/ 405823 h 479077"/>
                <a:gd name="connsiteX236" fmla="*/ 83412 w 3785642"/>
                <a:gd name="connsiteY236" fmla="*/ 395406 h 479077"/>
                <a:gd name="connsiteX237" fmla="*/ 94822 w 3785642"/>
                <a:gd name="connsiteY237" fmla="*/ 383500 h 479077"/>
                <a:gd name="connsiteX238" fmla="*/ 106728 w 3785642"/>
                <a:gd name="connsiteY238" fmla="*/ 372090 h 479077"/>
                <a:gd name="connsiteX239" fmla="*/ 117145 w 3785642"/>
                <a:gd name="connsiteY239" fmla="*/ 359688 h 479077"/>
                <a:gd name="connsiteX240" fmla="*/ 128555 w 3785642"/>
                <a:gd name="connsiteY240" fmla="*/ 348278 h 479077"/>
                <a:gd name="connsiteX241" fmla="*/ 140461 w 3785642"/>
                <a:gd name="connsiteY241" fmla="*/ 336868 h 479077"/>
                <a:gd name="connsiteX242" fmla="*/ 152863 w 3785642"/>
                <a:gd name="connsiteY242" fmla="*/ 326451 h 479077"/>
                <a:gd name="connsiteX243" fmla="*/ 164769 w 3785642"/>
                <a:gd name="connsiteY243" fmla="*/ 315041 h 479077"/>
                <a:gd name="connsiteX244" fmla="*/ 176178 w 3785642"/>
                <a:gd name="connsiteY244" fmla="*/ 303135 h 479077"/>
                <a:gd name="connsiteX245" fmla="*/ 188084 w 3785642"/>
                <a:gd name="connsiteY245" fmla="*/ 291725 h 479077"/>
                <a:gd name="connsiteX246" fmla="*/ 199494 w 3785642"/>
                <a:gd name="connsiteY246" fmla="*/ 280315 h 479077"/>
                <a:gd name="connsiteX247" fmla="*/ 210904 w 3785642"/>
                <a:gd name="connsiteY247" fmla="*/ 268906 h 479077"/>
                <a:gd name="connsiteX248" fmla="*/ 221818 w 3785642"/>
                <a:gd name="connsiteY248" fmla="*/ 256504 h 479077"/>
                <a:gd name="connsiteX249" fmla="*/ 233724 w 3785642"/>
                <a:gd name="connsiteY249" fmla="*/ 245094 h 479077"/>
                <a:gd name="connsiteX250" fmla="*/ 244141 w 3785642"/>
                <a:gd name="connsiteY250" fmla="*/ 232692 h 479077"/>
                <a:gd name="connsiteX251" fmla="*/ 257039 w 3785642"/>
                <a:gd name="connsiteY251" fmla="*/ 222770 h 479077"/>
                <a:gd name="connsiteX252" fmla="*/ 266961 w 3785642"/>
                <a:gd name="connsiteY252" fmla="*/ 209376 h 479077"/>
                <a:gd name="connsiteX253" fmla="*/ 278371 w 3785642"/>
                <a:gd name="connsiteY253" fmla="*/ 197966 h 479077"/>
                <a:gd name="connsiteX254" fmla="*/ 291269 w 3785642"/>
                <a:gd name="connsiteY254" fmla="*/ 188045 h 479077"/>
                <a:gd name="connsiteX255" fmla="*/ 301686 w 3785642"/>
                <a:gd name="connsiteY255" fmla="*/ 175147 h 479077"/>
                <a:gd name="connsiteX256" fmla="*/ 313592 w 3785642"/>
                <a:gd name="connsiteY256" fmla="*/ 163737 h 479077"/>
                <a:gd name="connsiteX257" fmla="*/ 325994 w 3785642"/>
                <a:gd name="connsiteY257" fmla="*/ 153319 h 479077"/>
                <a:gd name="connsiteX258" fmla="*/ 337404 w 3785642"/>
                <a:gd name="connsiteY258" fmla="*/ 141910 h 479077"/>
                <a:gd name="connsiteX259" fmla="*/ 347325 w 3785642"/>
                <a:gd name="connsiteY259" fmla="*/ 129012 h 479077"/>
                <a:gd name="connsiteX260" fmla="*/ 360224 w 3785642"/>
                <a:gd name="connsiteY260" fmla="*/ 118594 h 479077"/>
                <a:gd name="connsiteX261" fmla="*/ 371137 w 3785642"/>
                <a:gd name="connsiteY261" fmla="*/ 106192 h 479077"/>
                <a:gd name="connsiteX262" fmla="*/ 382051 w 3785642"/>
                <a:gd name="connsiteY262" fmla="*/ 93790 h 479077"/>
                <a:gd name="connsiteX263" fmla="*/ 393957 w 3785642"/>
                <a:gd name="connsiteY263" fmla="*/ 82380 h 479077"/>
                <a:gd name="connsiteX264" fmla="*/ 405366 w 3785642"/>
                <a:gd name="connsiteY264" fmla="*/ 70475 h 479077"/>
                <a:gd name="connsiteX265" fmla="*/ 417272 w 3785642"/>
                <a:gd name="connsiteY265" fmla="*/ 59561 h 479077"/>
                <a:gd name="connsiteX266" fmla="*/ 429674 w 3785642"/>
                <a:gd name="connsiteY266" fmla="*/ 48647 h 479077"/>
                <a:gd name="connsiteX267" fmla="*/ 440092 w 3785642"/>
                <a:gd name="connsiteY267" fmla="*/ 35749 h 479077"/>
                <a:gd name="connsiteX268" fmla="*/ 452494 w 3785642"/>
                <a:gd name="connsiteY268" fmla="*/ 24835 h 479077"/>
                <a:gd name="connsiteX269" fmla="*/ 463904 w 3785642"/>
                <a:gd name="connsiteY269" fmla="*/ 12929 h 479077"/>
                <a:gd name="connsiteX270" fmla="*/ 475313 w 3785642"/>
                <a:gd name="connsiteY270" fmla="*/ 1024 h 479077"/>
                <a:gd name="connsiteX271" fmla="*/ 491684 w 3785642"/>
                <a:gd name="connsiteY271" fmla="*/ 2512 h 479077"/>
                <a:gd name="connsiteX272" fmla="*/ 508055 w 3785642"/>
                <a:gd name="connsiteY272" fmla="*/ 2512 h 479077"/>
                <a:gd name="connsiteX273" fmla="*/ 524425 w 3785642"/>
                <a:gd name="connsiteY273" fmla="*/ 2512 h 479077"/>
                <a:gd name="connsiteX274" fmla="*/ 540796 w 3785642"/>
                <a:gd name="connsiteY274" fmla="*/ 1024 h 479077"/>
                <a:gd name="connsiteX275" fmla="*/ 557166 w 3785642"/>
                <a:gd name="connsiteY275" fmla="*/ 2512 h 479077"/>
                <a:gd name="connsiteX276" fmla="*/ 573537 w 3785642"/>
                <a:gd name="connsiteY276" fmla="*/ 1024 h 479077"/>
                <a:gd name="connsiteX277" fmla="*/ 589908 w 3785642"/>
                <a:gd name="connsiteY277" fmla="*/ 527 h 479077"/>
                <a:gd name="connsiteX278" fmla="*/ 606278 w 3785642"/>
                <a:gd name="connsiteY278" fmla="*/ 1520 h 479077"/>
                <a:gd name="connsiteX279" fmla="*/ 622649 w 3785642"/>
                <a:gd name="connsiteY279" fmla="*/ 1520 h 479077"/>
                <a:gd name="connsiteX280" fmla="*/ 639019 w 3785642"/>
                <a:gd name="connsiteY280" fmla="*/ 2016 h 479077"/>
                <a:gd name="connsiteX281" fmla="*/ 655390 w 3785642"/>
                <a:gd name="connsiteY281" fmla="*/ 527 h 479077"/>
                <a:gd name="connsiteX282" fmla="*/ 671760 w 3785642"/>
                <a:gd name="connsiteY282" fmla="*/ 1520 h 479077"/>
                <a:gd name="connsiteX283" fmla="*/ 688131 w 3785642"/>
                <a:gd name="connsiteY283" fmla="*/ 2512 h 479077"/>
                <a:gd name="connsiteX284" fmla="*/ 704501 w 3785642"/>
                <a:gd name="connsiteY284" fmla="*/ 1024 h 479077"/>
                <a:gd name="connsiteX285" fmla="*/ 720872 w 3785642"/>
                <a:gd name="connsiteY285" fmla="*/ 1520 h 479077"/>
                <a:gd name="connsiteX286" fmla="*/ 737243 w 3785642"/>
                <a:gd name="connsiteY286" fmla="*/ 2016 h 479077"/>
                <a:gd name="connsiteX287" fmla="*/ 753613 w 3785642"/>
                <a:gd name="connsiteY287" fmla="*/ 1024 h 479077"/>
                <a:gd name="connsiteX288" fmla="*/ 769984 w 3785642"/>
                <a:gd name="connsiteY288" fmla="*/ 527 h 479077"/>
                <a:gd name="connsiteX289" fmla="*/ 786354 w 3785642"/>
                <a:gd name="connsiteY289" fmla="*/ 1520 h 479077"/>
                <a:gd name="connsiteX290" fmla="*/ 802725 w 3785642"/>
                <a:gd name="connsiteY290" fmla="*/ 527 h 479077"/>
                <a:gd name="connsiteX291" fmla="*/ 819096 w 3785642"/>
                <a:gd name="connsiteY291" fmla="*/ 2512 h 479077"/>
                <a:gd name="connsiteX292" fmla="*/ 835466 w 3785642"/>
                <a:gd name="connsiteY292" fmla="*/ 527 h 479077"/>
                <a:gd name="connsiteX293" fmla="*/ 851837 w 3785642"/>
                <a:gd name="connsiteY293" fmla="*/ 1520 h 479077"/>
                <a:gd name="connsiteX294" fmla="*/ 868207 w 3785642"/>
                <a:gd name="connsiteY294" fmla="*/ 2016 h 479077"/>
                <a:gd name="connsiteX295" fmla="*/ 884578 w 3785642"/>
                <a:gd name="connsiteY295" fmla="*/ 2512 h 479077"/>
                <a:gd name="connsiteX296" fmla="*/ 900948 w 3785642"/>
                <a:gd name="connsiteY296" fmla="*/ 1520 h 479077"/>
                <a:gd name="connsiteX297" fmla="*/ 917319 w 3785642"/>
                <a:gd name="connsiteY297" fmla="*/ 1024 h 479077"/>
                <a:gd name="connsiteX298" fmla="*/ 933689 w 3785642"/>
                <a:gd name="connsiteY298" fmla="*/ 2512 h 479077"/>
                <a:gd name="connsiteX299" fmla="*/ 950060 w 3785642"/>
                <a:gd name="connsiteY299" fmla="*/ 1520 h 479077"/>
                <a:gd name="connsiteX300" fmla="*/ 966431 w 3785642"/>
                <a:gd name="connsiteY300" fmla="*/ 2016 h 479077"/>
                <a:gd name="connsiteX301" fmla="*/ 982801 w 3785642"/>
                <a:gd name="connsiteY301" fmla="*/ 2512 h 479077"/>
                <a:gd name="connsiteX302" fmla="*/ 999172 w 3785642"/>
                <a:gd name="connsiteY302" fmla="*/ 1520 h 479077"/>
                <a:gd name="connsiteX303" fmla="*/ 1015542 w 3785642"/>
                <a:gd name="connsiteY303" fmla="*/ 2512 h 479077"/>
                <a:gd name="connsiteX304" fmla="*/ 1031913 w 3785642"/>
                <a:gd name="connsiteY304" fmla="*/ 1520 h 479077"/>
                <a:gd name="connsiteX305" fmla="*/ 1048283 w 3785642"/>
                <a:gd name="connsiteY305" fmla="*/ 2016 h 479077"/>
                <a:gd name="connsiteX306" fmla="*/ 1064654 w 3785642"/>
                <a:gd name="connsiteY306" fmla="*/ 3504 h 479077"/>
                <a:gd name="connsiteX307" fmla="*/ 1081025 w 3785642"/>
                <a:gd name="connsiteY307" fmla="*/ 2016 h 479077"/>
                <a:gd name="connsiteX308" fmla="*/ 1097395 w 3785642"/>
                <a:gd name="connsiteY308" fmla="*/ 2512 h 479077"/>
                <a:gd name="connsiteX309" fmla="*/ 1113766 w 3785642"/>
                <a:gd name="connsiteY309" fmla="*/ 2512 h 479077"/>
                <a:gd name="connsiteX310" fmla="*/ 1130136 w 3785642"/>
                <a:gd name="connsiteY310" fmla="*/ 3504 h 479077"/>
                <a:gd name="connsiteX311" fmla="*/ 1146507 w 3785642"/>
                <a:gd name="connsiteY311" fmla="*/ 1520 h 479077"/>
                <a:gd name="connsiteX312" fmla="*/ 1162878 w 3785642"/>
                <a:gd name="connsiteY312" fmla="*/ 3008 h 479077"/>
                <a:gd name="connsiteX313" fmla="*/ 1179248 w 3785642"/>
                <a:gd name="connsiteY313" fmla="*/ 4000 h 479077"/>
                <a:gd name="connsiteX314" fmla="*/ 1195619 w 3785642"/>
                <a:gd name="connsiteY314" fmla="*/ 3504 h 479077"/>
                <a:gd name="connsiteX315" fmla="*/ 1211989 w 3785642"/>
                <a:gd name="connsiteY315" fmla="*/ 1520 h 479077"/>
                <a:gd name="connsiteX316" fmla="*/ 1228360 w 3785642"/>
                <a:gd name="connsiteY316" fmla="*/ 3504 h 479077"/>
                <a:gd name="connsiteX317" fmla="*/ 1244730 w 3785642"/>
                <a:gd name="connsiteY317" fmla="*/ 1520 h 479077"/>
                <a:gd name="connsiteX318" fmla="*/ 1261101 w 3785642"/>
                <a:gd name="connsiteY318" fmla="*/ 2512 h 479077"/>
                <a:gd name="connsiteX319" fmla="*/ 1277471 w 3785642"/>
                <a:gd name="connsiteY319" fmla="*/ 3504 h 479077"/>
                <a:gd name="connsiteX320" fmla="*/ 1293842 w 3785642"/>
                <a:gd name="connsiteY320" fmla="*/ 4000 h 479077"/>
                <a:gd name="connsiteX321" fmla="*/ 1310213 w 3785642"/>
                <a:gd name="connsiteY321" fmla="*/ 1520 h 479077"/>
                <a:gd name="connsiteX322" fmla="*/ 1326583 w 3785642"/>
                <a:gd name="connsiteY322" fmla="*/ 2016 h 479077"/>
                <a:gd name="connsiteX323" fmla="*/ 1342954 w 3785642"/>
                <a:gd name="connsiteY323" fmla="*/ 3008 h 479077"/>
                <a:gd name="connsiteX324" fmla="*/ 1359324 w 3785642"/>
                <a:gd name="connsiteY324" fmla="*/ 3008 h 479077"/>
                <a:gd name="connsiteX325" fmla="*/ 1375695 w 3785642"/>
                <a:gd name="connsiteY325" fmla="*/ 2512 h 479077"/>
                <a:gd name="connsiteX326" fmla="*/ 1392066 w 3785642"/>
                <a:gd name="connsiteY326" fmla="*/ 2512 h 479077"/>
                <a:gd name="connsiteX327" fmla="*/ 1408436 w 3785642"/>
                <a:gd name="connsiteY327" fmla="*/ 3504 h 479077"/>
                <a:gd name="connsiteX328" fmla="*/ 1424807 w 3785642"/>
                <a:gd name="connsiteY328" fmla="*/ 3504 h 479077"/>
                <a:gd name="connsiteX329" fmla="*/ 1441177 w 3785642"/>
                <a:gd name="connsiteY329" fmla="*/ 1520 h 479077"/>
                <a:gd name="connsiteX330" fmla="*/ 1457548 w 3785642"/>
                <a:gd name="connsiteY330" fmla="*/ 2512 h 479077"/>
                <a:gd name="connsiteX331" fmla="*/ 1473919 w 3785642"/>
                <a:gd name="connsiteY331" fmla="*/ 2016 h 479077"/>
                <a:gd name="connsiteX332" fmla="*/ 1490289 w 3785642"/>
                <a:gd name="connsiteY332" fmla="*/ 2016 h 479077"/>
                <a:gd name="connsiteX333" fmla="*/ 1506660 w 3785642"/>
                <a:gd name="connsiteY333" fmla="*/ 1520 h 479077"/>
                <a:gd name="connsiteX334" fmla="*/ 1523030 w 3785642"/>
                <a:gd name="connsiteY334" fmla="*/ 3504 h 479077"/>
                <a:gd name="connsiteX335" fmla="*/ 1539401 w 3785642"/>
                <a:gd name="connsiteY335" fmla="*/ 3008 h 479077"/>
                <a:gd name="connsiteX336" fmla="*/ 1555771 w 3785642"/>
                <a:gd name="connsiteY336" fmla="*/ 3008 h 479077"/>
                <a:gd name="connsiteX337" fmla="*/ 1572142 w 3785642"/>
                <a:gd name="connsiteY337" fmla="*/ 2512 h 479077"/>
                <a:gd name="connsiteX338" fmla="*/ 1588512 w 3785642"/>
                <a:gd name="connsiteY338" fmla="*/ 2016 h 479077"/>
                <a:gd name="connsiteX339" fmla="*/ 1604883 w 3785642"/>
                <a:gd name="connsiteY339" fmla="*/ 3008 h 479077"/>
                <a:gd name="connsiteX340" fmla="*/ 1621253 w 3785642"/>
                <a:gd name="connsiteY340" fmla="*/ 3008 h 479077"/>
                <a:gd name="connsiteX341" fmla="*/ 1637624 w 3785642"/>
                <a:gd name="connsiteY34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313375 w 3785642"/>
                <a:gd name="connsiteY14" fmla="*/ 10945 h 479077"/>
                <a:gd name="connsiteX15" fmla="*/ 3300973 w 3785642"/>
                <a:gd name="connsiteY15" fmla="*/ 21363 h 479077"/>
                <a:gd name="connsiteX16" fmla="*/ 3289068 w 3785642"/>
                <a:gd name="connsiteY16" fmla="*/ 32276 h 479077"/>
                <a:gd name="connsiteX17" fmla="*/ 3277658 w 3785642"/>
                <a:gd name="connsiteY17" fmla="*/ 43686 h 479077"/>
                <a:gd name="connsiteX18" fmla="*/ 3266248 w 3785642"/>
                <a:gd name="connsiteY18" fmla="*/ 55592 h 479077"/>
                <a:gd name="connsiteX19" fmla="*/ 3255830 w 3785642"/>
                <a:gd name="connsiteY19" fmla="*/ 68490 h 479077"/>
                <a:gd name="connsiteX20" fmla="*/ 3243924 w 3785642"/>
                <a:gd name="connsiteY20" fmla="*/ 79900 h 479077"/>
                <a:gd name="connsiteX21" fmla="*/ 3231522 w 3785642"/>
                <a:gd name="connsiteY21" fmla="*/ 90814 h 479077"/>
                <a:gd name="connsiteX22" fmla="*/ 3220609 w 3785642"/>
                <a:gd name="connsiteY22" fmla="*/ 102720 h 479077"/>
                <a:gd name="connsiteX23" fmla="*/ 3208207 w 3785642"/>
                <a:gd name="connsiteY23" fmla="*/ 113137 h 479077"/>
                <a:gd name="connsiteX24" fmla="*/ 3197293 w 3785642"/>
                <a:gd name="connsiteY24" fmla="*/ 125043 h 479077"/>
                <a:gd name="connsiteX25" fmla="*/ 3185387 w 3785642"/>
                <a:gd name="connsiteY25" fmla="*/ 136453 h 479077"/>
                <a:gd name="connsiteX26" fmla="*/ 3174970 w 3785642"/>
                <a:gd name="connsiteY26" fmla="*/ 148855 h 479077"/>
                <a:gd name="connsiteX27" fmla="*/ 3162071 w 3785642"/>
                <a:gd name="connsiteY27" fmla="*/ 159272 h 479077"/>
                <a:gd name="connsiteX28" fmla="*/ 3151158 w 3785642"/>
                <a:gd name="connsiteY28" fmla="*/ 171674 h 479077"/>
                <a:gd name="connsiteX29" fmla="*/ 3139252 w 3785642"/>
                <a:gd name="connsiteY29" fmla="*/ 182588 h 479077"/>
                <a:gd name="connsiteX30" fmla="*/ 3127843 w 3785642"/>
                <a:gd name="connsiteY30" fmla="*/ 194494 h 479077"/>
                <a:gd name="connsiteX31" fmla="*/ 3116432 w 3785642"/>
                <a:gd name="connsiteY31" fmla="*/ 205904 h 479077"/>
                <a:gd name="connsiteX32" fmla="*/ 3105022 w 3785642"/>
                <a:gd name="connsiteY32" fmla="*/ 217810 h 479077"/>
                <a:gd name="connsiteX33" fmla="*/ 3093117 w 3785642"/>
                <a:gd name="connsiteY33" fmla="*/ 229219 h 479077"/>
                <a:gd name="connsiteX34" fmla="*/ 3081707 w 3785642"/>
                <a:gd name="connsiteY34" fmla="*/ 240629 h 479077"/>
                <a:gd name="connsiteX35" fmla="*/ 3069305 w 3785642"/>
                <a:gd name="connsiteY35" fmla="*/ 251543 h 479077"/>
                <a:gd name="connsiteX36" fmla="*/ 3057895 w 3785642"/>
                <a:gd name="connsiteY36" fmla="*/ 263449 h 479077"/>
                <a:gd name="connsiteX37" fmla="*/ 3046486 w 3785642"/>
                <a:gd name="connsiteY37" fmla="*/ 275355 h 479077"/>
                <a:gd name="connsiteX38" fmla="*/ 3035572 w 3785642"/>
                <a:gd name="connsiteY38" fmla="*/ 287260 h 479077"/>
                <a:gd name="connsiteX39" fmla="*/ 3024658 w 3785642"/>
                <a:gd name="connsiteY39" fmla="*/ 299166 h 479077"/>
                <a:gd name="connsiteX40" fmla="*/ 3013248 w 3785642"/>
                <a:gd name="connsiteY40" fmla="*/ 311072 h 479077"/>
                <a:gd name="connsiteX41" fmla="*/ 3000350 w 3785642"/>
                <a:gd name="connsiteY41" fmla="*/ 321490 h 479077"/>
                <a:gd name="connsiteX42" fmla="*/ 2988941 w 3785642"/>
                <a:gd name="connsiteY42" fmla="*/ 333396 h 479077"/>
                <a:gd name="connsiteX43" fmla="*/ 2976539 w 3785642"/>
                <a:gd name="connsiteY43" fmla="*/ 344309 h 479077"/>
                <a:gd name="connsiteX44" fmla="*/ 2965129 w 3785642"/>
                <a:gd name="connsiteY44" fmla="*/ 356215 h 479077"/>
                <a:gd name="connsiteX45" fmla="*/ 2953223 w 3785642"/>
                <a:gd name="connsiteY45" fmla="*/ 367625 h 479077"/>
                <a:gd name="connsiteX46" fmla="*/ 2941813 w 3785642"/>
                <a:gd name="connsiteY46" fmla="*/ 379531 h 479077"/>
                <a:gd name="connsiteX47" fmla="*/ 2931395 w 3785642"/>
                <a:gd name="connsiteY47" fmla="*/ 392429 h 479077"/>
                <a:gd name="connsiteX48" fmla="*/ 2918497 w 3785642"/>
                <a:gd name="connsiteY48" fmla="*/ 402847 h 479077"/>
                <a:gd name="connsiteX49" fmla="*/ 2907584 w 3785642"/>
                <a:gd name="connsiteY49" fmla="*/ 415249 h 479077"/>
                <a:gd name="connsiteX50" fmla="*/ 2896174 w 3785642"/>
                <a:gd name="connsiteY50" fmla="*/ 426658 h 479077"/>
                <a:gd name="connsiteX51" fmla="*/ 2884268 w 3785642"/>
                <a:gd name="connsiteY51" fmla="*/ 438068 h 479077"/>
                <a:gd name="connsiteX52" fmla="*/ 2873354 w 3785642"/>
                <a:gd name="connsiteY52" fmla="*/ 450470 h 479077"/>
                <a:gd name="connsiteX53" fmla="*/ 2860952 w 3785642"/>
                <a:gd name="connsiteY53" fmla="*/ 461384 h 479077"/>
                <a:gd name="connsiteX54" fmla="*/ 2850039 w 3785642"/>
                <a:gd name="connsiteY54" fmla="*/ 473786 h 479077"/>
                <a:gd name="connsiteX55" fmla="*/ 2833668 w 3785642"/>
                <a:gd name="connsiteY55" fmla="*/ 473786 h 479077"/>
                <a:gd name="connsiteX56" fmla="*/ 2817297 w 3785642"/>
                <a:gd name="connsiteY56" fmla="*/ 473290 h 479077"/>
                <a:gd name="connsiteX57" fmla="*/ 2800927 w 3785642"/>
                <a:gd name="connsiteY57" fmla="*/ 473290 h 479077"/>
                <a:gd name="connsiteX58" fmla="*/ 2784556 w 3785642"/>
                <a:gd name="connsiteY58" fmla="*/ 473786 h 479077"/>
                <a:gd name="connsiteX59" fmla="*/ 2768186 w 3785642"/>
                <a:gd name="connsiteY59" fmla="*/ 474282 h 479077"/>
                <a:gd name="connsiteX60" fmla="*/ 2751815 w 3785642"/>
                <a:gd name="connsiteY60" fmla="*/ 474282 h 479077"/>
                <a:gd name="connsiteX61" fmla="*/ 2735444 w 3785642"/>
                <a:gd name="connsiteY61" fmla="*/ 473290 h 479077"/>
                <a:gd name="connsiteX62" fmla="*/ 2719074 w 3785642"/>
                <a:gd name="connsiteY62" fmla="*/ 474282 h 479077"/>
                <a:gd name="connsiteX63" fmla="*/ 2702703 w 3785642"/>
                <a:gd name="connsiteY63" fmla="*/ 472298 h 479077"/>
                <a:gd name="connsiteX64" fmla="*/ 2686333 w 3785642"/>
                <a:gd name="connsiteY64" fmla="*/ 472794 h 479077"/>
                <a:gd name="connsiteX65" fmla="*/ 2669962 w 3785642"/>
                <a:gd name="connsiteY65" fmla="*/ 474282 h 479077"/>
                <a:gd name="connsiteX66" fmla="*/ 2653592 w 3785642"/>
                <a:gd name="connsiteY66" fmla="*/ 472298 h 479077"/>
                <a:gd name="connsiteX67" fmla="*/ 2637221 w 3785642"/>
                <a:gd name="connsiteY67" fmla="*/ 474282 h 479077"/>
                <a:gd name="connsiteX68" fmla="*/ 2620851 w 3785642"/>
                <a:gd name="connsiteY68" fmla="*/ 474282 h 479077"/>
                <a:gd name="connsiteX69" fmla="*/ 2604480 w 3785642"/>
                <a:gd name="connsiteY69" fmla="*/ 472298 h 479077"/>
                <a:gd name="connsiteX70" fmla="*/ 2588109 w 3785642"/>
                <a:gd name="connsiteY70" fmla="*/ 473786 h 479077"/>
                <a:gd name="connsiteX71" fmla="*/ 2571739 w 3785642"/>
                <a:gd name="connsiteY71" fmla="*/ 472298 h 479077"/>
                <a:gd name="connsiteX72" fmla="*/ 2555368 w 3785642"/>
                <a:gd name="connsiteY72" fmla="*/ 473290 h 479077"/>
                <a:gd name="connsiteX73" fmla="*/ 2538998 w 3785642"/>
                <a:gd name="connsiteY73" fmla="*/ 474282 h 479077"/>
                <a:gd name="connsiteX74" fmla="*/ 2522627 w 3785642"/>
                <a:gd name="connsiteY74" fmla="*/ 473290 h 479077"/>
                <a:gd name="connsiteX75" fmla="*/ 2506257 w 3785642"/>
                <a:gd name="connsiteY75" fmla="*/ 474282 h 479077"/>
                <a:gd name="connsiteX76" fmla="*/ 2489886 w 3785642"/>
                <a:gd name="connsiteY76" fmla="*/ 473786 h 479077"/>
                <a:gd name="connsiteX77" fmla="*/ 2473516 w 3785642"/>
                <a:gd name="connsiteY77" fmla="*/ 474282 h 479077"/>
                <a:gd name="connsiteX78" fmla="*/ 2457145 w 3785642"/>
                <a:gd name="connsiteY78" fmla="*/ 472794 h 479077"/>
                <a:gd name="connsiteX79" fmla="*/ 2440775 w 3785642"/>
                <a:gd name="connsiteY79" fmla="*/ 472298 h 479077"/>
                <a:gd name="connsiteX80" fmla="*/ 2424404 w 3785642"/>
                <a:gd name="connsiteY80" fmla="*/ 473786 h 479077"/>
                <a:gd name="connsiteX81" fmla="*/ 2408033 w 3785642"/>
                <a:gd name="connsiteY81" fmla="*/ 472794 h 479077"/>
                <a:gd name="connsiteX82" fmla="*/ 2391663 w 3785642"/>
                <a:gd name="connsiteY82" fmla="*/ 473290 h 479077"/>
                <a:gd name="connsiteX83" fmla="*/ 2375292 w 3785642"/>
                <a:gd name="connsiteY83" fmla="*/ 473290 h 479077"/>
                <a:gd name="connsiteX84" fmla="*/ 2358922 w 3785642"/>
                <a:gd name="connsiteY84" fmla="*/ 472794 h 479077"/>
                <a:gd name="connsiteX85" fmla="*/ 2342551 w 3785642"/>
                <a:gd name="connsiteY85" fmla="*/ 472298 h 479077"/>
                <a:gd name="connsiteX86" fmla="*/ 2326180 w 3785642"/>
                <a:gd name="connsiteY86" fmla="*/ 473786 h 479077"/>
                <a:gd name="connsiteX87" fmla="*/ 2309810 w 3785642"/>
                <a:gd name="connsiteY87" fmla="*/ 473786 h 479077"/>
                <a:gd name="connsiteX88" fmla="*/ 2293439 w 3785642"/>
                <a:gd name="connsiteY88" fmla="*/ 473786 h 479077"/>
                <a:gd name="connsiteX89" fmla="*/ 2277069 w 3785642"/>
                <a:gd name="connsiteY89" fmla="*/ 472794 h 479077"/>
                <a:gd name="connsiteX90" fmla="*/ 2260698 w 3785642"/>
                <a:gd name="connsiteY90" fmla="*/ 474282 h 479077"/>
                <a:gd name="connsiteX91" fmla="*/ 2244327 w 3785642"/>
                <a:gd name="connsiteY91" fmla="*/ 472298 h 479077"/>
                <a:gd name="connsiteX92" fmla="*/ 2227957 w 3785642"/>
                <a:gd name="connsiteY92" fmla="*/ 474282 h 479077"/>
                <a:gd name="connsiteX93" fmla="*/ 2211586 w 3785642"/>
                <a:gd name="connsiteY93" fmla="*/ 473290 h 479077"/>
                <a:gd name="connsiteX94" fmla="*/ 2195216 w 3785642"/>
                <a:gd name="connsiteY94" fmla="*/ 474282 h 479077"/>
                <a:gd name="connsiteX95" fmla="*/ 2178845 w 3785642"/>
                <a:gd name="connsiteY95" fmla="*/ 472794 h 479077"/>
                <a:gd name="connsiteX96" fmla="*/ 2162474 w 3785642"/>
                <a:gd name="connsiteY96" fmla="*/ 474778 h 479077"/>
                <a:gd name="connsiteX97" fmla="*/ 2146104 w 3785642"/>
                <a:gd name="connsiteY97" fmla="*/ 473290 h 479077"/>
                <a:gd name="connsiteX98" fmla="*/ 2129733 w 3785642"/>
                <a:gd name="connsiteY98" fmla="*/ 474778 h 479077"/>
                <a:gd name="connsiteX99" fmla="*/ 2113363 w 3785642"/>
                <a:gd name="connsiteY99" fmla="*/ 474778 h 479077"/>
                <a:gd name="connsiteX100" fmla="*/ 2096992 w 3785642"/>
                <a:gd name="connsiteY100" fmla="*/ 474778 h 479077"/>
                <a:gd name="connsiteX101" fmla="*/ 2080621 w 3785642"/>
                <a:gd name="connsiteY101" fmla="*/ 474282 h 479077"/>
                <a:gd name="connsiteX102" fmla="*/ 2064251 w 3785642"/>
                <a:gd name="connsiteY102" fmla="*/ 472794 h 479077"/>
                <a:gd name="connsiteX103" fmla="*/ 2047880 w 3785642"/>
                <a:gd name="connsiteY103" fmla="*/ 474778 h 479077"/>
                <a:gd name="connsiteX104" fmla="*/ 2031510 w 3785642"/>
                <a:gd name="connsiteY104" fmla="*/ 474778 h 479077"/>
                <a:gd name="connsiteX105" fmla="*/ 2015139 w 3785642"/>
                <a:gd name="connsiteY105" fmla="*/ 474778 h 479077"/>
                <a:gd name="connsiteX106" fmla="*/ 1998769 w 3785642"/>
                <a:gd name="connsiteY106" fmla="*/ 474282 h 479077"/>
                <a:gd name="connsiteX107" fmla="*/ 1982398 w 3785642"/>
                <a:gd name="connsiteY107" fmla="*/ 473786 h 479077"/>
                <a:gd name="connsiteX108" fmla="*/ 1966028 w 3785642"/>
                <a:gd name="connsiteY108" fmla="*/ 473786 h 479077"/>
                <a:gd name="connsiteX109" fmla="*/ 1949657 w 3785642"/>
                <a:gd name="connsiteY109" fmla="*/ 472794 h 479077"/>
                <a:gd name="connsiteX110" fmla="*/ 1933287 w 3785642"/>
                <a:gd name="connsiteY110" fmla="*/ 473290 h 479077"/>
                <a:gd name="connsiteX111" fmla="*/ 1916916 w 3785642"/>
                <a:gd name="connsiteY111" fmla="*/ 474778 h 479077"/>
                <a:gd name="connsiteX112" fmla="*/ 1900546 w 3785642"/>
                <a:gd name="connsiteY112" fmla="*/ 472794 h 479077"/>
                <a:gd name="connsiteX113" fmla="*/ 1884175 w 3785642"/>
                <a:gd name="connsiteY113" fmla="*/ 473786 h 479077"/>
                <a:gd name="connsiteX114" fmla="*/ 1867804 w 3785642"/>
                <a:gd name="connsiteY114" fmla="*/ 474778 h 479077"/>
                <a:gd name="connsiteX115" fmla="*/ 1851434 w 3785642"/>
                <a:gd name="connsiteY115" fmla="*/ 474778 h 479077"/>
                <a:gd name="connsiteX116" fmla="*/ 1835063 w 3785642"/>
                <a:gd name="connsiteY116" fmla="*/ 474778 h 479077"/>
                <a:gd name="connsiteX117" fmla="*/ 1818693 w 3785642"/>
                <a:gd name="connsiteY117" fmla="*/ 474282 h 479077"/>
                <a:gd name="connsiteX118" fmla="*/ 1802322 w 3785642"/>
                <a:gd name="connsiteY118" fmla="*/ 472794 h 479077"/>
                <a:gd name="connsiteX119" fmla="*/ 1785951 w 3785642"/>
                <a:gd name="connsiteY119" fmla="*/ 473786 h 479077"/>
                <a:gd name="connsiteX120" fmla="*/ 1769581 w 3785642"/>
                <a:gd name="connsiteY120" fmla="*/ 473290 h 479077"/>
                <a:gd name="connsiteX121" fmla="*/ 1753210 w 3785642"/>
                <a:gd name="connsiteY121" fmla="*/ 472298 h 479077"/>
                <a:gd name="connsiteX122" fmla="*/ 1736840 w 3785642"/>
                <a:gd name="connsiteY122" fmla="*/ 473290 h 479077"/>
                <a:gd name="connsiteX123" fmla="*/ 1720469 w 3785642"/>
                <a:gd name="connsiteY123" fmla="*/ 474778 h 479077"/>
                <a:gd name="connsiteX124" fmla="*/ 1704098 w 3785642"/>
                <a:gd name="connsiteY124" fmla="*/ 472794 h 479077"/>
                <a:gd name="connsiteX125" fmla="*/ 1687728 w 3785642"/>
                <a:gd name="connsiteY125" fmla="*/ 474778 h 479077"/>
                <a:gd name="connsiteX126" fmla="*/ 1671357 w 3785642"/>
                <a:gd name="connsiteY126" fmla="*/ 474778 h 479077"/>
                <a:gd name="connsiteX127" fmla="*/ 1654987 w 3785642"/>
                <a:gd name="connsiteY127" fmla="*/ 472298 h 479077"/>
                <a:gd name="connsiteX128" fmla="*/ 1638616 w 3785642"/>
                <a:gd name="connsiteY128" fmla="*/ 472794 h 479077"/>
                <a:gd name="connsiteX129" fmla="*/ 1622246 w 3785642"/>
                <a:gd name="connsiteY129" fmla="*/ 473786 h 479077"/>
                <a:gd name="connsiteX130" fmla="*/ 1605875 w 3785642"/>
                <a:gd name="connsiteY130" fmla="*/ 474778 h 479077"/>
                <a:gd name="connsiteX131" fmla="*/ 1589505 w 3785642"/>
                <a:gd name="connsiteY131" fmla="*/ 473290 h 479077"/>
                <a:gd name="connsiteX132" fmla="*/ 1573134 w 3785642"/>
                <a:gd name="connsiteY132" fmla="*/ 474778 h 479077"/>
                <a:gd name="connsiteX133" fmla="*/ 1556763 w 3785642"/>
                <a:gd name="connsiteY133" fmla="*/ 472794 h 479077"/>
                <a:gd name="connsiteX134" fmla="*/ 1540393 w 3785642"/>
                <a:gd name="connsiteY134" fmla="*/ 472794 h 479077"/>
                <a:gd name="connsiteX135" fmla="*/ 1524022 w 3785642"/>
                <a:gd name="connsiteY135" fmla="*/ 474282 h 479077"/>
                <a:gd name="connsiteX136" fmla="*/ 1507652 w 3785642"/>
                <a:gd name="connsiteY136" fmla="*/ 472794 h 479077"/>
                <a:gd name="connsiteX137" fmla="*/ 1491281 w 3785642"/>
                <a:gd name="connsiteY137" fmla="*/ 474282 h 479077"/>
                <a:gd name="connsiteX138" fmla="*/ 1474910 w 3785642"/>
                <a:gd name="connsiteY138" fmla="*/ 474282 h 479077"/>
                <a:gd name="connsiteX139" fmla="*/ 1458540 w 3785642"/>
                <a:gd name="connsiteY139" fmla="*/ 472794 h 479077"/>
                <a:gd name="connsiteX140" fmla="*/ 1442169 w 3785642"/>
                <a:gd name="connsiteY140" fmla="*/ 471802 h 479077"/>
                <a:gd name="connsiteX141" fmla="*/ 1425799 w 3785642"/>
                <a:gd name="connsiteY141" fmla="*/ 472298 h 479077"/>
                <a:gd name="connsiteX142" fmla="*/ 1409428 w 3785642"/>
                <a:gd name="connsiteY142" fmla="*/ 472794 h 479077"/>
                <a:gd name="connsiteX143" fmla="*/ 1393058 w 3785642"/>
                <a:gd name="connsiteY143" fmla="*/ 473786 h 479077"/>
                <a:gd name="connsiteX144" fmla="*/ 1376687 w 3785642"/>
                <a:gd name="connsiteY144" fmla="*/ 471802 h 479077"/>
                <a:gd name="connsiteX145" fmla="*/ 1360317 w 3785642"/>
                <a:gd name="connsiteY145" fmla="*/ 473786 h 479077"/>
                <a:gd name="connsiteX146" fmla="*/ 1343946 w 3785642"/>
                <a:gd name="connsiteY146" fmla="*/ 473786 h 479077"/>
                <a:gd name="connsiteX147" fmla="*/ 1327576 w 3785642"/>
                <a:gd name="connsiteY147" fmla="*/ 472794 h 479077"/>
                <a:gd name="connsiteX148" fmla="*/ 1311205 w 3785642"/>
                <a:gd name="connsiteY148" fmla="*/ 473786 h 479077"/>
                <a:gd name="connsiteX149" fmla="*/ 1294834 w 3785642"/>
                <a:gd name="connsiteY149" fmla="*/ 473786 h 479077"/>
                <a:gd name="connsiteX150" fmla="*/ 1278464 w 3785642"/>
                <a:gd name="connsiteY150" fmla="*/ 473786 h 479077"/>
                <a:gd name="connsiteX151" fmla="*/ 1262093 w 3785642"/>
                <a:gd name="connsiteY151" fmla="*/ 473786 h 479077"/>
                <a:gd name="connsiteX152" fmla="*/ 1245723 w 3785642"/>
                <a:gd name="connsiteY152" fmla="*/ 473290 h 479077"/>
                <a:gd name="connsiteX153" fmla="*/ 1229352 w 3785642"/>
                <a:gd name="connsiteY153" fmla="*/ 472794 h 479077"/>
                <a:gd name="connsiteX154" fmla="*/ 1212981 w 3785642"/>
                <a:gd name="connsiteY154" fmla="*/ 473786 h 479077"/>
                <a:gd name="connsiteX155" fmla="*/ 1196611 w 3785642"/>
                <a:gd name="connsiteY155" fmla="*/ 472298 h 479077"/>
                <a:gd name="connsiteX156" fmla="*/ 1180240 w 3785642"/>
                <a:gd name="connsiteY156" fmla="*/ 472794 h 479077"/>
                <a:gd name="connsiteX157" fmla="*/ 1163870 w 3785642"/>
                <a:gd name="connsiteY157" fmla="*/ 472794 h 479077"/>
                <a:gd name="connsiteX158" fmla="*/ 1147499 w 3785642"/>
                <a:gd name="connsiteY158" fmla="*/ 473786 h 479077"/>
                <a:gd name="connsiteX159" fmla="*/ 1131128 w 3785642"/>
                <a:gd name="connsiteY159" fmla="*/ 473786 h 479077"/>
                <a:gd name="connsiteX160" fmla="*/ 1114758 w 3785642"/>
                <a:gd name="connsiteY160" fmla="*/ 472794 h 479077"/>
                <a:gd name="connsiteX161" fmla="*/ 1098387 w 3785642"/>
                <a:gd name="connsiteY161" fmla="*/ 473786 h 479077"/>
                <a:gd name="connsiteX162" fmla="*/ 1082017 w 3785642"/>
                <a:gd name="connsiteY162" fmla="*/ 474778 h 479077"/>
                <a:gd name="connsiteX163" fmla="*/ 1065646 w 3785642"/>
                <a:gd name="connsiteY163" fmla="*/ 474778 h 479077"/>
                <a:gd name="connsiteX164" fmla="*/ 1049276 w 3785642"/>
                <a:gd name="connsiteY164" fmla="*/ 474282 h 479077"/>
                <a:gd name="connsiteX165" fmla="*/ 1032905 w 3785642"/>
                <a:gd name="connsiteY165" fmla="*/ 473290 h 479077"/>
                <a:gd name="connsiteX166" fmla="*/ 1016535 w 3785642"/>
                <a:gd name="connsiteY166" fmla="*/ 474282 h 479077"/>
                <a:gd name="connsiteX167" fmla="*/ 1000164 w 3785642"/>
                <a:gd name="connsiteY167" fmla="*/ 474282 h 479077"/>
                <a:gd name="connsiteX168" fmla="*/ 983793 w 3785642"/>
                <a:gd name="connsiteY168" fmla="*/ 472794 h 479077"/>
                <a:gd name="connsiteX169" fmla="*/ 967423 w 3785642"/>
                <a:gd name="connsiteY169" fmla="*/ 472794 h 479077"/>
                <a:gd name="connsiteX170" fmla="*/ 951052 w 3785642"/>
                <a:gd name="connsiteY170" fmla="*/ 473786 h 479077"/>
                <a:gd name="connsiteX171" fmla="*/ 934682 w 3785642"/>
                <a:gd name="connsiteY171" fmla="*/ 474282 h 479077"/>
                <a:gd name="connsiteX172" fmla="*/ 918311 w 3785642"/>
                <a:gd name="connsiteY172" fmla="*/ 474778 h 479077"/>
                <a:gd name="connsiteX173" fmla="*/ 901940 w 3785642"/>
                <a:gd name="connsiteY173" fmla="*/ 473290 h 479077"/>
                <a:gd name="connsiteX174" fmla="*/ 885570 w 3785642"/>
                <a:gd name="connsiteY174" fmla="*/ 474778 h 479077"/>
                <a:gd name="connsiteX175" fmla="*/ 869199 w 3785642"/>
                <a:gd name="connsiteY175" fmla="*/ 474282 h 479077"/>
                <a:gd name="connsiteX176" fmla="*/ 852829 w 3785642"/>
                <a:gd name="connsiteY176" fmla="*/ 473786 h 479077"/>
                <a:gd name="connsiteX177" fmla="*/ 836458 w 3785642"/>
                <a:gd name="connsiteY177" fmla="*/ 474778 h 479077"/>
                <a:gd name="connsiteX178" fmla="*/ 820088 w 3785642"/>
                <a:gd name="connsiteY178" fmla="*/ 475274 h 479077"/>
                <a:gd name="connsiteX179" fmla="*/ 803717 w 3785642"/>
                <a:gd name="connsiteY179" fmla="*/ 473786 h 479077"/>
                <a:gd name="connsiteX180" fmla="*/ 787347 w 3785642"/>
                <a:gd name="connsiteY180" fmla="*/ 475770 h 479077"/>
                <a:gd name="connsiteX181" fmla="*/ 770976 w 3785642"/>
                <a:gd name="connsiteY181" fmla="*/ 474778 h 479077"/>
                <a:gd name="connsiteX182" fmla="*/ 754605 w 3785642"/>
                <a:gd name="connsiteY182" fmla="*/ 475274 h 479077"/>
                <a:gd name="connsiteX183" fmla="*/ 738235 w 3785642"/>
                <a:gd name="connsiteY183" fmla="*/ 473786 h 479077"/>
                <a:gd name="connsiteX184" fmla="*/ 721864 w 3785642"/>
                <a:gd name="connsiteY184" fmla="*/ 475274 h 479077"/>
                <a:gd name="connsiteX185" fmla="*/ 705494 w 3785642"/>
                <a:gd name="connsiteY185" fmla="*/ 475770 h 479077"/>
                <a:gd name="connsiteX186" fmla="*/ 689123 w 3785642"/>
                <a:gd name="connsiteY186" fmla="*/ 474282 h 479077"/>
                <a:gd name="connsiteX187" fmla="*/ 672753 w 3785642"/>
                <a:gd name="connsiteY187" fmla="*/ 475274 h 479077"/>
                <a:gd name="connsiteX188" fmla="*/ 656382 w 3785642"/>
                <a:gd name="connsiteY188" fmla="*/ 474778 h 479077"/>
                <a:gd name="connsiteX189" fmla="*/ 640011 w 3785642"/>
                <a:gd name="connsiteY189" fmla="*/ 475770 h 479077"/>
                <a:gd name="connsiteX190" fmla="*/ 623641 w 3785642"/>
                <a:gd name="connsiteY190" fmla="*/ 473786 h 479077"/>
                <a:gd name="connsiteX191" fmla="*/ 607270 w 3785642"/>
                <a:gd name="connsiteY191" fmla="*/ 474778 h 479077"/>
                <a:gd name="connsiteX192" fmla="*/ 590900 w 3785642"/>
                <a:gd name="connsiteY192" fmla="*/ 475274 h 479077"/>
                <a:gd name="connsiteX193" fmla="*/ 574529 w 3785642"/>
                <a:gd name="connsiteY193" fmla="*/ 474282 h 479077"/>
                <a:gd name="connsiteX194" fmla="*/ 558158 w 3785642"/>
                <a:gd name="connsiteY194" fmla="*/ 475274 h 479077"/>
                <a:gd name="connsiteX195" fmla="*/ 541788 w 3785642"/>
                <a:gd name="connsiteY195" fmla="*/ 475770 h 479077"/>
                <a:gd name="connsiteX196" fmla="*/ 525417 w 3785642"/>
                <a:gd name="connsiteY196" fmla="*/ 474282 h 479077"/>
                <a:gd name="connsiteX197" fmla="*/ 509047 w 3785642"/>
                <a:gd name="connsiteY197" fmla="*/ 473786 h 479077"/>
                <a:gd name="connsiteX198" fmla="*/ 492676 w 3785642"/>
                <a:gd name="connsiteY198" fmla="*/ 473786 h 479077"/>
                <a:gd name="connsiteX199" fmla="*/ 476306 w 3785642"/>
                <a:gd name="connsiteY199" fmla="*/ 474778 h 479077"/>
                <a:gd name="connsiteX200" fmla="*/ 459935 w 3785642"/>
                <a:gd name="connsiteY200" fmla="*/ 473786 h 479077"/>
                <a:gd name="connsiteX201" fmla="*/ 443565 w 3785642"/>
                <a:gd name="connsiteY201" fmla="*/ 474778 h 479077"/>
                <a:gd name="connsiteX202" fmla="*/ 427194 w 3785642"/>
                <a:gd name="connsiteY202" fmla="*/ 474282 h 479077"/>
                <a:gd name="connsiteX203" fmla="*/ 410823 w 3785642"/>
                <a:gd name="connsiteY203" fmla="*/ 473290 h 479077"/>
                <a:gd name="connsiteX204" fmla="*/ 394453 w 3785642"/>
                <a:gd name="connsiteY204" fmla="*/ 475770 h 479077"/>
                <a:gd name="connsiteX205" fmla="*/ 378082 w 3785642"/>
                <a:gd name="connsiteY205" fmla="*/ 475274 h 479077"/>
                <a:gd name="connsiteX206" fmla="*/ 361712 w 3785642"/>
                <a:gd name="connsiteY206" fmla="*/ 474778 h 479077"/>
                <a:gd name="connsiteX207" fmla="*/ 345341 w 3785642"/>
                <a:gd name="connsiteY207" fmla="*/ 476266 h 479077"/>
                <a:gd name="connsiteX208" fmla="*/ 328970 w 3785642"/>
                <a:gd name="connsiteY208" fmla="*/ 474282 h 479077"/>
                <a:gd name="connsiteX209" fmla="*/ 312600 w 3785642"/>
                <a:gd name="connsiteY209" fmla="*/ 475274 h 479077"/>
                <a:gd name="connsiteX210" fmla="*/ 296229 w 3785642"/>
                <a:gd name="connsiteY210" fmla="*/ 474282 h 479077"/>
                <a:gd name="connsiteX211" fmla="*/ 279859 w 3785642"/>
                <a:gd name="connsiteY211" fmla="*/ 475770 h 479077"/>
                <a:gd name="connsiteX212" fmla="*/ 263488 w 3785642"/>
                <a:gd name="connsiteY212" fmla="*/ 476266 h 479077"/>
                <a:gd name="connsiteX213" fmla="*/ 247118 w 3785642"/>
                <a:gd name="connsiteY213" fmla="*/ 476266 h 479077"/>
                <a:gd name="connsiteX214" fmla="*/ 230747 w 3785642"/>
                <a:gd name="connsiteY214" fmla="*/ 474778 h 479077"/>
                <a:gd name="connsiteX215" fmla="*/ 214376 w 3785642"/>
                <a:gd name="connsiteY215" fmla="*/ 474778 h 479077"/>
                <a:gd name="connsiteX216" fmla="*/ 198006 w 3785642"/>
                <a:gd name="connsiteY216" fmla="*/ 476762 h 479077"/>
                <a:gd name="connsiteX217" fmla="*/ 181635 w 3785642"/>
                <a:gd name="connsiteY217" fmla="*/ 476266 h 479077"/>
                <a:gd name="connsiteX218" fmla="*/ 165265 w 3785642"/>
                <a:gd name="connsiteY218" fmla="*/ 474778 h 479077"/>
                <a:gd name="connsiteX219" fmla="*/ 148894 w 3785642"/>
                <a:gd name="connsiteY219" fmla="*/ 476762 h 479077"/>
                <a:gd name="connsiteX220" fmla="*/ 132524 w 3785642"/>
                <a:gd name="connsiteY220" fmla="*/ 476266 h 479077"/>
                <a:gd name="connsiteX221" fmla="*/ 116153 w 3785642"/>
                <a:gd name="connsiteY221" fmla="*/ 475274 h 479077"/>
                <a:gd name="connsiteX222" fmla="*/ 99783 w 3785642"/>
                <a:gd name="connsiteY222" fmla="*/ 475274 h 479077"/>
                <a:gd name="connsiteX223" fmla="*/ 83412 w 3785642"/>
                <a:gd name="connsiteY223" fmla="*/ 475274 h 479077"/>
                <a:gd name="connsiteX224" fmla="*/ 67041 w 3785642"/>
                <a:gd name="connsiteY224" fmla="*/ 474778 h 479077"/>
                <a:gd name="connsiteX225" fmla="*/ 50671 w 3785642"/>
                <a:gd name="connsiteY225" fmla="*/ 475274 h 479077"/>
                <a:gd name="connsiteX226" fmla="*/ 34300 w 3785642"/>
                <a:gd name="connsiteY226" fmla="*/ 475274 h 479077"/>
                <a:gd name="connsiteX227" fmla="*/ 17930 w 3785642"/>
                <a:gd name="connsiteY227" fmla="*/ 475770 h 479077"/>
                <a:gd name="connsiteX228" fmla="*/ 567 w 3785642"/>
                <a:gd name="connsiteY228" fmla="*/ 475770 h 479077"/>
                <a:gd name="connsiteX229" fmla="*/ 12969 w 3785642"/>
                <a:gd name="connsiteY229" fmla="*/ 463368 h 479077"/>
                <a:gd name="connsiteX230" fmla="*/ 24379 w 3785642"/>
                <a:gd name="connsiteY230" fmla="*/ 451958 h 479077"/>
                <a:gd name="connsiteX231" fmla="*/ 35788 w 3785642"/>
                <a:gd name="connsiteY231" fmla="*/ 440053 h 479077"/>
                <a:gd name="connsiteX232" fmla="*/ 48686 w 3785642"/>
                <a:gd name="connsiteY232" fmla="*/ 430131 h 479077"/>
                <a:gd name="connsiteX233" fmla="*/ 59600 w 3785642"/>
                <a:gd name="connsiteY233" fmla="*/ 418225 h 479077"/>
                <a:gd name="connsiteX234" fmla="*/ 70514 w 3785642"/>
                <a:gd name="connsiteY234" fmla="*/ 405823 h 479077"/>
                <a:gd name="connsiteX235" fmla="*/ 83412 w 3785642"/>
                <a:gd name="connsiteY235" fmla="*/ 395406 h 479077"/>
                <a:gd name="connsiteX236" fmla="*/ 94822 w 3785642"/>
                <a:gd name="connsiteY236" fmla="*/ 383500 h 479077"/>
                <a:gd name="connsiteX237" fmla="*/ 106728 w 3785642"/>
                <a:gd name="connsiteY237" fmla="*/ 372090 h 479077"/>
                <a:gd name="connsiteX238" fmla="*/ 117145 w 3785642"/>
                <a:gd name="connsiteY238" fmla="*/ 359688 h 479077"/>
                <a:gd name="connsiteX239" fmla="*/ 128555 w 3785642"/>
                <a:gd name="connsiteY239" fmla="*/ 348278 h 479077"/>
                <a:gd name="connsiteX240" fmla="*/ 140461 w 3785642"/>
                <a:gd name="connsiteY240" fmla="*/ 336868 h 479077"/>
                <a:gd name="connsiteX241" fmla="*/ 152863 w 3785642"/>
                <a:gd name="connsiteY241" fmla="*/ 326451 h 479077"/>
                <a:gd name="connsiteX242" fmla="*/ 164769 w 3785642"/>
                <a:gd name="connsiteY242" fmla="*/ 315041 h 479077"/>
                <a:gd name="connsiteX243" fmla="*/ 176178 w 3785642"/>
                <a:gd name="connsiteY243" fmla="*/ 303135 h 479077"/>
                <a:gd name="connsiteX244" fmla="*/ 188084 w 3785642"/>
                <a:gd name="connsiteY244" fmla="*/ 291725 h 479077"/>
                <a:gd name="connsiteX245" fmla="*/ 199494 w 3785642"/>
                <a:gd name="connsiteY245" fmla="*/ 280315 h 479077"/>
                <a:gd name="connsiteX246" fmla="*/ 210904 w 3785642"/>
                <a:gd name="connsiteY246" fmla="*/ 268906 h 479077"/>
                <a:gd name="connsiteX247" fmla="*/ 221818 w 3785642"/>
                <a:gd name="connsiteY247" fmla="*/ 256504 h 479077"/>
                <a:gd name="connsiteX248" fmla="*/ 233724 w 3785642"/>
                <a:gd name="connsiteY248" fmla="*/ 245094 h 479077"/>
                <a:gd name="connsiteX249" fmla="*/ 244141 w 3785642"/>
                <a:gd name="connsiteY249" fmla="*/ 232692 h 479077"/>
                <a:gd name="connsiteX250" fmla="*/ 257039 w 3785642"/>
                <a:gd name="connsiteY250" fmla="*/ 222770 h 479077"/>
                <a:gd name="connsiteX251" fmla="*/ 266961 w 3785642"/>
                <a:gd name="connsiteY251" fmla="*/ 209376 h 479077"/>
                <a:gd name="connsiteX252" fmla="*/ 278371 w 3785642"/>
                <a:gd name="connsiteY252" fmla="*/ 197966 h 479077"/>
                <a:gd name="connsiteX253" fmla="*/ 291269 w 3785642"/>
                <a:gd name="connsiteY253" fmla="*/ 188045 h 479077"/>
                <a:gd name="connsiteX254" fmla="*/ 301686 w 3785642"/>
                <a:gd name="connsiteY254" fmla="*/ 175147 h 479077"/>
                <a:gd name="connsiteX255" fmla="*/ 313592 w 3785642"/>
                <a:gd name="connsiteY255" fmla="*/ 163737 h 479077"/>
                <a:gd name="connsiteX256" fmla="*/ 325994 w 3785642"/>
                <a:gd name="connsiteY256" fmla="*/ 153319 h 479077"/>
                <a:gd name="connsiteX257" fmla="*/ 337404 w 3785642"/>
                <a:gd name="connsiteY257" fmla="*/ 141910 h 479077"/>
                <a:gd name="connsiteX258" fmla="*/ 347325 w 3785642"/>
                <a:gd name="connsiteY258" fmla="*/ 129012 h 479077"/>
                <a:gd name="connsiteX259" fmla="*/ 360224 w 3785642"/>
                <a:gd name="connsiteY259" fmla="*/ 118594 h 479077"/>
                <a:gd name="connsiteX260" fmla="*/ 371137 w 3785642"/>
                <a:gd name="connsiteY260" fmla="*/ 106192 h 479077"/>
                <a:gd name="connsiteX261" fmla="*/ 382051 w 3785642"/>
                <a:gd name="connsiteY261" fmla="*/ 93790 h 479077"/>
                <a:gd name="connsiteX262" fmla="*/ 393957 w 3785642"/>
                <a:gd name="connsiteY262" fmla="*/ 82380 h 479077"/>
                <a:gd name="connsiteX263" fmla="*/ 405366 w 3785642"/>
                <a:gd name="connsiteY263" fmla="*/ 70475 h 479077"/>
                <a:gd name="connsiteX264" fmla="*/ 417272 w 3785642"/>
                <a:gd name="connsiteY264" fmla="*/ 59561 h 479077"/>
                <a:gd name="connsiteX265" fmla="*/ 429674 w 3785642"/>
                <a:gd name="connsiteY265" fmla="*/ 48647 h 479077"/>
                <a:gd name="connsiteX266" fmla="*/ 440092 w 3785642"/>
                <a:gd name="connsiteY266" fmla="*/ 35749 h 479077"/>
                <a:gd name="connsiteX267" fmla="*/ 452494 w 3785642"/>
                <a:gd name="connsiteY267" fmla="*/ 24835 h 479077"/>
                <a:gd name="connsiteX268" fmla="*/ 463904 w 3785642"/>
                <a:gd name="connsiteY268" fmla="*/ 12929 h 479077"/>
                <a:gd name="connsiteX269" fmla="*/ 475313 w 3785642"/>
                <a:gd name="connsiteY269" fmla="*/ 1024 h 479077"/>
                <a:gd name="connsiteX270" fmla="*/ 491684 w 3785642"/>
                <a:gd name="connsiteY270" fmla="*/ 2512 h 479077"/>
                <a:gd name="connsiteX271" fmla="*/ 508055 w 3785642"/>
                <a:gd name="connsiteY271" fmla="*/ 2512 h 479077"/>
                <a:gd name="connsiteX272" fmla="*/ 524425 w 3785642"/>
                <a:gd name="connsiteY272" fmla="*/ 2512 h 479077"/>
                <a:gd name="connsiteX273" fmla="*/ 540796 w 3785642"/>
                <a:gd name="connsiteY273" fmla="*/ 1024 h 479077"/>
                <a:gd name="connsiteX274" fmla="*/ 557166 w 3785642"/>
                <a:gd name="connsiteY274" fmla="*/ 2512 h 479077"/>
                <a:gd name="connsiteX275" fmla="*/ 573537 w 3785642"/>
                <a:gd name="connsiteY275" fmla="*/ 1024 h 479077"/>
                <a:gd name="connsiteX276" fmla="*/ 589908 w 3785642"/>
                <a:gd name="connsiteY276" fmla="*/ 527 h 479077"/>
                <a:gd name="connsiteX277" fmla="*/ 606278 w 3785642"/>
                <a:gd name="connsiteY277" fmla="*/ 1520 h 479077"/>
                <a:gd name="connsiteX278" fmla="*/ 622649 w 3785642"/>
                <a:gd name="connsiteY278" fmla="*/ 1520 h 479077"/>
                <a:gd name="connsiteX279" fmla="*/ 639019 w 3785642"/>
                <a:gd name="connsiteY279" fmla="*/ 2016 h 479077"/>
                <a:gd name="connsiteX280" fmla="*/ 655390 w 3785642"/>
                <a:gd name="connsiteY280" fmla="*/ 527 h 479077"/>
                <a:gd name="connsiteX281" fmla="*/ 671760 w 3785642"/>
                <a:gd name="connsiteY281" fmla="*/ 1520 h 479077"/>
                <a:gd name="connsiteX282" fmla="*/ 688131 w 3785642"/>
                <a:gd name="connsiteY282" fmla="*/ 2512 h 479077"/>
                <a:gd name="connsiteX283" fmla="*/ 704501 w 3785642"/>
                <a:gd name="connsiteY283" fmla="*/ 1024 h 479077"/>
                <a:gd name="connsiteX284" fmla="*/ 720872 w 3785642"/>
                <a:gd name="connsiteY284" fmla="*/ 1520 h 479077"/>
                <a:gd name="connsiteX285" fmla="*/ 737243 w 3785642"/>
                <a:gd name="connsiteY285" fmla="*/ 2016 h 479077"/>
                <a:gd name="connsiteX286" fmla="*/ 753613 w 3785642"/>
                <a:gd name="connsiteY286" fmla="*/ 1024 h 479077"/>
                <a:gd name="connsiteX287" fmla="*/ 769984 w 3785642"/>
                <a:gd name="connsiteY287" fmla="*/ 527 h 479077"/>
                <a:gd name="connsiteX288" fmla="*/ 786354 w 3785642"/>
                <a:gd name="connsiteY288" fmla="*/ 1520 h 479077"/>
                <a:gd name="connsiteX289" fmla="*/ 802725 w 3785642"/>
                <a:gd name="connsiteY289" fmla="*/ 527 h 479077"/>
                <a:gd name="connsiteX290" fmla="*/ 819096 w 3785642"/>
                <a:gd name="connsiteY290" fmla="*/ 2512 h 479077"/>
                <a:gd name="connsiteX291" fmla="*/ 835466 w 3785642"/>
                <a:gd name="connsiteY291" fmla="*/ 527 h 479077"/>
                <a:gd name="connsiteX292" fmla="*/ 851837 w 3785642"/>
                <a:gd name="connsiteY292" fmla="*/ 1520 h 479077"/>
                <a:gd name="connsiteX293" fmla="*/ 868207 w 3785642"/>
                <a:gd name="connsiteY293" fmla="*/ 2016 h 479077"/>
                <a:gd name="connsiteX294" fmla="*/ 884578 w 3785642"/>
                <a:gd name="connsiteY294" fmla="*/ 2512 h 479077"/>
                <a:gd name="connsiteX295" fmla="*/ 900948 w 3785642"/>
                <a:gd name="connsiteY295" fmla="*/ 1520 h 479077"/>
                <a:gd name="connsiteX296" fmla="*/ 917319 w 3785642"/>
                <a:gd name="connsiteY296" fmla="*/ 1024 h 479077"/>
                <a:gd name="connsiteX297" fmla="*/ 933689 w 3785642"/>
                <a:gd name="connsiteY297" fmla="*/ 2512 h 479077"/>
                <a:gd name="connsiteX298" fmla="*/ 950060 w 3785642"/>
                <a:gd name="connsiteY298" fmla="*/ 1520 h 479077"/>
                <a:gd name="connsiteX299" fmla="*/ 966431 w 3785642"/>
                <a:gd name="connsiteY299" fmla="*/ 2016 h 479077"/>
                <a:gd name="connsiteX300" fmla="*/ 982801 w 3785642"/>
                <a:gd name="connsiteY300" fmla="*/ 2512 h 479077"/>
                <a:gd name="connsiteX301" fmla="*/ 999172 w 3785642"/>
                <a:gd name="connsiteY301" fmla="*/ 1520 h 479077"/>
                <a:gd name="connsiteX302" fmla="*/ 1015542 w 3785642"/>
                <a:gd name="connsiteY302" fmla="*/ 2512 h 479077"/>
                <a:gd name="connsiteX303" fmla="*/ 1031913 w 3785642"/>
                <a:gd name="connsiteY303" fmla="*/ 1520 h 479077"/>
                <a:gd name="connsiteX304" fmla="*/ 1048283 w 3785642"/>
                <a:gd name="connsiteY304" fmla="*/ 2016 h 479077"/>
                <a:gd name="connsiteX305" fmla="*/ 1064654 w 3785642"/>
                <a:gd name="connsiteY305" fmla="*/ 3504 h 479077"/>
                <a:gd name="connsiteX306" fmla="*/ 1081025 w 3785642"/>
                <a:gd name="connsiteY306" fmla="*/ 2016 h 479077"/>
                <a:gd name="connsiteX307" fmla="*/ 1097395 w 3785642"/>
                <a:gd name="connsiteY307" fmla="*/ 2512 h 479077"/>
                <a:gd name="connsiteX308" fmla="*/ 1113766 w 3785642"/>
                <a:gd name="connsiteY308" fmla="*/ 2512 h 479077"/>
                <a:gd name="connsiteX309" fmla="*/ 1130136 w 3785642"/>
                <a:gd name="connsiteY309" fmla="*/ 3504 h 479077"/>
                <a:gd name="connsiteX310" fmla="*/ 1146507 w 3785642"/>
                <a:gd name="connsiteY310" fmla="*/ 1520 h 479077"/>
                <a:gd name="connsiteX311" fmla="*/ 1162878 w 3785642"/>
                <a:gd name="connsiteY311" fmla="*/ 3008 h 479077"/>
                <a:gd name="connsiteX312" fmla="*/ 1179248 w 3785642"/>
                <a:gd name="connsiteY312" fmla="*/ 4000 h 479077"/>
                <a:gd name="connsiteX313" fmla="*/ 1195619 w 3785642"/>
                <a:gd name="connsiteY313" fmla="*/ 3504 h 479077"/>
                <a:gd name="connsiteX314" fmla="*/ 1211989 w 3785642"/>
                <a:gd name="connsiteY314" fmla="*/ 1520 h 479077"/>
                <a:gd name="connsiteX315" fmla="*/ 1228360 w 3785642"/>
                <a:gd name="connsiteY315" fmla="*/ 3504 h 479077"/>
                <a:gd name="connsiteX316" fmla="*/ 1244730 w 3785642"/>
                <a:gd name="connsiteY316" fmla="*/ 1520 h 479077"/>
                <a:gd name="connsiteX317" fmla="*/ 1261101 w 3785642"/>
                <a:gd name="connsiteY317" fmla="*/ 2512 h 479077"/>
                <a:gd name="connsiteX318" fmla="*/ 1277471 w 3785642"/>
                <a:gd name="connsiteY318" fmla="*/ 3504 h 479077"/>
                <a:gd name="connsiteX319" fmla="*/ 1293842 w 3785642"/>
                <a:gd name="connsiteY319" fmla="*/ 4000 h 479077"/>
                <a:gd name="connsiteX320" fmla="*/ 1310213 w 3785642"/>
                <a:gd name="connsiteY320" fmla="*/ 1520 h 479077"/>
                <a:gd name="connsiteX321" fmla="*/ 1326583 w 3785642"/>
                <a:gd name="connsiteY321" fmla="*/ 2016 h 479077"/>
                <a:gd name="connsiteX322" fmla="*/ 1342954 w 3785642"/>
                <a:gd name="connsiteY322" fmla="*/ 3008 h 479077"/>
                <a:gd name="connsiteX323" fmla="*/ 1359324 w 3785642"/>
                <a:gd name="connsiteY323" fmla="*/ 3008 h 479077"/>
                <a:gd name="connsiteX324" fmla="*/ 1375695 w 3785642"/>
                <a:gd name="connsiteY324" fmla="*/ 2512 h 479077"/>
                <a:gd name="connsiteX325" fmla="*/ 1392066 w 3785642"/>
                <a:gd name="connsiteY325" fmla="*/ 2512 h 479077"/>
                <a:gd name="connsiteX326" fmla="*/ 1408436 w 3785642"/>
                <a:gd name="connsiteY326" fmla="*/ 3504 h 479077"/>
                <a:gd name="connsiteX327" fmla="*/ 1424807 w 3785642"/>
                <a:gd name="connsiteY327" fmla="*/ 3504 h 479077"/>
                <a:gd name="connsiteX328" fmla="*/ 1441177 w 3785642"/>
                <a:gd name="connsiteY328" fmla="*/ 1520 h 479077"/>
                <a:gd name="connsiteX329" fmla="*/ 1457548 w 3785642"/>
                <a:gd name="connsiteY329" fmla="*/ 2512 h 479077"/>
                <a:gd name="connsiteX330" fmla="*/ 1473919 w 3785642"/>
                <a:gd name="connsiteY330" fmla="*/ 2016 h 479077"/>
                <a:gd name="connsiteX331" fmla="*/ 1490289 w 3785642"/>
                <a:gd name="connsiteY331" fmla="*/ 2016 h 479077"/>
                <a:gd name="connsiteX332" fmla="*/ 1506660 w 3785642"/>
                <a:gd name="connsiteY332" fmla="*/ 1520 h 479077"/>
                <a:gd name="connsiteX333" fmla="*/ 1523030 w 3785642"/>
                <a:gd name="connsiteY333" fmla="*/ 3504 h 479077"/>
                <a:gd name="connsiteX334" fmla="*/ 1539401 w 3785642"/>
                <a:gd name="connsiteY334" fmla="*/ 3008 h 479077"/>
                <a:gd name="connsiteX335" fmla="*/ 1555771 w 3785642"/>
                <a:gd name="connsiteY335" fmla="*/ 3008 h 479077"/>
                <a:gd name="connsiteX336" fmla="*/ 1572142 w 3785642"/>
                <a:gd name="connsiteY336" fmla="*/ 2512 h 479077"/>
                <a:gd name="connsiteX337" fmla="*/ 1588512 w 3785642"/>
                <a:gd name="connsiteY337" fmla="*/ 2016 h 479077"/>
                <a:gd name="connsiteX338" fmla="*/ 1604883 w 3785642"/>
                <a:gd name="connsiteY338" fmla="*/ 3008 h 479077"/>
                <a:gd name="connsiteX339" fmla="*/ 1621253 w 3785642"/>
                <a:gd name="connsiteY339" fmla="*/ 3008 h 479077"/>
                <a:gd name="connsiteX340" fmla="*/ 1637624 w 3785642"/>
                <a:gd name="connsiteY34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313375 w 3785642"/>
                <a:gd name="connsiteY13" fmla="*/ 10945 h 479077"/>
                <a:gd name="connsiteX14" fmla="*/ 3300973 w 3785642"/>
                <a:gd name="connsiteY14" fmla="*/ 21363 h 479077"/>
                <a:gd name="connsiteX15" fmla="*/ 3289068 w 3785642"/>
                <a:gd name="connsiteY15" fmla="*/ 32276 h 479077"/>
                <a:gd name="connsiteX16" fmla="*/ 3277658 w 3785642"/>
                <a:gd name="connsiteY16" fmla="*/ 43686 h 479077"/>
                <a:gd name="connsiteX17" fmla="*/ 3266248 w 3785642"/>
                <a:gd name="connsiteY17" fmla="*/ 55592 h 479077"/>
                <a:gd name="connsiteX18" fmla="*/ 3255830 w 3785642"/>
                <a:gd name="connsiteY18" fmla="*/ 68490 h 479077"/>
                <a:gd name="connsiteX19" fmla="*/ 3243924 w 3785642"/>
                <a:gd name="connsiteY19" fmla="*/ 79900 h 479077"/>
                <a:gd name="connsiteX20" fmla="*/ 3231522 w 3785642"/>
                <a:gd name="connsiteY20" fmla="*/ 90814 h 479077"/>
                <a:gd name="connsiteX21" fmla="*/ 3220609 w 3785642"/>
                <a:gd name="connsiteY21" fmla="*/ 102720 h 479077"/>
                <a:gd name="connsiteX22" fmla="*/ 3208207 w 3785642"/>
                <a:gd name="connsiteY22" fmla="*/ 113137 h 479077"/>
                <a:gd name="connsiteX23" fmla="*/ 3197293 w 3785642"/>
                <a:gd name="connsiteY23" fmla="*/ 125043 h 479077"/>
                <a:gd name="connsiteX24" fmla="*/ 3185387 w 3785642"/>
                <a:gd name="connsiteY24" fmla="*/ 136453 h 479077"/>
                <a:gd name="connsiteX25" fmla="*/ 3174970 w 3785642"/>
                <a:gd name="connsiteY25" fmla="*/ 148855 h 479077"/>
                <a:gd name="connsiteX26" fmla="*/ 3162071 w 3785642"/>
                <a:gd name="connsiteY26" fmla="*/ 159272 h 479077"/>
                <a:gd name="connsiteX27" fmla="*/ 3151158 w 3785642"/>
                <a:gd name="connsiteY27" fmla="*/ 171674 h 479077"/>
                <a:gd name="connsiteX28" fmla="*/ 3139252 w 3785642"/>
                <a:gd name="connsiteY28" fmla="*/ 182588 h 479077"/>
                <a:gd name="connsiteX29" fmla="*/ 3127843 w 3785642"/>
                <a:gd name="connsiteY29" fmla="*/ 194494 h 479077"/>
                <a:gd name="connsiteX30" fmla="*/ 3116432 w 3785642"/>
                <a:gd name="connsiteY30" fmla="*/ 205904 h 479077"/>
                <a:gd name="connsiteX31" fmla="*/ 3105022 w 3785642"/>
                <a:gd name="connsiteY31" fmla="*/ 217810 h 479077"/>
                <a:gd name="connsiteX32" fmla="*/ 3093117 w 3785642"/>
                <a:gd name="connsiteY32" fmla="*/ 229219 h 479077"/>
                <a:gd name="connsiteX33" fmla="*/ 3081707 w 3785642"/>
                <a:gd name="connsiteY33" fmla="*/ 240629 h 479077"/>
                <a:gd name="connsiteX34" fmla="*/ 3069305 w 3785642"/>
                <a:gd name="connsiteY34" fmla="*/ 251543 h 479077"/>
                <a:gd name="connsiteX35" fmla="*/ 3057895 w 3785642"/>
                <a:gd name="connsiteY35" fmla="*/ 263449 h 479077"/>
                <a:gd name="connsiteX36" fmla="*/ 3046486 w 3785642"/>
                <a:gd name="connsiteY36" fmla="*/ 275355 h 479077"/>
                <a:gd name="connsiteX37" fmla="*/ 3035572 w 3785642"/>
                <a:gd name="connsiteY37" fmla="*/ 287260 h 479077"/>
                <a:gd name="connsiteX38" fmla="*/ 3024658 w 3785642"/>
                <a:gd name="connsiteY38" fmla="*/ 299166 h 479077"/>
                <a:gd name="connsiteX39" fmla="*/ 3013248 w 3785642"/>
                <a:gd name="connsiteY39" fmla="*/ 311072 h 479077"/>
                <a:gd name="connsiteX40" fmla="*/ 3000350 w 3785642"/>
                <a:gd name="connsiteY40" fmla="*/ 321490 h 479077"/>
                <a:gd name="connsiteX41" fmla="*/ 2988941 w 3785642"/>
                <a:gd name="connsiteY41" fmla="*/ 333396 h 479077"/>
                <a:gd name="connsiteX42" fmla="*/ 2976539 w 3785642"/>
                <a:gd name="connsiteY42" fmla="*/ 344309 h 479077"/>
                <a:gd name="connsiteX43" fmla="*/ 2965129 w 3785642"/>
                <a:gd name="connsiteY43" fmla="*/ 356215 h 479077"/>
                <a:gd name="connsiteX44" fmla="*/ 2953223 w 3785642"/>
                <a:gd name="connsiteY44" fmla="*/ 367625 h 479077"/>
                <a:gd name="connsiteX45" fmla="*/ 2941813 w 3785642"/>
                <a:gd name="connsiteY45" fmla="*/ 379531 h 479077"/>
                <a:gd name="connsiteX46" fmla="*/ 2931395 w 3785642"/>
                <a:gd name="connsiteY46" fmla="*/ 392429 h 479077"/>
                <a:gd name="connsiteX47" fmla="*/ 2918497 w 3785642"/>
                <a:gd name="connsiteY47" fmla="*/ 402847 h 479077"/>
                <a:gd name="connsiteX48" fmla="*/ 2907584 w 3785642"/>
                <a:gd name="connsiteY48" fmla="*/ 415249 h 479077"/>
                <a:gd name="connsiteX49" fmla="*/ 2896174 w 3785642"/>
                <a:gd name="connsiteY49" fmla="*/ 426658 h 479077"/>
                <a:gd name="connsiteX50" fmla="*/ 2884268 w 3785642"/>
                <a:gd name="connsiteY50" fmla="*/ 438068 h 479077"/>
                <a:gd name="connsiteX51" fmla="*/ 2873354 w 3785642"/>
                <a:gd name="connsiteY51" fmla="*/ 450470 h 479077"/>
                <a:gd name="connsiteX52" fmla="*/ 2860952 w 3785642"/>
                <a:gd name="connsiteY52" fmla="*/ 461384 h 479077"/>
                <a:gd name="connsiteX53" fmla="*/ 2850039 w 3785642"/>
                <a:gd name="connsiteY53" fmla="*/ 473786 h 479077"/>
                <a:gd name="connsiteX54" fmla="*/ 2833668 w 3785642"/>
                <a:gd name="connsiteY54" fmla="*/ 473786 h 479077"/>
                <a:gd name="connsiteX55" fmla="*/ 2817297 w 3785642"/>
                <a:gd name="connsiteY55" fmla="*/ 473290 h 479077"/>
                <a:gd name="connsiteX56" fmla="*/ 2800927 w 3785642"/>
                <a:gd name="connsiteY56" fmla="*/ 473290 h 479077"/>
                <a:gd name="connsiteX57" fmla="*/ 2784556 w 3785642"/>
                <a:gd name="connsiteY57" fmla="*/ 473786 h 479077"/>
                <a:gd name="connsiteX58" fmla="*/ 2768186 w 3785642"/>
                <a:gd name="connsiteY58" fmla="*/ 474282 h 479077"/>
                <a:gd name="connsiteX59" fmla="*/ 2751815 w 3785642"/>
                <a:gd name="connsiteY59" fmla="*/ 474282 h 479077"/>
                <a:gd name="connsiteX60" fmla="*/ 2735444 w 3785642"/>
                <a:gd name="connsiteY60" fmla="*/ 473290 h 479077"/>
                <a:gd name="connsiteX61" fmla="*/ 2719074 w 3785642"/>
                <a:gd name="connsiteY61" fmla="*/ 474282 h 479077"/>
                <a:gd name="connsiteX62" fmla="*/ 2702703 w 3785642"/>
                <a:gd name="connsiteY62" fmla="*/ 472298 h 479077"/>
                <a:gd name="connsiteX63" fmla="*/ 2686333 w 3785642"/>
                <a:gd name="connsiteY63" fmla="*/ 472794 h 479077"/>
                <a:gd name="connsiteX64" fmla="*/ 2669962 w 3785642"/>
                <a:gd name="connsiteY64" fmla="*/ 474282 h 479077"/>
                <a:gd name="connsiteX65" fmla="*/ 2653592 w 3785642"/>
                <a:gd name="connsiteY65" fmla="*/ 472298 h 479077"/>
                <a:gd name="connsiteX66" fmla="*/ 2637221 w 3785642"/>
                <a:gd name="connsiteY66" fmla="*/ 474282 h 479077"/>
                <a:gd name="connsiteX67" fmla="*/ 2620851 w 3785642"/>
                <a:gd name="connsiteY67" fmla="*/ 474282 h 479077"/>
                <a:gd name="connsiteX68" fmla="*/ 2604480 w 3785642"/>
                <a:gd name="connsiteY68" fmla="*/ 472298 h 479077"/>
                <a:gd name="connsiteX69" fmla="*/ 2588109 w 3785642"/>
                <a:gd name="connsiteY69" fmla="*/ 473786 h 479077"/>
                <a:gd name="connsiteX70" fmla="*/ 2571739 w 3785642"/>
                <a:gd name="connsiteY70" fmla="*/ 472298 h 479077"/>
                <a:gd name="connsiteX71" fmla="*/ 2555368 w 3785642"/>
                <a:gd name="connsiteY71" fmla="*/ 473290 h 479077"/>
                <a:gd name="connsiteX72" fmla="*/ 2538998 w 3785642"/>
                <a:gd name="connsiteY72" fmla="*/ 474282 h 479077"/>
                <a:gd name="connsiteX73" fmla="*/ 2522627 w 3785642"/>
                <a:gd name="connsiteY73" fmla="*/ 473290 h 479077"/>
                <a:gd name="connsiteX74" fmla="*/ 2506257 w 3785642"/>
                <a:gd name="connsiteY74" fmla="*/ 474282 h 479077"/>
                <a:gd name="connsiteX75" fmla="*/ 2489886 w 3785642"/>
                <a:gd name="connsiteY75" fmla="*/ 473786 h 479077"/>
                <a:gd name="connsiteX76" fmla="*/ 2473516 w 3785642"/>
                <a:gd name="connsiteY76" fmla="*/ 474282 h 479077"/>
                <a:gd name="connsiteX77" fmla="*/ 2457145 w 3785642"/>
                <a:gd name="connsiteY77" fmla="*/ 472794 h 479077"/>
                <a:gd name="connsiteX78" fmla="*/ 2440775 w 3785642"/>
                <a:gd name="connsiteY78" fmla="*/ 472298 h 479077"/>
                <a:gd name="connsiteX79" fmla="*/ 2424404 w 3785642"/>
                <a:gd name="connsiteY79" fmla="*/ 473786 h 479077"/>
                <a:gd name="connsiteX80" fmla="*/ 2408033 w 3785642"/>
                <a:gd name="connsiteY80" fmla="*/ 472794 h 479077"/>
                <a:gd name="connsiteX81" fmla="*/ 2391663 w 3785642"/>
                <a:gd name="connsiteY81" fmla="*/ 473290 h 479077"/>
                <a:gd name="connsiteX82" fmla="*/ 2375292 w 3785642"/>
                <a:gd name="connsiteY82" fmla="*/ 473290 h 479077"/>
                <a:gd name="connsiteX83" fmla="*/ 2358922 w 3785642"/>
                <a:gd name="connsiteY83" fmla="*/ 472794 h 479077"/>
                <a:gd name="connsiteX84" fmla="*/ 2342551 w 3785642"/>
                <a:gd name="connsiteY84" fmla="*/ 472298 h 479077"/>
                <a:gd name="connsiteX85" fmla="*/ 2326180 w 3785642"/>
                <a:gd name="connsiteY85" fmla="*/ 473786 h 479077"/>
                <a:gd name="connsiteX86" fmla="*/ 2309810 w 3785642"/>
                <a:gd name="connsiteY86" fmla="*/ 473786 h 479077"/>
                <a:gd name="connsiteX87" fmla="*/ 2293439 w 3785642"/>
                <a:gd name="connsiteY87" fmla="*/ 473786 h 479077"/>
                <a:gd name="connsiteX88" fmla="*/ 2277069 w 3785642"/>
                <a:gd name="connsiteY88" fmla="*/ 472794 h 479077"/>
                <a:gd name="connsiteX89" fmla="*/ 2260698 w 3785642"/>
                <a:gd name="connsiteY89" fmla="*/ 474282 h 479077"/>
                <a:gd name="connsiteX90" fmla="*/ 2244327 w 3785642"/>
                <a:gd name="connsiteY90" fmla="*/ 472298 h 479077"/>
                <a:gd name="connsiteX91" fmla="*/ 2227957 w 3785642"/>
                <a:gd name="connsiteY91" fmla="*/ 474282 h 479077"/>
                <a:gd name="connsiteX92" fmla="*/ 2211586 w 3785642"/>
                <a:gd name="connsiteY92" fmla="*/ 473290 h 479077"/>
                <a:gd name="connsiteX93" fmla="*/ 2195216 w 3785642"/>
                <a:gd name="connsiteY93" fmla="*/ 474282 h 479077"/>
                <a:gd name="connsiteX94" fmla="*/ 2178845 w 3785642"/>
                <a:gd name="connsiteY94" fmla="*/ 472794 h 479077"/>
                <a:gd name="connsiteX95" fmla="*/ 2162474 w 3785642"/>
                <a:gd name="connsiteY95" fmla="*/ 474778 h 479077"/>
                <a:gd name="connsiteX96" fmla="*/ 2146104 w 3785642"/>
                <a:gd name="connsiteY96" fmla="*/ 473290 h 479077"/>
                <a:gd name="connsiteX97" fmla="*/ 2129733 w 3785642"/>
                <a:gd name="connsiteY97" fmla="*/ 474778 h 479077"/>
                <a:gd name="connsiteX98" fmla="*/ 2113363 w 3785642"/>
                <a:gd name="connsiteY98" fmla="*/ 474778 h 479077"/>
                <a:gd name="connsiteX99" fmla="*/ 2096992 w 3785642"/>
                <a:gd name="connsiteY99" fmla="*/ 474778 h 479077"/>
                <a:gd name="connsiteX100" fmla="*/ 2080621 w 3785642"/>
                <a:gd name="connsiteY100" fmla="*/ 474282 h 479077"/>
                <a:gd name="connsiteX101" fmla="*/ 2064251 w 3785642"/>
                <a:gd name="connsiteY101" fmla="*/ 472794 h 479077"/>
                <a:gd name="connsiteX102" fmla="*/ 2047880 w 3785642"/>
                <a:gd name="connsiteY102" fmla="*/ 474778 h 479077"/>
                <a:gd name="connsiteX103" fmla="*/ 2031510 w 3785642"/>
                <a:gd name="connsiteY103" fmla="*/ 474778 h 479077"/>
                <a:gd name="connsiteX104" fmla="*/ 2015139 w 3785642"/>
                <a:gd name="connsiteY104" fmla="*/ 474778 h 479077"/>
                <a:gd name="connsiteX105" fmla="*/ 1998769 w 3785642"/>
                <a:gd name="connsiteY105" fmla="*/ 474282 h 479077"/>
                <a:gd name="connsiteX106" fmla="*/ 1982398 w 3785642"/>
                <a:gd name="connsiteY106" fmla="*/ 473786 h 479077"/>
                <a:gd name="connsiteX107" fmla="*/ 1966028 w 3785642"/>
                <a:gd name="connsiteY107" fmla="*/ 473786 h 479077"/>
                <a:gd name="connsiteX108" fmla="*/ 1949657 w 3785642"/>
                <a:gd name="connsiteY108" fmla="*/ 472794 h 479077"/>
                <a:gd name="connsiteX109" fmla="*/ 1933287 w 3785642"/>
                <a:gd name="connsiteY109" fmla="*/ 473290 h 479077"/>
                <a:gd name="connsiteX110" fmla="*/ 1916916 w 3785642"/>
                <a:gd name="connsiteY110" fmla="*/ 474778 h 479077"/>
                <a:gd name="connsiteX111" fmla="*/ 1900546 w 3785642"/>
                <a:gd name="connsiteY111" fmla="*/ 472794 h 479077"/>
                <a:gd name="connsiteX112" fmla="*/ 1884175 w 3785642"/>
                <a:gd name="connsiteY112" fmla="*/ 473786 h 479077"/>
                <a:gd name="connsiteX113" fmla="*/ 1867804 w 3785642"/>
                <a:gd name="connsiteY113" fmla="*/ 474778 h 479077"/>
                <a:gd name="connsiteX114" fmla="*/ 1851434 w 3785642"/>
                <a:gd name="connsiteY114" fmla="*/ 474778 h 479077"/>
                <a:gd name="connsiteX115" fmla="*/ 1835063 w 3785642"/>
                <a:gd name="connsiteY115" fmla="*/ 474778 h 479077"/>
                <a:gd name="connsiteX116" fmla="*/ 1818693 w 3785642"/>
                <a:gd name="connsiteY116" fmla="*/ 474282 h 479077"/>
                <a:gd name="connsiteX117" fmla="*/ 1802322 w 3785642"/>
                <a:gd name="connsiteY117" fmla="*/ 472794 h 479077"/>
                <a:gd name="connsiteX118" fmla="*/ 1785951 w 3785642"/>
                <a:gd name="connsiteY118" fmla="*/ 473786 h 479077"/>
                <a:gd name="connsiteX119" fmla="*/ 1769581 w 3785642"/>
                <a:gd name="connsiteY119" fmla="*/ 473290 h 479077"/>
                <a:gd name="connsiteX120" fmla="*/ 1753210 w 3785642"/>
                <a:gd name="connsiteY120" fmla="*/ 472298 h 479077"/>
                <a:gd name="connsiteX121" fmla="*/ 1736840 w 3785642"/>
                <a:gd name="connsiteY121" fmla="*/ 473290 h 479077"/>
                <a:gd name="connsiteX122" fmla="*/ 1720469 w 3785642"/>
                <a:gd name="connsiteY122" fmla="*/ 474778 h 479077"/>
                <a:gd name="connsiteX123" fmla="*/ 1704098 w 3785642"/>
                <a:gd name="connsiteY123" fmla="*/ 472794 h 479077"/>
                <a:gd name="connsiteX124" fmla="*/ 1687728 w 3785642"/>
                <a:gd name="connsiteY124" fmla="*/ 474778 h 479077"/>
                <a:gd name="connsiteX125" fmla="*/ 1671357 w 3785642"/>
                <a:gd name="connsiteY125" fmla="*/ 474778 h 479077"/>
                <a:gd name="connsiteX126" fmla="*/ 1654987 w 3785642"/>
                <a:gd name="connsiteY126" fmla="*/ 472298 h 479077"/>
                <a:gd name="connsiteX127" fmla="*/ 1638616 w 3785642"/>
                <a:gd name="connsiteY127" fmla="*/ 472794 h 479077"/>
                <a:gd name="connsiteX128" fmla="*/ 1622246 w 3785642"/>
                <a:gd name="connsiteY128" fmla="*/ 473786 h 479077"/>
                <a:gd name="connsiteX129" fmla="*/ 1605875 w 3785642"/>
                <a:gd name="connsiteY129" fmla="*/ 474778 h 479077"/>
                <a:gd name="connsiteX130" fmla="*/ 1589505 w 3785642"/>
                <a:gd name="connsiteY130" fmla="*/ 473290 h 479077"/>
                <a:gd name="connsiteX131" fmla="*/ 1573134 w 3785642"/>
                <a:gd name="connsiteY131" fmla="*/ 474778 h 479077"/>
                <a:gd name="connsiteX132" fmla="*/ 1556763 w 3785642"/>
                <a:gd name="connsiteY132" fmla="*/ 472794 h 479077"/>
                <a:gd name="connsiteX133" fmla="*/ 1540393 w 3785642"/>
                <a:gd name="connsiteY133" fmla="*/ 472794 h 479077"/>
                <a:gd name="connsiteX134" fmla="*/ 1524022 w 3785642"/>
                <a:gd name="connsiteY134" fmla="*/ 474282 h 479077"/>
                <a:gd name="connsiteX135" fmla="*/ 1507652 w 3785642"/>
                <a:gd name="connsiteY135" fmla="*/ 472794 h 479077"/>
                <a:gd name="connsiteX136" fmla="*/ 1491281 w 3785642"/>
                <a:gd name="connsiteY136" fmla="*/ 474282 h 479077"/>
                <a:gd name="connsiteX137" fmla="*/ 1474910 w 3785642"/>
                <a:gd name="connsiteY137" fmla="*/ 474282 h 479077"/>
                <a:gd name="connsiteX138" fmla="*/ 1458540 w 3785642"/>
                <a:gd name="connsiteY138" fmla="*/ 472794 h 479077"/>
                <a:gd name="connsiteX139" fmla="*/ 1442169 w 3785642"/>
                <a:gd name="connsiteY139" fmla="*/ 471802 h 479077"/>
                <a:gd name="connsiteX140" fmla="*/ 1425799 w 3785642"/>
                <a:gd name="connsiteY140" fmla="*/ 472298 h 479077"/>
                <a:gd name="connsiteX141" fmla="*/ 1409428 w 3785642"/>
                <a:gd name="connsiteY141" fmla="*/ 472794 h 479077"/>
                <a:gd name="connsiteX142" fmla="*/ 1393058 w 3785642"/>
                <a:gd name="connsiteY142" fmla="*/ 473786 h 479077"/>
                <a:gd name="connsiteX143" fmla="*/ 1376687 w 3785642"/>
                <a:gd name="connsiteY143" fmla="*/ 471802 h 479077"/>
                <a:gd name="connsiteX144" fmla="*/ 1360317 w 3785642"/>
                <a:gd name="connsiteY144" fmla="*/ 473786 h 479077"/>
                <a:gd name="connsiteX145" fmla="*/ 1343946 w 3785642"/>
                <a:gd name="connsiteY145" fmla="*/ 473786 h 479077"/>
                <a:gd name="connsiteX146" fmla="*/ 1327576 w 3785642"/>
                <a:gd name="connsiteY146" fmla="*/ 472794 h 479077"/>
                <a:gd name="connsiteX147" fmla="*/ 1311205 w 3785642"/>
                <a:gd name="connsiteY147" fmla="*/ 473786 h 479077"/>
                <a:gd name="connsiteX148" fmla="*/ 1294834 w 3785642"/>
                <a:gd name="connsiteY148" fmla="*/ 473786 h 479077"/>
                <a:gd name="connsiteX149" fmla="*/ 1278464 w 3785642"/>
                <a:gd name="connsiteY149" fmla="*/ 473786 h 479077"/>
                <a:gd name="connsiteX150" fmla="*/ 1262093 w 3785642"/>
                <a:gd name="connsiteY150" fmla="*/ 473786 h 479077"/>
                <a:gd name="connsiteX151" fmla="*/ 1245723 w 3785642"/>
                <a:gd name="connsiteY151" fmla="*/ 473290 h 479077"/>
                <a:gd name="connsiteX152" fmla="*/ 1229352 w 3785642"/>
                <a:gd name="connsiteY152" fmla="*/ 472794 h 479077"/>
                <a:gd name="connsiteX153" fmla="*/ 1212981 w 3785642"/>
                <a:gd name="connsiteY153" fmla="*/ 473786 h 479077"/>
                <a:gd name="connsiteX154" fmla="*/ 1196611 w 3785642"/>
                <a:gd name="connsiteY154" fmla="*/ 472298 h 479077"/>
                <a:gd name="connsiteX155" fmla="*/ 1180240 w 3785642"/>
                <a:gd name="connsiteY155" fmla="*/ 472794 h 479077"/>
                <a:gd name="connsiteX156" fmla="*/ 1163870 w 3785642"/>
                <a:gd name="connsiteY156" fmla="*/ 472794 h 479077"/>
                <a:gd name="connsiteX157" fmla="*/ 1147499 w 3785642"/>
                <a:gd name="connsiteY157" fmla="*/ 473786 h 479077"/>
                <a:gd name="connsiteX158" fmla="*/ 1131128 w 3785642"/>
                <a:gd name="connsiteY158" fmla="*/ 473786 h 479077"/>
                <a:gd name="connsiteX159" fmla="*/ 1114758 w 3785642"/>
                <a:gd name="connsiteY159" fmla="*/ 472794 h 479077"/>
                <a:gd name="connsiteX160" fmla="*/ 1098387 w 3785642"/>
                <a:gd name="connsiteY160" fmla="*/ 473786 h 479077"/>
                <a:gd name="connsiteX161" fmla="*/ 1082017 w 3785642"/>
                <a:gd name="connsiteY161" fmla="*/ 474778 h 479077"/>
                <a:gd name="connsiteX162" fmla="*/ 1065646 w 3785642"/>
                <a:gd name="connsiteY162" fmla="*/ 474778 h 479077"/>
                <a:gd name="connsiteX163" fmla="*/ 1049276 w 3785642"/>
                <a:gd name="connsiteY163" fmla="*/ 474282 h 479077"/>
                <a:gd name="connsiteX164" fmla="*/ 1032905 w 3785642"/>
                <a:gd name="connsiteY164" fmla="*/ 473290 h 479077"/>
                <a:gd name="connsiteX165" fmla="*/ 1016535 w 3785642"/>
                <a:gd name="connsiteY165" fmla="*/ 474282 h 479077"/>
                <a:gd name="connsiteX166" fmla="*/ 1000164 w 3785642"/>
                <a:gd name="connsiteY166" fmla="*/ 474282 h 479077"/>
                <a:gd name="connsiteX167" fmla="*/ 983793 w 3785642"/>
                <a:gd name="connsiteY167" fmla="*/ 472794 h 479077"/>
                <a:gd name="connsiteX168" fmla="*/ 967423 w 3785642"/>
                <a:gd name="connsiteY168" fmla="*/ 472794 h 479077"/>
                <a:gd name="connsiteX169" fmla="*/ 951052 w 3785642"/>
                <a:gd name="connsiteY169" fmla="*/ 473786 h 479077"/>
                <a:gd name="connsiteX170" fmla="*/ 934682 w 3785642"/>
                <a:gd name="connsiteY170" fmla="*/ 474282 h 479077"/>
                <a:gd name="connsiteX171" fmla="*/ 918311 w 3785642"/>
                <a:gd name="connsiteY171" fmla="*/ 474778 h 479077"/>
                <a:gd name="connsiteX172" fmla="*/ 901940 w 3785642"/>
                <a:gd name="connsiteY172" fmla="*/ 473290 h 479077"/>
                <a:gd name="connsiteX173" fmla="*/ 885570 w 3785642"/>
                <a:gd name="connsiteY173" fmla="*/ 474778 h 479077"/>
                <a:gd name="connsiteX174" fmla="*/ 869199 w 3785642"/>
                <a:gd name="connsiteY174" fmla="*/ 474282 h 479077"/>
                <a:gd name="connsiteX175" fmla="*/ 852829 w 3785642"/>
                <a:gd name="connsiteY175" fmla="*/ 473786 h 479077"/>
                <a:gd name="connsiteX176" fmla="*/ 836458 w 3785642"/>
                <a:gd name="connsiteY176" fmla="*/ 474778 h 479077"/>
                <a:gd name="connsiteX177" fmla="*/ 820088 w 3785642"/>
                <a:gd name="connsiteY177" fmla="*/ 475274 h 479077"/>
                <a:gd name="connsiteX178" fmla="*/ 803717 w 3785642"/>
                <a:gd name="connsiteY178" fmla="*/ 473786 h 479077"/>
                <a:gd name="connsiteX179" fmla="*/ 787347 w 3785642"/>
                <a:gd name="connsiteY179" fmla="*/ 475770 h 479077"/>
                <a:gd name="connsiteX180" fmla="*/ 770976 w 3785642"/>
                <a:gd name="connsiteY180" fmla="*/ 474778 h 479077"/>
                <a:gd name="connsiteX181" fmla="*/ 754605 w 3785642"/>
                <a:gd name="connsiteY181" fmla="*/ 475274 h 479077"/>
                <a:gd name="connsiteX182" fmla="*/ 738235 w 3785642"/>
                <a:gd name="connsiteY182" fmla="*/ 473786 h 479077"/>
                <a:gd name="connsiteX183" fmla="*/ 721864 w 3785642"/>
                <a:gd name="connsiteY183" fmla="*/ 475274 h 479077"/>
                <a:gd name="connsiteX184" fmla="*/ 705494 w 3785642"/>
                <a:gd name="connsiteY184" fmla="*/ 475770 h 479077"/>
                <a:gd name="connsiteX185" fmla="*/ 689123 w 3785642"/>
                <a:gd name="connsiteY185" fmla="*/ 474282 h 479077"/>
                <a:gd name="connsiteX186" fmla="*/ 672753 w 3785642"/>
                <a:gd name="connsiteY186" fmla="*/ 475274 h 479077"/>
                <a:gd name="connsiteX187" fmla="*/ 656382 w 3785642"/>
                <a:gd name="connsiteY187" fmla="*/ 474778 h 479077"/>
                <a:gd name="connsiteX188" fmla="*/ 640011 w 3785642"/>
                <a:gd name="connsiteY188" fmla="*/ 475770 h 479077"/>
                <a:gd name="connsiteX189" fmla="*/ 623641 w 3785642"/>
                <a:gd name="connsiteY189" fmla="*/ 473786 h 479077"/>
                <a:gd name="connsiteX190" fmla="*/ 607270 w 3785642"/>
                <a:gd name="connsiteY190" fmla="*/ 474778 h 479077"/>
                <a:gd name="connsiteX191" fmla="*/ 590900 w 3785642"/>
                <a:gd name="connsiteY191" fmla="*/ 475274 h 479077"/>
                <a:gd name="connsiteX192" fmla="*/ 574529 w 3785642"/>
                <a:gd name="connsiteY192" fmla="*/ 474282 h 479077"/>
                <a:gd name="connsiteX193" fmla="*/ 558158 w 3785642"/>
                <a:gd name="connsiteY193" fmla="*/ 475274 h 479077"/>
                <a:gd name="connsiteX194" fmla="*/ 541788 w 3785642"/>
                <a:gd name="connsiteY194" fmla="*/ 475770 h 479077"/>
                <a:gd name="connsiteX195" fmla="*/ 525417 w 3785642"/>
                <a:gd name="connsiteY195" fmla="*/ 474282 h 479077"/>
                <a:gd name="connsiteX196" fmla="*/ 509047 w 3785642"/>
                <a:gd name="connsiteY196" fmla="*/ 473786 h 479077"/>
                <a:gd name="connsiteX197" fmla="*/ 492676 w 3785642"/>
                <a:gd name="connsiteY197" fmla="*/ 473786 h 479077"/>
                <a:gd name="connsiteX198" fmla="*/ 476306 w 3785642"/>
                <a:gd name="connsiteY198" fmla="*/ 474778 h 479077"/>
                <a:gd name="connsiteX199" fmla="*/ 459935 w 3785642"/>
                <a:gd name="connsiteY199" fmla="*/ 473786 h 479077"/>
                <a:gd name="connsiteX200" fmla="*/ 443565 w 3785642"/>
                <a:gd name="connsiteY200" fmla="*/ 474778 h 479077"/>
                <a:gd name="connsiteX201" fmla="*/ 427194 w 3785642"/>
                <a:gd name="connsiteY201" fmla="*/ 474282 h 479077"/>
                <a:gd name="connsiteX202" fmla="*/ 410823 w 3785642"/>
                <a:gd name="connsiteY202" fmla="*/ 473290 h 479077"/>
                <a:gd name="connsiteX203" fmla="*/ 394453 w 3785642"/>
                <a:gd name="connsiteY203" fmla="*/ 475770 h 479077"/>
                <a:gd name="connsiteX204" fmla="*/ 378082 w 3785642"/>
                <a:gd name="connsiteY204" fmla="*/ 475274 h 479077"/>
                <a:gd name="connsiteX205" fmla="*/ 361712 w 3785642"/>
                <a:gd name="connsiteY205" fmla="*/ 474778 h 479077"/>
                <a:gd name="connsiteX206" fmla="*/ 345341 w 3785642"/>
                <a:gd name="connsiteY206" fmla="*/ 476266 h 479077"/>
                <a:gd name="connsiteX207" fmla="*/ 328970 w 3785642"/>
                <a:gd name="connsiteY207" fmla="*/ 474282 h 479077"/>
                <a:gd name="connsiteX208" fmla="*/ 312600 w 3785642"/>
                <a:gd name="connsiteY208" fmla="*/ 475274 h 479077"/>
                <a:gd name="connsiteX209" fmla="*/ 296229 w 3785642"/>
                <a:gd name="connsiteY209" fmla="*/ 474282 h 479077"/>
                <a:gd name="connsiteX210" fmla="*/ 279859 w 3785642"/>
                <a:gd name="connsiteY210" fmla="*/ 475770 h 479077"/>
                <a:gd name="connsiteX211" fmla="*/ 263488 w 3785642"/>
                <a:gd name="connsiteY211" fmla="*/ 476266 h 479077"/>
                <a:gd name="connsiteX212" fmla="*/ 247118 w 3785642"/>
                <a:gd name="connsiteY212" fmla="*/ 476266 h 479077"/>
                <a:gd name="connsiteX213" fmla="*/ 230747 w 3785642"/>
                <a:gd name="connsiteY213" fmla="*/ 474778 h 479077"/>
                <a:gd name="connsiteX214" fmla="*/ 214376 w 3785642"/>
                <a:gd name="connsiteY214" fmla="*/ 474778 h 479077"/>
                <a:gd name="connsiteX215" fmla="*/ 198006 w 3785642"/>
                <a:gd name="connsiteY215" fmla="*/ 476762 h 479077"/>
                <a:gd name="connsiteX216" fmla="*/ 181635 w 3785642"/>
                <a:gd name="connsiteY216" fmla="*/ 476266 h 479077"/>
                <a:gd name="connsiteX217" fmla="*/ 165265 w 3785642"/>
                <a:gd name="connsiteY217" fmla="*/ 474778 h 479077"/>
                <a:gd name="connsiteX218" fmla="*/ 148894 w 3785642"/>
                <a:gd name="connsiteY218" fmla="*/ 476762 h 479077"/>
                <a:gd name="connsiteX219" fmla="*/ 132524 w 3785642"/>
                <a:gd name="connsiteY219" fmla="*/ 476266 h 479077"/>
                <a:gd name="connsiteX220" fmla="*/ 116153 w 3785642"/>
                <a:gd name="connsiteY220" fmla="*/ 475274 h 479077"/>
                <a:gd name="connsiteX221" fmla="*/ 99783 w 3785642"/>
                <a:gd name="connsiteY221" fmla="*/ 475274 h 479077"/>
                <a:gd name="connsiteX222" fmla="*/ 83412 w 3785642"/>
                <a:gd name="connsiteY222" fmla="*/ 475274 h 479077"/>
                <a:gd name="connsiteX223" fmla="*/ 67041 w 3785642"/>
                <a:gd name="connsiteY223" fmla="*/ 474778 h 479077"/>
                <a:gd name="connsiteX224" fmla="*/ 50671 w 3785642"/>
                <a:gd name="connsiteY224" fmla="*/ 475274 h 479077"/>
                <a:gd name="connsiteX225" fmla="*/ 34300 w 3785642"/>
                <a:gd name="connsiteY225" fmla="*/ 475274 h 479077"/>
                <a:gd name="connsiteX226" fmla="*/ 17930 w 3785642"/>
                <a:gd name="connsiteY226" fmla="*/ 475770 h 479077"/>
                <a:gd name="connsiteX227" fmla="*/ 567 w 3785642"/>
                <a:gd name="connsiteY227" fmla="*/ 475770 h 479077"/>
                <a:gd name="connsiteX228" fmla="*/ 12969 w 3785642"/>
                <a:gd name="connsiteY228" fmla="*/ 463368 h 479077"/>
                <a:gd name="connsiteX229" fmla="*/ 24379 w 3785642"/>
                <a:gd name="connsiteY229" fmla="*/ 451958 h 479077"/>
                <a:gd name="connsiteX230" fmla="*/ 35788 w 3785642"/>
                <a:gd name="connsiteY230" fmla="*/ 440053 h 479077"/>
                <a:gd name="connsiteX231" fmla="*/ 48686 w 3785642"/>
                <a:gd name="connsiteY231" fmla="*/ 430131 h 479077"/>
                <a:gd name="connsiteX232" fmla="*/ 59600 w 3785642"/>
                <a:gd name="connsiteY232" fmla="*/ 418225 h 479077"/>
                <a:gd name="connsiteX233" fmla="*/ 70514 w 3785642"/>
                <a:gd name="connsiteY233" fmla="*/ 405823 h 479077"/>
                <a:gd name="connsiteX234" fmla="*/ 83412 w 3785642"/>
                <a:gd name="connsiteY234" fmla="*/ 395406 h 479077"/>
                <a:gd name="connsiteX235" fmla="*/ 94822 w 3785642"/>
                <a:gd name="connsiteY235" fmla="*/ 383500 h 479077"/>
                <a:gd name="connsiteX236" fmla="*/ 106728 w 3785642"/>
                <a:gd name="connsiteY236" fmla="*/ 372090 h 479077"/>
                <a:gd name="connsiteX237" fmla="*/ 117145 w 3785642"/>
                <a:gd name="connsiteY237" fmla="*/ 359688 h 479077"/>
                <a:gd name="connsiteX238" fmla="*/ 128555 w 3785642"/>
                <a:gd name="connsiteY238" fmla="*/ 348278 h 479077"/>
                <a:gd name="connsiteX239" fmla="*/ 140461 w 3785642"/>
                <a:gd name="connsiteY239" fmla="*/ 336868 h 479077"/>
                <a:gd name="connsiteX240" fmla="*/ 152863 w 3785642"/>
                <a:gd name="connsiteY240" fmla="*/ 326451 h 479077"/>
                <a:gd name="connsiteX241" fmla="*/ 164769 w 3785642"/>
                <a:gd name="connsiteY241" fmla="*/ 315041 h 479077"/>
                <a:gd name="connsiteX242" fmla="*/ 176178 w 3785642"/>
                <a:gd name="connsiteY242" fmla="*/ 303135 h 479077"/>
                <a:gd name="connsiteX243" fmla="*/ 188084 w 3785642"/>
                <a:gd name="connsiteY243" fmla="*/ 291725 h 479077"/>
                <a:gd name="connsiteX244" fmla="*/ 199494 w 3785642"/>
                <a:gd name="connsiteY244" fmla="*/ 280315 h 479077"/>
                <a:gd name="connsiteX245" fmla="*/ 210904 w 3785642"/>
                <a:gd name="connsiteY245" fmla="*/ 268906 h 479077"/>
                <a:gd name="connsiteX246" fmla="*/ 221818 w 3785642"/>
                <a:gd name="connsiteY246" fmla="*/ 256504 h 479077"/>
                <a:gd name="connsiteX247" fmla="*/ 233724 w 3785642"/>
                <a:gd name="connsiteY247" fmla="*/ 245094 h 479077"/>
                <a:gd name="connsiteX248" fmla="*/ 244141 w 3785642"/>
                <a:gd name="connsiteY248" fmla="*/ 232692 h 479077"/>
                <a:gd name="connsiteX249" fmla="*/ 257039 w 3785642"/>
                <a:gd name="connsiteY249" fmla="*/ 222770 h 479077"/>
                <a:gd name="connsiteX250" fmla="*/ 266961 w 3785642"/>
                <a:gd name="connsiteY250" fmla="*/ 209376 h 479077"/>
                <a:gd name="connsiteX251" fmla="*/ 278371 w 3785642"/>
                <a:gd name="connsiteY251" fmla="*/ 197966 h 479077"/>
                <a:gd name="connsiteX252" fmla="*/ 291269 w 3785642"/>
                <a:gd name="connsiteY252" fmla="*/ 188045 h 479077"/>
                <a:gd name="connsiteX253" fmla="*/ 301686 w 3785642"/>
                <a:gd name="connsiteY253" fmla="*/ 175147 h 479077"/>
                <a:gd name="connsiteX254" fmla="*/ 313592 w 3785642"/>
                <a:gd name="connsiteY254" fmla="*/ 163737 h 479077"/>
                <a:gd name="connsiteX255" fmla="*/ 325994 w 3785642"/>
                <a:gd name="connsiteY255" fmla="*/ 153319 h 479077"/>
                <a:gd name="connsiteX256" fmla="*/ 337404 w 3785642"/>
                <a:gd name="connsiteY256" fmla="*/ 141910 h 479077"/>
                <a:gd name="connsiteX257" fmla="*/ 347325 w 3785642"/>
                <a:gd name="connsiteY257" fmla="*/ 129012 h 479077"/>
                <a:gd name="connsiteX258" fmla="*/ 360224 w 3785642"/>
                <a:gd name="connsiteY258" fmla="*/ 118594 h 479077"/>
                <a:gd name="connsiteX259" fmla="*/ 371137 w 3785642"/>
                <a:gd name="connsiteY259" fmla="*/ 106192 h 479077"/>
                <a:gd name="connsiteX260" fmla="*/ 382051 w 3785642"/>
                <a:gd name="connsiteY260" fmla="*/ 93790 h 479077"/>
                <a:gd name="connsiteX261" fmla="*/ 393957 w 3785642"/>
                <a:gd name="connsiteY261" fmla="*/ 82380 h 479077"/>
                <a:gd name="connsiteX262" fmla="*/ 405366 w 3785642"/>
                <a:gd name="connsiteY262" fmla="*/ 70475 h 479077"/>
                <a:gd name="connsiteX263" fmla="*/ 417272 w 3785642"/>
                <a:gd name="connsiteY263" fmla="*/ 59561 h 479077"/>
                <a:gd name="connsiteX264" fmla="*/ 429674 w 3785642"/>
                <a:gd name="connsiteY264" fmla="*/ 48647 h 479077"/>
                <a:gd name="connsiteX265" fmla="*/ 440092 w 3785642"/>
                <a:gd name="connsiteY265" fmla="*/ 35749 h 479077"/>
                <a:gd name="connsiteX266" fmla="*/ 452494 w 3785642"/>
                <a:gd name="connsiteY266" fmla="*/ 24835 h 479077"/>
                <a:gd name="connsiteX267" fmla="*/ 463904 w 3785642"/>
                <a:gd name="connsiteY267" fmla="*/ 12929 h 479077"/>
                <a:gd name="connsiteX268" fmla="*/ 475313 w 3785642"/>
                <a:gd name="connsiteY268" fmla="*/ 1024 h 479077"/>
                <a:gd name="connsiteX269" fmla="*/ 491684 w 3785642"/>
                <a:gd name="connsiteY269" fmla="*/ 2512 h 479077"/>
                <a:gd name="connsiteX270" fmla="*/ 508055 w 3785642"/>
                <a:gd name="connsiteY270" fmla="*/ 2512 h 479077"/>
                <a:gd name="connsiteX271" fmla="*/ 524425 w 3785642"/>
                <a:gd name="connsiteY271" fmla="*/ 2512 h 479077"/>
                <a:gd name="connsiteX272" fmla="*/ 540796 w 3785642"/>
                <a:gd name="connsiteY272" fmla="*/ 1024 h 479077"/>
                <a:gd name="connsiteX273" fmla="*/ 557166 w 3785642"/>
                <a:gd name="connsiteY273" fmla="*/ 2512 h 479077"/>
                <a:gd name="connsiteX274" fmla="*/ 573537 w 3785642"/>
                <a:gd name="connsiteY274" fmla="*/ 1024 h 479077"/>
                <a:gd name="connsiteX275" fmla="*/ 589908 w 3785642"/>
                <a:gd name="connsiteY275" fmla="*/ 527 h 479077"/>
                <a:gd name="connsiteX276" fmla="*/ 606278 w 3785642"/>
                <a:gd name="connsiteY276" fmla="*/ 1520 h 479077"/>
                <a:gd name="connsiteX277" fmla="*/ 622649 w 3785642"/>
                <a:gd name="connsiteY277" fmla="*/ 1520 h 479077"/>
                <a:gd name="connsiteX278" fmla="*/ 639019 w 3785642"/>
                <a:gd name="connsiteY278" fmla="*/ 2016 h 479077"/>
                <a:gd name="connsiteX279" fmla="*/ 655390 w 3785642"/>
                <a:gd name="connsiteY279" fmla="*/ 527 h 479077"/>
                <a:gd name="connsiteX280" fmla="*/ 671760 w 3785642"/>
                <a:gd name="connsiteY280" fmla="*/ 1520 h 479077"/>
                <a:gd name="connsiteX281" fmla="*/ 688131 w 3785642"/>
                <a:gd name="connsiteY281" fmla="*/ 2512 h 479077"/>
                <a:gd name="connsiteX282" fmla="*/ 704501 w 3785642"/>
                <a:gd name="connsiteY282" fmla="*/ 1024 h 479077"/>
                <a:gd name="connsiteX283" fmla="*/ 720872 w 3785642"/>
                <a:gd name="connsiteY283" fmla="*/ 1520 h 479077"/>
                <a:gd name="connsiteX284" fmla="*/ 737243 w 3785642"/>
                <a:gd name="connsiteY284" fmla="*/ 2016 h 479077"/>
                <a:gd name="connsiteX285" fmla="*/ 753613 w 3785642"/>
                <a:gd name="connsiteY285" fmla="*/ 1024 h 479077"/>
                <a:gd name="connsiteX286" fmla="*/ 769984 w 3785642"/>
                <a:gd name="connsiteY286" fmla="*/ 527 h 479077"/>
                <a:gd name="connsiteX287" fmla="*/ 786354 w 3785642"/>
                <a:gd name="connsiteY287" fmla="*/ 1520 h 479077"/>
                <a:gd name="connsiteX288" fmla="*/ 802725 w 3785642"/>
                <a:gd name="connsiteY288" fmla="*/ 527 h 479077"/>
                <a:gd name="connsiteX289" fmla="*/ 819096 w 3785642"/>
                <a:gd name="connsiteY289" fmla="*/ 2512 h 479077"/>
                <a:gd name="connsiteX290" fmla="*/ 835466 w 3785642"/>
                <a:gd name="connsiteY290" fmla="*/ 527 h 479077"/>
                <a:gd name="connsiteX291" fmla="*/ 851837 w 3785642"/>
                <a:gd name="connsiteY291" fmla="*/ 1520 h 479077"/>
                <a:gd name="connsiteX292" fmla="*/ 868207 w 3785642"/>
                <a:gd name="connsiteY292" fmla="*/ 2016 h 479077"/>
                <a:gd name="connsiteX293" fmla="*/ 884578 w 3785642"/>
                <a:gd name="connsiteY293" fmla="*/ 2512 h 479077"/>
                <a:gd name="connsiteX294" fmla="*/ 900948 w 3785642"/>
                <a:gd name="connsiteY294" fmla="*/ 1520 h 479077"/>
                <a:gd name="connsiteX295" fmla="*/ 917319 w 3785642"/>
                <a:gd name="connsiteY295" fmla="*/ 1024 h 479077"/>
                <a:gd name="connsiteX296" fmla="*/ 933689 w 3785642"/>
                <a:gd name="connsiteY296" fmla="*/ 2512 h 479077"/>
                <a:gd name="connsiteX297" fmla="*/ 950060 w 3785642"/>
                <a:gd name="connsiteY297" fmla="*/ 1520 h 479077"/>
                <a:gd name="connsiteX298" fmla="*/ 966431 w 3785642"/>
                <a:gd name="connsiteY298" fmla="*/ 2016 h 479077"/>
                <a:gd name="connsiteX299" fmla="*/ 982801 w 3785642"/>
                <a:gd name="connsiteY299" fmla="*/ 2512 h 479077"/>
                <a:gd name="connsiteX300" fmla="*/ 999172 w 3785642"/>
                <a:gd name="connsiteY300" fmla="*/ 1520 h 479077"/>
                <a:gd name="connsiteX301" fmla="*/ 1015542 w 3785642"/>
                <a:gd name="connsiteY301" fmla="*/ 2512 h 479077"/>
                <a:gd name="connsiteX302" fmla="*/ 1031913 w 3785642"/>
                <a:gd name="connsiteY302" fmla="*/ 1520 h 479077"/>
                <a:gd name="connsiteX303" fmla="*/ 1048283 w 3785642"/>
                <a:gd name="connsiteY303" fmla="*/ 2016 h 479077"/>
                <a:gd name="connsiteX304" fmla="*/ 1064654 w 3785642"/>
                <a:gd name="connsiteY304" fmla="*/ 3504 h 479077"/>
                <a:gd name="connsiteX305" fmla="*/ 1081025 w 3785642"/>
                <a:gd name="connsiteY305" fmla="*/ 2016 h 479077"/>
                <a:gd name="connsiteX306" fmla="*/ 1097395 w 3785642"/>
                <a:gd name="connsiteY306" fmla="*/ 2512 h 479077"/>
                <a:gd name="connsiteX307" fmla="*/ 1113766 w 3785642"/>
                <a:gd name="connsiteY307" fmla="*/ 2512 h 479077"/>
                <a:gd name="connsiteX308" fmla="*/ 1130136 w 3785642"/>
                <a:gd name="connsiteY308" fmla="*/ 3504 h 479077"/>
                <a:gd name="connsiteX309" fmla="*/ 1146507 w 3785642"/>
                <a:gd name="connsiteY309" fmla="*/ 1520 h 479077"/>
                <a:gd name="connsiteX310" fmla="*/ 1162878 w 3785642"/>
                <a:gd name="connsiteY310" fmla="*/ 3008 h 479077"/>
                <a:gd name="connsiteX311" fmla="*/ 1179248 w 3785642"/>
                <a:gd name="connsiteY311" fmla="*/ 4000 h 479077"/>
                <a:gd name="connsiteX312" fmla="*/ 1195619 w 3785642"/>
                <a:gd name="connsiteY312" fmla="*/ 3504 h 479077"/>
                <a:gd name="connsiteX313" fmla="*/ 1211989 w 3785642"/>
                <a:gd name="connsiteY313" fmla="*/ 1520 h 479077"/>
                <a:gd name="connsiteX314" fmla="*/ 1228360 w 3785642"/>
                <a:gd name="connsiteY314" fmla="*/ 3504 h 479077"/>
                <a:gd name="connsiteX315" fmla="*/ 1244730 w 3785642"/>
                <a:gd name="connsiteY315" fmla="*/ 1520 h 479077"/>
                <a:gd name="connsiteX316" fmla="*/ 1261101 w 3785642"/>
                <a:gd name="connsiteY316" fmla="*/ 2512 h 479077"/>
                <a:gd name="connsiteX317" fmla="*/ 1277471 w 3785642"/>
                <a:gd name="connsiteY317" fmla="*/ 3504 h 479077"/>
                <a:gd name="connsiteX318" fmla="*/ 1293842 w 3785642"/>
                <a:gd name="connsiteY318" fmla="*/ 4000 h 479077"/>
                <a:gd name="connsiteX319" fmla="*/ 1310213 w 3785642"/>
                <a:gd name="connsiteY319" fmla="*/ 1520 h 479077"/>
                <a:gd name="connsiteX320" fmla="*/ 1326583 w 3785642"/>
                <a:gd name="connsiteY320" fmla="*/ 2016 h 479077"/>
                <a:gd name="connsiteX321" fmla="*/ 1342954 w 3785642"/>
                <a:gd name="connsiteY321" fmla="*/ 3008 h 479077"/>
                <a:gd name="connsiteX322" fmla="*/ 1359324 w 3785642"/>
                <a:gd name="connsiteY322" fmla="*/ 3008 h 479077"/>
                <a:gd name="connsiteX323" fmla="*/ 1375695 w 3785642"/>
                <a:gd name="connsiteY323" fmla="*/ 2512 h 479077"/>
                <a:gd name="connsiteX324" fmla="*/ 1392066 w 3785642"/>
                <a:gd name="connsiteY324" fmla="*/ 2512 h 479077"/>
                <a:gd name="connsiteX325" fmla="*/ 1408436 w 3785642"/>
                <a:gd name="connsiteY325" fmla="*/ 3504 h 479077"/>
                <a:gd name="connsiteX326" fmla="*/ 1424807 w 3785642"/>
                <a:gd name="connsiteY326" fmla="*/ 3504 h 479077"/>
                <a:gd name="connsiteX327" fmla="*/ 1441177 w 3785642"/>
                <a:gd name="connsiteY327" fmla="*/ 1520 h 479077"/>
                <a:gd name="connsiteX328" fmla="*/ 1457548 w 3785642"/>
                <a:gd name="connsiteY328" fmla="*/ 2512 h 479077"/>
                <a:gd name="connsiteX329" fmla="*/ 1473919 w 3785642"/>
                <a:gd name="connsiteY329" fmla="*/ 2016 h 479077"/>
                <a:gd name="connsiteX330" fmla="*/ 1490289 w 3785642"/>
                <a:gd name="connsiteY330" fmla="*/ 2016 h 479077"/>
                <a:gd name="connsiteX331" fmla="*/ 1506660 w 3785642"/>
                <a:gd name="connsiteY331" fmla="*/ 1520 h 479077"/>
                <a:gd name="connsiteX332" fmla="*/ 1523030 w 3785642"/>
                <a:gd name="connsiteY332" fmla="*/ 3504 h 479077"/>
                <a:gd name="connsiteX333" fmla="*/ 1539401 w 3785642"/>
                <a:gd name="connsiteY333" fmla="*/ 3008 h 479077"/>
                <a:gd name="connsiteX334" fmla="*/ 1555771 w 3785642"/>
                <a:gd name="connsiteY334" fmla="*/ 3008 h 479077"/>
                <a:gd name="connsiteX335" fmla="*/ 1572142 w 3785642"/>
                <a:gd name="connsiteY335" fmla="*/ 2512 h 479077"/>
                <a:gd name="connsiteX336" fmla="*/ 1588512 w 3785642"/>
                <a:gd name="connsiteY336" fmla="*/ 2016 h 479077"/>
                <a:gd name="connsiteX337" fmla="*/ 1604883 w 3785642"/>
                <a:gd name="connsiteY337" fmla="*/ 3008 h 479077"/>
                <a:gd name="connsiteX338" fmla="*/ 1621253 w 3785642"/>
                <a:gd name="connsiteY338" fmla="*/ 3008 h 479077"/>
                <a:gd name="connsiteX339" fmla="*/ 1637624 w 3785642"/>
                <a:gd name="connsiteY33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313375 w 3785642"/>
                <a:gd name="connsiteY12" fmla="*/ 10945 h 479077"/>
                <a:gd name="connsiteX13" fmla="*/ 3300973 w 3785642"/>
                <a:gd name="connsiteY13" fmla="*/ 21363 h 479077"/>
                <a:gd name="connsiteX14" fmla="*/ 3289068 w 3785642"/>
                <a:gd name="connsiteY14" fmla="*/ 32276 h 479077"/>
                <a:gd name="connsiteX15" fmla="*/ 3277658 w 3785642"/>
                <a:gd name="connsiteY15" fmla="*/ 43686 h 479077"/>
                <a:gd name="connsiteX16" fmla="*/ 3266248 w 3785642"/>
                <a:gd name="connsiteY16" fmla="*/ 55592 h 479077"/>
                <a:gd name="connsiteX17" fmla="*/ 3255830 w 3785642"/>
                <a:gd name="connsiteY17" fmla="*/ 68490 h 479077"/>
                <a:gd name="connsiteX18" fmla="*/ 3243924 w 3785642"/>
                <a:gd name="connsiteY18" fmla="*/ 79900 h 479077"/>
                <a:gd name="connsiteX19" fmla="*/ 3231522 w 3785642"/>
                <a:gd name="connsiteY19" fmla="*/ 90814 h 479077"/>
                <a:gd name="connsiteX20" fmla="*/ 3220609 w 3785642"/>
                <a:gd name="connsiteY20" fmla="*/ 102720 h 479077"/>
                <a:gd name="connsiteX21" fmla="*/ 3208207 w 3785642"/>
                <a:gd name="connsiteY21" fmla="*/ 113137 h 479077"/>
                <a:gd name="connsiteX22" fmla="*/ 3197293 w 3785642"/>
                <a:gd name="connsiteY22" fmla="*/ 125043 h 479077"/>
                <a:gd name="connsiteX23" fmla="*/ 3185387 w 3785642"/>
                <a:gd name="connsiteY23" fmla="*/ 136453 h 479077"/>
                <a:gd name="connsiteX24" fmla="*/ 3174970 w 3785642"/>
                <a:gd name="connsiteY24" fmla="*/ 148855 h 479077"/>
                <a:gd name="connsiteX25" fmla="*/ 3162071 w 3785642"/>
                <a:gd name="connsiteY25" fmla="*/ 159272 h 479077"/>
                <a:gd name="connsiteX26" fmla="*/ 3151158 w 3785642"/>
                <a:gd name="connsiteY26" fmla="*/ 171674 h 479077"/>
                <a:gd name="connsiteX27" fmla="*/ 3139252 w 3785642"/>
                <a:gd name="connsiteY27" fmla="*/ 182588 h 479077"/>
                <a:gd name="connsiteX28" fmla="*/ 3127843 w 3785642"/>
                <a:gd name="connsiteY28" fmla="*/ 194494 h 479077"/>
                <a:gd name="connsiteX29" fmla="*/ 3116432 w 3785642"/>
                <a:gd name="connsiteY29" fmla="*/ 205904 h 479077"/>
                <a:gd name="connsiteX30" fmla="*/ 3105022 w 3785642"/>
                <a:gd name="connsiteY30" fmla="*/ 217810 h 479077"/>
                <a:gd name="connsiteX31" fmla="*/ 3093117 w 3785642"/>
                <a:gd name="connsiteY31" fmla="*/ 229219 h 479077"/>
                <a:gd name="connsiteX32" fmla="*/ 3081707 w 3785642"/>
                <a:gd name="connsiteY32" fmla="*/ 240629 h 479077"/>
                <a:gd name="connsiteX33" fmla="*/ 3069305 w 3785642"/>
                <a:gd name="connsiteY33" fmla="*/ 251543 h 479077"/>
                <a:gd name="connsiteX34" fmla="*/ 3057895 w 3785642"/>
                <a:gd name="connsiteY34" fmla="*/ 263449 h 479077"/>
                <a:gd name="connsiteX35" fmla="*/ 3046486 w 3785642"/>
                <a:gd name="connsiteY35" fmla="*/ 275355 h 479077"/>
                <a:gd name="connsiteX36" fmla="*/ 3035572 w 3785642"/>
                <a:gd name="connsiteY36" fmla="*/ 287260 h 479077"/>
                <a:gd name="connsiteX37" fmla="*/ 3024658 w 3785642"/>
                <a:gd name="connsiteY37" fmla="*/ 299166 h 479077"/>
                <a:gd name="connsiteX38" fmla="*/ 3013248 w 3785642"/>
                <a:gd name="connsiteY38" fmla="*/ 311072 h 479077"/>
                <a:gd name="connsiteX39" fmla="*/ 3000350 w 3785642"/>
                <a:gd name="connsiteY39" fmla="*/ 321490 h 479077"/>
                <a:gd name="connsiteX40" fmla="*/ 2988941 w 3785642"/>
                <a:gd name="connsiteY40" fmla="*/ 333396 h 479077"/>
                <a:gd name="connsiteX41" fmla="*/ 2976539 w 3785642"/>
                <a:gd name="connsiteY41" fmla="*/ 344309 h 479077"/>
                <a:gd name="connsiteX42" fmla="*/ 2965129 w 3785642"/>
                <a:gd name="connsiteY42" fmla="*/ 356215 h 479077"/>
                <a:gd name="connsiteX43" fmla="*/ 2953223 w 3785642"/>
                <a:gd name="connsiteY43" fmla="*/ 367625 h 479077"/>
                <a:gd name="connsiteX44" fmla="*/ 2941813 w 3785642"/>
                <a:gd name="connsiteY44" fmla="*/ 379531 h 479077"/>
                <a:gd name="connsiteX45" fmla="*/ 2931395 w 3785642"/>
                <a:gd name="connsiteY45" fmla="*/ 392429 h 479077"/>
                <a:gd name="connsiteX46" fmla="*/ 2918497 w 3785642"/>
                <a:gd name="connsiteY46" fmla="*/ 402847 h 479077"/>
                <a:gd name="connsiteX47" fmla="*/ 2907584 w 3785642"/>
                <a:gd name="connsiteY47" fmla="*/ 415249 h 479077"/>
                <a:gd name="connsiteX48" fmla="*/ 2896174 w 3785642"/>
                <a:gd name="connsiteY48" fmla="*/ 426658 h 479077"/>
                <a:gd name="connsiteX49" fmla="*/ 2884268 w 3785642"/>
                <a:gd name="connsiteY49" fmla="*/ 438068 h 479077"/>
                <a:gd name="connsiteX50" fmla="*/ 2873354 w 3785642"/>
                <a:gd name="connsiteY50" fmla="*/ 450470 h 479077"/>
                <a:gd name="connsiteX51" fmla="*/ 2860952 w 3785642"/>
                <a:gd name="connsiteY51" fmla="*/ 461384 h 479077"/>
                <a:gd name="connsiteX52" fmla="*/ 2850039 w 3785642"/>
                <a:gd name="connsiteY52" fmla="*/ 473786 h 479077"/>
                <a:gd name="connsiteX53" fmla="*/ 2833668 w 3785642"/>
                <a:gd name="connsiteY53" fmla="*/ 473786 h 479077"/>
                <a:gd name="connsiteX54" fmla="*/ 2817297 w 3785642"/>
                <a:gd name="connsiteY54" fmla="*/ 473290 h 479077"/>
                <a:gd name="connsiteX55" fmla="*/ 2800927 w 3785642"/>
                <a:gd name="connsiteY55" fmla="*/ 473290 h 479077"/>
                <a:gd name="connsiteX56" fmla="*/ 2784556 w 3785642"/>
                <a:gd name="connsiteY56" fmla="*/ 473786 h 479077"/>
                <a:gd name="connsiteX57" fmla="*/ 2768186 w 3785642"/>
                <a:gd name="connsiteY57" fmla="*/ 474282 h 479077"/>
                <a:gd name="connsiteX58" fmla="*/ 2751815 w 3785642"/>
                <a:gd name="connsiteY58" fmla="*/ 474282 h 479077"/>
                <a:gd name="connsiteX59" fmla="*/ 2735444 w 3785642"/>
                <a:gd name="connsiteY59" fmla="*/ 473290 h 479077"/>
                <a:gd name="connsiteX60" fmla="*/ 2719074 w 3785642"/>
                <a:gd name="connsiteY60" fmla="*/ 474282 h 479077"/>
                <a:gd name="connsiteX61" fmla="*/ 2702703 w 3785642"/>
                <a:gd name="connsiteY61" fmla="*/ 472298 h 479077"/>
                <a:gd name="connsiteX62" fmla="*/ 2686333 w 3785642"/>
                <a:gd name="connsiteY62" fmla="*/ 472794 h 479077"/>
                <a:gd name="connsiteX63" fmla="*/ 2669962 w 3785642"/>
                <a:gd name="connsiteY63" fmla="*/ 474282 h 479077"/>
                <a:gd name="connsiteX64" fmla="*/ 2653592 w 3785642"/>
                <a:gd name="connsiteY64" fmla="*/ 472298 h 479077"/>
                <a:gd name="connsiteX65" fmla="*/ 2637221 w 3785642"/>
                <a:gd name="connsiteY65" fmla="*/ 474282 h 479077"/>
                <a:gd name="connsiteX66" fmla="*/ 2620851 w 3785642"/>
                <a:gd name="connsiteY66" fmla="*/ 474282 h 479077"/>
                <a:gd name="connsiteX67" fmla="*/ 2604480 w 3785642"/>
                <a:gd name="connsiteY67" fmla="*/ 472298 h 479077"/>
                <a:gd name="connsiteX68" fmla="*/ 2588109 w 3785642"/>
                <a:gd name="connsiteY68" fmla="*/ 473786 h 479077"/>
                <a:gd name="connsiteX69" fmla="*/ 2571739 w 3785642"/>
                <a:gd name="connsiteY69" fmla="*/ 472298 h 479077"/>
                <a:gd name="connsiteX70" fmla="*/ 2555368 w 3785642"/>
                <a:gd name="connsiteY70" fmla="*/ 473290 h 479077"/>
                <a:gd name="connsiteX71" fmla="*/ 2538998 w 3785642"/>
                <a:gd name="connsiteY71" fmla="*/ 474282 h 479077"/>
                <a:gd name="connsiteX72" fmla="*/ 2522627 w 3785642"/>
                <a:gd name="connsiteY72" fmla="*/ 473290 h 479077"/>
                <a:gd name="connsiteX73" fmla="*/ 2506257 w 3785642"/>
                <a:gd name="connsiteY73" fmla="*/ 474282 h 479077"/>
                <a:gd name="connsiteX74" fmla="*/ 2489886 w 3785642"/>
                <a:gd name="connsiteY74" fmla="*/ 473786 h 479077"/>
                <a:gd name="connsiteX75" fmla="*/ 2473516 w 3785642"/>
                <a:gd name="connsiteY75" fmla="*/ 474282 h 479077"/>
                <a:gd name="connsiteX76" fmla="*/ 2457145 w 3785642"/>
                <a:gd name="connsiteY76" fmla="*/ 472794 h 479077"/>
                <a:gd name="connsiteX77" fmla="*/ 2440775 w 3785642"/>
                <a:gd name="connsiteY77" fmla="*/ 472298 h 479077"/>
                <a:gd name="connsiteX78" fmla="*/ 2424404 w 3785642"/>
                <a:gd name="connsiteY78" fmla="*/ 473786 h 479077"/>
                <a:gd name="connsiteX79" fmla="*/ 2408033 w 3785642"/>
                <a:gd name="connsiteY79" fmla="*/ 472794 h 479077"/>
                <a:gd name="connsiteX80" fmla="*/ 2391663 w 3785642"/>
                <a:gd name="connsiteY80" fmla="*/ 473290 h 479077"/>
                <a:gd name="connsiteX81" fmla="*/ 2375292 w 3785642"/>
                <a:gd name="connsiteY81" fmla="*/ 473290 h 479077"/>
                <a:gd name="connsiteX82" fmla="*/ 2358922 w 3785642"/>
                <a:gd name="connsiteY82" fmla="*/ 472794 h 479077"/>
                <a:gd name="connsiteX83" fmla="*/ 2342551 w 3785642"/>
                <a:gd name="connsiteY83" fmla="*/ 472298 h 479077"/>
                <a:gd name="connsiteX84" fmla="*/ 2326180 w 3785642"/>
                <a:gd name="connsiteY84" fmla="*/ 473786 h 479077"/>
                <a:gd name="connsiteX85" fmla="*/ 2309810 w 3785642"/>
                <a:gd name="connsiteY85" fmla="*/ 473786 h 479077"/>
                <a:gd name="connsiteX86" fmla="*/ 2293439 w 3785642"/>
                <a:gd name="connsiteY86" fmla="*/ 473786 h 479077"/>
                <a:gd name="connsiteX87" fmla="*/ 2277069 w 3785642"/>
                <a:gd name="connsiteY87" fmla="*/ 472794 h 479077"/>
                <a:gd name="connsiteX88" fmla="*/ 2260698 w 3785642"/>
                <a:gd name="connsiteY88" fmla="*/ 474282 h 479077"/>
                <a:gd name="connsiteX89" fmla="*/ 2244327 w 3785642"/>
                <a:gd name="connsiteY89" fmla="*/ 472298 h 479077"/>
                <a:gd name="connsiteX90" fmla="*/ 2227957 w 3785642"/>
                <a:gd name="connsiteY90" fmla="*/ 474282 h 479077"/>
                <a:gd name="connsiteX91" fmla="*/ 2211586 w 3785642"/>
                <a:gd name="connsiteY91" fmla="*/ 473290 h 479077"/>
                <a:gd name="connsiteX92" fmla="*/ 2195216 w 3785642"/>
                <a:gd name="connsiteY92" fmla="*/ 474282 h 479077"/>
                <a:gd name="connsiteX93" fmla="*/ 2178845 w 3785642"/>
                <a:gd name="connsiteY93" fmla="*/ 472794 h 479077"/>
                <a:gd name="connsiteX94" fmla="*/ 2162474 w 3785642"/>
                <a:gd name="connsiteY94" fmla="*/ 474778 h 479077"/>
                <a:gd name="connsiteX95" fmla="*/ 2146104 w 3785642"/>
                <a:gd name="connsiteY95" fmla="*/ 473290 h 479077"/>
                <a:gd name="connsiteX96" fmla="*/ 2129733 w 3785642"/>
                <a:gd name="connsiteY96" fmla="*/ 474778 h 479077"/>
                <a:gd name="connsiteX97" fmla="*/ 2113363 w 3785642"/>
                <a:gd name="connsiteY97" fmla="*/ 474778 h 479077"/>
                <a:gd name="connsiteX98" fmla="*/ 2096992 w 3785642"/>
                <a:gd name="connsiteY98" fmla="*/ 474778 h 479077"/>
                <a:gd name="connsiteX99" fmla="*/ 2080621 w 3785642"/>
                <a:gd name="connsiteY99" fmla="*/ 474282 h 479077"/>
                <a:gd name="connsiteX100" fmla="*/ 2064251 w 3785642"/>
                <a:gd name="connsiteY100" fmla="*/ 472794 h 479077"/>
                <a:gd name="connsiteX101" fmla="*/ 2047880 w 3785642"/>
                <a:gd name="connsiteY101" fmla="*/ 474778 h 479077"/>
                <a:gd name="connsiteX102" fmla="*/ 2031510 w 3785642"/>
                <a:gd name="connsiteY102" fmla="*/ 474778 h 479077"/>
                <a:gd name="connsiteX103" fmla="*/ 2015139 w 3785642"/>
                <a:gd name="connsiteY103" fmla="*/ 474778 h 479077"/>
                <a:gd name="connsiteX104" fmla="*/ 1998769 w 3785642"/>
                <a:gd name="connsiteY104" fmla="*/ 474282 h 479077"/>
                <a:gd name="connsiteX105" fmla="*/ 1982398 w 3785642"/>
                <a:gd name="connsiteY105" fmla="*/ 473786 h 479077"/>
                <a:gd name="connsiteX106" fmla="*/ 1966028 w 3785642"/>
                <a:gd name="connsiteY106" fmla="*/ 473786 h 479077"/>
                <a:gd name="connsiteX107" fmla="*/ 1949657 w 3785642"/>
                <a:gd name="connsiteY107" fmla="*/ 472794 h 479077"/>
                <a:gd name="connsiteX108" fmla="*/ 1933287 w 3785642"/>
                <a:gd name="connsiteY108" fmla="*/ 473290 h 479077"/>
                <a:gd name="connsiteX109" fmla="*/ 1916916 w 3785642"/>
                <a:gd name="connsiteY109" fmla="*/ 474778 h 479077"/>
                <a:gd name="connsiteX110" fmla="*/ 1900546 w 3785642"/>
                <a:gd name="connsiteY110" fmla="*/ 472794 h 479077"/>
                <a:gd name="connsiteX111" fmla="*/ 1884175 w 3785642"/>
                <a:gd name="connsiteY111" fmla="*/ 473786 h 479077"/>
                <a:gd name="connsiteX112" fmla="*/ 1867804 w 3785642"/>
                <a:gd name="connsiteY112" fmla="*/ 474778 h 479077"/>
                <a:gd name="connsiteX113" fmla="*/ 1851434 w 3785642"/>
                <a:gd name="connsiteY113" fmla="*/ 474778 h 479077"/>
                <a:gd name="connsiteX114" fmla="*/ 1835063 w 3785642"/>
                <a:gd name="connsiteY114" fmla="*/ 474778 h 479077"/>
                <a:gd name="connsiteX115" fmla="*/ 1818693 w 3785642"/>
                <a:gd name="connsiteY115" fmla="*/ 474282 h 479077"/>
                <a:gd name="connsiteX116" fmla="*/ 1802322 w 3785642"/>
                <a:gd name="connsiteY116" fmla="*/ 472794 h 479077"/>
                <a:gd name="connsiteX117" fmla="*/ 1785951 w 3785642"/>
                <a:gd name="connsiteY117" fmla="*/ 473786 h 479077"/>
                <a:gd name="connsiteX118" fmla="*/ 1769581 w 3785642"/>
                <a:gd name="connsiteY118" fmla="*/ 473290 h 479077"/>
                <a:gd name="connsiteX119" fmla="*/ 1753210 w 3785642"/>
                <a:gd name="connsiteY119" fmla="*/ 472298 h 479077"/>
                <a:gd name="connsiteX120" fmla="*/ 1736840 w 3785642"/>
                <a:gd name="connsiteY120" fmla="*/ 473290 h 479077"/>
                <a:gd name="connsiteX121" fmla="*/ 1720469 w 3785642"/>
                <a:gd name="connsiteY121" fmla="*/ 474778 h 479077"/>
                <a:gd name="connsiteX122" fmla="*/ 1704098 w 3785642"/>
                <a:gd name="connsiteY122" fmla="*/ 472794 h 479077"/>
                <a:gd name="connsiteX123" fmla="*/ 1687728 w 3785642"/>
                <a:gd name="connsiteY123" fmla="*/ 474778 h 479077"/>
                <a:gd name="connsiteX124" fmla="*/ 1671357 w 3785642"/>
                <a:gd name="connsiteY124" fmla="*/ 474778 h 479077"/>
                <a:gd name="connsiteX125" fmla="*/ 1654987 w 3785642"/>
                <a:gd name="connsiteY125" fmla="*/ 472298 h 479077"/>
                <a:gd name="connsiteX126" fmla="*/ 1638616 w 3785642"/>
                <a:gd name="connsiteY126" fmla="*/ 472794 h 479077"/>
                <a:gd name="connsiteX127" fmla="*/ 1622246 w 3785642"/>
                <a:gd name="connsiteY127" fmla="*/ 473786 h 479077"/>
                <a:gd name="connsiteX128" fmla="*/ 1605875 w 3785642"/>
                <a:gd name="connsiteY128" fmla="*/ 474778 h 479077"/>
                <a:gd name="connsiteX129" fmla="*/ 1589505 w 3785642"/>
                <a:gd name="connsiteY129" fmla="*/ 473290 h 479077"/>
                <a:gd name="connsiteX130" fmla="*/ 1573134 w 3785642"/>
                <a:gd name="connsiteY130" fmla="*/ 474778 h 479077"/>
                <a:gd name="connsiteX131" fmla="*/ 1556763 w 3785642"/>
                <a:gd name="connsiteY131" fmla="*/ 472794 h 479077"/>
                <a:gd name="connsiteX132" fmla="*/ 1540393 w 3785642"/>
                <a:gd name="connsiteY132" fmla="*/ 472794 h 479077"/>
                <a:gd name="connsiteX133" fmla="*/ 1524022 w 3785642"/>
                <a:gd name="connsiteY133" fmla="*/ 474282 h 479077"/>
                <a:gd name="connsiteX134" fmla="*/ 1507652 w 3785642"/>
                <a:gd name="connsiteY134" fmla="*/ 472794 h 479077"/>
                <a:gd name="connsiteX135" fmla="*/ 1491281 w 3785642"/>
                <a:gd name="connsiteY135" fmla="*/ 474282 h 479077"/>
                <a:gd name="connsiteX136" fmla="*/ 1474910 w 3785642"/>
                <a:gd name="connsiteY136" fmla="*/ 474282 h 479077"/>
                <a:gd name="connsiteX137" fmla="*/ 1458540 w 3785642"/>
                <a:gd name="connsiteY137" fmla="*/ 472794 h 479077"/>
                <a:gd name="connsiteX138" fmla="*/ 1442169 w 3785642"/>
                <a:gd name="connsiteY138" fmla="*/ 471802 h 479077"/>
                <a:gd name="connsiteX139" fmla="*/ 1425799 w 3785642"/>
                <a:gd name="connsiteY139" fmla="*/ 472298 h 479077"/>
                <a:gd name="connsiteX140" fmla="*/ 1409428 w 3785642"/>
                <a:gd name="connsiteY140" fmla="*/ 472794 h 479077"/>
                <a:gd name="connsiteX141" fmla="*/ 1393058 w 3785642"/>
                <a:gd name="connsiteY141" fmla="*/ 473786 h 479077"/>
                <a:gd name="connsiteX142" fmla="*/ 1376687 w 3785642"/>
                <a:gd name="connsiteY142" fmla="*/ 471802 h 479077"/>
                <a:gd name="connsiteX143" fmla="*/ 1360317 w 3785642"/>
                <a:gd name="connsiteY143" fmla="*/ 473786 h 479077"/>
                <a:gd name="connsiteX144" fmla="*/ 1343946 w 3785642"/>
                <a:gd name="connsiteY144" fmla="*/ 473786 h 479077"/>
                <a:gd name="connsiteX145" fmla="*/ 1327576 w 3785642"/>
                <a:gd name="connsiteY145" fmla="*/ 472794 h 479077"/>
                <a:gd name="connsiteX146" fmla="*/ 1311205 w 3785642"/>
                <a:gd name="connsiteY146" fmla="*/ 473786 h 479077"/>
                <a:gd name="connsiteX147" fmla="*/ 1294834 w 3785642"/>
                <a:gd name="connsiteY147" fmla="*/ 473786 h 479077"/>
                <a:gd name="connsiteX148" fmla="*/ 1278464 w 3785642"/>
                <a:gd name="connsiteY148" fmla="*/ 473786 h 479077"/>
                <a:gd name="connsiteX149" fmla="*/ 1262093 w 3785642"/>
                <a:gd name="connsiteY149" fmla="*/ 473786 h 479077"/>
                <a:gd name="connsiteX150" fmla="*/ 1245723 w 3785642"/>
                <a:gd name="connsiteY150" fmla="*/ 473290 h 479077"/>
                <a:gd name="connsiteX151" fmla="*/ 1229352 w 3785642"/>
                <a:gd name="connsiteY151" fmla="*/ 472794 h 479077"/>
                <a:gd name="connsiteX152" fmla="*/ 1212981 w 3785642"/>
                <a:gd name="connsiteY152" fmla="*/ 473786 h 479077"/>
                <a:gd name="connsiteX153" fmla="*/ 1196611 w 3785642"/>
                <a:gd name="connsiteY153" fmla="*/ 472298 h 479077"/>
                <a:gd name="connsiteX154" fmla="*/ 1180240 w 3785642"/>
                <a:gd name="connsiteY154" fmla="*/ 472794 h 479077"/>
                <a:gd name="connsiteX155" fmla="*/ 1163870 w 3785642"/>
                <a:gd name="connsiteY155" fmla="*/ 472794 h 479077"/>
                <a:gd name="connsiteX156" fmla="*/ 1147499 w 3785642"/>
                <a:gd name="connsiteY156" fmla="*/ 473786 h 479077"/>
                <a:gd name="connsiteX157" fmla="*/ 1131128 w 3785642"/>
                <a:gd name="connsiteY157" fmla="*/ 473786 h 479077"/>
                <a:gd name="connsiteX158" fmla="*/ 1114758 w 3785642"/>
                <a:gd name="connsiteY158" fmla="*/ 472794 h 479077"/>
                <a:gd name="connsiteX159" fmla="*/ 1098387 w 3785642"/>
                <a:gd name="connsiteY159" fmla="*/ 473786 h 479077"/>
                <a:gd name="connsiteX160" fmla="*/ 1082017 w 3785642"/>
                <a:gd name="connsiteY160" fmla="*/ 474778 h 479077"/>
                <a:gd name="connsiteX161" fmla="*/ 1065646 w 3785642"/>
                <a:gd name="connsiteY161" fmla="*/ 474778 h 479077"/>
                <a:gd name="connsiteX162" fmla="*/ 1049276 w 3785642"/>
                <a:gd name="connsiteY162" fmla="*/ 474282 h 479077"/>
                <a:gd name="connsiteX163" fmla="*/ 1032905 w 3785642"/>
                <a:gd name="connsiteY163" fmla="*/ 473290 h 479077"/>
                <a:gd name="connsiteX164" fmla="*/ 1016535 w 3785642"/>
                <a:gd name="connsiteY164" fmla="*/ 474282 h 479077"/>
                <a:gd name="connsiteX165" fmla="*/ 1000164 w 3785642"/>
                <a:gd name="connsiteY165" fmla="*/ 474282 h 479077"/>
                <a:gd name="connsiteX166" fmla="*/ 983793 w 3785642"/>
                <a:gd name="connsiteY166" fmla="*/ 472794 h 479077"/>
                <a:gd name="connsiteX167" fmla="*/ 967423 w 3785642"/>
                <a:gd name="connsiteY167" fmla="*/ 472794 h 479077"/>
                <a:gd name="connsiteX168" fmla="*/ 951052 w 3785642"/>
                <a:gd name="connsiteY168" fmla="*/ 473786 h 479077"/>
                <a:gd name="connsiteX169" fmla="*/ 934682 w 3785642"/>
                <a:gd name="connsiteY169" fmla="*/ 474282 h 479077"/>
                <a:gd name="connsiteX170" fmla="*/ 918311 w 3785642"/>
                <a:gd name="connsiteY170" fmla="*/ 474778 h 479077"/>
                <a:gd name="connsiteX171" fmla="*/ 901940 w 3785642"/>
                <a:gd name="connsiteY171" fmla="*/ 473290 h 479077"/>
                <a:gd name="connsiteX172" fmla="*/ 885570 w 3785642"/>
                <a:gd name="connsiteY172" fmla="*/ 474778 h 479077"/>
                <a:gd name="connsiteX173" fmla="*/ 869199 w 3785642"/>
                <a:gd name="connsiteY173" fmla="*/ 474282 h 479077"/>
                <a:gd name="connsiteX174" fmla="*/ 852829 w 3785642"/>
                <a:gd name="connsiteY174" fmla="*/ 473786 h 479077"/>
                <a:gd name="connsiteX175" fmla="*/ 836458 w 3785642"/>
                <a:gd name="connsiteY175" fmla="*/ 474778 h 479077"/>
                <a:gd name="connsiteX176" fmla="*/ 820088 w 3785642"/>
                <a:gd name="connsiteY176" fmla="*/ 475274 h 479077"/>
                <a:gd name="connsiteX177" fmla="*/ 803717 w 3785642"/>
                <a:gd name="connsiteY177" fmla="*/ 473786 h 479077"/>
                <a:gd name="connsiteX178" fmla="*/ 787347 w 3785642"/>
                <a:gd name="connsiteY178" fmla="*/ 475770 h 479077"/>
                <a:gd name="connsiteX179" fmla="*/ 770976 w 3785642"/>
                <a:gd name="connsiteY179" fmla="*/ 474778 h 479077"/>
                <a:gd name="connsiteX180" fmla="*/ 754605 w 3785642"/>
                <a:gd name="connsiteY180" fmla="*/ 475274 h 479077"/>
                <a:gd name="connsiteX181" fmla="*/ 738235 w 3785642"/>
                <a:gd name="connsiteY181" fmla="*/ 473786 h 479077"/>
                <a:gd name="connsiteX182" fmla="*/ 721864 w 3785642"/>
                <a:gd name="connsiteY182" fmla="*/ 475274 h 479077"/>
                <a:gd name="connsiteX183" fmla="*/ 705494 w 3785642"/>
                <a:gd name="connsiteY183" fmla="*/ 475770 h 479077"/>
                <a:gd name="connsiteX184" fmla="*/ 689123 w 3785642"/>
                <a:gd name="connsiteY184" fmla="*/ 474282 h 479077"/>
                <a:gd name="connsiteX185" fmla="*/ 672753 w 3785642"/>
                <a:gd name="connsiteY185" fmla="*/ 475274 h 479077"/>
                <a:gd name="connsiteX186" fmla="*/ 656382 w 3785642"/>
                <a:gd name="connsiteY186" fmla="*/ 474778 h 479077"/>
                <a:gd name="connsiteX187" fmla="*/ 640011 w 3785642"/>
                <a:gd name="connsiteY187" fmla="*/ 475770 h 479077"/>
                <a:gd name="connsiteX188" fmla="*/ 623641 w 3785642"/>
                <a:gd name="connsiteY188" fmla="*/ 473786 h 479077"/>
                <a:gd name="connsiteX189" fmla="*/ 607270 w 3785642"/>
                <a:gd name="connsiteY189" fmla="*/ 474778 h 479077"/>
                <a:gd name="connsiteX190" fmla="*/ 590900 w 3785642"/>
                <a:gd name="connsiteY190" fmla="*/ 475274 h 479077"/>
                <a:gd name="connsiteX191" fmla="*/ 574529 w 3785642"/>
                <a:gd name="connsiteY191" fmla="*/ 474282 h 479077"/>
                <a:gd name="connsiteX192" fmla="*/ 558158 w 3785642"/>
                <a:gd name="connsiteY192" fmla="*/ 475274 h 479077"/>
                <a:gd name="connsiteX193" fmla="*/ 541788 w 3785642"/>
                <a:gd name="connsiteY193" fmla="*/ 475770 h 479077"/>
                <a:gd name="connsiteX194" fmla="*/ 525417 w 3785642"/>
                <a:gd name="connsiteY194" fmla="*/ 474282 h 479077"/>
                <a:gd name="connsiteX195" fmla="*/ 509047 w 3785642"/>
                <a:gd name="connsiteY195" fmla="*/ 473786 h 479077"/>
                <a:gd name="connsiteX196" fmla="*/ 492676 w 3785642"/>
                <a:gd name="connsiteY196" fmla="*/ 473786 h 479077"/>
                <a:gd name="connsiteX197" fmla="*/ 476306 w 3785642"/>
                <a:gd name="connsiteY197" fmla="*/ 474778 h 479077"/>
                <a:gd name="connsiteX198" fmla="*/ 459935 w 3785642"/>
                <a:gd name="connsiteY198" fmla="*/ 473786 h 479077"/>
                <a:gd name="connsiteX199" fmla="*/ 443565 w 3785642"/>
                <a:gd name="connsiteY199" fmla="*/ 474778 h 479077"/>
                <a:gd name="connsiteX200" fmla="*/ 427194 w 3785642"/>
                <a:gd name="connsiteY200" fmla="*/ 474282 h 479077"/>
                <a:gd name="connsiteX201" fmla="*/ 410823 w 3785642"/>
                <a:gd name="connsiteY201" fmla="*/ 473290 h 479077"/>
                <a:gd name="connsiteX202" fmla="*/ 394453 w 3785642"/>
                <a:gd name="connsiteY202" fmla="*/ 475770 h 479077"/>
                <a:gd name="connsiteX203" fmla="*/ 378082 w 3785642"/>
                <a:gd name="connsiteY203" fmla="*/ 475274 h 479077"/>
                <a:gd name="connsiteX204" fmla="*/ 361712 w 3785642"/>
                <a:gd name="connsiteY204" fmla="*/ 474778 h 479077"/>
                <a:gd name="connsiteX205" fmla="*/ 345341 w 3785642"/>
                <a:gd name="connsiteY205" fmla="*/ 476266 h 479077"/>
                <a:gd name="connsiteX206" fmla="*/ 328970 w 3785642"/>
                <a:gd name="connsiteY206" fmla="*/ 474282 h 479077"/>
                <a:gd name="connsiteX207" fmla="*/ 312600 w 3785642"/>
                <a:gd name="connsiteY207" fmla="*/ 475274 h 479077"/>
                <a:gd name="connsiteX208" fmla="*/ 296229 w 3785642"/>
                <a:gd name="connsiteY208" fmla="*/ 474282 h 479077"/>
                <a:gd name="connsiteX209" fmla="*/ 279859 w 3785642"/>
                <a:gd name="connsiteY209" fmla="*/ 475770 h 479077"/>
                <a:gd name="connsiteX210" fmla="*/ 263488 w 3785642"/>
                <a:gd name="connsiteY210" fmla="*/ 476266 h 479077"/>
                <a:gd name="connsiteX211" fmla="*/ 247118 w 3785642"/>
                <a:gd name="connsiteY211" fmla="*/ 476266 h 479077"/>
                <a:gd name="connsiteX212" fmla="*/ 230747 w 3785642"/>
                <a:gd name="connsiteY212" fmla="*/ 474778 h 479077"/>
                <a:gd name="connsiteX213" fmla="*/ 214376 w 3785642"/>
                <a:gd name="connsiteY213" fmla="*/ 474778 h 479077"/>
                <a:gd name="connsiteX214" fmla="*/ 198006 w 3785642"/>
                <a:gd name="connsiteY214" fmla="*/ 476762 h 479077"/>
                <a:gd name="connsiteX215" fmla="*/ 181635 w 3785642"/>
                <a:gd name="connsiteY215" fmla="*/ 476266 h 479077"/>
                <a:gd name="connsiteX216" fmla="*/ 165265 w 3785642"/>
                <a:gd name="connsiteY216" fmla="*/ 474778 h 479077"/>
                <a:gd name="connsiteX217" fmla="*/ 148894 w 3785642"/>
                <a:gd name="connsiteY217" fmla="*/ 476762 h 479077"/>
                <a:gd name="connsiteX218" fmla="*/ 132524 w 3785642"/>
                <a:gd name="connsiteY218" fmla="*/ 476266 h 479077"/>
                <a:gd name="connsiteX219" fmla="*/ 116153 w 3785642"/>
                <a:gd name="connsiteY219" fmla="*/ 475274 h 479077"/>
                <a:gd name="connsiteX220" fmla="*/ 99783 w 3785642"/>
                <a:gd name="connsiteY220" fmla="*/ 475274 h 479077"/>
                <a:gd name="connsiteX221" fmla="*/ 83412 w 3785642"/>
                <a:gd name="connsiteY221" fmla="*/ 475274 h 479077"/>
                <a:gd name="connsiteX222" fmla="*/ 67041 w 3785642"/>
                <a:gd name="connsiteY222" fmla="*/ 474778 h 479077"/>
                <a:gd name="connsiteX223" fmla="*/ 50671 w 3785642"/>
                <a:gd name="connsiteY223" fmla="*/ 475274 h 479077"/>
                <a:gd name="connsiteX224" fmla="*/ 34300 w 3785642"/>
                <a:gd name="connsiteY224" fmla="*/ 475274 h 479077"/>
                <a:gd name="connsiteX225" fmla="*/ 17930 w 3785642"/>
                <a:gd name="connsiteY225" fmla="*/ 475770 h 479077"/>
                <a:gd name="connsiteX226" fmla="*/ 567 w 3785642"/>
                <a:gd name="connsiteY226" fmla="*/ 475770 h 479077"/>
                <a:gd name="connsiteX227" fmla="*/ 12969 w 3785642"/>
                <a:gd name="connsiteY227" fmla="*/ 463368 h 479077"/>
                <a:gd name="connsiteX228" fmla="*/ 24379 w 3785642"/>
                <a:gd name="connsiteY228" fmla="*/ 451958 h 479077"/>
                <a:gd name="connsiteX229" fmla="*/ 35788 w 3785642"/>
                <a:gd name="connsiteY229" fmla="*/ 440053 h 479077"/>
                <a:gd name="connsiteX230" fmla="*/ 48686 w 3785642"/>
                <a:gd name="connsiteY230" fmla="*/ 430131 h 479077"/>
                <a:gd name="connsiteX231" fmla="*/ 59600 w 3785642"/>
                <a:gd name="connsiteY231" fmla="*/ 418225 h 479077"/>
                <a:gd name="connsiteX232" fmla="*/ 70514 w 3785642"/>
                <a:gd name="connsiteY232" fmla="*/ 405823 h 479077"/>
                <a:gd name="connsiteX233" fmla="*/ 83412 w 3785642"/>
                <a:gd name="connsiteY233" fmla="*/ 395406 h 479077"/>
                <a:gd name="connsiteX234" fmla="*/ 94822 w 3785642"/>
                <a:gd name="connsiteY234" fmla="*/ 383500 h 479077"/>
                <a:gd name="connsiteX235" fmla="*/ 106728 w 3785642"/>
                <a:gd name="connsiteY235" fmla="*/ 372090 h 479077"/>
                <a:gd name="connsiteX236" fmla="*/ 117145 w 3785642"/>
                <a:gd name="connsiteY236" fmla="*/ 359688 h 479077"/>
                <a:gd name="connsiteX237" fmla="*/ 128555 w 3785642"/>
                <a:gd name="connsiteY237" fmla="*/ 348278 h 479077"/>
                <a:gd name="connsiteX238" fmla="*/ 140461 w 3785642"/>
                <a:gd name="connsiteY238" fmla="*/ 336868 h 479077"/>
                <a:gd name="connsiteX239" fmla="*/ 152863 w 3785642"/>
                <a:gd name="connsiteY239" fmla="*/ 326451 h 479077"/>
                <a:gd name="connsiteX240" fmla="*/ 164769 w 3785642"/>
                <a:gd name="connsiteY240" fmla="*/ 315041 h 479077"/>
                <a:gd name="connsiteX241" fmla="*/ 176178 w 3785642"/>
                <a:gd name="connsiteY241" fmla="*/ 303135 h 479077"/>
                <a:gd name="connsiteX242" fmla="*/ 188084 w 3785642"/>
                <a:gd name="connsiteY242" fmla="*/ 291725 h 479077"/>
                <a:gd name="connsiteX243" fmla="*/ 199494 w 3785642"/>
                <a:gd name="connsiteY243" fmla="*/ 280315 h 479077"/>
                <a:gd name="connsiteX244" fmla="*/ 210904 w 3785642"/>
                <a:gd name="connsiteY244" fmla="*/ 268906 h 479077"/>
                <a:gd name="connsiteX245" fmla="*/ 221818 w 3785642"/>
                <a:gd name="connsiteY245" fmla="*/ 256504 h 479077"/>
                <a:gd name="connsiteX246" fmla="*/ 233724 w 3785642"/>
                <a:gd name="connsiteY246" fmla="*/ 245094 h 479077"/>
                <a:gd name="connsiteX247" fmla="*/ 244141 w 3785642"/>
                <a:gd name="connsiteY247" fmla="*/ 232692 h 479077"/>
                <a:gd name="connsiteX248" fmla="*/ 257039 w 3785642"/>
                <a:gd name="connsiteY248" fmla="*/ 222770 h 479077"/>
                <a:gd name="connsiteX249" fmla="*/ 266961 w 3785642"/>
                <a:gd name="connsiteY249" fmla="*/ 209376 h 479077"/>
                <a:gd name="connsiteX250" fmla="*/ 278371 w 3785642"/>
                <a:gd name="connsiteY250" fmla="*/ 197966 h 479077"/>
                <a:gd name="connsiteX251" fmla="*/ 291269 w 3785642"/>
                <a:gd name="connsiteY251" fmla="*/ 188045 h 479077"/>
                <a:gd name="connsiteX252" fmla="*/ 301686 w 3785642"/>
                <a:gd name="connsiteY252" fmla="*/ 175147 h 479077"/>
                <a:gd name="connsiteX253" fmla="*/ 313592 w 3785642"/>
                <a:gd name="connsiteY253" fmla="*/ 163737 h 479077"/>
                <a:gd name="connsiteX254" fmla="*/ 325994 w 3785642"/>
                <a:gd name="connsiteY254" fmla="*/ 153319 h 479077"/>
                <a:gd name="connsiteX255" fmla="*/ 337404 w 3785642"/>
                <a:gd name="connsiteY255" fmla="*/ 141910 h 479077"/>
                <a:gd name="connsiteX256" fmla="*/ 347325 w 3785642"/>
                <a:gd name="connsiteY256" fmla="*/ 129012 h 479077"/>
                <a:gd name="connsiteX257" fmla="*/ 360224 w 3785642"/>
                <a:gd name="connsiteY257" fmla="*/ 118594 h 479077"/>
                <a:gd name="connsiteX258" fmla="*/ 371137 w 3785642"/>
                <a:gd name="connsiteY258" fmla="*/ 106192 h 479077"/>
                <a:gd name="connsiteX259" fmla="*/ 382051 w 3785642"/>
                <a:gd name="connsiteY259" fmla="*/ 93790 h 479077"/>
                <a:gd name="connsiteX260" fmla="*/ 393957 w 3785642"/>
                <a:gd name="connsiteY260" fmla="*/ 82380 h 479077"/>
                <a:gd name="connsiteX261" fmla="*/ 405366 w 3785642"/>
                <a:gd name="connsiteY261" fmla="*/ 70475 h 479077"/>
                <a:gd name="connsiteX262" fmla="*/ 417272 w 3785642"/>
                <a:gd name="connsiteY262" fmla="*/ 59561 h 479077"/>
                <a:gd name="connsiteX263" fmla="*/ 429674 w 3785642"/>
                <a:gd name="connsiteY263" fmla="*/ 48647 h 479077"/>
                <a:gd name="connsiteX264" fmla="*/ 440092 w 3785642"/>
                <a:gd name="connsiteY264" fmla="*/ 35749 h 479077"/>
                <a:gd name="connsiteX265" fmla="*/ 452494 w 3785642"/>
                <a:gd name="connsiteY265" fmla="*/ 24835 h 479077"/>
                <a:gd name="connsiteX266" fmla="*/ 463904 w 3785642"/>
                <a:gd name="connsiteY266" fmla="*/ 12929 h 479077"/>
                <a:gd name="connsiteX267" fmla="*/ 475313 w 3785642"/>
                <a:gd name="connsiteY267" fmla="*/ 1024 h 479077"/>
                <a:gd name="connsiteX268" fmla="*/ 491684 w 3785642"/>
                <a:gd name="connsiteY268" fmla="*/ 2512 h 479077"/>
                <a:gd name="connsiteX269" fmla="*/ 508055 w 3785642"/>
                <a:gd name="connsiteY269" fmla="*/ 2512 h 479077"/>
                <a:gd name="connsiteX270" fmla="*/ 524425 w 3785642"/>
                <a:gd name="connsiteY270" fmla="*/ 2512 h 479077"/>
                <a:gd name="connsiteX271" fmla="*/ 540796 w 3785642"/>
                <a:gd name="connsiteY271" fmla="*/ 1024 h 479077"/>
                <a:gd name="connsiteX272" fmla="*/ 557166 w 3785642"/>
                <a:gd name="connsiteY272" fmla="*/ 2512 h 479077"/>
                <a:gd name="connsiteX273" fmla="*/ 573537 w 3785642"/>
                <a:gd name="connsiteY273" fmla="*/ 1024 h 479077"/>
                <a:gd name="connsiteX274" fmla="*/ 589908 w 3785642"/>
                <a:gd name="connsiteY274" fmla="*/ 527 h 479077"/>
                <a:gd name="connsiteX275" fmla="*/ 606278 w 3785642"/>
                <a:gd name="connsiteY275" fmla="*/ 1520 h 479077"/>
                <a:gd name="connsiteX276" fmla="*/ 622649 w 3785642"/>
                <a:gd name="connsiteY276" fmla="*/ 1520 h 479077"/>
                <a:gd name="connsiteX277" fmla="*/ 639019 w 3785642"/>
                <a:gd name="connsiteY277" fmla="*/ 2016 h 479077"/>
                <a:gd name="connsiteX278" fmla="*/ 655390 w 3785642"/>
                <a:gd name="connsiteY278" fmla="*/ 527 h 479077"/>
                <a:gd name="connsiteX279" fmla="*/ 671760 w 3785642"/>
                <a:gd name="connsiteY279" fmla="*/ 1520 h 479077"/>
                <a:gd name="connsiteX280" fmla="*/ 688131 w 3785642"/>
                <a:gd name="connsiteY280" fmla="*/ 2512 h 479077"/>
                <a:gd name="connsiteX281" fmla="*/ 704501 w 3785642"/>
                <a:gd name="connsiteY281" fmla="*/ 1024 h 479077"/>
                <a:gd name="connsiteX282" fmla="*/ 720872 w 3785642"/>
                <a:gd name="connsiteY282" fmla="*/ 1520 h 479077"/>
                <a:gd name="connsiteX283" fmla="*/ 737243 w 3785642"/>
                <a:gd name="connsiteY283" fmla="*/ 2016 h 479077"/>
                <a:gd name="connsiteX284" fmla="*/ 753613 w 3785642"/>
                <a:gd name="connsiteY284" fmla="*/ 1024 h 479077"/>
                <a:gd name="connsiteX285" fmla="*/ 769984 w 3785642"/>
                <a:gd name="connsiteY285" fmla="*/ 527 h 479077"/>
                <a:gd name="connsiteX286" fmla="*/ 786354 w 3785642"/>
                <a:gd name="connsiteY286" fmla="*/ 1520 h 479077"/>
                <a:gd name="connsiteX287" fmla="*/ 802725 w 3785642"/>
                <a:gd name="connsiteY287" fmla="*/ 527 h 479077"/>
                <a:gd name="connsiteX288" fmla="*/ 819096 w 3785642"/>
                <a:gd name="connsiteY288" fmla="*/ 2512 h 479077"/>
                <a:gd name="connsiteX289" fmla="*/ 835466 w 3785642"/>
                <a:gd name="connsiteY289" fmla="*/ 527 h 479077"/>
                <a:gd name="connsiteX290" fmla="*/ 851837 w 3785642"/>
                <a:gd name="connsiteY290" fmla="*/ 1520 h 479077"/>
                <a:gd name="connsiteX291" fmla="*/ 868207 w 3785642"/>
                <a:gd name="connsiteY291" fmla="*/ 2016 h 479077"/>
                <a:gd name="connsiteX292" fmla="*/ 884578 w 3785642"/>
                <a:gd name="connsiteY292" fmla="*/ 2512 h 479077"/>
                <a:gd name="connsiteX293" fmla="*/ 900948 w 3785642"/>
                <a:gd name="connsiteY293" fmla="*/ 1520 h 479077"/>
                <a:gd name="connsiteX294" fmla="*/ 917319 w 3785642"/>
                <a:gd name="connsiteY294" fmla="*/ 1024 h 479077"/>
                <a:gd name="connsiteX295" fmla="*/ 933689 w 3785642"/>
                <a:gd name="connsiteY295" fmla="*/ 2512 h 479077"/>
                <a:gd name="connsiteX296" fmla="*/ 950060 w 3785642"/>
                <a:gd name="connsiteY296" fmla="*/ 1520 h 479077"/>
                <a:gd name="connsiteX297" fmla="*/ 966431 w 3785642"/>
                <a:gd name="connsiteY297" fmla="*/ 2016 h 479077"/>
                <a:gd name="connsiteX298" fmla="*/ 982801 w 3785642"/>
                <a:gd name="connsiteY298" fmla="*/ 2512 h 479077"/>
                <a:gd name="connsiteX299" fmla="*/ 999172 w 3785642"/>
                <a:gd name="connsiteY299" fmla="*/ 1520 h 479077"/>
                <a:gd name="connsiteX300" fmla="*/ 1015542 w 3785642"/>
                <a:gd name="connsiteY300" fmla="*/ 2512 h 479077"/>
                <a:gd name="connsiteX301" fmla="*/ 1031913 w 3785642"/>
                <a:gd name="connsiteY301" fmla="*/ 1520 h 479077"/>
                <a:gd name="connsiteX302" fmla="*/ 1048283 w 3785642"/>
                <a:gd name="connsiteY302" fmla="*/ 2016 h 479077"/>
                <a:gd name="connsiteX303" fmla="*/ 1064654 w 3785642"/>
                <a:gd name="connsiteY303" fmla="*/ 3504 h 479077"/>
                <a:gd name="connsiteX304" fmla="*/ 1081025 w 3785642"/>
                <a:gd name="connsiteY304" fmla="*/ 2016 h 479077"/>
                <a:gd name="connsiteX305" fmla="*/ 1097395 w 3785642"/>
                <a:gd name="connsiteY305" fmla="*/ 2512 h 479077"/>
                <a:gd name="connsiteX306" fmla="*/ 1113766 w 3785642"/>
                <a:gd name="connsiteY306" fmla="*/ 2512 h 479077"/>
                <a:gd name="connsiteX307" fmla="*/ 1130136 w 3785642"/>
                <a:gd name="connsiteY307" fmla="*/ 3504 h 479077"/>
                <a:gd name="connsiteX308" fmla="*/ 1146507 w 3785642"/>
                <a:gd name="connsiteY308" fmla="*/ 1520 h 479077"/>
                <a:gd name="connsiteX309" fmla="*/ 1162878 w 3785642"/>
                <a:gd name="connsiteY309" fmla="*/ 3008 h 479077"/>
                <a:gd name="connsiteX310" fmla="*/ 1179248 w 3785642"/>
                <a:gd name="connsiteY310" fmla="*/ 4000 h 479077"/>
                <a:gd name="connsiteX311" fmla="*/ 1195619 w 3785642"/>
                <a:gd name="connsiteY311" fmla="*/ 3504 h 479077"/>
                <a:gd name="connsiteX312" fmla="*/ 1211989 w 3785642"/>
                <a:gd name="connsiteY312" fmla="*/ 1520 h 479077"/>
                <a:gd name="connsiteX313" fmla="*/ 1228360 w 3785642"/>
                <a:gd name="connsiteY313" fmla="*/ 3504 h 479077"/>
                <a:gd name="connsiteX314" fmla="*/ 1244730 w 3785642"/>
                <a:gd name="connsiteY314" fmla="*/ 1520 h 479077"/>
                <a:gd name="connsiteX315" fmla="*/ 1261101 w 3785642"/>
                <a:gd name="connsiteY315" fmla="*/ 2512 h 479077"/>
                <a:gd name="connsiteX316" fmla="*/ 1277471 w 3785642"/>
                <a:gd name="connsiteY316" fmla="*/ 3504 h 479077"/>
                <a:gd name="connsiteX317" fmla="*/ 1293842 w 3785642"/>
                <a:gd name="connsiteY317" fmla="*/ 4000 h 479077"/>
                <a:gd name="connsiteX318" fmla="*/ 1310213 w 3785642"/>
                <a:gd name="connsiteY318" fmla="*/ 1520 h 479077"/>
                <a:gd name="connsiteX319" fmla="*/ 1326583 w 3785642"/>
                <a:gd name="connsiteY319" fmla="*/ 2016 h 479077"/>
                <a:gd name="connsiteX320" fmla="*/ 1342954 w 3785642"/>
                <a:gd name="connsiteY320" fmla="*/ 3008 h 479077"/>
                <a:gd name="connsiteX321" fmla="*/ 1359324 w 3785642"/>
                <a:gd name="connsiteY321" fmla="*/ 3008 h 479077"/>
                <a:gd name="connsiteX322" fmla="*/ 1375695 w 3785642"/>
                <a:gd name="connsiteY322" fmla="*/ 2512 h 479077"/>
                <a:gd name="connsiteX323" fmla="*/ 1392066 w 3785642"/>
                <a:gd name="connsiteY323" fmla="*/ 2512 h 479077"/>
                <a:gd name="connsiteX324" fmla="*/ 1408436 w 3785642"/>
                <a:gd name="connsiteY324" fmla="*/ 3504 h 479077"/>
                <a:gd name="connsiteX325" fmla="*/ 1424807 w 3785642"/>
                <a:gd name="connsiteY325" fmla="*/ 3504 h 479077"/>
                <a:gd name="connsiteX326" fmla="*/ 1441177 w 3785642"/>
                <a:gd name="connsiteY326" fmla="*/ 1520 h 479077"/>
                <a:gd name="connsiteX327" fmla="*/ 1457548 w 3785642"/>
                <a:gd name="connsiteY327" fmla="*/ 2512 h 479077"/>
                <a:gd name="connsiteX328" fmla="*/ 1473919 w 3785642"/>
                <a:gd name="connsiteY328" fmla="*/ 2016 h 479077"/>
                <a:gd name="connsiteX329" fmla="*/ 1490289 w 3785642"/>
                <a:gd name="connsiteY329" fmla="*/ 2016 h 479077"/>
                <a:gd name="connsiteX330" fmla="*/ 1506660 w 3785642"/>
                <a:gd name="connsiteY330" fmla="*/ 1520 h 479077"/>
                <a:gd name="connsiteX331" fmla="*/ 1523030 w 3785642"/>
                <a:gd name="connsiteY331" fmla="*/ 3504 h 479077"/>
                <a:gd name="connsiteX332" fmla="*/ 1539401 w 3785642"/>
                <a:gd name="connsiteY332" fmla="*/ 3008 h 479077"/>
                <a:gd name="connsiteX333" fmla="*/ 1555771 w 3785642"/>
                <a:gd name="connsiteY333" fmla="*/ 3008 h 479077"/>
                <a:gd name="connsiteX334" fmla="*/ 1572142 w 3785642"/>
                <a:gd name="connsiteY334" fmla="*/ 2512 h 479077"/>
                <a:gd name="connsiteX335" fmla="*/ 1588512 w 3785642"/>
                <a:gd name="connsiteY335" fmla="*/ 2016 h 479077"/>
                <a:gd name="connsiteX336" fmla="*/ 1604883 w 3785642"/>
                <a:gd name="connsiteY336" fmla="*/ 3008 h 479077"/>
                <a:gd name="connsiteX337" fmla="*/ 1621253 w 3785642"/>
                <a:gd name="connsiteY337" fmla="*/ 3008 h 479077"/>
                <a:gd name="connsiteX338" fmla="*/ 1637624 w 3785642"/>
                <a:gd name="connsiteY33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313375 w 3785642"/>
                <a:gd name="connsiteY11" fmla="*/ 10945 h 479077"/>
                <a:gd name="connsiteX12" fmla="*/ 3300973 w 3785642"/>
                <a:gd name="connsiteY12" fmla="*/ 21363 h 479077"/>
                <a:gd name="connsiteX13" fmla="*/ 3289068 w 3785642"/>
                <a:gd name="connsiteY13" fmla="*/ 32276 h 479077"/>
                <a:gd name="connsiteX14" fmla="*/ 3277658 w 3785642"/>
                <a:gd name="connsiteY14" fmla="*/ 43686 h 479077"/>
                <a:gd name="connsiteX15" fmla="*/ 3266248 w 3785642"/>
                <a:gd name="connsiteY15" fmla="*/ 55592 h 479077"/>
                <a:gd name="connsiteX16" fmla="*/ 3255830 w 3785642"/>
                <a:gd name="connsiteY16" fmla="*/ 68490 h 479077"/>
                <a:gd name="connsiteX17" fmla="*/ 3243924 w 3785642"/>
                <a:gd name="connsiteY17" fmla="*/ 79900 h 479077"/>
                <a:gd name="connsiteX18" fmla="*/ 3231522 w 3785642"/>
                <a:gd name="connsiteY18" fmla="*/ 90814 h 479077"/>
                <a:gd name="connsiteX19" fmla="*/ 3220609 w 3785642"/>
                <a:gd name="connsiteY19" fmla="*/ 102720 h 479077"/>
                <a:gd name="connsiteX20" fmla="*/ 3208207 w 3785642"/>
                <a:gd name="connsiteY20" fmla="*/ 113137 h 479077"/>
                <a:gd name="connsiteX21" fmla="*/ 3197293 w 3785642"/>
                <a:gd name="connsiteY21" fmla="*/ 125043 h 479077"/>
                <a:gd name="connsiteX22" fmla="*/ 3185387 w 3785642"/>
                <a:gd name="connsiteY22" fmla="*/ 136453 h 479077"/>
                <a:gd name="connsiteX23" fmla="*/ 3174970 w 3785642"/>
                <a:gd name="connsiteY23" fmla="*/ 148855 h 479077"/>
                <a:gd name="connsiteX24" fmla="*/ 3162071 w 3785642"/>
                <a:gd name="connsiteY24" fmla="*/ 159272 h 479077"/>
                <a:gd name="connsiteX25" fmla="*/ 3151158 w 3785642"/>
                <a:gd name="connsiteY25" fmla="*/ 171674 h 479077"/>
                <a:gd name="connsiteX26" fmla="*/ 3139252 w 3785642"/>
                <a:gd name="connsiteY26" fmla="*/ 182588 h 479077"/>
                <a:gd name="connsiteX27" fmla="*/ 3127843 w 3785642"/>
                <a:gd name="connsiteY27" fmla="*/ 194494 h 479077"/>
                <a:gd name="connsiteX28" fmla="*/ 3116432 w 3785642"/>
                <a:gd name="connsiteY28" fmla="*/ 205904 h 479077"/>
                <a:gd name="connsiteX29" fmla="*/ 3105022 w 3785642"/>
                <a:gd name="connsiteY29" fmla="*/ 217810 h 479077"/>
                <a:gd name="connsiteX30" fmla="*/ 3093117 w 3785642"/>
                <a:gd name="connsiteY30" fmla="*/ 229219 h 479077"/>
                <a:gd name="connsiteX31" fmla="*/ 3081707 w 3785642"/>
                <a:gd name="connsiteY31" fmla="*/ 240629 h 479077"/>
                <a:gd name="connsiteX32" fmla="*/ 3069305 w 3785642"/>
                <a:gd name="connsiteY32" fmla="*/ 251543 h 479077"/>
                <a:gd name="connsiteX33" fmla="*/ 3057895 w 3785642"/>
                <a:gd name="connsiteY33" fmla="*/ 263449 h 479077"/>
                <a:gd name="connsiteX34" fmla="*/ 3046486 w 3785642"/>
                <a:gd name="connsiteY34" fmla="*/ 275355 h 479077"/>
                <a:gd name="connsiteX35" fmla="*/ 3035572 w 3785642"/>
                <a:gd name="connsiteY35" fmla="*/ 287260 h 479077"/>
                <a:gd name="connsiteX36" fmla="*/ 3024658 w 3785642"/>
                <a:gd name="connsiteY36" fmla="*/ 299166 h 479077"/>
                <a:gd name="connsiteX37" fmla="*/ 3013248 w 3785642"/>
                <a:gd name="connsiteY37" fmla="*/ 311072 h 479077"/>
                <a:gd name="connsiteX38" fmla="*/ 3000350 w 3785642"/>
                <a:gd name="connsiteY38" fmla="*/ 321490 h 479077"/>
                <a:gd name="connsiteX39" fmla="*/ 2988941 w 3785642"/>
                <a:gd name="connsiteY39" fmla="*/ 333396 h 479077"/>
                <a:gd name="connsiteX40" fmla="*/ 2976539 w 3785642"/>
                <a:gd name="connsiteY40" fmla="*/ 344309 h 479077"/>
                <a:gd name="connsiteX41" fmla="*/ 2965129 w 3785642"/>
                <a:gd name="connsiteY41" fmla="*/ 356215 h 479077"/>
                <a:gd name="connsiteX42" fmla="*/ 2953223 w 3785642"/>
                <a:gd name="connsiteY42" fmla="*/ 367625 h 479077"/>
                <a:gd name="connsiteX43" fmla="*/ 2941813 w 3785642"/>
                <a:gd name="connsiteY43" fmla="*/ 379531 h 479077"/>
                <a:gd name="connsiteX44" fmla="*/ 2931395 w 3785642"/>
                <a:gd name="connsiteY44" fmla="*/ 392429 h 479077"/>
                <a:gd name="connsiteX45" fmla="*/ 2918497 w 3785642"/>
                <a:gd name="connsiteY45" fmla="*/ 402847 h 479077"/>
                <a:gd name="connsiteX46" fmla="*/ 2907584 w 3785642"/>
                <a:gd name="connsiteY46" fmla="*/ 415249 h 479077"/>
                <a:gd name="connsiteX47" fmla="*/ 2896174 w 3785642"/>
                <a:gd name="connsiteY47" fmla="*/ 426658 h 479077"/>
                <a:gd name="connsiteX48" fmla="*/ 2884268 w 3785642"/>
                <a:gd name="connsiteY48" fmla="*/ 438068 h 479077"/>
                <a:gd name="connsiteX49" fmla="*/ 2873354 w 3785642"/>
                <a:gd name="connsiteY49" fmla="*/ 450470 h 479077"/>
                <a:gd name="connsiteX50" fmla="*/ 2860952 w 3785642"/>
                <a:gd name="connsiteY50" fmla="*/ 461384 h 479077"/>
                <a:gd name="connsiteX51" fmla="*/ 2850039 w 3785642"/>
                <a:gd name="connsiteY51" fmla="*/ 473786 h 479077"/>
                <a:gd name="connsiteX52" fmla="*/ 2833668 w 3785642"/>
                <a:gd name="connsiteY52" fmla="*/ 473786 h 479077"/>
                <a:gd name="connsiteX53" fmla="*/ 2817297 w 3785642"/>
                <a:gd name="connsiteY53" fmla="*/ 473290 h 479077"/>
                <a:gd name="connsiteX54" fmla="*/ 2800927 w 3785642"/>
                <a:gd name="connsiteY54" fmla="*/ 473290 h 479077"/>
                <a:gd name="connsiteX55" fmla="*/ 2784556 w 3785642"/>
                <a:gd name="connsiteY55" fmla="*/ 473786 h 479077"/>
                <a:gd name="connsiteX56" fmla="*/ 2768186 w 3785642"/>
                <a:gd name="connsiteY56" fmla="*/ 474282 h 479077"/>
                <a:gd name="connsiteX57" fmla="*/ 2751815 w 3785642"/>
                <a:gd name="connsiteY57" fmla="*/ 474282 h 479077"/>
                <a:gd name="connsiteX58" fmla="*/ 2735444 w 3785642"/>
                <a:gd name="connsiteY58" fmla="*/ 473290 h 479077"/>
                <a:gd name="connsiteX59" fmla="*/ 2719074 w 3785642"/>
                <a:gd name="connsiteY59" fmla="*/ 474282 h 479077"/>
                <a:gd name="connsiteX60" fmla="*/ 2702703 w 3785642"/>
                <a:gd name="connsiteY60" fmla="*/ 472298 h 479077"/>
                <a:gd name="connsiteX61" fmla="*/ 2686333 w 3785642"/>
                <a:gd name="connsiteY61" fmla="*/ 472794 h 479077"/>
                <a:gd name="connsiteX62" fmla="*/ 2669962 w 3785642"/>
                <a:gd name="connsiteY62" fmla="*/ 474282 h 479077"/>
                <a:gd name="connsiteX63" fmla="*/ 2653592 w 3785642"/>
                <a:gd name="connsiteY63" fmla="*/ 472298 h 479077"/>
                <a:gd name="connsiteX64" fmla="*/ 2637221 w 3785642"/>
                <a:gd name="connsiteY64" fmla="*/ 474282 h 479077"/>
                <a:gd name="connsiteX65" fmla="*/ 2620851 w 3785642"/>
                <a:gd name="connsiteY65" fmla="*/ 474282 h 479077"/>
                <a:gd name="connsiteX66" fmla="*/ 2604480 w 3785642"/>
                <a:gd name="connsiteY66" fmla="*/ 472298 h 479077"/>
                <a:gd name="connsiteX67" fmla="*/ 2588109 w 3785642"/>
                <a:gd name="connsiteY67" fmla="*/ 473786 h 479077"/>
                <a:gd name="connsiteX68" fmla="*/ 2571739 w 3785642"/>
                <a:gd name="connsiteY68" fmla="*/ 472298 h 479077"/>
                <a:gd name="connsiteX69" fmla="*/ 2555368 w 3785642"/>
                <a:gd name="connsiteY69" fmla="*/ 473290 h 479077"/>
                <a:gd name="connsiteX70" fmla="*/ 2538998 w 3785642"/>
                <a:gd name="connsiteY70" fmla="*/ 474282 h 479077"/>
                <a:gd name="connsiteX71" fmla="*/ 2522627 w 3785642"/>
                <a:gd name="connsiteY71" fmla="*/ 473290 h 479077"/>
                <a:gd name="connsiteX72" fmla="*/ 2506257 w 3785642"/>
                <a:gd name="connsiteY72" fmla="*/ 474282 h 479077"/>
                <a:gd name="connsiteX73" fmla="*/ 2489886 w 3785642"/>
                <a:gd name="connsiteY73" fmla="*/ 473786 h 479077"/>
                <a:gd name="connsiteX74" fmla="*/ 2473516 w 3785642"/>
                <a:gd name="connsiteY74" fmla="*/ 474282 h 479077"/>
                <a:gd name="connsiteX75" fmla="*/ 2457145 w 3785642"/>
                <a:gd name="connsiteY75" fmla="*/ 472794 h 479077"/>
                <a:gd name="connsiteX76" fmla="*/ 2440775 w 3785642"/>
                <a:gd name="connsiteY76" fmla="*/ 472298 h 479077"/>
                <a:gd name="connsiteX77" fmla="*/ 2424404 w 3785642"/>
                <a:gd name="connsiteY77" fmla="*/ 473786 h 479077"/>
                <a:gd name="connsiteX78" fmla="*/ 2408033 w 3785642"/>
                <a:gd name="connsiteY78" fmla="*/ 472794 h 479077"/>
                <a:gd name="connsiteX79" fmla="*/ 2391663 w 3785642"/>
                <a:gd name="connsiteY79" fmla="*/ 473290 h 479077"/>
                <a:gd name="connsiteX80" fmla="*/ 2375292 w 3785642"/>
                <a:gd name="connsiteY80" fmla="*/ 473290 h 479077"/>
                <a:gd name="connsiteX81" fmla="*/ 2358922 w 3785642"/>
                <a:gd name="connsiteY81" fmla="*/ 472794 h 479077"/>
                <a:gd name="connsiteX82" fmla="*/ 2342551 w 3785642"/>
                <a:gd name="connsiteY82" fmla="*/ 472298 h 479077"/>
                <a:gd name="connsiteX83" fmla="*/ 2326180 w 3785642"/>
                <a:gd name="connsiteY83" fmla="*/ 473786 h 479077"/>
                <a:gd name="connsiteX84" fmla="*/ 2309810 w 3785642"/>
                <a:gd name="connsiteY84" fmla="*/ 473786 h 479077"/>
                <a:gd name="connsiteX85" fmla="*/ 2293439 w 3785642"/>
                <a:gd name="connsiteY85" fmla="*/ 473786 h 479077"/>
                <a:gd name="connsiteX86" fmla="*/ 2277069 w 3785642"/>
                <a:gd name="connsiteY86" fmla="*/ 472794 h 479077"/>
                <a:gd name="connsiteX87" fmla="*/ 2260698 w 3785642"/>
                <a:gd name="connsiteY87" fmla="*/ 474282 h 479077"/>
                <a:gd name="connsiteX88" fmla="*/ 2244327 w 3785642"/>
                <a:gd name="connsiteY88" fmla="*/ 472298 h 479077"/>
                <a:gd name="connsiteX89" fmla="*/ 2227957 w 3785642"/>
                <a:gd name="connsiteY89" fmla="*/ 474282 h 479077"/>
                <a:gd name="connsiteX90" fmla="*/ 2211586 w 3785642"/>
                <a:gd name="connsiteY90" fmla="*/ 473290 h 479077"/>
                <a:gd name="connsiteX91" fmla="*/ 2195216 w 3785642"/>
                <a:gd name="connsiteY91" fmla="*/ 474282 h 479077"/>
                <a:gd name="connsiteX92" fmla="*/ 2178845 w 3785642"/>
                <a:gd name="connsiteY92" fmla="*/ 472794 h 479077"/>
                <a:gd name="connsiteX93" fmla="*/ 2162474 w 3785642"/>
                <a:gd name="connsiteY93" fmla="*/ 474778 h 479077"/>
                <a:gd name="connsiteX94" fmla="*/ 2146104 w 3785642"/>
                <a:gd name="connsiteY94" fmla="*/ 473290 h 479077"/>
                <a:gd name="connsiteX95" fmla="*/ 2129733 w 3785642"/>
                <a:gd name="connsiteY95" fmla="*/ 474778 h 479077"/>
                <a:gd name="connsiteX96" fmla="*/ 2113363 w 3785642"/>
                <a:gd name="connsiteY96" fmla="*/ 474778 h 479077"/>
                <a:gd name="connsiteX97" fmla="*/ 2096992 w 3785642"/>
                <a:gd name="connsiteY97" fmla="*/ 474778 h 479077"/>
                <a:gd name="connsiteX98" fmla="*/ 2080621 w 3785642"/>
                <a:gd name="connsiteY98" fmla="*/ 474282 h 479077"/>
                <a:gd name="connsiteX99" fmla="*/ 2064251 w 3785642"/>
                <a:gd name="connsiteY99" fmla="*/ 472794 h 479077"/>
                <a:gd name="connsiteX100" fmla="*/ 2047880 w 3785642"/>
                <a:gd name="connsiteY100" fmla="*/ 474778 h 479077"/>
                <a:gd name="connsiteX101" fmla="*/ 2031510 w 3785642"/>
                <a:gd name="connsiteY101" fmla="*/ 474778 h 479077"/>
                <a:gd name="connsiteX102" fmla="*/ 2015139 w 3785642"/>
                <a:gd name="connsiteY102" fmla="*/ 474778 h 479077"/>
                <a:gd name="connsiteX103" fmla="*/ 1998769 w 3785642"/>
                <a:gd name="connsiteY103" fmla="*/ 474282 h 479077"/>
                <a:gd name="connsiteX104" fmla="*/ 1982398 w 3785642"/>
                <a:gd name="connsiteY104" fmla="*/ 473786 h 479077"/>
                <a:gd name="connsiteX105" fmla="*/ 1966028 w 3785642"/>
                <a:gd name="connsiteY105" fmla="*/ 473786 h 479077"/>
                <a:gd name="connsiteX106" fmla="*/ 1949657 w 3785642"/>
                <a:gd name="connsiteY106" fmla="*/ 472794 h 479077"/>
                <a:gd name="connsiteX107" fmla="*/ 1933287 w 3785642"/>
                <a:gd name="connsiteY107" fmla="*/ 473290 h 479077"/>
                <a:gd name="connsiteX108" fmla="*/ 1916916 w 3785642"/>
                <a:gd name="connsiteY108" fmla="*/ 474778 h 479077"/>
                <a:gd name="connsiteX109" fmla="*/ 1900546 w 3785642"/>
                <a:gd name="connsiteY109" fmla="*/ 472794 h 479077"/>
                <a:gd name="connsiteX110" fmla="*/ 1884175 w 3785642"/>
                <a:gd name="connsiteY110" fmla="*/ 473786 h 479077"/>
                <a:gd name="connsiteX111" fmla="*/ 1867804 w 3785642"/>
                <a:gd name="connsiteY111" fmla="*/ 474778 h 479077"/>
                <a:gd name="connsiteX112" fmla="*/ 1851434 w 3785642"/>
                <a:gd name="connsiteY112" fmla="*/ 474778 h 479077"/>
                <a:gd name="connsiteX113" fmla="*/ 1835063 w 3785642"/>
                <a:gd name="connsiteY113" fmla="*/ 474778 h 479077"/>
                <a:gd name="connsiteX114" fmla="*/ 1818693 w 3785642"/>
                <a:gd name="connsiteY114" fmla="*/ 474282 h 479077"/>
                <a:gd name="connsiteX115" fmla="*/ 1802322 w 3785642"/>
                <a:gd name="connsiteY115" fmla="*/ 472794 h 479077"/>
                <a:gd name="connsiteX116" fmla="*/ 1785951 w 3785642"/>
                <a:gd name="connsiteY116" fmla="*/ 473786 h 479077"/>
                <a:gd name="connsiteX117" fmla="*/ 1769581 w 3785642"/>
                <a:gd name="connsiteY117" fmla="*/ 473290 h 479077"/>
                <a:gd name="connsiteX118" fmla="*/ 1753210 w 3785642"/>
                <a:gd name="connsiteY118" fmla="*/ 472298 h 479077"/>
                <a:gd name="connsiteX119" fmla="*/ 1736840 w 3785642"/>
                <a:gd name="connsiteY119" fmla="*/ 473290 h 479077"/>
                <a:gd name="connsiteX120" fmla="*/ 1720469 w 3785642"/>
                <a:gd name="connsiteY120" fmla="*/ 474778 h 479077"/>
                <a:gd name="connsiteX121" fmla="*/ 1704098 w 3785642"/>
                <a:gd name="connsiteY121" fmla="*/ 472794 h 479077"/>
                <a:gd name="connsiteX122" fmla="*/ 1687728 w 3785642"/>
                <a:gd name="connsiteY122" fmla="*/ 474778 h 479077"/>
                <a:gd name="connsiteX123" fmla="*/ 1671357 w 3785642"/>
                <a:gd name="connsiteY123" fmla="*/ 474778 h 479077"/>
                <a:gd name="connsiteX124" fmla="*/ 1654987 w 3785642"/>
                <a:gd name="connsiteY124" fmla="*/ 472298 h 479077"/>
                <a:gd name="connsiteX125" fmla="*/ 1638616 w 3785642"/>
                <a:gd name="connsiteY125" fmla="*/ 472794 h 479077"/>
                <a:gd name="connsiteX126" fmla="*/ 1622246 w 3785642"/>
                <a:gd name="connsiteY126" fmla="*/ 473786 h 479077"/>
                <a:gd name="connsiteX127" fmla="*/ 1605875 w 3785642"/>
                <a:gd name="connsiteY127" fmla="*/ 474778 h 479077"/>
                <a:gd name="connsiteX128" fmla="*/ 1589505 w 3785642"/>
                <a:gd name="connsiteY128" fmla="*/ 473290 h 479077"/>
                <a:gd name="connsiteX129" fmla="*/ 1573134 w 3785642"/>
                <a:gd name="connsiteY129" fmla="*/ 474778 h 479077"/>
                <a:gd name="connsiteX130" fmla="*/ 1556763 w 3785642"/>
                <a:gd name="connsiteY130" fmla="*/ 472794 h 479077"/>
                <a:gd name="connsiteX131" fmla="*/ 1540393 w 3785642"/>
                <a:gd name="connsiteY131" fmla="*/ 472794 h 479077"/>
                <a:gd name="connsiteX132" fmla="*/ 1524022 w 3785642"/>
                <a:gd name="connsiteY132" fmla="*/ 474282 h 479077"/>
                <a:gd name="connsiteX133" fmla="*/ 1507652 w 3785642"/>
                <a:gd name="connsiteY133" fmla="*/ 472794 h 479077"/>
                <a:gd name="connsiteX134" fmla="*/ 1491281 w 3785642"/>
                <a:gd name="connsiteY134" fmla="*/ 474282 h 479077"/>
                <a:gd name="connsiteX135" fmla="*/ 1474910 w 3785642"/>
                <a:gd name="connsiteY135" fmla="*/ 474282 h 479077"/>
                <a:gd name="connsiteX136" fmla="*/ 1458540 w 3785642"/>
                <a:gd name="connsiteY136" fmla="*/ 472794 h 479077"/>
                <a:gd name="connsiteX137" fmla="*/ 1442169 w 3785642"/>
                <a:gd name="connsiteY137" fmla="*/ 471802 h 479077"/>
                <a:gd name="connsiteX138" fmla="*/ 1425799 w 3785642"/>
                <a:gd name="connsiteY138" fmla="*/ 472298 h 479077"/>
                <a:gd name="connsiteX139" fmla="*/ 1409428 w 3785642"/>
                <a:gd name="connsiteY139" fmla="*/ 472794 h 479077"/>
                <a:gd name="connsiteX140" fmla="*/ 1393058 w 3785642"/>
                <a:gd name="connsiteY140" fmla="*/ 473786 h 479077"/>
                <a:gd name="connsiteX141" fmla="*/ 1376687 w 3785642"/>
                <a:gd name="connsiteY141" fmla="*/ 471802 h 479077"/>
                <a:gd name="connsiteX142" fmla="*/ 1360317 w 3785642"/>
                <a:gd name="connsiteY142" fmla="*/ 473786 h 479077"/>
                <a:gd name="connsiteX143" fmla="*/ 1343946 w 3785642"/>
                <a:gd name="connsiteY143" fmla="*/ 473786 h 479077"/>
                <a:gd name="connsiteX144" fmla="*/ 1327576 w 3785642"/>
                <a:gd name="connsiteY144" fmla="*/ 472794 h 479077"/>
                <a:gd name="connsiteX145" fmla="*/ 1311205 w 3785642"/>
                <a:gd name="connsiteY145" fmla="*/ 473786 h 479077"/>
                <a:gd name="connsiteX146" fmla="*/ 1294834 w 3785642"/>
                <a:gd name="connsiteY146" fmla="*/ 473786 h 479077"/>
                <a:gd name="connsiteX147" fmla="*/ 1278464 w 3785642"/>
                <a:gd name="connsiteY147" fmla="*/ 473786 h 479077"/>
                <a:gd name="connsiteX148" fmla="*/ 1262093 w 3785642"/>
                <a:gd name="connsiteY148" fmla="*/ 473786 h 479077"/>
                <a:gd name="connsiteX149" fmla="*/ 1245723 w 3785642"/>
                <a:gd name="connsiteY149" fmla="*/ 473290 h 479077"/>
                <a:gd name="connsiteX150" fmla="*/ 1229352 w 3785642"/>
                <a:gd name="connsiteY150" fmla="*/ 472794 h 479077"/>
                <a:gd name="connsiteX151" fmla="*/ 1212981 w 3785642"/>
                <a:gd name="connsiteY151" fmla="*/ 473786 h 479077"/>
                <a:gd name="connsiteX152" fmla="*/ 1196611 w 3785642"/>
                <a:gd name="connsiteY152" fmla="*/ 472298 h 479077"/>
                <a:gd name="connsiteX153" fmla="*/ 1180240 w 3785642"/>
                <a:gd name="connsiteY153" fmla="*/ 472794 h 479077"/>
                <a:gd name="connsiteX154" fmla="*/ 1163870 w 3785642"/>
                <a:gd name="connsiteY154" fmla="*/ 472794 h 479077"/>
                <a:gd name="connsiteX155" fmla="*/ 1147499 w 3785642"/>
                <a:gd name="connsiteY155" fmla="*/ 473786 h 479077"/>
                <a:gd name="connsiteX156" fmla="*/ 1131128 w 3785642"/>
                <a:gd name="connsiteY156" fmla="*/ 473786 h 479077"/>
                <a:gd name="connsiteX157" fmla="*/ 1114758 w 3785642"/>
                <a:gd name="connsiteY157" fmla="*/ 472794 h 479077"/>
                <a:gd name="connsiteX158" fmla="*/ 1098387 w 3785642"/>
                <a:gd name="connsiteY158" fmla="*/ 473786 h 479077"/>
                <a:gd name="connsiteX159" fmla="*/ 1082017 w 3785642"/>
                <a:gd name="connsiteY159" fmla="*/ 474778 h 479077"/>
                <a:gd name="connsiteX160" fmla="*/ 1065646 w 3785642"/>
                <a:gd name="connsiteY160" fmla="*/ 474778 h 479077"/>
                <a:gd name="connsiteX161" fmla="*/ 1049276 w 3785642"/>
                <a:gd name="connsiteY161" fmla="*/ 474282 h 479077"/>
                <a:gd name="connsiteX162" fmla="*/ 1032905 w 3785642"/>
                <a:gd name="connsiteY162" fmla="*/ 473290 h 479077"/>
                <a:gd name="connsiteX163" fmla="*/ 1016535 w 3785642"/>
                <a:gd name="connsiteY163" fmla="*/ 474282 h 479077"/>
                <a:gd name="connsiteX164" fmla="*/ 1000164 w 3785642"/>
                <a:gd name="connsiteY164" fmla="*/ 474282 h 479077"/>
                <a:gd name="connsiteX165" fmla="*/ 983793 w 3785642"/>
                <a:gd name="connsiteY165" fmla="*/ 472794 h 479077"/>
                <a:gd name="connsiteX166" fmla="*/ 967423 w 3785642"/>
                <a:gd name="connsiteY166" fmla="*/ 472794 h 479077"/>
                <a:gd name="connsiteX167" fmla="*/ 951052 w 3785642"/>
                <a:gd name="connsiteY167" fmla="*/ 473786 h 479077"/>
                <a:gd name="connsiteX168" fmla="*/ 934682 w 3785642"/>
                <a:gd name="connsiteY168" fmla="*/ 474282 h 479077"/>
                <a:gd name="connsiteX169" fmla="*/ 918311 w 3785642"/>
                <a:gd name="connsiteY169" fmla="*/ 474778 h 479077"/>
                <a:gd name="connsiteX170" fmla="*/ 901940 w 3785642"/>
                <a:gd name="connsiteY170" fmla="*/ 473290 h 479077"/>
                <a:gd name="connsiteX171" fmla="*/ 885570 w 3785642"/>
                <a:gd name="connsiteY171" fmla="*/ 474778 h 479077"/>
                <a:gd name="connsiteX172" fmla="*/ 869199 w 3785642"/>
                <a:gd name="connsiteY172" fmla="*/ 474282 h 479077"/>
                <a:gd name="connsiteX173" fmla="*/ 852829 w 3785642"/>
                <a:gd name="connsiteY173" fmla="*/ 473786 h 479077"/>
                <a:gd name="connsiteX174" fmla="*/ 836458 w 3785642"/>
                <a:gd name="connsiteY174" fmla="*/ 474778 h 479077"/>
                <a:gd name="connsiteX175" fmla="*/ 820088 w 3785642"/>
                <a:gd name="connsiteY175" fmla="*/ 475274 h 479077"/>
                <a:gd name="connsiteX176" fmla="*/ 803717 w 3785642"/>
                <a:gd name="connsiteY176" fmla="*/ 473786 h 479077"/>
                <a:gd name="connsiteX177" fmla="*/ 787347 w 3785642"/>
                <a:gd name="connsiteY177" fmla="*/ 475770 h 479077"/>
                <a:gd name="connsiteX178" fmla="*/ 770976 w 3785642"/>
                <a:gd name="connsiteY178" fmla="*/ 474778 h 479077"/>
                <a:gd name="connsiteX179" fmla="*/ 754605 w 3785642"/>
                <a:gd name="connsiteY179" fmla="*/ 475274 h 479077"/>
                <a:gd name="connsiteX180" fmla="*/ 738235 w 3785642"/>
                <a:gd name="connsiteY180" fmla="*/ 473786 h 479077"/>
                <a:gd name="connsiteX181" fmla="*/ 721864 w 3785642"/>
                <a:gd name="connsiteY181" fmla="*/ 475274 h 479077"/>
                <a:gd name="connsiteX182" fmla="*/ 705494 w 3785642"/>
                <a:gd name="connsiteY182" fmla="*/ 475770 h 479077"/>
                <a:gd name="connsiteX183" fmla="*/ 689123 w 3785642"/>
                <a:gd name="connsiteY183" fmla="*/ 474282 h 479077"/>
                <a:gd name="connsiteX184" fmla="*/ 672753 w 3785642"/>
                <a:gd name="connsiteY184" fmla="*/ 475274 h 479077"/>
                <a:gd name="connsiteX185" fmla="*/ 656382 w 3785642"/>
                <a:gd name="connsiteY185" fmla="*/ 474778 h 479077"/>
                <a:gd name="connsiteX186" fmla="*/ 640011 w 3785642"/>
                <a:gd name="connsiteY186" fmla="*/ 475770 h 479077"/>
                <a:gd name="connsiteX187" fmla="*/ 623641 w 3785642"/>
                <a:gd name="connsiteY187" fmla="*/ 473786 h 479077"/>
                <a:gd name="connsiteX188" fmla="*/ 607270 w 3785642"/>
                <a:gd name="connsiteY188" fmla="*/ 474778 h 479077"/>
                <a:gd name="connsiteX189" fmla="*/ 590900 w 3785642"/>
                <a:gd name="connsiteY189" fmla="*/ 475274 h 479077"/>
                <a:gd name="connsiteX190" fmla="*/ 574529 w 3785642"/>
                <a:gd name="connsiteY190" fmla="*/ 474282 h 479077"/>
                <a:gd name="connsiteX191" fmla="*/ 558158 w 3785642"/>
                <a:gd name="connsiteY191" fmla="*/ 475274 h 479077"/>
                <a:gd name="connsiteX192" fmla="*/ 541788 w 3785642"/>
                <a:gd name="connsiteY192" fmla="*/ 475770 h 479077"/>
                <a:gd name="connsiteX193" fmla="*/ 525417 w 3785642"/>
                <a:gd name="connsiteY193" fmla="*/ 474282 h 479077"/>
                <a:gd name="connsiteX194" fmla="*/ 509047 w 3785642"/>
                <a:gd name="connsiteY194" fmla="*/ 473786 h 479077"/>
                <a:gd name="connsiteX195" fmla="*/ 492676 w 3785642"/>
                <a:gd name="connsiteY195" fmla="*/ 473786 h 479077"/>
                <a:gd name="connsiteX196" fmla="*/ 476306 w 3785642"/>
                <a:gd name="connsiteY196" fmla="*/ 474778 h 479077"/>
                <a:gd name="connsiteX197" fmla="*/ 459935 w 3785642"/>
                <a:gd name="connsiteY197" fmla="*/ 473786 h 479077"/>
                <a:gd name="connsiteX198" fmla="*/ 443565 w 3785642"/>
                <a:gd name="connsiteY198" fmla="*/ 474778 h 479077"/>
                <a:gd name="connsiteX199" fmla="*/ 427194 w 3785642"/>
                <a:gd name="connsiteY199" fmla="*/ 474282 h 479077"/>
                <a:gd name="connsiteX200" fmla="*/ 410823 w 3785642"/>
                <a:gd name="connsiteY200" fmla="*/ 473290 h 479077"/>
                <a:gd name="connsiteX201" fmla="*/ 394453 w 3785642"/>
                <a:gd name="connsiteY201" fmla="*/ 475770 h 479077"/>
                <a:gd name="connsiteX202" fmla="*/ 378082 w 3785642"/>
                <a:gd name="connsiteY202" fmla="*/ 475274 h 479077"/>
                <a:gd name="connsiteX203" fmla="*/ 361712 w 3785642"/>
                <a:gd name="connsiteY203" fmla="*/ 474778 h 479077"/>
                <a:gd name="connsiteX204" fmla="*/ 345341 w 3785642"/>
                <a:gd name="connsiteY204" fmla="*/ 476266 h 479077"/>
                <a:gd name="connsiteX205" fmla="*/ 328970 w 3785642"/>
                <a:gd name="connsiteY205" fmla="*/ 474282 h 479077"/>
                <a:gd name="connsiteX206" fmla="*/ 312600 w 3785642"/>
                <a:gd name="connsiteY206" fmla="*/ 475274 h 479077"/>
                <a:gd name="connsiteX207" fmla="*/ 296229 w 3785642"/>
                <a:gd name="connsiteY207" fmla="*/ 474282 h 479077"/>
                <a:gd name="connsiteX208" fmla="*/ 279859 w 3785642"/>
                <a:gd name="connsiteY208" fmla="*/ 475770 h 479077"/>
                <a:gd name="connsiteX209" fmla="*/ 263488 w 3785642"/>
                <a:gd name="connsiteY209" fmla="*/ 476266 h 479077"/>
                <a:gd name="connsiteX210" fmla="*/ 247118 w 3785642"/>
                <a:gd name="connsiteY210" fmla="*/ 476266 h 479077"/>
                <a:gd name="connsiteX211" fmla="*/ 230747 w 3785642"/>
                <a:gd name="connsiteY211" fmla="*/ 474778 h 479077"/>
                <a:gd name="connsiteX212" fmla="*/ 214376 w 3785642"/>
                <a:gd name="connsiteY212" fmla="*/ 474778 h 479077"/>
                <a:gd name="connsiteX213" fmla="*/ 198006 w 3785642"/>
                <a:gd name="connsiteY213" fmla="*/ 476762 h 479077"/>
                <a:gd name="connsiteX214" fmla="*/ 181635 w 3785642"/>
                <a:gd name="connsiteY214" fmla="*/ 476266 h 479077"/>
                <a:gd name="connsiteX215" fmla="*/ 165265 w 3785642"/>
                <a:gd name="connsiteY215" fmla="*/ 474778 h 479077"/>
                <a:gd name="connsiteX216" fmla="*/ 148894 w 3785642"/>
                <a:gd name="connsiteY216" fmla="*/ 476762 h 479077"/>
                <a:gd name="connsiteX217" fmla="*/ 132524 w 3785642"/>
                <a:gd name="connsiteY217" fmla="*/ 476266 h 479077"/>
                <a:gd name="connsiteX218" fmla="*/ 116153 w 3785642"/>
                <a:gd name="connsiteY218" fmla="*/ 475274 h 479077"/>
                <a:gd name="connsiteX219" fmla="*/ 99783 w 3785642"/>
                <a:gd name="connsiteY219" fmla="*/ 475274 h 479077"/>
                <a:gd name="connsiteX220" fmla="*/ 83412 w 3785642"/>
                <a:gd name="connsiteY220" fmla="*/ 475274 h 479077"/>
                <a:gd name="connsiteX221" fmla="*/ 67041 w 3785642"/>
                <a:gd name="connsiteY221" fmla="*/ 474778 h 479077"/>
                <a:gd name="connsiteX222" fmla="*/ 50671 w 3785642"/>
                <a:gd name="connsiteY222" fmla="*/ 475274 h 479077"/>
                <a:gd name="connsiteX223" fmla="*/ 34300 w 3785642"/>
                <a:gd name="connsiteY223" fmla="*/ 475274 h 479077"/>
                <a:gd name="connsiteX224" fmla="*/ 17930 w 3785642"/>
                <a:gd name="connsiteY224" fmla="*/ 475770 h 479077"/>
                <a:gd name="connsiteX225" fmla="*/ 567 w 3785642"/>
                <a:gd name="connsiteY225" fmla="*/ 475770 h 479077"/>
                <a:gd name="connsiteX226" fmla="*/ 12969 w 3785642"/>
                <a:gd name="connsiteY226" fmla="*/ 463368 h 479077"/>
                <a:gd name="connsiteX227" fmla="*/ 24379 w 3785642"/>
                <a:gd name="connsiteY227" fmla="*/ 451958 h 479077"/>
                <a:gd name="connsiteX228" fmla="*/ 35788 w 3785642"/>
                <a:gd name="connsiteY228" fmla="*/ 440053 h 479077"/>
                <a:gd name="connsiteX229" fmla="*/ 48686 w 3785642"/>
                <a:gd name="connsiteY229" fmla="*/ 430131 h 479077"/>
                <a:gd name="connsiteX230" fmla="*/ 59600 w 3785642"/>
                <a:gd name="connsiteY230" fmla="*/ 418225 h 479077"/>
                <a:gd name="connsiteX231" fmla="*/ 70514 w 3785642"/>
                <a:gd name="connsiteY231" fmla="*/ 405823 h 479077"/>
                <a:gd name="connsiteX232" fmla="*/ 83412 w 3785642"/>
                <a:gd name="connsiteY232" fmla="*/ 395406 h 479077"/>
                <a:gd name="connsiteX233" fmla="*/ 94822 w 3785642"/>
                <a:gd name="connsiteY233" fmla="*/ 383500 h 479077"/>
                <a:gd name="connsiteX234" fmla="*/ 106728 w 3785642"/>
                <a:gd name="connsiteY234" fmla="*/ 372090 h 479077"/>
                <a:gd name="connsiteX235" fmla="*/ 117145 w 3785642"/>
                <a:gd name="connsiteY235" fmla="*/ 359688 h 479077"/>
                <a:gd name="connsiteX236" fmla="*/ 128555 w 3785642"/>
                <a:gd name="connsiteY236" fmla="*/ 348278 h 479077"/>
                <a:gd name="connsiteX237" fmla="*/ 140461 w 3785642"/>
                <a:gd name="connsiteY237" fmla="*/ 336868 h 479077"/>
                <a:gd name="connsiteX238" fmla="*/ 152863 w 3785642"/>
                <a:gd name="connsiteY238" fmla="*/ 326451 h 479077"/>
                <a:gd name="connsiteX239" fmla="*/ 164769 w 3785642"/>
                <a:gd name="connsiteY239" fmla="*/ 315041 h 479077"/>
                <a:gd name="connsiteX240" fmla="*/ 176178 w 3785642"/>
                <a:gd name="connsiteY240" fmla="*/ 303135 h 479077"/>
                <a:gd name="connsiteX241" fmla="*/ 188084 w 3785642"/>
                <a:gd name="connsiteY241" fmla="*/ 291725 h 479077"/>
                <a:gd name="connsiteX242" fmla="*/ 199494 w 3785642"/>
                <a:gd name="connsiteY242" fmla="*/ 280315 h 479077"/>
                <a:gd name="connsiteX243" fmla="*/ 210904 w 3785642"/>
                <a:gd name="connsiteY243" fmla="*/ 268906 h 479077"/>
                <a:gd name="connsiteX244" fmla="*/ 221818 w 3785642"/>
                <a:gd name="connsiteY244" fmla="*/ 256504 h 479077"/>
                <a:gd name="connsiteX245" fmla="*/ 233724 w 3785642"/>
                <a:gd name="connsiteY245" fmla="*/ 245094 h 479077"/>
                <a:gd name="connsiteX246" fmla="*/ 244141 w 3785642"/>
                <a:gd name="connsiteY246" fmla="*/ 232692 h 479077"/>
                <a:gd name="connsiteX247" fmla="*/ 257039 w 3785642"/>
                <a:gd name="connsiteY247" fmla="*/ 222770 h 479077"/>
                <a:gd name="connsiteX248" fmla="*/ 266961 w 3785642"/>
                <a:gd name="connsiteY248" fmla="*/ 209376 h 479077"/>
                <a:gd name="connsiteX249" fmla="*/ 278371 w 3785642"/>
                <a:gd name="connsiteY249" fmla="*/ 197966 h 479077"/>
                <a:gd name="connsiteX250" fmla="*/ 291269 w 3785642"/>
                <a:gd name="connsiteY250" fmla="*/ 188045 h 479077"/>
                <a:gd name="connsiteX251" fmla="*/ 301686 w 3785642"/>
                <a:gd name="connsiteY251" fmla="*/ 175147 h 479077"/>
                <a:gd name="connsiteX252" fmla="*/ 313592 w 3785642"/>
                <a:gd name="connsiteY252" fmla="*/ 163737 h 479077"/>
                <a:gd name="connsiteX253" fmla="*/ 325994 w 3785642"/>
                <a:gd name="connsiteY253" fmla="*/ 153319 h 479077"/>
                <a:gd name="connsiteX254" fmla="*/ 337404 w 3785642"/>
                <a:gd name="connsiteY254" fmla="*/ 141910 h 479077"/>
                <a:gd name="connsiteX255" fmla="*/ 347325 w 3785642"/>
                <a:gd name="connsiteY255" fmla="*/ 129012 h 479077"/>
                <a:gd name="connsiteX256" fmla="*/ 360224 w 3785642"/>
                <a:gd name="connsiteY256" fmla="*/ 118594 h 479077"/>
                <a:gd name="connsiteX257" fmla="*/ 371137 w 3785642"/>
                <a:gd name="connsiteY257" fmla="*/ 106192 h 479077"/>
                <a:gd name="connsiteX258" fmla="*/ 382051 w 3785642"/>
                <a:gd name="connsiteY258" fmla="*/ 93790 h 479077"/>
                <a:gd name="connsiteX259" fmla="*/ 393957 w 3785642"/>
                <a:gd name="connsiteY259" fmla="*/ 82380 h 479077"/>
                <a:gd name="connsiteX260" fmla="*/ 405366 w 3785642"/>
                <a:gd name="connsiteY260" fmla="*/ 70475 h 479077"/>
                <a:gd name="connsiteX261" fmla="*/ 417272 w 3785642"/>
                <a:gd name="connsiteY261" fmla="*/ 59561 h 479077"/>
                <a:gd name="connsiteX262" fmla="*/ 429674 w 3785642"/>
                <a:gd name="connsiteY262" fmla="*/ 48647 h 479077"/>
                <a:gd name="connsiteX263" fmla="*/ 440092 w 3785642"/>
                <a:gd name="connsiteY263" fmla="*/ 35749 h 479077"/>
                <a:gd name="connsiteX264" fmla="*/ 452494 w 3785642"/>
                <a:gd name="connsiteY264" fmla="*/ 24835 h 479077"/>
                <a:gd name="connsiteX265" fmla="*/ 463904 w 3785642"/>
                <a:gd name="connsiteY265" fmla="*/ 12929 h 479077"/>
                <a:gd name="connsiteX266" fmla="*/ 475313 w 3785642"/>
                <a:gd name="connsiteY266" fmla="*/ 1024 h 479077"/>
                <a:gd name="connsiteX267" fmla="*/ 491684 w 3785642"/>
                <a:gd name="connsiteY267" fmla="*/ 2512 h 479077"/>
                <a:gd name="connsiteX268" fmla="*/ 508055 w 3785642"/>
                <a:gd name="connsiteY268" fmla="*/ 2512 h 479077"/>
                <a:gd name="connsiteX269" fmla="*/ 524425 w 3785642"/>
                <a:gd name="connsiteY269" fmla="*/ 2512 h 479077"/>
                <a:gd name="connsiteX270" fmla="*/ 540796 w 3785642"/>
                <a:gd name="connsiteY270" fmla="*/ 1024 h 479077"/>
                <a:gd name="connsiteX271" fmla="*/ 557166 w 3785642"/>
                <a:gd name="connsiteY271" fmla="*/ 2512 h 479077"/>
                <a:gd name="connsiteX272" fmla="*/ 573537 w 3785642"/>
                <a:gd name="connsiteY272" fmla="*/ 1024 h 479077"/>
                <a:gd name="connsiteX273" fmla="*/ 589908 w 3785642"/>
                <a:gd name="connsiteY273" fmla="*/ 527 h 479077"/>
                <a:gd name="connsiteX274" fmla="*/ 606278 w 3785642"/>
                <a:gd name="connsiteY274" fmla="*/ 1520 h 479077"/>
                <a:gd name="connsiteX275" fmla="*/ 622649 w 3785642"/>
                <a:gd name="connsiteY275" fmla="*/ 1520 h 479077"/>
                <a:gd name="connsiteX276" fmla="*/ 639019 w 3785642"/>
                <a:gd name="connsiteY276" fmla="*/ 2016 h 479077"/>
                <a:gd name="connsiteX277" fmla="*/ 655390 w 3785642"/>
                <a:gd name="connsiteY277" fmla="*/ 527 h 479077"/>
                <a:gd name="connsiteX278" fmla="*/ 671760 w 3785642"/>
                <a:gd name="connsiteY278" fmla="*/ 1520 h 479077"/>
                <a:gd name="connsiteX279" fmla="*/ 688131 w 3785642"/>
                <a:gd name="connsiteY279" fmla="*/ 2512 h 479077"/>
                <a:gd name="connsiteX280" fmla="*/ 704501 w 3785642"/>
                <a:gd name="connsiteY280" fmla="*/ 1024 h 479077"/>
                <a:gd name="connsiteX281" fmla="*/ 720872 w 3785642"/>
                <a:gd name="connsiteY281" fmla="*/ 1520 h 479077"/>
                <a:gd name="connsiteX282" fmla="*/ 737243 w 3785642"/>
                <a:gd name="connsiteY282" fmla="*/ 2016 h 479077"/>
                <a:gd name="connsiteX283" fmla="*/ 753613 w 3785642"/>
                <a:gd name="connsiteY283" fmla="*/ 1024 h 479077"/>
                <a:gd name="connsiteX284" fmla="*/ 769984 w 3785642"/>
                <a:gd name="connsiteY284" fmla="*/ 527 h 479077"/>
                <a:gd name="connsiteX285" fmla="*/ 786354 w 3785642"/>
                <a:gd name="connsiteY285" fmla="*/ 1520 h 479077"/>
                <a:gd name="connsiteX286" fmla="*/ 802725 w 3785642"/>
                <a:gd name="connsiteY286" fmla="*/ 527 h 479077"/>
                <a:gd name="connsiteX287" fmla="*/ 819096 w 3785642"/>
                <a:gd name="connsiteY287" fmla="*/ 2512 h 479077"/>
                <a:gd name="connsiteX288" fmla="*/ 835466 w 3785642"/>
                <a:gd name="connsiteY288" fmla="*/ 527 h 479077"/>
                <a:gd name="connsiteX289" fmla="*/ 851837 w 3785642"/>
                <a:gd name="connsiteY289" fmla="*/ 1520 h 479077"/>
                <a:gd name="connsiteX290" fmla="*/ 868207 w 3785642"/>
                <a:gd name="connsiteY290" fmla="*/ 2016 h 479077"/>
                <a:gd name="connsiteX291" fmla="*/ 884578 w 3785642"/>
                <a:gd name="connsiteY291" fmla="*/ 2512 h 479077"/>
                <a:gd name="connsiteX292" fmla="*/ 900948 w 3785642"/>
                <a:gd name="connsiteY292" fmla="*/ 1520 h 479077"/>
                <a:gd name="connsiteX293" fmla="*/ 917319 w 3785642"/>
                <a:gd name="connsiteY293" fmla="*/ 1024 h 479077"/>
                <a:gd name="connsiteX294" fmla="*/ 933689 w 3785642"/>
                <a:gd name="connsiteY294" fmla="*/ 2512 h 479077"/>
                <a:gd name="connsiteX295" fmla="*/ 950060 w 3785642"/>
                <a:gd name="connsiteY295" fmla="*/ 1520 h 479077"/>
                <a:gd name="connsiteX296" fmla="*/ 966431 w 3785642"/>
                <a:gd name="connsiteY296" fmla="*/ 2016 h 479077"/>
                <a:gd name="connsiteX297" fmla="*/ 982801 w 3785642"/>
                <a:gd name="connsiteY297" fmla="*/ 2512 h 479077"/>
                <a:gd name="connsiteX298" fmla="*/ 999172 w 3785642"/>
                <a:gd name="connsiteY298" fmla="*/ 1520 h 479077"/>
                <a:gd name="connsiteX299" fmla="*/ 1015542 w 3785642"/>
                <a:gd name="connsiteY299" fmla="*/ 2512 h 479077"/>
                <a:gd name="connsiteX300" fmla="*/ 1031913 w 3785642"/>
                <a:gd name="connsiteY300" fmla="*/ 1520 h 479077"/>
                <a:gd name="connsiteX301" fmla="*/ 1048283 w 3785642"/>
                <a:gd name="connsiteY301" fmla="*/ 2016 h 479077"/>
                <a:gd name="connsiteX302" fmla="*/ 1064654 w 3785642"/>
                <a:gd name="connsiteY302" fmla="*/ 3504 h 479077"/>
                <a:gd name="connsiteX303" fmla="*/ 1081025 w 3785642"/>
                <a:gd name="connsiteY303" fmla="*/ 2016 h 479077"/>
                <a:gd name="connsiteX304" fmla="*/ 1097395 w 3785642"/>
                <a:gd name="connsiteY304" fmla="*/ 2512 h 479077"/>
                <a:gd name="connsiteX305" fmla="*/ 1113766 w 3785642"/>
                <a:gd name="connsiteY305" fmla="*/ 2512 h 479077"/>
                <a:gd name="connsiteX306" fmla="*/ 1130136 w 3785642"/>
                <a:gd name="connsiteY306" fmla="*/ 3504 h 479077"/>
                <a:gd name="connsiteX307" fmla="*/ 1146507 w 3785642"/>
                <a:gd name="connsiteY307" fmla="*/ 1520 h 479077"/>
                <a:gd name="connsiteX308" fmla="*/ 1162878 w 3785642"/>
                <a:gd name="connsiteY308" fmla="*/ 3008 h 479077"/>
                <a:gd name="connsiteX309" fmla="*/ 1179248 w 3785642"/>
                <a:gd name="connsiteY309" fmla="*/ 4000 h 479077"/>
                <a:gd name="connsiteX310" fmla="*/ 1195619 w 3785642"/>
                <a:gd name="connsiteY310" fmla="*/ 3504 h 479077"/>
                <a:gd name="connsiteX311" fmla="*/ 1211989 w 3785642"/>
                <a:gd name="connsiteY311" fmla="*/ 1520 h 479077"/>
                <a:gd name="connsiteX312" fmla="*/ 1228360 w 3785642"/>
                <a:gd name="connsiteY312" fmla="*/ 3504 h 479077"/>
                <a:gd name="connsiteX313" fmla="*/ 1244730 w 3785642"/>
                <a:gd name="connsiteY313" fmla="*/ 1520 h 479077"/>
                <a:gd name="connsiteX314" fmla="*/ 1261101 w 3785642"/>
                <a:gd name="connsiteY314" fmla="*/ 2512 h 479077"/>
                <a:gd name="connsiteX315" fmla="*/ 1277471 w 3785642"/>
                <a:gd name="connsiteY315" fmla="*/ 3504 h 479077"/>
                <a:gd name="connsiteX316" fmla="*/ 1293842 w 3785642"/>
                <a:gd name="connsiteY316" fmla="*/ 4000 h 479077"/>
                <a:gd name="connsiteX317" fmla="*/ 1310213 w 3785642"/>
                <a:gd name="connsiteY317" fmla="*/ 1520 h 479077"/>
                <a:gd name="connsiteX318" fmla="*/ 1326583 w 3785642"/>
                <a:gd name="connsiteY318" fmla="*/ 2016 h 479077"/>
                <a:gd name="connsiteX319" fmla="*/ 1342954 w 3785642"/>
                <a:gd name="connsiteY319" fmla="*/ 3008 h 479077"/>
                <a:gd name="connsiteX320" fmla="*/ 1359324 w 3785642"/>
                <a:gd name="connsiteY320" fmla="*/ 3008 h 479077"/>
                <a:gd name="connsiteX321" fmla="*/ 1375695 w 3785642"/>
                <a:gd name="connsiteY321" fmla="*/ 2512 h 479077"/>
                <a:gd name="connsiteX322" fmla="*/ 1392066 w 3785642"/>
                <a:gd name="connsiteY322" fmla="*/ 2512 h 479077"/>
                <a:gd name="connsiteX323" fmla="*/ 1408436 w 3785642"/>
                <a:gd name="connsiteY323" fmla="*/ 3504 h 479077"/>
                <a:gd name="connsiteX324" fmla="*/ 1424807 w 3785642"/>
                <a:gd name="connsiteY324" fmla="*/ 3504 h 479077"/>
                <a:gd name="connsiteX325" fmla="*/ 1441177 w 3785642"/>
                <a:gd name="connsiteY325" fmla="*/ 1520 h 479077"/>
                <a:gd name="connsiteX326" fmla="*/ 1457548 w 3785642"/>
                <a:gd name="connsiteY326" fmla="*/ 2512 h 479077"/>
                <a:gd name="connsiteX327" fmla="*/ 1473919 w 3785642"/>
                <a:gd name="connsiteY327" fmla="*/ 2016 h 479077"/>
                <a:gd name="connsiteX328" fmla="*/ 1490289 w 3785642"/>
                <a:gd name="connsiteY328" fmla="*/ 2016 h 479077"/>
                <a:gd name="connsiteX329" fmla="*/ 1506660 w 3785642"/>
                <a:gd name="connsiteY329" fmla="*/ 1520 h 479077"/>
                <a:gd name="connsiteX330" fmla="*/ 1523030 w 3785642"/>
                <a:gd name="connsiteY330" fmla="*/ 3504 h 479077"/>
                <a:gd name="connsiteX331" fmla="*/ 1539401 w 3785642"/>
                <a:gd name="connsiteY331" fmla="*/ 3008 h 479077"/>
                <a:gd name="connsiteX332" fmla="*/ 1555771 w 3785642"/>
                <a:gd name="connsiteY332" fmla="*/ 3008 h 479077"/>
                <a:gd name="connsiteX333" fmla="*/ 1572142 w 3785642"/>
                <a:gd name="connsiteY333" fmla="*/ 2512 h 479077"/>
                <a:gd name="connsiteX334" fmla="*/ 1588512 w 3785642"/>
                <a:gd name="connsiteY334" fmla="*/ 2016 h 479077"/>
                <a:gd name="connsiteX335" fmla="*/ 1604883 w 3785642"/>
                <a:gd name="connsiteY335" fmla="*/ 3008 h 479077"/>
                <a:gd name="connsiteX336" fmla="*/ 1621253 w 3785642"/>
                <a:gd name="connsiteY336" fmla="*/ 3008 h 479077"/>
                <a:gd name="connsiteX337" fmla="*/ 1637624 w 3785642"/>
                <a:gd name="connsiteY33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313375 w 3785642"/>
                <a:gd name="connsiteY10" fmla="*/ 10945 h 479077"/>
                <a:gd name="connsiteX11" fmla="*/ 3300973 w 3785642"/>
                <a:gd name="connsiteY11" fmla="*/ 21363 h 479077"/>
                <a:gd name="connsiteX12" fmla="*/ 3289068 w 3785642"/>
                <a:gd name="connsiteY12" fmla="*/ 32276 h 479077"/>
                <a:gd name="connsiteX13" fmla="*/ 3277658 w 3785642"/>
                <a:gd name="connsiteY13" fmla="*/ 43686 h 479077"/>
                <a:gd name="connsiteX14" fmla="*/ 3266248 w 3785642"/>
                <a:gd name="connsiteY14" fmla="*/ 55592 h 479077"/>
                <a:gd name="connsiteX15" fmla="*/ 3255830 w 3785642"/>
                <a:gd name="connsiteY15" fmla="*/ 68490 h 479077"/>
                <a:gd name="connsiteX16" fmla="*/ 3243924 w 3785642"/>
                <a:gd name="connsiteY16" fmla="*/ 79900 h 479077"/>
                <a:gd name="connsiteX17" fmla="*/ 3231522 w 3785642"/>
                <a:gd name="connsiteY17" fmla="*/ 90814 h 479077"/>
                <a:gd name="connsiteX18" fmla="*/ 3220609 w 3785642"/>
                <a:gd name="connsiteY18" fmla="*/ 102720 h 479077"/>
                <a:gd name="connsiteX19" fmla="*/ 3208207 w 3785642"/>
                <a:gd name="connsiteY19" fmla="*/ 113137 h 479077"/>
                <a:gd name="connsiteX20" fmla="*/ 3197293 w 3785642"/>
                <a:gd name="connsiteY20" fmla="*/ 125043 h 479077"/>
                <a:gd name="connsiteX21" fmla="*/ 3185387 w 3785642"/>
                <a:gd name="connsiteY21" fmla="*/ 136453 h 479077"/>
                <a:gd name="connsiteX22" fmla="*/ 3174970 w 3785642"/>
                <a:gd name="connsiteY22" fmla="*/ 148855 h 479077"/>
                <a:gd name="connsiteX23" fmla="*/ 3162071 w 3785642"/>
                <a:gd name="connsiteY23" fmla="*/ 159272 h 479077"/>
                <a:gd name="connsiteX24" fmla="*/ 3151158 w 3785642"/>
                <a:gd name="connsiteY24" fmla="*/ 171674 h 479077"/>
                <a:gd name="connsiteX25" fmla="*/ 3139252 w 3785642"/>
                <a:gd name="connsiteY25" fmla="*/ 182588 h 479077"/>
                <a:gd name="connsiteX26" fmla="*/ 3127843 w 3785642"/>
                <a:gd name="connsiteY26" fmla="*/ 194494 h 479077"/>
                <a:gd name="connsiteX27" fmla="*/ 3116432 w 3785642"/>
                <a:gd name="connsiteY27" fmla="*/ 205904 h 479077"/>
                <a:gd name="connsiteX28" fmla="*/ 3105022 w 3785642"/>
                <a:gd name="connsiteY28" fmla="*/ 217810 h 479077"/>
                <a:gd name="connsiteX29" fmla="*/ 3093117 w 3785642"/>
                <a:gd name="connsiteY29" fmla="*/ 229219 h 479077"/>
                <a:gd name="connsiteX30" fmla="*/ 3081707 w 3785642"/>
                <a:gd name="connsiteY30" fmla="*/ 240629 h 479077"/>
                <a:gd name="connsiteX31" fmla="*/ 3069305 w 3785642"/>
                <a:gd name="connsiteY31" fmla="*/ 251543 h 479077"/>
                <a:gd name="connsiteX32" fmla="*/ 3057895 w 3785642"/>
                <a:gd name="connsiteY32" fmla="*/ 263449 h 479077"/>
                <a:gd name="connsiteX33" fmla="*/ 3046486 w 3785642"/>
                <a:gd name="connsiteY33" fmla="*/ 275355 h 479077"/>
                <a:gd name="connsiteX34" fmla="*/ 3035572 w 3785642"/>
                <a:gd name="connsiteY34" fmla="*/ 287260 h 479077"/>
                <a:gd name="connsiteX35" fmla="*/ 3024658 w 3785642"/>
                <a:gd name="connsiteY35" fmla="*/ 299166 h 479077"/>
                <a:gd name="connsiteX36" fmla="*/ 3013248 w 3785642"/>
                <a:gd name="connsiteY36" fmla="*/ 311072 h 479077"/>
                <a:gd name="connsiteX37" fmla="*/ 3000350 w 3785642"/>
                <a:gd name="connsiteY37" fmla="*/ 321490 h 479077"/>
                <a:gd name="connsiteX38" fmla="*/ 2988941 w 3785642"/>
                <a:gd name="connsiteY38" fmla="*/ 333396 h 479077"/>
                <a:gd name="connsiteX39" fmla="*/ 2976539 w 3785642"/>
                <a:gd name="connsiteY39" fmla="*/ 344309 h 479077"/>
                <a:gd name="connsiteX40" fmla="*/ 2965129 w 3785642"/>
                <a:gd name="connsiteY40" fmla="*/ 356215 h 479077"/>
                <a:gd name="connsiteX41" fmla="*/ 2953223 w 3785642"/>
                <a:gd name="connsiteY41" fmla="*/ 367625 h 479077"/>
                <a:gd name="connsiteX42" fmla="*/ 2941813 w 3785642"/>
                <a:gd name="connsiteY42" fmla="*/ 379531 h 479077"/>
                <a:gd name="connsiteX43" fmla="*/ 2931395 w 3785642"/>
                <a:gd name="connsiteY43" fmla="*/ 392429 h 479077"/>
                <a:gd name="connsiteX44" fmla="*/ 2918497 w 3785642"/>
                <a:gd name="connsiteY44" fmla="*/ 402847 h 479077"/>
                <a:gd name="connsiteX45" fmla="*/ 2907584 w 3785642"/>
                <a:gd name="connsiteY45" fmla="*/ 415249 h 479077"/>
                <a:gd name="connsiteX46" fmla="*/ 2896174 w 3785642"/>
                <a:gd name="connsiteY46" fmla="*/ 426658 h 479077"/>
                <a:gd name="connsiteX47" fmla="*/ 2884268 w 3785642"/>
                <a:gd name="connsiteY47" fmla="*/ 438068 h 479077"/>
                <a:gd name="connsiteX48" fmla="*/ 2873354 w 3785642"/>
                <a:gd name="connsiteY48" fmla="*/ 450470 h 479077"/>
                <a:gd name="connsiteX49" fmla="*/ 2860952 w 3785642"/>
                <a:gd name="connsiteY49" fmla="*/ 461384 h 479077"/>
                <a:gd name="connsiteX50" fmla="*/ 2850039 w 3785642"/>
                <a:gd name="connsiteY50" fmla="*/ 473786 h 479077"/>
                <a:gd name="connsiteX51" fmla="*/ 2833668 w 3785642"/>
                <a:gd name="connsiteY51" fmla="*/ 473786 h 479077"/>
                <a:gd name="connsiteX52" fmla="*/ 2817297 w 3785642"/>
                <a:gd name="connsiteY52" fmla="*/ 473290 h 479077"/>
                <a:gd name="connsiteX53" fmla="*/ 2800927 w 3785642"/>
                <a:gd name="connsiteY53" fmla="*/ 473290 h 479077"/>
                <a:gd name="connsiteX54" fmla="*/ 2784556 w 3785642"/>
                <a:gd name="connsiteY54" fmla="*/ 473786 h 479077"/>
                <a:gd name="connsiteX55" fmla="*/ 2768186 w 3785642"/>
                <a:gd name="connsiteY55" fmla="*/ 474282 h 479077"/>
                <a:gd name="connsiteX56" fmla="*/ 2751815 w 3785642"/>
                <a:gd name="connsiteY56" fmla="*/ 474282 h 479077"/>
                <a:gd name="connsiteX57" fmla="*/ 2735444 w 3785642"/>
                <a:gd name="connsiteY57" fmla="*/ 473290 h 479077"/>
                <a:gd name="connsiteX58" fmla="*/ 2719074 w 3785642"/>
                <a:gd name="connsiteY58" fmla="*/ 474282 h 479077"/>
                <a:gd name="connsiteX59" fmla="*/ 2702703 w 3785642"/>
                <a:gd name="connsiteY59" fmla="*/ 472298 h 479077"/>
                <a:gd name="connsiteX60" fmla="*/ 2686333 w 3785642"/>
                <a:gd name="connsiteY60" fmla="*/ 472794 h 479077"/>
                <a:gd name="connsiteX61" fmla="*/ 2669962 w 3785642"/>
                <a:gd name="connsiteY61" fmla="*/ 474282 h 479077"/>
                <a:gd name="connsiteX62" fmla="*/ 2653592 w 3785642"/>
                <a:gd name="connsiteY62" fmla="*/ 472298 h 479077"/>
                <a:gd name="connsiteX63" fmla="*/ 2637221 w 3785642"/>
                <a:gd name="connsiteY63" fmla="*/ 474282 h 479077"/>
                <a:gd name="connsiteX64" fmla="*/ 2620851 w 3785642"/>
                <a:gd name="connsiteY64" fmla="*/ 474282 h 479077"/>
                <a:gd name="connsiteX65" fmla="*/ 2604480 w 3785642"/>
                <a:gd name="connsiteY65" fmla="*/ 472298 h 479077"/>
                <a:gd name="connsiteX66" fmla="*/ 2588109 w 3785642"/>
                <a:gd name="connsiteY66" fmla="*/ 473786 h 479077"/>
                <a:gd name="connsiteX67" fmla="*/ 2571739 w 3785642"/>
                <a:gd name="connsiteY67" fmla="*/ 472298 h 479077"/>
                <a:gd name="connsiteX68" fmla="*/ 2555368 w 3785642"/>
                <a:gd name="connsiteY68" fmla="*/ 473290 h 479077"/>
                <a:gd name="connsiteX69" fmla="*/ 2538998 w 3785642"/>
                <a:gd name="connsiteY69" fmla="*/ 474282 h 479077"/>
                <a:gd name="connsiteX70" fmla="*/ 2522627 w 3785642"/>
                <a:gd name="connsiteY70" fmla="*/ 473290 h 479077"/>
                <a:gd name="connsiteX71" fmla="*/ 2506257 w 3785642"/>
                <a:gd name="connsiteY71" fmla="*/ 474282 h 479077"/>
                <a:gd name="connsiteX72" fmla="*/ 2489886 w 3785642"/>
                <a:gd name="connsiteY72" fmla="*/ 473786 h 479077"/>
                <a:gd name="connsiteX73" fmla="*/ 2473516 w 3785642"/>
                <a:gd name="connsiteY73" fmla="*/ 474282 h 479077"/>
                <a:gd name="connsiteX74" fmla="*/ 2457145 w 3785642"/>
                <a:gd name="connsiteY74" fmla="*/ 472794 h 479077"/>
                <a:gd name="connsiteX75" fmla="*/ 2440775 w 3785642"/>
                <a:gd name="connsiteY75" fmla="*/ 472298 h 479077"/>
                <a:gd name="connsiteX76" fmla="*/ 2424404 w 3785642"/>
                <a:gd name="connsiteY76" fmla="*/ 473786 h 479077"/>
                <a:gd name="connsiteX77" fmla="*/ 2408033 w 3785642"/>
                <a:gd name="connsiteY77" fmla="*/ 472794 h 479077"/>
                <a:gd name="connsiteX78" fmla="*/ 2391663 w 3785642"/>
                <a:gd name="connsiteY78" fmla="*/ 473290 h 479077"/>
                <a:gd name="connsiteX79" fmla="*/ 2375292 w 3785642"/>
                <a:gd name="connsiteY79" fmla="*/ 473290 h 479077"/>
                <a:gd name="connsiteX80" fmla="*/ 2358922 w 3785642"/>
                <a:gd name="connsiteY80" fmla="*/ 472794 h 479077"/>
                <a:gd name="connsiteX81" fmla="*/ 2342551 w 3785642"/>
                <a:gd name="connsiteY81" fmla="*/ 472298 h 479077"/>
                <a:gd name="connsiteX82" fmla="*/ 2326180 w 3785642"/>
                <a:gd name="connsiteY82" fmla="*/ 473786 h 479077"/>
                <a:gd name="connsiteX83" fmla="*/ 2309810 w 3785642"/>
                <a:gd name="connsiteY83" fmla="*/ 473786 h 479077"/>
                <a:gd name="connsiteX84" fmla="*/ 2293439 w 3785642"/>
                <a:gd name="connsiteY84" fmla="*/ 473786 h 479077"/>
                <a:gd name="connsiteX85" fmla="*/ 2277069 w 3785642"/>
                <a:gd name="connsiteY85" fmla="*/ 472794 h 479077"/>
                <a:gd name="connsiteX86" fmla="*/ 2260698 w 3785642"/>
                <a:gd name="connsiteY86" fmla="*/ 474282 h 479077"/>
                <a:gd name="connsiteX87" fmla="*/ 2244327 w 3785642"/>
                <a:gd name="connsiteY87" fmla="*/ 472298 h 479077"/>
                <a:gd name="connsiteX88" fmla="*/ 2227957 w 3785642"/>
                <a:gd name="connsiteY88" fmla="*/ 474282 h 479077"/>
                <a:gd name="connsiteX89" fmla="*/ 2211586 w 3785642"/>
                <a:gd name="connsiteY89" fmla="*/ 473290 h 479077"/>
                <a:gd name="connsiteX90" fmla="*/ 2195216 w 3785642"/>
                <a:gd name="connsiteY90" fmla="*/ 474282 h 479077"/>
                <a:gd name="connsiteX91" fmla="*/ 2178845 w 3785642"/>
                <a:gd name="connsiteY91" fmla="*/ 472794 h 479077"/>
                <a:gd name="connsiteX92" fmla="*/ 2162474 w 3785642"/>
                <a:gd name="connsiteY92" fmla="*/ 474778 h 479077"/>
                <a:gd name="connsiteX93" fmla="*/ 2146104 w 3785642"/>
                <a:gd name="connsiteY93" fmla="*/ 473290 h 479077"/>
                <a:gd name="connsiteX94" fmla="*/ 2129733 w 3785642"/>
                <a:gd name="connsiteY94" fmla="*/ 474778 h 479077"/>
                <a:gd name="connsiteX95" fmla="*/ 2113363 w 3785642"/>
                <a:gd name="connsiteY95" fmla="*/ 474778 h 479077"/>
                <a:gd name="connsiteX96" fmla="*/ 2096992 w 3785642"/>
                <a:gd name="connsiteY96" fmla="*/ 474778 h 479077"/>
                <a:gd name="connsiteX97" fmla="*/ 2080621 w 3785642"/>
                <a:gd name="connsiteY97" fmla="*/ 474282 h 479077"/>
                <a:gd name="connsiteX98" fmla="*/ 2064251 w 3785642"/>
                <a:gd name="connsiteY98" fmla="*/ 472794 h 479077"/>
                <a:gd name="connsiteX99" fmla="*/ 2047880 w 3785642"/>
                <a:gd name="connsiteY99" fmla="*/ 474778 h 479077"/>
                <a:gd name="connsiteX100" fmla="*/ 2031510 w 3785642"/>
                <a:gd name="connsiteY100" fmla="*/ 474778 h 479077"/>
                <a:gd name="connsiteX101" fmla="*/ 2015139 w 3785642"/>
                <a:gd name="connsiteY101" fmla="*/ 474778 h 479077"/>
                <a:gd name="connsiteX102" fmla="*/ 1998769 w 3785642"/>
                <a:gd name="connsiteY102" fmla="*/ 474282 h 479077"/>
                <a:gd name="connsiteX103" fmla="*/ 1982398 w 3785642"/>
                <a:gd name="connsiteY103" fmla="*/ 473786 h 479077"/>
                <a:gd name="connsiteX104" fmla="*/ 1966028 w 3785642"/>
                <a:gd name="connsiteY104" fmla="*/ 473786 h 479077"/>
                <a:gd name="connsiteX105" fmla="*/ 1949657 w 3785642"/>
                <a:gd name="connsiteY105" fmla="*/ 472794 h 479077"/>
                <a:gd name="connsiteX106" fmla="*/ 1933287 w 3785642"/>
                <a:gd name="connsiteY106" fmla="*/ 473290 h 479077"/>
                <a:gd name="connsiteX107" fmla="*/ 1916916 w 3785642"/>
                <a:gd name="connsiteY107" fmla="*/ 474778 h 479077"/>
                <a:gd name="connsiteX108" fmla="*/ 1900546 w 3785642"/>
                <a:gd name="connsiteY108" fmla="*/ 472794 h 479077"/>
                <a:gd name="connsiteX109" fmla="*/ 1884175 w 3785642"/>
                <a:gd name="connsiteY109" fmla="*/ 473786 h 479077"/>
                <a:gd name="connsiteX110" fmla="*/ 1867804 w 3785642"/>
                <a:gd name="connsiteY110" fmla="*/ 474778 h 479077"/>
                <a:gd name="connsiteX111" fmla="*/ 1851434 w 3785642"/>
                <a:gd name="connsiteY111" fmla="*/ 474778 h 479077"/>
                <a:gd name="connsiteX112" fmla="*/ 1835063 w 3785642"/>
                <a:gd name="connsiteY112" fmla="*/ 474778 h 479077"/>
                <a:gd name="connsiteX113" fmla="*/ 1818693 w 3785642"/>
                <a:gd name="connsiteY113" fmla="*/ 474282 h 479077"/>
                <a:gd name="connsiteX114" fmla="*/ 1802322 w 3785642"/>
                <a:gd name="connsiteY114" fmla="*/ 472794 h 479077"/>
                <a:gd name="connsiteX115" fmla="*/ 1785951 w 3785642"/>
                <a:gd name="connsiteY115" fmla="*/ 473786 h 479077"/>
                <a:gd name="connsiteX116" fmla="*/ 1769581 w 3785642"/>
                <a:gd name="connsiteY116" fmla="*/ 473290 h 479077"/>
                <a:gd name="connsiteX117" fmla="*/ 1753210 w 3785642"/>
                <a:gd name="connsiteY117" fmla="*/ 472298 h 479077"/>
                <a:gd name="connsiteX118" fmla="*/ 1736840 w 3785642"/>
                <a:gd name="connsiteY118" fmla="*/ 473290 h 479077"/>
                <a:gd name="connsiteX119" fmla="*/ 1720469 w 3785642"/>
                <a:gd name="connsiteY119" fmla="*/ 474778 h 479077"/>
                <a:gd name="connsiteX120" fmla="*/ 1704098 w 3785642"/>
                <a:gd name="connsiteY120" fmla="*/ 472794 h 479077"/>
                <a:gd name="connsiteX121" fmla="*/ 1687728 w 3785642"/>
                <a:gd name="connsiteY121" fmla="*/ 474778 h 479077"/>
                <a:gd name="connsiteX122" fmla="*/ 1671357 w 3785642"/>
                <a:gd name="connsiteY122" fmla="*/ 474778 h 479077"/>
                <a:gd name="connsiteX123" fmla="*/ 1654987 w 3785642"/>
                <a:gd name="connsiteY123" fmla="*/ 472298 h 479077"/>
                <a:gd name="connsiteX124" fmla="*/ 1638616 w 3785642"/>
                <a:gd name="connsiteY124" fmla="*/ 472794 h 479077"/>
                <a:gd name="connsiteX125" fmla="*/ 1622246 w 3785642"/>
                <a:gd name="connsiteY125" fmla="*/ 473786 h 479077"/>
                <a:gd name="connsiteX126" fmla="*/ 1605875 w 3785642"/>
                <a:gd name="connsiteY126" fmla="*/ 474778 h 479077"/>
                <a:gd name="connsiteX127" fmla="*/ 1589505 w 3785642"/>
                <a:gd name="connsiteY127" fmla="*/ 473290 h 479077"/>
                <a:gd name="connsiteX128" fmla="*/ 1573134 w 3785642"/>
                <a:gd name="connsiteY128" fmla="*/ 474778 h 479077"/>
                <a:gd name="connsiteX129" fmla="*/ 1556763 w 3785642"/>
                <a:gd name="connsiteY129" fmla="*/ 472794 h 479077"/>
                <a:gd name="connsiteX130" fmla="*/ 1540393 w 3785642"/>
                <a:gd name="connsiteY130" fmla="*/ 472794 h 479077"/>
                <a:gd name="connsiteX131" fmla="*/ 1524022 w 3785642"/>
                <a:gd name="connsiteY131" fmla="*/ 474282 h 479077"/>
                <a:gd name="connsiteX132" fmla="*/ 1507652 w 3785642"/>
                <a:gd name="connsiteY132" fmla="*/ 472794 h 479077"/>
                <a:gd name="connsiteX133" fmla="*/ 1491281 w 3785642"/>
                <a:gd name="connsiteY133" fmla="*/ 474282 h 479077"/>
                <a:gd name="connsiteX134" fmla="*/ 1474910 w 3785642"/>
                <a:gd name="connsiteY134" fmla="*/ 474282 h 479077"/>
                <a:gd name="connsiteX135" fmla="*/ 1458540 w 3785642"/>
                <a:gd name="connsiteY135" fmla="*/ 472794 h 479077"/>
                <a:gd name="connsiteX136" fmla="*/ 1442169 w 3785642"/>
                <a:gd name="connsiteY136" fmla="*/ 471802 h 479077"/>
                <a:gd name="connsiteX137" fmla="*/ 1425799 w 3785642"/>
                <a:gd name="connsiteY137" fmla="*/ 472298 h 479077"/>
                <a:gd name="connsiteX138" fmla="*/ 1409428 w 3785642"/>
                <a:gd name="connsiteY138" fmla="*/ 472794 h 479077"/>
                <a:gd name="connsiteX139" fmla="*/ 1393058 w 3785642"/>
                <a:gd name="connsiteY139" fmla="*/ 473786 h 479077"/>
                <a:gd name="connsiteX140" fmla="*/ 1376687 w 3785642"/>
                <a:gd name="connsiteY140" fmla="*/ 471802 h 479077"/>
                <a:gd name="connsiteX141" fmla="*/ 1360317 w 3785642"/>
                <a:gd name="connsiteY141" fmla="*/ 473786 h 479077"/>
                <a:gd name="connsiteX142" fmla="*/ 1343946 w 3785642"/>
                <a:gd name="connsiteY142" fmla="*/ 473786 h 479077"/>
                <a:gd name="connsiteX143" fmla="*/ 1327576 w 3785642"/>
                <a:gd name="connsiteY143" fmla="*/ 472794 h 479077"/>
                <a:gd name="connsiteX144" fmla="*/ 1311205 w 3785642"/>
                <a:gd name="connsiteY144" fmla="*/ 473786 h 479077"/>
                <a:gd name="connsiteX145" fmla="*/ 1294834 w 3785642"/>
                <a:gd name="connsiteY145" fmla="*/ 473786 h 479077"/>
                <a:gd name="connsiteX146" fmla="*/ 1278464 w 3785642"/>
                <a:gd name="connsiteY146" fmla="*/ 473786 h 479077"/>
                <a:gd name="connsiteX147" fmla="*/ 1262093 w 3785642"/>
                <a:gd name="connsiteY147" fmla="*/ 473786 h 479077"/>
                <a:gd name="connsiteX148" fmla="*/ 1245723 w 3785642"/>
                <a:gd name="connsiteY148" fmla="*/ 473290 h 479077"/>
                <a:gd name="connsiteX149" fmla="*/ 1229352 w 3785642"/>
                <a:gd name="connsiteY149" fmla="*/ 472794 h 479077"/>
                <a:gd name="connsiteX150" fmla="*/ 1212981 w 3785642"/>
                <a:gd name="connsiteY150" fmla="*/ 473786 h 479077"/>
                <a:gd name="connsiteX151" fmla="*/ 1196611 w 3785642"/>
                <a:gd name="connsiteY151" fmla="*/ 472298 h 479077"/>
                <a:gd name="connsiteX152" fmla="*/ 1180240 w 3785642"/>
                <a:gd name="connsiteY152" fmla="*/ 472794 h 479077"/>
                <a:gd name="connsiteX153" fmla="*/ 1163870 w 3785642"/>
                <a:gd name="connsiteY153" fmla="*/ 472794 h 479077"/>
                <a:gd name="connsiteX154" fmla="*/ 1147499 w 3785642"/>
                <a:gd name="connsiteY154" fmla="*/ 473786 h 479077"/>
                <a:gd name="connsiteX155" fmla="*/ 1131128 w 3785642"/>
                <a:gd name="connsiteY155" fmla="*/ 473786 h 479077"/>
                <a:gd name="connsiteX156" fmla="*/ 1114758 w 3785642"/>
                <a:gd name="connsiteY156" fmla="*/ 472794 h 479077"/>
                <a:gd name="connsiteX157" fmla="*/ 1098387 w 3785642"/>
                <a:gd name="connsiteY157" fmla="*/ 473786 h 479077"/>
                <a:gd name="connsiteX158" fmla="*/ 1082017 w 3785642"/>
                <a:gd name="connsiteY158" fmla="*/ 474778 h 479077"/>
                <a:gd name="connsiteX159" fmla="*/ 1065646 w 3785642"/>
                <a:gd name="connsiteY159" fmla="*/ 474778 h 479077"/>
                <a:gd name="connsiteX160" fmla="*/ 1049276 w 3785642"/>
                <a:gd name="connsiteY160" fmla="*/ 474282 h 479077"/>
                <a:gd name="connsiteX161" fmla="*/ 1032905 w 3785642"/>
                <a:gd name="connsiteY161" fmla="*/ 473290 h 479077"/>
                <a:gd name="connsiteX162" fmla="*/ 1016535 w 3785642"/>
                <a:gd name="connsiteY162" fmla="*/ 474282 h 479077"/>
                <a:gd name="connsiteX163" fmla="*/ 1000164 w 3785642"/>
                <a:gd name="connsiteY163" fmla="*/ 474282 h 479077"/>
                <a:gd name="connsiteX164" fmla="*/ 983793 w 3785642"/>
                <a:gd name="connsiteY164" fmla="*/ 472794 h 479077"/>
                <a:gd name="connsiteX165" fmla="*/ 967423 w 3785642"/>
                <a:gd name="connsiteY165" fmla="*/ 472794 h 479077"/>
                <a:gd name="connsiteX166" fmla="*/ 951052 w 3785642"/>
                <a:gd name="connsiteY166" fmla="*/ 473786 h 479077"/>
                <a:gd name="connsiteX167" fmla="*/ 934682 w 3785642"/>
                <a:gd name="connsiteY167" fmla="*/ 474282 h 479077"/>
                <a:gd name="connsiteX168" fmla="*/ 918311 w 3785642"/>
                <a:gd name="connsiteY168" fmla="*/ 474778 h 479077"/>
                <a:gd name="connsiteX169" fmla="*/ 901940 w 3785642"/>
                <a:gd name="connsiteY169" fmla="*/ 473290 h 479077"/>
                <a:gd name="connsiteX170" fmla="*/ 885570 w 3785642"/>
                <a:gd name="connsiteY170" fmla="*/ 474778 h 479077"/>
                <a:gd name="connsiteX171" fmla="*/ 869199 w 3785642"/>
                <a:gd name="connsiteY171" fmla="*/ 474282 h 479077"/>
                <a:gd name="connsiteX172" fmla="*/ 852829 w 3785642"/>
                <a:gd name="connsiteY172" fmla="*/ 473786 h 479077"/>
                <a:gd name="connsiteX173" fmla="*/ 836458 w 3785642"/>
                <a:gd name="connsiteY173" fmla="*/ 474778 h 479077"/>
                <a:gd name="connsiteX174" fmla="*/ 820088 w 3785642"/>
                <a:gd name="connsiteY174" fmla="*/ 475274 h 479077"/>
                <a:gd name="connsiteX175" fmla="*/ 803717 w 3785642"/>
                <a:gd name="connsiteY175" fmla="*/ 473786 h 479077"/>
                <a:gd name="connsiteX176" fmla="*/ 787347 w 3785642"/>
                <a:gd name="connsiteY176" fmla="*/ 475770 h 479077"/>
                <a:gd name="connsiteX177" fmla="*/ 770976 w 3785642"/>
                <a:gd name="connsiteY177" fmla="*/ 474778 h 479077"/>
                <a:gd name="connsiteX178" fmla="*/ 754605 w 3785642"/>
                <a:gd name="connsiteY178" fmla="*/ 475274 h 479077"/>
                <a:gd name="connsiteX179" fmla="*/ 738235 w 3785642"/>
                <a:gd name="connsiteY179" fmla="*/ 473786 h 479077"/>
                <a:gd name="connsiteX180" fmla="*/ 721864 w 3785642"/>
                <a:gd name="connsiteY180" fmla="*/ 475274 h 479077"/>
                <a:gd name="connsiteX181" fmla="*/ 705494 w 3785642"/>
                <a:gd name="connsiteY181" fmla="*/ 475770 h 479077"/>
                <a:gd name="connsiteX182" fmla="*/ 689123 w 3785642"/>
                <a:gd name="connsiteY182" fmla="*/ 474282 h 479077"/>
                <a:gd name="connsiteX183" fmla="*/ 672753 w 3785642"/>
                <a:gd name="connsiteY183" fmla="*/ 475274 h 479077"/>
                <a:gd name="connsiteX184" fmla="*/ 656382 w 3785642"/>
                <a:gd name="connsiteY184" fmla="*/ 474778 h 479077"/>
                <a:gd name="connsiteX185" fmla="*/ 640011 w 3785642"/>
                <a:gd name="connsiteY185" fmla="*/ 475770 h 479077"/>
                <a:gd name="connsiteX186" fmla="*/ 623641 w 3785642"/>
                <a:gd name="connsiteY186" fmla="*/ 473786 h 479077"/>
                <a:gd name="connsiteX187" fmla="*/ 607270 w 3785642"/>
                <a:gd name="connsiteY187" fmla="*/ 474778 h 479077"/>
                <a:gd name="connsiteX188" fmla="*/ 590900 w 3785642"/>
                <a:gd name="connsiteY188" fmla="*/ 475274 h 479077"/>
                <a:gd name="connsiteX189" fmla="*/ 574529 w 3785642"/>
                <a:gd name="connsiteY189" fmla="*/ 474282 h 479077"/>
                <a:gd name="connsiteX190" fmla="*/ 558158 w 3785642"/>
                <a:gd name="connsiteY190" fmla="*/ 475274 h 479077"/>
                <a:gd name="connsiteX191" fmla="*/ 541788 w 3785642"/>
                <a:gd name="connsiteY191" fmla="*/ 475770 h 479077"/>
                <a:gd name="connsiteX192" fmla="*/ 525417 w 3785642"/>
                <a:gd name="connsiteY192" fmla="*/ 474282 h 479077"/>
                <a:gd name="connsiteX193" fmla="*/ 509047 w 3785642"/>
                <a:gd name="connsiteY193" fmla="*/ 473786 h 479077"/>
                <a:gd name="connsiteX194" fmla="*/ 492676 w 3785642"/>
                <a:gd name="connsiteY194" fmla="*/ 473786 h 479077"/>
                <a:gd name="connsiteX195" fmla="*/ 476306 w 3785642"/>
                <a:gd name="connsiteY195" fmla="*/ 474778 h 479077"/>
                <a:gd name="connsiteX196" fmla="*/ 459935 w 3785642"/>
                <a:gd name="connsiteY196" fmla="*/ 473786 h 479077"/>
                <a:gd name="connsiteX197" fmla="*/ 443565 w 3785642"/>
                <a:gd name="connsiteY197" fmla="*/ 474778 h 479077"/>
                <a:gd name="connsiteX198" fmla="*/ 427194 w 3785642"/>
                <a:gd name="connsiteY198" fmla="*/ 474282 h 479077"/>
                <a:gd name="connsiteX199" fmla="*/ 410823 w 3785642"/>
                <a:gd name="connsiteY199" fmla="*/ 473290 h 479077"/>
                <a:gd name="connsiteX200" fmla="*/ 394453 w 3785642"/>
                <a:gd name="connsiteY200" fmla="*/ 475770 h 479077"/>
                <a:gd name="connsiteX201" fmla="*/ 378082 w 3785642"/>
                <a:gd name="connsiteY201" fmla="*/ 475274 h 479077"/>
                <a:gd name="connsiteX202" fmla="*/ 361712 w 3785642"/>
                <a:gd name="connsiteY202" fmla="*/ 474778 h 479077"/>
                <a:gd name="connsiteX203" fmla="*/ 345341 w 3785642"/>
                <a:gd name="connsiteY203" fmla="*/ 476266 h 479077"/>
                <a:gd name="connsiteX204" fmla="*/ 328970 w 3785642"/>
                <a:gd name="connsiteY204" fmla="*/ 474282 h 479077"/>
                <a:gd name="connsiteX205" fmla="*/ 312600 w 3785642"/>
                <a:gd name="connsiteY205" fmla="*/ 475274 h 479077"/>
                <a:gd name="connsiteX206" fmla="*/ 296229 w 3785642"/>
                <a:gd name="connsiteY206" fmla="*/ 474282 h 479077"/>
                <a:gd name="connsiteX207" fmla="*/ 279859 w 3785642"/>
                <a:gd name="connsiteY207" fmla="*/ 475770 h 479077"/>
                <a:gd name="connsiteX208" fmla="*/ 263488 w 3785642"/>
                <a:gd name="connsiteY208" fmla="*/ 476266 h 479077"/>
                <a:gd name="connsiteX209" fmla="*/ 247118 w 3785642"/>
                <a:gd name="connsiteY209" fmla="*/ 476266 h 479077"/>
                <a:gd name="connsiteX210" fmla="*/ 230747 w 3785642"/>
                <a:gd name="connsiteY210" fmla="*/ 474778 h 479077"/>
                <a:gd name="connsiteX211" fmla="*/ 214376 w 3785642"/>
                <a:gd name="connsiteY211" fmla="*/ 474778 h 479077"/>
                <a:gd name="connsiteX212" fmla="*/ 198006 w 3785642"/>
                <a:gd name="connsiteY212" fmla="*/ 476762 h 479077"/>
                <a:gd name="connsiteX213" fmla="*/ 181635 w 3785642"/>
                <a:gd name="connsiteY213" fmla="*/ 476266 h 479077"/>
                <a:gd name="connsiteX214" fmla="*/ 165265 w 3785642"/>
                <a:gd name="connsiteY214" fmla="*/ 474778 h 479077"/>
                <a:gd name="connsiteX215" fmla="*/ 148894 w 3785642"/>
                <a:gd name="connsiteY215" fmla="*/ 476762 h 479077"/>
                <a:gd name="connsiteX216" fmla="*/ 132524 w 3785642"/>
                <a:gd name="connsiteY216" fmla="*/ 476266 h 479077"/>
                <a:gd name="connsiteX217" fmla="*/ 116153 w 3785642"/>
                <a:gd name="connsiteY217" fmla="*/ 475274 h 479077"/>
                <a:gd name="connsiteX218" fmla="*/ 99783 w 3785642"/>
                <a:gd name="connsiteY218" fmla="*/ 475274 h 479077"/>
                <a:gd name="connsiteX219" fmla="*/ 83412 w 3785642"/>
                <a:gd name="connsiteY219" fmla="*/ 475274 h 479077"/>
                <a:gd name="connsiteX220" fmla="*/ 67041 w 3785642"/>
                <a:gd name="connsiteY220" fmla="*/ 474778 h 479077"/>
                <a:gd name="connsiteX221" fmla="*/ 50671 w 3785642"/>
                <a:gd name="connsiteY221" fmla="*/ 475274 h 479077"/>
                <a:gd name="connsiteX222" fmla="*/ 34300 w 3785642"/>
                <a:gd name="connsiteY222" fmla="*/ 475274 h 479077"/>
                <a:gd name="connsiteX223" fmla="*/ 17930 w 3785642"/>
                <a:gd name="connsiteY223" fmla="*/ 475770 h 479077"/>
                <a:gd name="connsiteX224" fmla="*/ 567 w 3785642"/>
                <a:gd name="connsiteY224" fmla="*/ 475770 h 479077"/>
                <a:gd name="connsiteX225" fmla="*/ 12969 w 3785642"/>
                <a:gd name="connsiteY225" fmla="*/ 463368 h 479077"/>
                <a:gd name="connsiteX226" fmla="*/ 24379 w 3785642"/>
                <a:gd name="connsiteY226" fmla="*/ 451958 h 479077"/>
                <a:gd name="connsiteX227" fmla="*/ 35788 w 3785642"/>
                <a:gd name="connsiteY227" fmla="*/ 440053 h 479077"/>
                <a:gd name="connsiteX228" fmla="*/ 48686 w 3785642"/>
                <a:gd name="connsiteY228" fmla="*/ 430131 h 479077"/>
                <a:gd name="connsiteX229" fmla="*/ 59600 w 3785642"/>
                <a:gd name="connsiteY229" fmla="*/ 418225 h 479077"/>
                <a:gd name="connsiteX230" fmla="*/ 70514 w 3785642"/>
                <a:gd name="connsiteY230" fmla="*/ 405823 h 479077"/>
                <a:gd name="connsiteX231" fmla="*/ 83412 w 3785642"/>
                <a:gd name="connsiteY231" fmla="*/ 395406 h 479077"/>
                <a:gd name="connsiteX232" fmla="*/ 94822 w 3785642"/>
                <a:gd name="connsiteY232" fmla="*/ 383500 h 479077"/>
                <a:gd name="connsiteX233" fmla="*/ 106728 w 3785642"/>
                <a:gd name="connsiteY233" fmla="*/ 372090 h 479077"/>
                <a:gd name="connsiteX234" fmla="*/ 117145 w 3785642"/>
                <a:gd name="connsiteY234" fmla="*/ 359688 h 479077"/>
                <a:gd name="connsiteX235" fmla="*/ 128555 w 3785642"/>
                <a:gd name="connsiteY235" fmla="*/ 348278 h 479077"/>
                <a:gd name="connsiteX236" fmla="*/ 140461 w 3785642"/>
                <a:gd name="connsiteY236" fmla="*/ 336868 h 479077"/>
                <a:gd name="connsiteX237" fmla="*/ 152863 w 3785642"/>
                <a:gd name="connsiteY237" fmla="*/ 326451 h 479077"/>
                <a:gd name="connsiteX238" fmla="*/ 164769 w 3785642"/>
                <a:gd name="connsiteY238" fmla="*/ 315041 h 479077"/>
                <a:gd name="connsiteX239" fmla="*/ 176178 w 3785642"/>
                <a:gd name="connsiteY239" fmla="*/ 303135 h 479077"/>
                <a:gd name="connsiteX240" fmla="*/ 188084 w 3785642"/>
                <a:gd name="connsiteY240" fmla="*/ 291725 h 479077"/>
                <a:gd name="connsiteX241" fmla="*/ 199494 w 3785642"/>
                <a:gd name="connsiteY241" fmla="*/ 280315 h 479077"/>
                <a:gd name="connsiteX242" fmla="*/ 210904 w 3785642"/>
                <a:gd name="connsiteY242" fmla="*/ 268906 h 479077"/>
                <a:gd name="connsiteX243" fmla="*/ 221818 w 3785642"/>
                <a:gd name="connsiteY243" fmla="*/ 256504 h 479077"/>
                <a:gd name="connsiteX244" fmla="*/ 233724 w 3785642"/>
                <a:gd name="connsiteY244" fmla="*/ 245094 h 479077"/>
                <a:gd name="connsiteX245" fmla="*/ 244141 w 3785642"/>
                <a:gd name="connsiteY245" fmla="*/ 232692 h 479077"/>
                <a:gd name="connsiteX246" fmla="*/ 257039 w 3785642"/>
                <a:gd name="connsiteY246" fmla="*/ 222770 h 479077"/>
                <a:gd name="connsiteX247" fmla="*/ 266961 w 3785642"/>
                <a:gd name="connsiteY247" fmla="*/ 209376 h 479077"/>
                <a:gd name="connsiteX248" fmla="*/ 278371 w 3785642"/>
                <a:gd name="connsiteY248" fmla="*/ 197966 h 479077"/>
                <a:gd name="connsiteX249" fmla="*/ 291269 w 3785642"/>
                <a:gd name="connsiteY249" fmla="*/ 188045 h 479077"/>
                <a:gd name="connsiteX250" fmla="*/ 301686 w 3785642"/>
                <a:gd name="connsiteY250" fmla="*/ 175147 h 479077"/>
                <a:gd name="connsiteX251" fmla="*/ 313592 w 3785642"/>
                <a:gd name="connsiteY251" fmla="*/ 163737 h 479077"/>
                <a:gd name="connsiteX252" fmla="*/ 325994 w 3785642"/>
                <a:gd name="connsiteY252" fmla="*/ 153319 h 479077"/>
                <a:gd name="connsiteX253" fmla="*/ 337404 w 3785642"/>
                <a:gd name="connsiteY253" fmla="*/ 141910 h 479077"/>
                <a:gd name="connsiteX254" fmla="*/ 347325 w 3785642"/>
                <a:gd name="connsiteY254" fmla="*/ 129012 h 479077"/>
                <a:gd name="connsiteX255" fmla="*/ 360224 w 3785642"/>
                <a:gd name="connsiteY255" fmla="*/ 118594 h 479077"/>
                <a:gd name="connsiteX256" fmla="*/ 371137 w 3785642"/>
                <a:gd name="connsiteY256" fmla="*/ 106192 h 479077"/>
                <a:gd name="connsiteX257" fmla="*/ 382051 w 3785642"/>
                <a:gd name="connsiteY257" fmla="*/ 93790 h 479077"/>
                <a:gd name="connsiteX258" fmla="*/ 393957 w 3785642"/>
                <a:gd name="connsiteY258" fmla="*/ 82380 h 479077"/>
                <a:gd name="connsiteX259" fmla="*/ 405366 w 3785642"/>
                <a:gd name="connsiteY259" fmla="*/ 70475 h 479077"/>
                <a:gd name="connsiteX260" fmla="*/ 417272 w 3785642"/>
                <a:gd name="connsiteY260" fmla="*/ 59561 h 479077"/>
                <a:gd name="connsiteX261" fmla="*/ 429674 w 3785642"/>
                <a:gd name="connsiteY261" fmla="*/ 48647 h 479077"/>
                <a:gd name="connsiteX262" fmla="*/ 440092 w 3785642"/>
                <a:gd name="connsiteY262" fmla="*/ 35749 h 479077"/>
                <a:gd name="connsiteX263" fmla="*/ 452494 w 3785642"/>
                <a:gd name="connsiteY263" fmla="*/ 24835 h 479077"/>
                <a:gd name="connsiteX264" fmla="*/ 463904 w 3785642"/>
                <a:gd name="connsiteY264" fmla="*/ 12929 h 479077"/>
                <a:gd name="connsiteX265" fmla="*/ 475313 w 3785642"/>
                <a:gd name="connsiteY265" fmla="*/ 1024 h 479077"/>
                <a:gd name="connsiteX266" fmla="*/ 491684 w 3785642"/>
                <a:gd name="connsiteY266" fmla="*/ 2512 h 479077"/>
                <a:gd name="connsiteX267" fmla="*/ 508055 w 3785642"/>
                <a:gd name="connsiteY267" fmla="*/ 2512 h 479077"/>
                <a:gd name="connsiteX268" fmla="*/ 524425 w 3785642"/>
                <a:gd name="connsiteY268" fmla="*/ 2512 h 479077"/>
                <a:gd name="connsiteX269" fmla="*/ 540796 w 3785642"/>
                <a:gd name="connsiteY269" fmla="*/ 1024 h 479077"/>
                <a:gd name="connsiteX270" fmla="*/ 557166 w 3785642"/>
                <a:gd name="connsiteY270" fmla="*/ 2512 h 479077"/>
                <a:gd name="connsiteX271" fmla="*/ 573537 w 3785642"/>
                <a:gd name="connsiteY271" fmla="*/ 1024 h 479077"/>
                <a:gd name="connsiteX272" fmla="*/ 589908 w 3785642"/>
                <a:gd name="connsiteY272" fmla="*/ 527 h 479077"/>
                <a:gd name="connsiteX273" fmla="*/ 606278 w 3785642"/>
                <a:gd name="connsiteY273" fmla="*/ 1520 h 479077"/>
                <a:gd name="connsiteX274" fmla="*/ 622649 w 3785642"/>
                <a:gd name="connsiteY274" fmla="*/ 1520 h 479077"/>
                <a:gd name="connsiteX275" fmla="*/ 639019 w 3785642"/>
                <a:gd name="connsiteY275" fmla="*/ 2016 h 479077"/>
                <a:gd name="connsiteX276" fmla="*/ 655390 w 3785642"/>
                <a:gd name="connsiteY276" fmla="*/ 527 h 479077"/>
                <a:gd name="connsiteX277" fmla="*/ 671760 w 3785642"/>
                <a:gd name="connsiteY277" fmla="*/ 1520 h 479077"/>
                <a:gd name="connsiteX278" fmla="*/ 688131 w 3785642"/>
                <a:gd name="connsiteY278" fmla="*/ 2512 h 479077"/>
                <a:gd name="connsiteX279" fmla="*/ 704501 w 3785642"/>
                <a:gd name="connsiteY279" fmla="*/ 1024 h 479077"/>
                <a:gd name="connsiteX280" fmla="*/ 720872 w 3785642"/>
                <a:gd name="connsiteY280" fmla="*/ 1520 h 479077"/>
                <a:gd name="connsiteX281" fmla="*/ 737243 w 3785642"/>
                <a:gd name="connsiteY281" fmla="*/ 2016 h 479077"/>
                <a:gd name="connsiteX282" fmla="*/ 753613 w 3785642"/>
                <a:gd name="connsiteY282" fmla="*/ 1024 h 479077"/>
                <a:gd name="connsiteX283" fmla="*/ 769984 w 3785642"/>
                <a:gd name="connsiteY283" fmla="*/ 527 h 479077"/>
                <a:gd name="connsiteX284" fmla="*/ 786354 w 3785642"/>
                <a:gd name="connsiteY284" fmla="*/ 1520 h 479077"/>
                <a:gd name="connsiteX285" fmla="*/ 802725 w 3785642"/>
                <a:gd name="connsiteY285" fmla="*/ 527 h 479077"/>
                <a:gd name="connsiteX286" fmla="*/ 819096 w 3785642"/>
                <a:gd name="connsiteY286" fmla="*/ 2512 h 479077"/>
                <a:gd name="connsiteX287" fmla="*/ 835466 w 3785642"/>
                <a:gd name="connsiteY287" fmla="*/ 527 h 479077"/>
                <a:gd name="connsiteX288" fmla="*/ 851837 w 3785642"/>
                <a:gd name="connsiteY288" fmla="*/ 1520 h 479077"/>
                <a:gd name="connsiteX289" fmla="*/ 868207 w 3785642"/>
                <a:gd name="connsiteY289" fmla="*/ 2016 h 479077"/>
                <a:gd name="connsiteX290" fmla="*/ 884578 w 3785642"/>
                <a:gd name="connsiteY290" fmla="*/ 2512 h 479077"/>
                <a:gd name="connsiteX291" fmla="*/ 900948 w 3785642"/>
                <a:gd name="connsiteY291" fmla="*/ 1520 h 479077"/>
                <a:gd name="connsiteX292" fmla="*/ 917319 w 3785642"/>
                <a:gd name="connsiteY292" fmla="*/ 1024 h 479077"/>
                <a:gd name="connsiteX293" fmla="*/ 933689 w 3785642"/>
                <a:gd name="connsiteY293" fmla="*/ 2512 h 479077"/>
                <a:gd name="connsiteX294" fmla="*/ 950060 w 3785642"/>
                <a:gd name="connsiteY294" fmla="*/ 1520 h 479077"/>
                <a:gd name="connsiteX295" fmla="*/ 966431 w 3785642"/>
                <a:gd name="connsiteY295" fmla="*/ 2016 h 479077"/>
                <a:gd name="connsiteX296" fmla="*/ 982801 w 3785642"/>
                <a:gd name="connsiteY296" fmla="*/ 2512 h 479077"/>
                <a:gd name="connsiteX297" fmla="*/ 999172 w 3785642"/>
                <a:gd name="connsiteY297" fmla="*/ 1520 h 479077"/>
                <a:gd name="connsiteX298" fmla="*/ 1015542 w 3785642"/>
                <a:gd name="connsiteY298" fmla="*/ 2512 h 479077"/>
                <a:gd name="connsiteX299" fmla="*/ 1031913 w 3785642"/>
                <a:gd name="connsiteY299" fmla="*/ 1520 h 479077"/>
                <a:gd name="connsiteX300" fmla="*/ 1048283 w 3785642"/>
                <a:gd name="connsiteY300" fmla="*/ 2016 h 479077"/>
                <a:gd name="connsiteX301" fmla="*/ 1064654 w 3785642"/>
                <a:gd name="connsiteY301" fmla="*/ 3504 h 479077"/>
                <a:gd name="connsiteX302" fmla="*/ 1081025 w 3785642"/>
                <a:gd name="connsiteY302" fmla="*/ 2016 h 479077"/>
                <a:gd name="connsiteX303" fmla="*/ 1097395 w 3785642"/>
                <a:gd name="connsiteY303" fmla="*/ 2512 h 479077"/>
                <a:gd name="connsiteX304" fmla="*/ 1113766 w 3785642"/>
                <a:gd name="connsiteY304" fmla="*/ 2512 h 479077"/>
                <a:gd name="connsiteX305" fmla="*/ 1130136 w 3785642"/>
                <a:gd name="connsiteY305" fmla="*/ 3504 h 479077"/>
                <a:gd name="connsiteX306" fmla="*/ 1146507 w 3785642"/>
                <a:gd name="connsiteY306" fmla="*/ 1520 h 479077"/>
                <a:gd name="connsiteX307" fmla="*/ 1162878 w 3785642"/>
                <a:gd name="connsiteY307" fmla="*/ 3008 h 479077"/>
                <a:gd name="connsiteX308" fmla="*/ 1179248 w 3785642"/>
                <a:gd name="connsiteY308" fmla="*/ 4000 h 479077"/>
                <a:gd name="connsiteX309" fmla="*/ 1195619 w 3785642"/>
                <a:gd name="connsiteY309" fmla="*/ 3504 h 479077"/>
                <a:gd name="connsiteX310" fmla="*/ 1211989 w 3785642"/>
                <a:gd name="connsiteY310" fmla="*/ 1520 h 479077"/>
                <a:gd name="connsiteX311" fmla="*/ 1228360 w 3785642"/>
                <a:gd name="connsiteY311" fmla="*/ 3504 h 479077"/>
                <a:gd name="connsiteX312" fmla="*/ 1244730 w 3785642"/>
                <a:gd name="connsiteY312" fmla="*/ 1520 h 479077"/>
                <a:gd name="connsiteX313" fmla="*/ 1261101 w 3785642"/>
                <a:gd name="connsiteY313" fmla="*/ 2512 h 479077"/>
                <a:gd name="connsiteX314" fmla="*/ 1277471 w 3785642"/>
                <a:gd name="connsiteY314" fmla="*/ 3504 h 479077"/>
                <a:gd name="connsiteX315" fmla="*/ 1293842 w 3785642"/>
                <a:gd name="connsiteY315" fmla="*/ 4000 h 479077"/>
                <a:gd name="connsiteX316" fmla="*/ 1310213 w 3785642"/>
                <a:gd name="connsiteY316" fmla="*/ 1520 h 479077"/>
                <a:gd name="connsiteX317" fmla="*/ 1326583 w 3785642"/>
                <a:gd name="connsiteY317" fmla="*/ 2016 h 479077"/>
                <a:gd name="connsiteX318" fmla="*/ 1342954 w 3785642"/>
                <a:gd name="connsiteY318" fmla="*/ 3008 h 479077"/>
                <a:gd name="connsiteX319" fmla="*/ 1359324 w 3785642"/>
                <a:gd name="connsiteY319" fmla="*/ 3008 h 479077"/>
                <a:gd name="connsiteX320" fmla="*/ 1375695 w 3785642"/>
                <a:gd name="connsiteY320" fmla="*/ 2512 h 479077"/>
                <a:gd name="connsiteX321" fmla="*/ 1392066 w 3785642"/>
                <a:gd name="connsiteY321" fmla="*/ 2512 h 479077"/>
                <a:gd name="connsiteX322" fmla="*/ 1408436 w 3785642"/>
                <a:gd name="connsiteY322" fmla="*/ 3504 h 479077"/>
                <a:gd name="connsiteX323" fmla="*/ 1424807 w 3785642"/>
                <a:gd name="connsiteY323" fmla="*/ 3504 h 479077"/>
                <a:gd name="connsiteX324" fmla="*/ 1441177 w 3785642"/>
                <a:gd name="connsiteY324" fmla="*/ 1520 h 479077"/>
                <a:gd name="connsiteX325" fmla="*/ 1457548 w 3785642"/>
                <a:gd name="connsiteY325" fmla="*/ 2512 h 479077"/>
                <a:gd name="connsiteX326" fmla="*/ 1473919 w 3785642"/>
                <a:gd name="connsiteY326" fmla="*/ 2016 h 479077"/>
                <a:gd name="connsiteX327" fmla="*/ 1490289 w 3785642"/>
                <a:gd name="connsiteY327" fmla="*/ 2016 h 479077"/>
                <a:gd name="connsiteX328" fmla="*/ 1506660 w 3785642"/>
                <a:gd name="connsiteY328" fmla="*/ 1520 h 479077"/>
                <a:gd name="connsiteX329" fmla="*/ 1523030 w 3785642"/>
                <a:gd name="connsiteY329" fmla="*/ 3504 h 479077"/>
                <a:gd name="connsiteX330" fmla="*/ 1539401 w 3785642"/>
                <a:gd name="connsiteY330" fmla="*/ 3008 h 479077"/>
                <a:gd name="connsiteX331" fmla="*/ 1555771 w 3785642"/>
                <a:gd name="connsiteY331" fmla="*/ 3008 h 479077"/>
                <a:gd name="connsiteX332" fmla="*/ 1572142 w 3785642"/>
                <a:gd name="connsiteY332" fmla="*/ 2512 h 479077"/>
                <a:gd name="connsiteX333" fmla="*/ 1588512 w 3785642"/>
                <a:gd name="connsiteY333" fmla="*/ 2016 h 479077"/>
                <a:gd name="connsiteX334" fmla="*/ 1604883 w 3785642"/>
                <a:gd name="connsiteY334" fmla="*/ 3008 h 479077"/>
                <a:gd name="connsiteX335" fmla="*/ 1621253 w 3785642"/>
                <a:gd name="connsiteY335" fmla="*/ 3008 h 479077"/>
                <a:gd name="connsiteX336" fmla="*/ 1637624 w 3785642"/>
                <a:gd name="connsiteY33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313375 w 3785642"/>
                <a:gd name="connsiteY9" fmla="*/ 10945 h 479077"/>
                <a:gd name="connsiteX10" fmla="*/ 3300973 w 3785642"/>
                <a:gd name="connsiteY10" fmla="*/ 21363 h 479077"/>
                <a:gd name="connsiteX11" fmla="*/ 3289068 w 3785642"/>
                <a:gd name="connsiteY11" fmla="*/ 32276 h 479077"/>
                <a:gd name="connsiteX12" fmla="*/ 3277658 w 3785642"/>
                <a:gd name="connsiteY12" fmla="*/ 43686 h 479077"/>
                <a:gd name="connsiteX13" fmla="*/ 3266248 w 3785642"/>
                <a:gd name="connsiteY13" fmla="*/ 55592 h 479077"/>
                <a:gd name="connsiteX14" fmla="*/ 3255830 w 3785642"/>
                <a:gd name="connsiteY14" fmla="*/ 68490 h 479077"/>
                <a:gd name="connsiteX15" fmla="*/ 3243924 w 3785642"/>
                <a:gd name="connsiteY15" fmla="*/ 79900 h 479077"/>
                <a:gd name="connsiteX16" fmla="*/ 3231522 w 3785642"/>
                <a:gd name="connsiteY16" fmla="*/ 90814 h 479077"/>
                <a:gd name="connsiteX17" fmla="*/ 3220609 w 3785642"/>
                <a:gd name="connsiteY17" fmla="*/ 102720 h 479077"/>
                <a:gd name="connsiteX18" fmla="*/ 3208207 w 3785642"/>
                <a:gd name="connsiteY18" fmla="*/ 113137 h 479077"/>
                <a:gd name="connsiteX19" fmla="*/ 3197293 w 3785642"/>
                <a:gd name="connsiteY19" fmla="*/ 125043 h 479077"/>
                <a:gd name="connsiteX20" fmla="*/ 3185387 w 3785642"/>
                <a:gd name="connsiteY20" fmla="*/ 136453 h 479077"/>
                <a:gd name="connsiteX21" fmla="*/ 3174970 w 3785642"/>
                <a:gd name="connsiteY21" fmla="*/ 148855 h 479077"/>
                <a:gd name="connsiteX22" fmla="*/ 3162071 w 3785642"/>
                <a:gd name="connsiteY22" fmla="*/ 159272 h 479077"/>
                <a:gd name="connsiteX23" fmla="*/ 3151158 w 3785642"/>
                <a:gd name="connsiteY23" fmla="*/ 171674 h 479077"/>
                <a:gd name="connsiteX24" fmla="*/ 3139252 w 3785642"/>
                <a:gd name="connsiteY24" fmla="*/ 182588 h 479077"/>
                <a:gd name="connsiteX25" fmla="*/ 3127843 w 3785642"/>
                <a:gd name="connsiteY25" fmla="*/ 194494 h 479077"/>
                <a:gd name="connsiteX26" fmla="*/ 3116432 w 3785642"/>
                <a:gd name="connsiteY26" fmla="*/ 205904 h 479077"/>
                <a:gd name="connsiteX27" fmla="*/ 3105022 w 3785642"/>
                <a:gd name="connsiteY27" fmla="*/ 217810 h 479077"/>
                <a:gd name="connsiteX28" fmla="*/ 3093117 w 3785642"/>
                <a:gd name="connsiteY28" fmla="*/ 229219 h 479077"/>
                <a:gd name="connsiteX29" fmla="*/ 3081707 w 3785642"/>
                <a:gd name="connsiteY29" fmla="*/ 240629 h 479077"/>
                <a:gd name="connsiteX30" fmla="*/ 3069305 w 3785642"/>
                <a:gd name="connsiteY30" fmla="*/ 251543 h 479077"/>
                <a:gd name="connsiteX31" fmla="*/ 3057895 w 3785642"/>
                <a:gd name="connsiteY31" fmla="*/ 263449 h 479077"/>
                <a:gd name="connsiteX32" fmla="*/ 3046486 w 3785642"/>
                <a:gd name="connsiteY32" fmla="*/ 275355 h 479077"/>
                <a:gd name="connsiteX33" fmla="*/ 3035572 w 3785642"/>
                <a:gd name="connsiteY33" fmla="*/ 287260 h 479077"/>
                <a:gd name="connsiteX34" fmla="*/ 3024658 w 3785642"/>
                <a:gd name="connsiteY34" fmla="*/ 299166 h 479077"/>
                <a:gd name="connsiteX35" fmla="*/ 3013248 w 3785642"/>
                <a:gd name="connsiteY35" fmla="*/ 311072 h 479077"/>
                <a:gd name="connsiteX36" fmla="*/ 3000350 w 3785642"/>
                <a:gd name="connsiteY36" fmla="*/ 321490 h 479077"/>
                <a:gd name="connsiteX37" fmla="*/ 2988941 w 3785642"/>
                <a:gd name="connsiteY37" fmla="*/ 333396 h 479077"/>
                <a:gd name="connsiteX38" fmla="*/ 2976539 w 3785642"/>
                <a:gd name="connsiteY38" fmla="*/ 344309 h 479077"/>
                <a:gd name="connsiteX39" fmla="*/ 2965129 w 3785642"/>
                <a:gd name="connsiteY39" fmla="*/ 356215 h 479077"/>
                <a:gd name="connsiteX40" fmla="*/ 2953223 w 3785642"/>
                <a:gd name="connsiteY40" fmla="*/ 367625 h 479077"/>
                <a:gd name="connsiteX41" fmla="*/ 2941813 w 3785642"/>
                <a:gd name="connsiteY41" fmla="*/ 379531 h 479077"/>
                <a:gd name="connsiteX42" fmla="*/ 2931395 w 3785642"/>
                <a:gd name="connsiteY42" fmla="*/ 392429 h 479077"/>
                <a:gd name="connsiteX43" fmla="*/ 2918497 w 3785642"/>
                <a:gd name="connsiteY43" fmla="*/ 402847 h 479077"/>
                <a:gd name="connsiteX44" fmla="*/ 2907584 w 3785642"/>
                <a:gd name="connsiteY44" fmla="*/ 415249 h 479077"/>
                <a:gd name="connsiteX45" fmla="*/ 2896174 w 3785642"/>
                <a:gd name="connsiteY45" fmla="*/ 426658 h 479077"/>
                <a:gd name="connsiteX46" fmla="*/ 2884268 w 3785642"/>
                <a:gd name="connsiteY46" fmla="*/ 438068 h 479077"/>
                <a:gd name="connsiteX47" fmla="*/ 2873354 w 3785642"/>
                <a:gd name="connsiteY47" fmla="*/ 450470 h 479077"/>
                <a:gd name="connsiteX48" fmla="*/ 2860952 w 3785642"/>
                <a:gd name="connsiteY48" fmla="*/ 461384 h 479077"/>
                <a:gd name="connsiteX49" fmla="*/ 2850039 w 3785642"/>
                <a:gd name="connsiteY49" fmla="*/ 473786 h 479077"/>
                <a:gd name="connsiteX50" fmla="*/ 2833668 w 3785642"/>
                <a:gd name="connsiteY50" fmla="*/ 473786 h 479077"/>
                <a:gd name="connsiteX51" fmla="*/ 2817297 w 3785642"/>
                <a:gd name="connsiteY51" fmla="*/ 473290 h 479077"/>
                <a:gd name="connsiteX52" fmla="*/ 2800927 w 3785642"/>
                <a:gd name="connsiteY52" fmla="*/ 473290 h 479077"/>
                <a:gd name="connsiteX53" fmla="*/ 2784556 w 3785642"/>
                <a:gd name="connsiteY53" fmla="*/ 473786 h 479077"/>
                <a:gd name="connsiteX54" fmla="*/ 2768186 w 3785642"/>
                <a:gd name="connsiteY54" fmla="*/ 474282 h 479077"/>
                <a:gd name="connsiteX55" fmla="*/ 2751815 w 3785642"/>
                <a:gd name="connsiteY55" fmla="*/ 474282 h 479077"/>
                <a:gd name="connsiteX56" fmla="*/ 2735444 w 3785642"/>
                <a:gd name="connsiteY56" fmla="*/ 473290 h 479077"/>
                <a:gd name="connsiteX57" fmla="*/ 2719074 w 3785642"/>
                <a:gd name="connsiteY57" fmla="*/ 474282 h 479077"/>
                <a:gd name="connsiteX58" fmla="*/ 2702703 w 3785642"/>
                <a:gd name="connsiteY58" fmla="*/ 472298 h 479077"/>
                <a:gd name="connsiteX59" fmla="*/ 2686333 w 3785642"/>
                <a:gd name="connsiteY59" fmla="*/ 472794 h 479077"/>
                <a:gd name="connsiteX60" fmla="*/ 2669962 w 3785642"/>
                <a:gd name="connsiteY60" fmla="*/ 474282 h 479077"/>
                <a:gd name="connsiteX61" fmla="*/ 2653592 w 3785642"/>
                <a:gd name="connsiteY61" fmla="*/ 472298 h 479077"/>
                <a:gd name="connsiteX62" fmla="*/ 2637221 w 3785642"/>
                <a:gd name="connsiteY62" fmla="*/ 474282 h 479077"/>
                <a:gd name="connsiteX63" fmla="*/ 2620851 w 3785642"/>
                <a:gd name="connsiteY63" fmla="*/ 474282 h 479077"/>
                <a:gd name="connsiteX64" fmla="*/ 2604480 w 3785642"/>
                <a:gd name="connsiteY64" fmla="*/ 472298 h 479077"/>
                <a:gd name="connsiteX65" fmla="*/ 2588109 w 3785642"/>
                <a:gd name="connsiteY65" fmla="*/ 473786 h 479077"/>
                <a:gd name="connsiteX66" fmla="*/ 2571739 w 3785642"/>
                <a:gd name="connsiteY66" fmla="*/ 472298 h 479077"/>
                <a:gd name="connsiteX67" fmla="*/ 2555368 w 3785642"/>
                <a:gd name="connsiteY67" fmla="*/ 473290 h 479077"/>
                <a:gd name="connsiteX68" fmla="*/ 2538998 w 3785642"/>
                <a:gd name="connsiteY68" fmla="*/ 474282 h 479077"/>
                <a:gd name="connsiteX69" fmla="*/ 2522627 w 3785642"/>
                <a:gd name="connsiteY69" fmla="*/ 473290 h 479077"/>
                <a:gd name="connsiteX70" fmla="*/ 2506257 w 3785642"/>
                <a:gd name="connsiteY70" fmla="*/ 474282 h 479077"/>
                <a:gd name="connsiteX71" fmla="*/ 2489886 w 3785642"/>
                <a:gd name="connsiteY71" fmla="*/ 473786 h 479077"/>
                <a:gd name="connsiteX72" fmla="*/ 2473516 w 3785642"/>
                <a:gd name="connsiteY72" fmla="*/ 474282 h 479077"/>
                <a:gd name="connsiteX73" fmla="*/ 2457145 w 3785642"/>
                <a:gd name="connsiteY73" fmla="*/ 472794 h 479077"/>
                <a:gd name="connsiteX74" fmla="*/ 2440775 w 3785642"/>
                <a:gd name="connsiteY74" fmla="*/ 472298 h 479077"/>
                <a:gd name="connsiteX75" fmla="*/ 2424404 w 3785642"/>
                <a:gd name="connsiteY75" fmla="*/ 473786 h 479077"/>
                <a:gd name="connsiteX76" fmla="*/ 2408033 w 3785642"/>
                <a:gd name="connsiteY76" fmla="*/ 472794 h 479077"/>
                <a:gd name="connsiteX77" fmla="*/ 2391663 w 3785642"/>
                <a:gd name="connsiteY77" fmla="*/ 473290 h 479077"/>
                <a:gd name="connsiteX78" fmla="*/ 2375292 w 3785642"/>
                <a:gd name="connsiteY78" fmla="*/ 473290 h 479077"/>
                <a:gd name="connsiteX79" fmla="*/ 2358922 w 3785642"/>
                <a:gd name="connsiteY79" fmla="*/ 472794 h 479077"/>
                <a:gd name="connsiteX80" fmla="*/ 2342551 w 3785642"/>
                <a:gd name="connsiteY80" fmla="*/ 472298 h 479077"/>
                <a:gd name="connsiteX81" fmla="*/ 2326180 w 3785642"/>
                <a:gd name="connsiteY81" fmla="*/ 473786 h 479077"/>
                <a:gd name="connsiteX82" fmla="*/ 2309810 w 3785642"/>
                <a:gd name="connsiteY82" fmla="*/ 473786 h 479077"/>
                <a:gd name="connsiteX83" fmla="*/ 2293439 w 3785642"/>
                <a:gd name="connsiteY83" fmla="*/ 473786 h 479077"/>
                <a:gd name="connsiteX84" fmla="*/ 2277069 w 3785642"/>
                <a:gd name="connsiteY84" fmla="*/ 472794 h 479077"/>
                <a:gd name="connsiteX85" fmla="*/ 2260698 w 3785642"/>
                <a:gd name="connsiteY85" fmla="*/ 474282 h 479077"/>
                <a:gd name="connsiteX86" fmla="*/ 2244327 w 3785642"/>
                <a:gd name="connsiteY86" fmla="*/ 472298 h 479077"/>
                <a:gd name="connsiteX87" fmla="*/ 2227957 w 3785642"/>
                <a:gd name="connsiteY87" fmla="*/ 474282 h 479077"/>
                <a:gd name="connsiteX88" fmla="*/ 2211586 w 3785642"/>
                <a:gd name="connsiteY88" fmla="*/ 473290 h 479077"/>
                <a:gd name="connsiteX89" fmla="*/ 2195216 w 3785642"/>
                <a:gd name="connsiteY89" fmla="*/ 474282 h 479077"/>
                <a:gd name="connsiteX90" fmla="*/ 2178845 w 3785642"/>
                <a:gd name="connsiteY90" fmla="*/ 472794 h 479077"/>
                <a:gd name="connsiteX91" fmla="*/ 2162474 w 3785642"/>
                <a:gd name="connsiteY91" fmla="*/ 474778 h 479077"/>
                <a:gd name="connsiteX92" fmla="*/ 2146104 w 3785642"/>
                <a:gd name="connsiteY92" fmla="*/ 473290 h 479077"/>
                <a:gd name="connsiteX93" fmla="*/ 2129733 w 3785642"/>
                <a:gd name="connsiteY93" fmla="*/ 474778 h 479077"/>
                <a:gd name="connsiteX94" fmla="*/ 2113363 w 3785642"/>
                <a:gd name="connsiteY94" fmla="*/ 474778 h 479077"/>
                <a:gd name="connsiteX95" fmla="*/ 2096992 w 3785642"/>
                <a:gd name="connsiteY95" fmla="*/ 474778 h 479077"/>
                <a:gd name="connsiteX96" fmla="*/ 2080621 w 3785642"/>
                <a:gd name="connsiteY96" fmla="*/ 474282 h 479077"/>
                <a:gd name="connsiteX97" fmla="*/ 2064251 w 3785642"/>
                <a:gd name="connsiteY97" fmla="*/ 472794 h 479077"/>
                <a:gd name="connsiteX98" fmla="*/ 2047880 w 3785642"/>
                <a:gd name="connsiteY98" fmla="*/ 474778 h 479077"/>
                <a:gd name="connsiteX99" fmla="*/ 2031510 w 3785642"/>
                <a:gd name="connsiteY99" fmla="*/ 474778 h 479077"/>
                <a:gd name="connsiteX100" fmla="*/ 2015139 w 3785642"/>
                <a:gd name="connsiteY100" fmla="*/ 474778 h 479077"/>
                <a:gd name="connsiteX101" fmla="*/ 1998769 w 3785642"/>
                <a:gd name="connsiteY101" fmla="*/ 474282 h 479077"/>
                <a:gd name="connsiteX102" fmla="*/ 1982398 w 3785642"/>
                <a:gd name="connsiteY102" fmla="*/ 473786 h 479077"/>
                <a:gd name="connsiteX103" fmla="*/ 1966028 w 3785642"/>
                <a:gd name="connsiteY103" fmla="*/ 473786 h 479077"/>
                <a:gd name="connsiteX104" fmla="*/ 1949657 w 3785642"/>
                <a:gd name="connsiteY104" fmla="*/ 472794 h 479077"/>
                <a:gd name="connsiteX105" fmla="*/ 1933287 w 3785642"/>
                <a:gd name="connsiteY105" fmla="*/ 473290 h 479077"/>
                <a:gd name="connsiteX106" fmla="*/ 1916916 w 3785642"/>
                <a:gd name="connsiteY106" fmla="*/ 474778 h 479077"/>
                <a:gd name="connsiteX107" fmla="*/ 1900546 w 3785642"/>
                <a:gd name="connsiteY107" fmla="*/ 472794 h 479077"/>
                <a:gd name="connsiteX108" fmla="*/ 1884175 w 3785642"/>
                <a:gd name="connsiteY108" fmla="*/ 473786 h 479077"/>
                <a:gd name="connsiteX109" fmla="*/ 1867804 w 3785642"/>
                <a:gd name="connsiteY109" fmla="*/ 474778 h 479077"/>
                <a:gd name="connsiteX110" fmla="*/ 1851434 w 3785642"/>
                <a:gd name="connsiteY110" fmla="*/ 474778 h 479077"/>
                <a:gd name="connsiteX111" fmla="*/ 1835063 w 3785642"/>
                <a:gd name="connsiteY111" fmla="*/ 474778 h 479077"/>
                <a:gd name="connsiteX112" fmla="*/ 1818693 w 3785642"/>
                <a:gd name="connsiteY112" fmla="*/ 474282 h 479077"/>
                <a:gd name="connsiteX113" fmla="*/ 1802322 w 3785642"/>
                <a:gd name="connsiteY113" fmla="*/ 472794 h 479077"/>
                <a:gd name="connsiteX114" fmla="*/ 1785951 w 3785642"/>
                <a:gd name="connsiteY114" fmla="*/ 473786 h 479077"/>
                <a:gd name="connsiteX115" fmla="*/ 1769581 w 3785642"/>
                <a:gd name="connsiteY115" fmla="*/ 473290 h 479077"/>
                <a:gd name="connsiteX116" fmla="*/ 1753210 w 3785642"/>
                <a:gd name="connsiteY116" fmla="*/ 472298 h 479077"/>
                <a:gd name="connsiteX117" fmla="*/ 1736840 w 3785642"/>
                <a:gd name="connsiteY117" fmla="*/ 473290 h 479077"/>
                <a:gd name="connsiteX118" fmla="*/ 1720469 w 3785642"/>
                <a:gd name="connsiteY118" fmla="*/ 474778 h 479077"/>
                <a:gd name="connsiteX119" fmla="*/ 1704098 w 3785642"/>
                <a:gd name="connsiteY119" fmla="*/ 472794 h 479077"/>
                <a:gd name="connsiteX120" fmla="*/ 1687728 w 3785642"/>
                <a:gd name="connsiteY120" fmla="*/ 474778 h 479077"/>
                <a:gd name="connsiteX121" fmla="*/ 1671357 w 3785642"/>
                <a:gd name="connsiteY121" fmla="*/ 474778 h 479077"/>
                <a:gd name="connsiteX122" fmla="*/ 1654987 w 3785642"/>
                <a:gd name="connsiteY122" fmla="*/ 472298 h 479077"/>
                <a:gd name="connsiteX123" fmla="*/ 1638616 w 3785642"/>
                <a:gd name="connsiteY123" fmla="*/ 472794 h 479077"/>
                <a:gd name="connsiteX124" fmla="*/ 1622246 w 3785642"/>
                <a:gd name="connsiteY124" fmla="*/ 473786 h 479077"/>
                <a:gd name="connsiteX125" fmla="*/ 1605875 w 3785642"/>
                <a:gd name="connsiteY125" fmla="*/ 474778 h 479077"/>
                <a:gd name="connsiteX126" fmla="*/ 1589505 w 3785642"/>
                <a:gd name="connsiteY126" fmla="*/ 473290 h 479077"/>
                <a:gd name="connsiteX127" fmla="*/ 1573134 w 3785642"/>
                <a:gd name="connsiteY127" fmla="*/ 474778 h 479077"/>
                <a:gd name="connsiteX128" fmla="*/ 1556763 w 3785642"/>
                <a:gd name="connsiteY128" fmla="*/ 472794 h 479077"/>
                <a:gd name="connsiteX129" fmla="*/ 1540393 w 3785642"/>
                <a:gd name="connsiteY129" fmla="*/ 472794 h 479077"/>
                <a:gd name="connsiteX130" fmla="*/ 1524022 w 3785642"/>
                <a:gd name="connsiteY130" fmla="*/ 474282 h 479077"/>
                <a:gd name="connsiteX131" fmla="*/ 1507652 w 3785642"/>
                <a:gd name="connsiteY131" fmla="*/ 472794 h 479077"/>
                <a:gd name="connsiteX132" fmla="*/ 1491281 w 3785642"/>
                <a:gd name="connsiteY132" fmla="*/ 474282 h 479077"/>
                <a:gd name="connsiteX133" fmla="*/ 1474910 w 3785642"/>
                <a:gd name="connsiteY133" fmla="*/ 474282 h 479077"/>
                <a:gd name="connsiteX134" fmla="*/ 1458540 w 3785642"/>
                <a:gd name="connsiteY134" fmla="*/ 472794 h 479077"/>
                <a:gd name="connsiteX135" fmla="*/ 1442169 w 3785642"/>
                <a:gd name="connsiteY135" fmla="*/ 471802 h 479077"/>
                <a:gd name="connsiteX136" fmla="*/ 1425799 w 3785642"/>
                <a:gd name="connsiteY136" fmla="*/ 472298 h 479077"/>
                <a:gd name="connsiteX137" fmla="*/ 1409428 w 3785642"/>
                <a:gd name="connsiteY137" fmla="*/ 472794 h 479077"/>
                <a:gd name="connsiteX138" fmla="*/ 1393058 w 3785642"/>
                <a:gd name="connsiteY138" fmla="*/ 473786 h 479077"/>
                <a:gd name="connsiteX139" fmla="*/ 1376687 w 3785642"/>
                <a:gd name="connsiteY139" fmla="*/ 471802 h 479077"/>
                <a:gd name="connsiteX140" fmla="*/ 1360317 w 3785642"/>
                <a:gd name="connsiteY140" fmla="*/ 473786 h 479077"/>
                <a:gd name="connsiteX141" fmla="*/ 1343946 w 3785642"/>
                <a:gd name="connsiteY141" fmla="*/ 473786 h 479077"/>
                <a:gd name="connsiteX142" fmla="*/ 1327576 w 3785642"/>
                <a:gd name="connsiteY142" fmla="*/ 472794 h 479077"/>
                <a:gd name="connsiteX143" fmla="*/ 1311205 w 3785642"/>
                <a:gd name="connsiteY143" fmla="*/ 473786 h 479077"/>
                <a:gd name="connsiteX144" fmla="*/ 1294834 w 3785642"/>
                <a:gd name="connsiteY144" fmla="*/ 473786 h 479077"/>
                <a:gd name="connsiteX145" fmla="*/ 1278464 w 3785642"/>
                <a:gd name="connsiteY145" fmla="*/ 473786 h 479077"/>
                <a:gd name="connsiteX146" fmla="*/ 1262093 w 3785642"/>
                <a:gd name="connsiteY146" fmla="*/ 473786 h 479077"/>
                <a:gd name="connsiteX147" fmla="*/ 1245723 w 3785642"/>
                <a:gd name="connsiteY147" fmla="*/ 473290 h 479077"/>
                <a:gd name="connsiteX148" fmla="*/ 1229352 w 3785642"/>
                <a:gd name="connsiteY148" fmla="*/ 472794 h 479077"/>
                <a:gd name="connsiteX149" fmla="*/ 1212981 w 3785642"/>
                <a:gd name="connsiteY149" fmla="*/ 473786 h 479077"/>
                <a:gd name="connsiteX150" fmla="*/ 1196611 w 3785642"/>
                <a:gd name="connsiteY150" fmla="*/ 472298 h 479077"/>
                <a:gd name="connsiteX151" fmla="*/ 1180240 w 3785642"/>
                <a:gd name="connsiteY151" fmla="*/ 472794 h 479077"/>
                <a:gd name="connsiteX152" fmla="*/ 1163870 w 3785642"/>
                <a:gd name="connsiteY152" fmla="*/ 472794 h 479077"/>
                <a:gd name="connsiteX153" fmla="*/ 1147499 w 3785642"/>
                <a:gd name="connsiteY153" fmla="*/ 473786 h 479077"/>
                <a:gd name="connsiteX154" fmla="*/ 1131128 w 3785642"/>
                <a:gd name="connsiteY154" fmla="*/ 473786 h 479077"/>
                <a:gd name="connsiteX155" fmla="*/ 1114758 w 3785642"/>
                <a:gd name="connsiteY155" fmla="*/ 472794 h 479077"/>
                <a:gd name="connsiteX156" fmla="*/ 1098387 w 3785642"/>
                <a:gd name="connsiteY156" fmla="*/ 473786 h 479077"/>
                <a:gd name="connsiteX157" fmla="*/ 1082017 w 3785642"/>
                <a:gd name="connsiteY157" fmla="*/ 474778 h 479077"/>
                <a:gd name="connsiteX158" fmla="*/ 1065646 w 3785642"/>
                <a:gd name="connsiteY158" fmla="*/ 474778 h 479077"/>
                <a:gd name="connsiteX159" fmla="*/ 1049276 w 3785642"/>
                <a:gd name="connsiteY159" fmla="*/ 474282 h 479077"/>
                <a:gd name="connsiteX160" fmla="*/ 1032905 w 3785642"/>
                <a:gd name="connsiteY160" fmla="*/ 473290 h 479077"/>
                <a:gd name="connsiteX161" fmla="*/ 1016535 w 3785642"/>
                <a:gd name="connsiteY161" fmla="*/ 474282 h 479077"/>
                <a:gd name="connsiteX162" fmla="*/ 1000164 w 3785642"/>
                <a:gd name="connsiteY162" fmla="*/ 474282 h 479077"/>
                <a:gd name="connsiteX163" fmla="*/ 983793 w 3785642"/>
                <a:gd name="connsiteY163" fmla="*/ 472794 h 479077"/>
                <a:gd name="connsiteX164" fmla="*/ 967423 w 3785642"/>
                <a:gd name="connsiteY164" fmla="*/ 472794 h 479077"/>
                <a:gd name="connsiteX165" fmla="*/ 951052 w 3785642"/>
                <a:gd name="connsiteY165" fmla="*/ 473786 h 479077"/>
                <a:gd name="connsiteX166" fmla="*/ 934682 w 3785642"/>
                <a:gd name="connsiteY166" fmla="*/ 474282 h 479077"/>
                <a:gd name="connsiteX167" fmla="*/ 918311 w 3785642"/>
                <a:gd name="connsiteY167" fmla="*/ 474778 h 479077"/>
                <a:gd name="connsiteX168" fmla="*/ 901940 w 3785642"/>
                <a:gd name="connsiteY168" fmla="*/ 473290 h 479077"/>
                <a:gd name="connsiteX169" fmla="*/ 885570 w 3785642"/>
                <a:gd name="connsiteY169" fmla="*/ 474778 h 479077"/>
                <a:gd name="connsiteX170" fmla="*/ 869199 w 3785642"/>
                <a:gd name="connsiteY170" fmla="*/ 474282 h 479077"/>
                <a:gd name="connsiteX171" fmla="*/ 852829 w 3785642"/>
                <a:gd name="connsiteY171" fmla="*/ 473786 h 479077"/>
                <a:gd name="connsiteX172" fmla="*/ 836458 w 3785642"/>
                <a:gd name="connsiteY172" fmla="*/ 474778 h 479077"/>
                <a:gd name="connsiteX173" fmla="*/ 820088 w 3785642"/>
                <a:gd name="connsiteY173" fmla="*/ 475274 h 479077"/>
                <a:gd name="connsiteX174" fmla="*/ 803717 w 3785642"/>
                <a:gd name="connsiteY174" fmla="*/ 473786 h 479077"/>
                <a:gd name="connsiteX175" fmla="*/ 787347 w 3785642"/>
                <a:gd name="connsiteY175" fmla="*/ 475770 h 479077"/>
                <a:gd name="connsiteX176" fmla="*/ 770976 w 3785642"/>
                <a:gd name="connsiteY176" fmla="*/ 474778 h 479077"/>
                <a:gd name="connsiteX177" fmla="*/ 754605 w 3785642"/>
                <a:gd name="connsiteY177" fmla="*/ 475274 h 479077"/>
                <a:gd name="connsiteX178" fmla="*/ 738235 w 3785642"/>
                <a:gd name="connsiteY178" fmla="*/ 473786 h 479077"/>
                <a:gd name="connsiteX179" fmla="*/ 721864 w 3785642"/>
                <a:gd name="connsiteY179" fmla="*/ 475274 h 479077"/>
                <a:gd name="connsiteX180" fmla="*/ 705494 w 3785642"/>
                <a:gd name="connsiteY180" fmla="*/ 475770 h 479077"/>
                <a:gd name="connsiteX181" fmla="*/ 689123 w 3785642"/>
                <a:gd name="connsiteY181" fmla="*/ 474282 h 479077"/>
                <a:gd name="connsiteX182" fmla="*/ 672753 w 3785642"/>
                <a:gd name="connsiteY182" fmla="*/ 475274 h 479077"/>
                <a:gd name="connsiteX183" fmla="*/ 656382 w 3785642"/>
                <a:gd name="connsiteY183" fmla="*/ 474778 h 479077"/>
                <a:gd name="connsiteX184" fmla="*/ 640011 w 3785642"/>
                <a:gd name="connsiteY184" fmla="*/ 475770 h 479077"/>
                <a:gd name="connsiteX185" fmla="*/ 623641 w 3785642"/>
                <a:gd name="connsiteY185" fmla="*/ 473786 h 479077"/>
                <a:gd name="connsiteX186" fmla="*/ 607270 w 3785642"/>
                <a:gd name="connsiteY186" fmla="*/ 474778 h 479077"/>
                <a:gd name="connsiteX187" fmla="*/ 590900 w 3785642"/>
                <a:gd name="connsiteY187" fmla="*/ 475274 h 479077"/>
                <a:gd name="connsiteX188" fmla="*/ 574529 w 3785642"/>
                <a:gd name="connsiteY188" fmla="*/ 474282 h 479077"/>
                <a:gd name="connsiteX189" fmla="*/ 558158 w 3785642"/>
                <a:gd name="connsiteY189" fmla="*/ 475274 h 479077"/>
                <a:gd name="connsiteX190" fmla="*/ 541788 w 3785642"/>
                <a:gd name="connsiteY190" fmla="*/ 475770 h 479077"/>
                <a:gd name="connsiteX191" fmla="*/ 525417 w 3785642"/>
                <a:gd name="connsiteY191" fmla="*/ 474282 h 479077"/>
                <a:gd name="connsiteX192" fmla="*/ 509047 w 3785642"/>
                <a:gd name="connsiteY192" fmla="*/ 473786 h 479077"/>
                <a:gd name="connsiteX193" fmla="*/ 492676 w 3785642"/>
                <a:gd name="connsiteY193" fmla="*/ 473786 h 479077"/>
                <a:gd name="connsiteX194" fmla="*/ 476306 w 3785642"/>
                <a:gd name="connsiteY194" fmla="*/ 474778 h 479077"/>
                <a:gd name="connsiteX195" fmla="*/ 459935 w 3785642"/>
                <a:gd name="connsiteY195" fmla="*/ 473786 h 479077"/>
                <a:gd name="connsiteX196" fmla="*/ 443565 w 3785642"/>
                <a:gd name="connsiteY196" fmla="*/ 474778 h 479077"/>
                <a:gd name="connsiteX197" fmla="*/ 427194 w 3785642"/>
                <a:gd name="connsiteY197" fmla="*/ 474282 h 479077"/>
                <a:gd name="connsiteX198" fmla="*/ 410823 w 3785642"/>
                <a:gd name="connsiteY198" fmla="*/ 473290 h 479077"/>
                <a:gd name="connsiteX199" fmla="*/ 394453 w 3785642"/>
                <a:gd name="connsiteY199" fmla="*/ 475770 h 479077"/>
                <a:gd name="connsiteX200" fmla="*/ 378082 w 3785642"/>
                <a:gd name="connsiteY200" fmla="*/ 475274 h 479077"/>
                <a:gd name="connsiteX201" fmla="*/ 361712 w 3785642"/>
                <a:gd name="connsiteY201" fmla="*/ 474778 h 479077"/>
                <a:gd name="connsiteX202" fmla="*/ 345341 w 3785642"/>
                <a:gd name="connsiteY202" fmla="*/ 476266 h 479077"/>
                <a:gd name="connsiteX203" fmla="*/ 328970 w 3785642"/>
                <a:gd name="connsiteY203" fmla="*/ 474282 h 479077"/>
                <a:gd name="connsiteX204" fmla="*/ 312600 w 3785642"/>
                <a:gd name="connsiteY204" fmla="*/ 475274 h 479077"/>
                <a:gd name="connsiteX205" fmla="*/ 296229 w 3785642"/>
                <a:gd name="connsiteY205" fmla="*/ 474282 h 479077"/>
                <a:gd name="connsiteX206" fmla="*/ 279859 w 3785642"/>
                <a:gd name="connsiteY206" fmla="*/ 475770 h 479077"/>
                <a:gd name="connsiteX207" fmla="*/ 263488 w 3785642"/>
                <a:gd name="connsiteY207" fmla="*/ 476266 h 479077"/>
                <a:gd name="connsiteX208" fmla="*/ 247118 w 3785642"/>
                <a:gd name="connsiteY208" fmla="*/ 476266 h 479077"/>
                <a:gd name="connsiteX209" fmla="*/ 230747 w 3785642"/>
                <a:gd name="connsiteY209" fmla="*/ 474778 h 479077"/>
                <a:gd name="connsiteX210" fmla="*/ 214376 w 3785642"/>
                <a:gd name="connsiteY210" fmla="*/ 474778 h 479077"/>
                <a:gd name="connsiteX211" fmla="*/ 198006 w 3785642"/>
                <a:gd name="connsiteY211" fmla="*/ 476762 h 479077"/>
                <a:gd name="connsiteX212" fmla="*/ 181635 w 3785642"/>
                <a:gd name="connsiteY212" fmla="*/ 476266 h 479077"/>
                <a:gd name="connsiteX213" fmla="*/ 165265 w 3785642"/>
                <a:gd name="connsiteY213" fmla="*/ 474778 h 479077"/>
                <a:gd name="connsiteX214" fmla="*/ 148894 w 3785642"/>
                <a:gd name="connsiteY214" fmla="*/ 476762 h 479077"/>
                <a:gd name="connsiteX215" fmla="*/ 132524 w 3785642"/>
                <a:gd name="connsiteY215" fmla="*/ 476266 h 479077"/>
                <a:gd name="connsiteX216" fmla="*/ 116153 w 3785642"/>
                <a:gd name="connsiteY216" fmla="*/ 475274 h 479077"/>
                <a:gd name="connsiteX217" fmla="*/ 99783 w 3785642"/>
                <a:gd name="connsiteY217" fmla="*/ 475274 h 479077"/>
                <a:gd name="connsiteX218" fmla="*/ 83412 w 3785642"/>
                <a:gd name="connsiteY218" fmla="*/ 475274 h 479077"/>
                <a:gd name="connsiteX219" fmla="*/ 67041 w 3785642"/>
                <a:gd name="connsiteY219" fmla="*/ 474778 h 479077"/>
                <a:gd name="connsiteX220" fmla="*/ 50671 w 3785642"/>
                <a:gd name="connsiteY220" fmla="*/ 475274 h 479077"/>
                <a:gd name="connsiteX221" fmla="*/ 34300 w 3785642"/>
                <a:gd name="connsiteY221" fmla="*/ 475274 h 479077"/>
                <a:gd name="connsiteX222" fmla="*/ 17930 w 3785642"/>
                <a:gd name="connsiteY222" fmla="*/ 475770 h 479077"/>
                <a:gd name="connsiteX223" fmla="*/ 567 w 3785642"/>
                <a:gd name="connsiteY223" fmla="*/ 475770 h 479077"/>
                <a:gd name="connsiteX224" fmla="*/ 12969 w 3785642"/>
                <a:gd name="connsiteY224" fmla="*/ 463368 h 479077"/>
                <a:gd name="connsiteX225" fmla="*/ 24379 w 3785642"/>
                <a:gd name="connsiteY225" fmla="*/ 451958 h 479077"/>
                <a:gd name="connsiteX226" fmla="*/ 35788 w 3785642"/>
                <a:gd name="connsiteY226" fmla="*/ 440053 h 479077"/>
                <a:gd name="connsiteX227" fmla="*/ 48686 w 3785642"/>
                <a:gd name="connsiteY227" fmla="*/ 430131 h 479077"/>
                <a:gd name="connsiteX228" fmla="*/ 59600 w 3785642"/>
                <a:gd name="connsiteY228" fmla="*/ 418225 h 479077"/>
                <a:gd name="connsiteX229" fmla="*/ 70514 w 3785642"/>
                <a:gd name="connsiteY229" fmla="*/ 405823 h 479077"/>
                <a:gd name="connsiteX230" fmla="*/ 83412 w 3785642"/>
                <a:gd name="connsiteY230" fmla="*/ 395406 h 479077"/>
                <a:gd name="connsiteX231" fmla="*/ 94822 w 3785642"/>
                <a:gd name="connsiteY231" fmla="*/ 383500 h 479077"/>
                <a:gd name="connsiteX232" fmla="*/ 106728 w 3785642"/>
                <a:gd name="connsiteY232" fmla="*/ 372090 h 479077"/>
                <a:gd name="connsiteX233" fmla="*/ 117145 w 3785642"/>
                <a:gd name="connsiteY233" fmla="*/ 359688 h 479077"/>
                <a:gd name="connsiteX234" fmla="*/ 128555 w 3785642"/>
                <a:gd name="connsiteY234" fmla="*/ 348278 h 479077"/>
                <a:gd name="connsiteX235" fmla="*/ 140461 w 3785642"/>
                <a:gd name="connsiteY235" fmla="*/ 336868 h 479077"/>
                <a:gd name="connsiteX236" fmla="*/ 152863 w 3785642"/>
                <a:gd name="connsiteY236" fmla="*/ 326451 h 479077"/>
                <a:gd name="connsiteX237" fmla="*/ 164769 w 3785642"/>
                <a:gd name="connsiteY237" fmla="*/ 315041 h 479077"/>
                <a:gd name="connsiteX238" fmla="*/ 176178 w 3785642"/>
                <a:gd name="connsiteY238" fmla="*/ 303135 h 479077"/>
                <a:gd name="connsiteX239" fmla="*/ 188084 w 3785642"/>
                <a:gd name="connsiteY239" fmla="*/ 291725 h 479077"/>
                <a:gd name="connsiteX240" fmla="*/ 199494 w 3785642"/>
                <a:gd name="connsiteY240" fmla="*/ 280315 h 479077"/>
                <a:gd name="connsiteX241" fmla="*/ 210904 w 3785642"/>
                <a:gd name="connsiteY241" fmla="*/ 268906 h 479077"/>
                <a:gd name="connsiteX242" fmla="*/ 221818 w 3785642"/>
                <a:gd name="connsiteY242" fmla="*/ 256504 h 479077"/>
                <a:gd name="connsiteX243" fmla="*/ 233724 w 3785642"/>
                <a:gd name="connsiteY243" fmla="*/ 245094 h 479077"/>
                <a:gd name="connsiteX244" fmla="*/ 244141 w 3785642"/>
                <a:gd name="connsiteY244" fmla="*/ 232692 h 479077"/>
                <a:gd name="connsiteX245" fmla="*/ 257039 w 3785642"/>
                <a:gd name="connsiteY245" fmla="*/ 222770 h 479077"/>
                <a:gd name="connsiteX246" fmla="*/ 266961 w 3785642"/>
                <a:gd name="connsiteY246" fmla="*/ 209376 h 479077"/>
                <a:gd name="connsiteX247" fmla="*/ 278371 w 3785642"/>
                <a:gd name="connsiteY247" fmla="*/ 197966 h 479077"/>
                <a:gd name="connsiteX248" fmla="*/ 291269 w 3785642"/>
                <a:gd name="connsiteY248" fmla="*/ 188045 h 479077"/>
                <a:gd name="connsiteX249" fmla="*/ 301686 w 3785642"/>
                <a:gd name="connsiteY249" fmla="*/ 175147 h 479077"/>
                <a:gd name="connsiteX250" fmla="*/ 313592 w 3785642"/>
                <a:gd name="connsiteY250" fmla="*/ 163737 h 479077"/>
                <a:gd name="connsiteX251" fmla="*/ 325994 w 3785642"/>
                <a:gd name="connsiteY251" fmla="*/ 153319 h 479077"/>
                <a:gd name="connsiteX252" fmla="*/ 337404 w 3785642"/>
                <a:gd name="connsiteY252" fmla="*/ 141910 h 479077"/>
                <a:gd name="connsiteX253" fmla="*/ 347325 w 3785642"/>
                <a:gd name="connsiteY253" fmla="*/ 129012 h 479077"/>
                <a:gd name="connsiteX254" fmla="*/ 360224 w 3785642"/>
                <a:gd name="connsiteY254" fmla="*/ 118594 h 479077"/>
                <a:gd name="connsiteX255" fmla="*/ 371137 w 3785642"/>
                <a:gd name="connsiteY255" fmla="*/ 106192 h 479077"/>
                <a:gd name="connsiteX256" fmla="*/ 382051 w 3785642"/>
                <a:gd name="connsiteY256" fmla="*/ 93790 h 479077"/>
                <a:gd name="connsiteX257" fmla="*/ 393957 w 3785642"/>
                <a:gd name="connsiteY257" fmla="*/ 82380 h 479077"/>
                <a:gd name="connsiteX258" fmla="*/ 405366 w 3785642"/>
                <a:gd name="connsiteY258" fmla="*/ 70475 h 479077"/>
                <a:gd name="connsiteX259" fmla="*/ 417272 w 3785642"/>
                <a:gd name="connsiteY259" fmla="*/ 59561 h 479077"/>
                <a:gd name="connsiteX260" fmla="*/ 429674 w 3785642"/>
                <a:gd name="connsiteY260" fmla="*/ 48647 h 479077"/>
                <a:gd name="connsiteX261" fmla="*/ 440092 w 3785642"/>
                <a:gd name="connsiteY261" fmla="*/ 35749 h 479077"/>
                <a:gd name="connsiteX262" fmla="*/ 452494 w 3785642"/>
                <a:gd name="connsiteY262" fmla="*/ 24835 h 479077"/>
                <a:gd name="connsiteX263" fmla="*/ 463904 w 3785642"/>
                <a:gd name="connsiteY263" fmla="*/ 12929 h 479077"/>
                <a:gd name="connsiteX264" fmla="*/ 475313 w 3785642"/>
                <a:gd name="connsiteY264" fmla="*/ 1024 h 479077"/>
                <a:gd name="connsiteX265" fmla="*/ 491684 w 3785642"/>
                <a:gd name="connsiteY265" fmla="*/ 2512 h 479077"/>
                <a:gd name="connsiteX266" fmla="*/ 508055 w 3785642"/>
                <a:gd name="connsiteY266" fmla="*/ 2512 h 479077"/>
                <a:gd name="connsiteX267" fmla="*/ 524425 w 3785642"/>
                <a:gd name="connsiteY267" fmla="*/ 2512 h 479077"/>
                <a:gd name="connsiteX268" fmla="*/ 540796 w 3785642"/>
                <a:gd name="connsiteY268" fmla="*/ 1024 h 479077"/>
                <a:gd name="connsiteX269" fmla="*/ 557166 w 3785642"/>
                <a:gd name="connsiteY269" fmla="*/ 2512 h 479077"/>
                <a:gd name="connsiteX270" fmla="*/ 573537 w 3785642"/>
                <a:gd name="connsiteY270" fmla="*/ 1024 h 479077"/>
                <a:gd name="connsiteX271" fmla="*/ 589908 w 3785642"/>
                <a:gd name="connsiteY271" fmla="*/ 527 h 479077"/>
                <a:gd name="connsiteX272" fmla="*/ 606278 w 3785642"/>
                <a:gd name="connsiteY272" fmla="*/ 1520 h 479077"/>
                <a:gd name="connsiteX273" fmla="*/ 622649 w 3785642"/>
                <a:gd name="connsiteY273" fmla="*/ 1520 h 479077"/>
                <a:gd name="connsiteX274" fmla="*/ 639019 w 3785642"/>
                <a:gd name="connsiteY274" fmla="*/ 2016 h 479077"/>
                <a:gd name="connsiteX275" fmla="*/ 655390 w 3785642"/>
                <a:gd name="connsiteY275" fmla="*/ 527 h 479077"/>
                <a:gd name="connsiteX276" fmla="*/ 671760 w 3785642"/>
                <a:gd name="connsiteY276" fmla="*/ 1520 h 479077"/>
                <a:gd name="connsiteX277" fmla="*/ 688131 w 3785642"/>
                <a:gd name="connsiteY277" fmla="*/ 2512 h 479077"/>
                <a:gd name="connsiteX278" fmla="*/ 704501 w 3785642"/>
                <a:gd name="connsiteY278" fmla="*/ 1024 h 479077"/>
                <a:gd name="connsiteX279" fmla="*/ 720872 w 3785642"/>
                <a:gd name="connsiteY279" fmla="*/ 1520 h 479077"/>
                <a:gd name="connsiteX280" fmla="*/ 737243 w 3785642"/>
                <a:gd name="connsiteY280" fmla="*/ 2016 h 479077"/>
                <a:gd name="connsiteX281" fmla="*/ 753613 w 3785642"/>
                <a:gd name="connsiteY281" fmla="*/ 1024 h 479077"/>
                <a:gd name="connsiteX282" fmla="*/ 769984 w 3785642"/>
                <a:gd name="connsiteY282" fmla="*/ 527 h 479077"/>
                <a:gd name="connsiteX283" fmla="*/ 786354 w 3785642"/>
                <a:gd name="connsiteY283" fmla="*/ 1520 h 479077"/>
                <a:gd name="connsiteX284" fmla="*/ 802725 w 3785642"/>
                <a:gd name="connsiteY284" fmla="*/ 527 h 479077"/>
                <a:gd name="connsiteX285" fmla="*/ 819096 w 3785642"/>
                <a:gd name="connsiteY285" fmla="*/ 2512 h 479077"/>
                <a:gd name="connsiteX286" fmla="*/ 835466 w 3785642"/>
                <a:gd name="connsiteY286" fmla="*/ 527 h 479077"/>
                <a:gd name="connsiteX287" fmla="*/ 851837 w 3785642"/>
                <a:gd name="connsiteY287" fmla="*/ 1520 h 479077"/>
                <a:gd name="connsiteX288" fmla="*/ 868207 w 3785642"/>
                <a:gd name="connsiteY288" fmla="*/ 2016 h 479077"/>
                <a:gd name="connsiteX289" fmla="*/ 884578 w 3785642"/>
                <a:gd name="connsiteY289" fmla="*/ 2512 h 479077"/>
                <a:gd name="connsiteX290" fmla="*/ 900948 w 3785642"/>
                <a:gd name="connsiteY290" fmla="*/ 1520 h 479077"/>
                <a:gd name="connsiteX291" fmla="*/ 917319 w 3785642"/>
                <a:gd name="connsiteY291" fmla="*/ 1024 h 479077"/>
                <a:gd name="connsiteX292" fmla="*/ 933689 w 3785642"/>
                <a:gd name="connsiteY292" fmla="*/ 2512 h 479077"/>
                <a:gd name="connsiteX293" fmla="*/ 950060 w 3785642"/>
                <a:gd name="connsiteY293" fmla="*/ 1520 h 479077"/>
                <a:gd name="connsiteX294" fmla="*/ 966431 w 3785642"/>
                <a:gd name="connsiteY294" fmla="*/ 2016 h 479077"/>
                <a:gd name="connsiteX295" fmla="*/ 982801 w 3785642"/>
                <a:gd name="connsiteY295" fmla="*/ 2512 h 479077"/>
                <a:gd name="connsiteX296" fmla="*/ 999172 w 3785642"/>
                <a:gd name="connsiteY296" fmla="*/ 1520 h 479077"/>
                <a:gd name="connsiteX297" fmla="*/ 1015542 w 3785642"/>
                <a:gd name="connsiteY297" fmla="*/ 2512 h 479077"/>
                <a:gd name="connsiteX298" fmla="*/ 1031913 w 3785642"/>
                <a:gd name="connsiteY298" fmla="*/ 1520 h 479077"/>
                <a:gd name="connsiteX299" fmla="*/ 1048283 w 3785642"/>
                <a:gd name="connsiteY299" fmla="*/ 2016 h 479077"/>
                <a:gd name="connsiteX300" fmla="*/ 1064654 w 3785642"/>
                <a:gd name="connsiteY300" fmla="*/ 3504 h 479077"/>
                <a:gd name="connsiteX301" fmla="*/ 1081025 w 3785642"/>
                <a:gd name="connsiteY301" fmla="*/ 2016 h 479077"/>
                <a:gd name="connsiteX302" fmla="*/ 1097395 w 3785642"/>
                <a:gd name="connsiteY302" fmla="*/ 2512 h 479077"/>
                <a:gd name="connsiteX303" fmla="*/ 1113766 w 3785642"/>
                <a:gd name="connsiteY303" fmla="*/ 2512 h 479077"/>
                <a:gd name="connsiteX304" fmla="*/ 1130136 w 3785642"/>
                <a:gd name="connsiteY304" fmla="*/ 3504 h 479077"/>
                <a:gd name="connsiteX305" fmla="*/ 1146507 w 3785642"/>
                <a:gd name="connsiteY305" fmla="*/ 1520 h 479077"/>
                <a:gd name="connsiteX306" fmla="*/ 1162878 w 3785642"/>
                <a:gd name="connsiteY306" fmla="*/ 3008 h 479077"/>
                <a:gd name="connsiteX307" fmla="*/ 1179248 w 3785642"/>
                <a:gd name="connsiteY307" fmla="*/ 4000 h 479077"/>
                <a:gd name="connsiteX308" fmla="*/ 1195619 w 3785642"/>
                <a:gd name="connsiteY308" fmla="*/ 3504 h 479077"/>
                <a:gd name="connsiteX309" fmla="*/ 1211989 w 3785642"/>
                <a:gd name="connsiteY309" fmla="*/ 1520 h 479077"/>
                <a:gd name="connsiteX310" fmla="*/ 1228360 w 3785642"/>
                <a:gd name="connsiteY310" fmla="*/ 3504 h 479077"/>
                <a:gd name="connsiteX311" fmla="*/ 1244730 w 3785642"/>
                <a:gd name="connsiteY311" fmla="*/ 1520 h 479077"/>
                <a:gd name="connsiteX312" fmla="*/ 1261101 w 3785642"/>
                <a:gd name="connsiteY312" fmla="*/ 2512 h 479077"/>
                <a:gd name="connsiteX313" fmla="*/ 1277471 w 3785642"/>
                <a:gd name="connsiteY313" fmla="*/ 3504 h 479077"/>
                <a:gd name="connsiteX314" fmla="*/ 1293842 w 3785642"/>
                <a:gd name="connsiteY314" fmla="*/ 4000 h 479077"/>
                <a:gd name="connsiteX315" fmla="*/ 1310213 w 3785642"/>
                <a:gd name="connsiteY315" fmla="*/ 1520 h 479077"/>
                <a:gd name="connsiteX316" fmla="*/ 1326583 w 3785642"/>
                <a:gd name="connsiteY316" fmla="*/ 2016 h 479077"/>
                <a:gd name="connsiteX317" fmla="*/ 1342954 w 3785642"/>
                <a:gd name="connsiteY317" fmla="*/ 3008 h 479077"/>
                <a:gd name="connsiteX318" fmla="*/ 1359324 w 3785642"/>
                <a:gd name="connsiteY318" fmla="*/ 3008 h 479077"/>
                <a:gd name="connsiteX319" fmla="*/ 1375695 w 3785642"/>
                <a:gd name="connsiteY319" fmla="*/ 2512 h 479077"/>
                <a:gd name="connsiteX320" fmla="*/ 1392066 w 3785642"/>
                <a:gd name="connsiteY320" fmla="*/ 2512 h 479077"/>
                <a:gd name="connsiteX321" fmla="*/ 1408436 w 3785642"/>
                <a:gd name="connsiteY321" fmla="*/ 3504 h 479077"/>
                <a:gd name="connsiteX322" fmla="*/ 1424807 w 3785642"/>
                <a:gd name="connsiteY322" fmla="*/ 3504 h 479077"/>
                <a:gd name="connsiteX323" fmla="*/ 1441177 w 3785642"/>
                <a:gd name="connsiteY323" fmla="*/ 1520 h 479077"/>
                <a:gd name="connsiteX324" fmla="*/ 1457548 w 3785642"/>
                <a:gd name="connsiteY324" fmla="*/ 2512 h 479077"/>
                <a:gd name="connsiteX325" fmla="*/ 1473919 w 3785642"/>
                <a:gd name="connsiteY325" fmla="*/ 2016 h 479077"/>
                <a:gd name="connsiteX326" fmla="*/ 1490289 w 3785642"/>
                <a:gd name="connsiteY326" fmla="*/ 2016 h 479077"/>
                <a:gd name="connsiteX327" fmla="*/ 1506660 w 3785642"/>
                <a:gd name="connsiteY327" fmla="*/ 1520 h 479077"/>
                <a:gd name="connsiteX328" fmla="*/ 1523030 w 3785642"/>
                <a:gd name="connsiteY328" fmla="*/ 3504 h 479077"/>
                <a:gd name="connsiteX329" fmla="*/ 1539401 w 3785642"/>
                <a:gd name="connsiteY329" fmla="*/ 3008 h 479077"/>
                <a:gd name="connsiteX330" fmla="*/ 1555771 w 3785642"/>
                <a:gd name="connsiteY330" fmla="*/ 3008 h 479077"/>
                <a:gd name="connsiteX331" fmla="*/ 1572142 w 3785642"/>
                <a:gd name="connsiteY331" fmla="*/ 2512 h 479077"/>
                <a:gd name="connsiteX332" fmla="*/ 1588512 w 3785642"/>
                <a:gd name="connsiteY332" fmla="*/ 2016 h 479077"/>
                <a:gd name="connsiteX333" fmla="*/ 1604883 w 3785642"/>
                <a:gd name="connsiteY333" fmla="*/ 3008 h 479077"/>
                <a:gd name="connsiteX334" fmla="*/ 1621253 w 3785642"/>
                <a:gd name="connsiteY334" fmla="*/ 3008 h 479077"/>
                <a:gd name="connsiteX335" fmla="*/ 1637624 w 3785642"/>
                <a:gd name="connsiteY33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313375 w 3785642"/>
                <a:gd name="connsiteY8" fmla="*/ 10945 h 479077"/>
                <a:gd name="connsiteX9" fmla="*/ 3300973 w 3785642"/>
                <a:gd name="connsiteY9" fmla="*/ 21363 h 479077"/>
                <a:gd name="connsiteX10" fmla="*/ 3289068 w 3785642"/>
                <a:gd name="connsiteY10" fmla="*/ 32276 h 479077"/>
                <a:gd name="connsiteX11" fmla="*/ 3277658 w 3785642"/>
                <a:gd name="connsiteY11" fmla="*/ 43686 h 479077"/>
                <a:gd name="connsiteX12" fmla="*/ 3266248 w 3785642"/>
                <a:gd name="connsiteY12" fmla="*/ 55592 h 479077"/>
                <a:gd name="connsiteX13" fmla="*/ 3255830 w 3785642"/>
                <a:gd name="connsiteY13" fmla="*/ 68490 h 479077"/>
                <a:gd name="connsiteX14" fmla="*/ 3243924 w 3785642"/>
                <a:gd name="connsiteY14" fmla="*/ 79900 h 479077"/>
                <a:gd name="connsiteX15" fmla="*/ 3231522 w 3785642"/>
                <a:gd name="connsiteY15" fmla="*/ 90814 h 479077"/>
                <a:gd name="connsiteX16" fmla="*/ 3220609 w 3785642"/>
                <a:gd name="connsiteY16" fmla="*/ 102720 h 479077"/>
                <a:gd name="connsiteX17" fmla="*/ 3208207 w 3785642"/>
                <a:gd name="connsiteY17" fmla="*/ 113137 h 479077"/>
                <a:gd name="connsiteX18" fmla="*/ 3197293 w 3785642"/>
                <a:gd name="connsiteY18" fmla="*/ 125043 h 479077"/>
                <a:gd name="connsiteX19" fmla="*/ 3185387 w 3785642"/>
                <a:gd name="connsiteY19" fmla="*/ 136453 h 479077"/>
                <a:gd name="connsiteX20" fmla="*/ 3174970 w 3785642"/>
                <a:gd name="connsiteY20" fmla="*/ 148855 h 479077"/>
                <a:gd name="connsiteX21" fmla="*/ 3162071 w 3785642"/>
                <a:gd name="connsiteY21" fmla="*/ 159272 h 479077"/>
                <a:gd name="connsiteX22" fmla="*/ 3151158 w 3785642"/>
                <a:gd name="connsiteY22" fmla="*/ 171674 h 479077"/>
                <a:gd name="connsiteX23" fmla="*/ 3139252 w 3785642"/>
                <a:gd name="connsiteY23" fmla="*/ 182588 h 479077"/>
                <a:gd name="connsiteX24" fmla="*/ 3127843 w 3785642"/>
                <a:gd name="connsiteY24" fmla="*/ 194494 h 479077"/>
                <a:gd name="connsiteX25" fmla="*/ 3116432 w 3785642"/>
                <a:gd name="connsiteY25" fmla="*/ 205904 h 479077"/>
                <a:gd name="connsiteX26" fmla="*/ 3105022 w 3785642"/>
                <a:gd name="connsiteY26" fmla="*/ 217810 h 479077"/>
                <a:gd name="connsiteX27" fmla="*/ 3093117 w 3785642"/>
                <a:gd name="connsiteY27" fmla="*/ 229219 h 479077"/>
                <a:gd name="connsiteX28" fmla="*/ 3081707 w 3785642"/>
                <a:gd name="connsiteY28" fmla="*/ 240629 h 479077"/>
                <a:gd name="connsiteX29" fmla="*/ 3069305 w 3785642"/>
                <a:gd name="connsiteY29" fmla="*/ 251543 h 479077"/>
                <a:gd name="connsiteX30" fmla="*/ 3057895 w 3785642"/>
                <a:gd name="connsiteY30" fmla="*/ 263449 h 479077"/>
                <a:gd name="connsiteX31" fmla="*/ 3046486 w 3785642"/>
                <a:gd name="connsiteY31" fmla="*/ 275355 h 479077"/>
                <a:gd name="connsiteX32" fmla="*/ 3035572 w 3785642"/>
                <a:gd name="connsiteY32" fmla="*/ 287260 h 479077"/>
                <a:gd name="connsiteX33" fmla="*/ 3024658 w 3785642"/>
                <a:gd name="connsiteY33" fmla="*/ 299166 h 479077"/>
                <a:gd name="connsiteX34" fmla="*/ 3013248 w 3785642"/>
                <a:gd name="connsiteY34" fmla="*/ 311072 h 479077"/>
                <a:gd name="connsiteX35" fmla="*/ 3000350 w 3785642"/>
                <a:gd name="connsiteY35" fmla="*/ 321490 h 479077"/>
                <a:gd name="connsiteX36" fmla="*/ 2988941 w 3785642"/>
                <a:gd name="connsiteY36" fmla="*/ 333396 h 479077"/>
                <a:gd name="connsiteX37" fmla="*/ 2976539 w 3785642"/>
                <a:gd name="connsiteY37" fmla="*/ 344309 h 479077"/>
                <a:gd name="connsiteX38" fmla="*/ 2965129 w 3785642"/>
                <a:gd name="connsiteY38" fmla="*/ 356215 h 479077"/>
                <a:gd name="connsiteX39" fmla="*/ 2953223 w 3785642"/>
                <a:gd name="connsiteY39" fmla="*/ 367625 h 479077"/>
                <a:gd name="connsiteX40" fmla="*/ 2941813 w 3785642"/>
                <a:gd name="connsiteY40" fmla="*/ 379531 h 479077"/>
                <a:gd name="connsiteX41" fmla="*/ 2931395 w 3785642"/>
                <a:gd name="connsiteY41" fmla="*/ 392429 h 479077"/>
                <a:gd name="connsiteX42" fmla="*/ 2918497 w 3785642"/>
                <a:gd name="connsiteY42" fmla="*/ 402847 h 479077"/>
                <a:gd name="connsiteX43" fmla="*/ 2907584 w 3785642"/>
                <a:gd name="connsiteY43" fmla="*/ 415249 h 479077"/>
                <a:gd name="connsiteX44" fmla="*/ 2896174 w 3785642"/>
                <a:gd name="connsiteY44" fmla="*/ 426658 h 479077"/>
                <a:gd name="connsiteX45" fmla="*/ 2884268 w 3785642"/>
                <a:gd name="connsiteY45" fmla="*/ 438068 h 479077"/>
                <a:gd name="connsiteX46" fmla="*/ 2873354 w 3785642"/>
                <a:gd name="connsiteY46" fmla="*/ 450470 h 479077"/>
                <a:gd name="connsiteX47" fmla="*/ 2860952 w 3785642"/>
                <a:gd name="connsiteY47" fmla="*/ 461384 h 479077"/>
                <a:gd name="connsiteX48" fmla="*/ 2850039 w 3785642"/>
                <a:gd name="connsiteY48" fmla="*/ 473786 h 479077"/>
                <a:gd name="connsiteX49" fmla="*/ 2833668 w 3785642"/>
                <a:gd name="connsiteY49" fmla="*/ 473786 h 479077"/>
                <a:gd name="connsiteX50" fmla="*/ 2817297 w 3785642"/>
                <a:gd name="connsiteY50" fmla="*/ 473290 h 479077"/>
                <a:gd name="connsiteX51" fmla="*/ 2800927 w 3785642"/>
                <a:gd name="connsiteY51" fmla="*/ 473290 h 479077"/>
                <a:gd name="connsiteX52" fmla="*/ 2784556 w 3785642"/>
                <a:gd name="connsiteY52" fmla="*/ 473786 h 479077"/>
                <a:gd name="connsiteX53" fmla="*/ 2768186 w 3785642"/>
                <a:gd name="connsiteY53" fmla="*/ 474282 h 479077"/>
                <a:gd name="connsiteX54" fmla="*/ 2751815 w 3785642"/>
                <a:gd name="connsiteY54" fmla="*/ 474282 h 479077"/>
                <a:gd name="connsiteX55" fmla="*/ 2735444 w 3785642"/>
                <a:gd name="connsiteY55" fmla="*/ 473290 h 479077"/>
                <a:gd name="connsiteX56" fmla="*/ 2719074 w 3785642"/>
                <a:gd name="connsiteY56" fmla="*/ 474282 h 479077"/>
                <a:gd name="connsiteX57" fmla="*/ 2702703 w 3785642"/>
                <a:gd name="connsiteY57" fmla="*/ 472298 h 479077"/>
                <a:gd name="connsiteX58" fmla="*/ 2686333 w 3785642"/>
                <a:gd name="connsiteY58" fmla="*/ 472794 h 479077"/>
                <a:gd name="connsiteX59" fmla="*/ 2669962 w 3785642"/>
                <a:gd name="connsiteY59" fmla="*/ 474282 h 479077"/>
                <a:gd name="connsiteX60" fmla="*/ 2653592 w 3785642"/>
                <a:gd name="connsiteY60" fmla="*/ 472298 h 479077"/>
                <a:gd name="connsiteX61" fmla="*/ 2637221 w 3785642"/>
                <a:gd name="connsiteY61" fmla="*/ 474282 h 479077"/>
                <a:gd name="connsiteX62" fmla="*/ 2620851 w 3785642"/>
                <a:gd name="connsiteY62" fmla="*/ 474282 h 479077"/>
                <a:gd name="connsiteX63" fmla="*/ 2604480 w 3785642"/>
                <a:gd name="connsiteY63" fmla="*/ 472298 h 479077"/>
                <a:gd name="connsiteX64" fmla="*/ 2588109 w 3785642"/>
                <a:gd name="connsiteY64" fmla="*/ 473786 h 479077"/>
                <a:gd name="connsiteX65" fmla="*/ 2571739 w 3785642"/>
                <a:gd name="connsiteY65" fmla="*/ 472298 h 479077"/>
                <a:gd name="connsiteX66" fmla="*/ 2555368 w 3785642"/>
                <a:gd name="connsiteY66" fmla="*/ 473290 h 479077"/>
                <a:gd name="connsiteX67" fmla="*/ 2538998 w 3785642"/>
                <a:gd name="connsiteY67" fmla="*/ 474282 h 479077"/>
                <a:gd name="connsiteX68" fmla="*/ 2522627 w 3785642"/>
                <a:gd name="connsiteY68" fmla="*/ 473290 h 479077"/>
                <a:gd name="connsiteX69" fmla="*/ 2506257 w 3785642"/>
                <a:gd name="connsiteY69" fmla="*/ 474282 h 479077"/>
                <a:gd name="connsiteX70" fmla="*/ 2489886 w 3785642"/>
                <a:gd name="connsiteY70" fmla="*/ 473786 h 479077"/>
                <a:gd name="connsiteX71" fmla="*/ 2473516 w 3785642"/>
                <a:gd name="connsiteY71" fmla="*/ 474282 h 479077"/>
                <a:gd name="connsiteX72" fmla="*/ 2457145 w 3785642"/>
                <a:gd name="connsiteY72" fmla="*/ 472794 h 479077"/>
                <a:gd name="connsiteX73" fmla="*/ 2440775 w 3785642"/>
                <a:gd name="connsiteY73" fmla="*/ 472298 h 479077"/>
                <a:gd name="connsiteX74" fmla="*/ 2424404 w 3785642"/>
                <a:gd name="connsiteY74" fmla="*/ 473786 h 479077"/>
                <a:gd name="connsiteX75" fmla="*/ 2408033 w 3785642"/>
                <a:gd name="connsiteY75" fmla="*/ 472794 h 479077"/>
                <a:gd name="connsiteX76" fmla="*/ 2391663 w 3785642"/>
                <a:gd name="connsiteY76" fmla="*/ 473290 h 479077"/>
                <a:gd name="connsiteX77" fmla="*/ 2375292 w 3785642"/>
                <a:gd name="connsiteY77" fmla="*/ 473290 h 479077"/>
                <a:gd name="connsiteX78" fmla="*/ 2358922 w 3785642"/>
                <a:gd name="connsiteY78" fmla="*/ 472794 h 479077"/>
                <a:gd name="connsiteX79" fmla="*/ 2342551 w 3785642"/>
                <a:gd name="connsiteY79" fmla="*/ 472298 h 479077"/>
                <a:gd name="connsiteX80" fmla="*/ 2326180 w 3785642"/>
                <a:gd name="connsiteY80" fmla="*/ 473786 h 479077"/>
                <a:gd name="connsiteX81" fmla="*/ 2309810 w 3785642"/>
                <a:gd name="connsiteY81" fmla="*/ 473786 h 479077"/>
                <a:gd name="connsiteX82" fmla="*/ 2293439 w 3785642"/>
                <a:gd name="connsiteY82" fmla="*/ 473786 h 479077"/>
                <a:gd name="connsiteX83" fmla="*/ 2277069 w 3785642"/>
                <a:gd name="connsiteY83" fmla="*/ 472794 h 479077"/>
                <a:gd name="connsiteX84" fmla="*/ 2260698 w 3785642"/>
                <a:gd name="connsiteY84" fmla="*/ 474282 h 479077"/>
                <a:gd name="connsiteX85" fmla="*/ 2244327 w 3785642"/>
                <a:gd name="connsiteY85" fmla="*/ 472298 h 479077"/>
                <a:gd name="connsiteX86" fmla="*/ 2227957 w 3785642"/>
                <a:gd name="connsiteY86" fmla="*/ 474282 h 479077"/>
                <a:gd name="connsiteX87" fmla="*/ 2211586 w 3785642"/>
                <a:gd name="connsiteY87" fmla="*/ 473290 h 479077"/>
                <a:gd name="connsiteX88" fmla="*/ 2195216 w 3785642"/>
                <a:gd name="connsiteY88" fmla="*/ 474282 h 479077"/>
                <a:gd name="connsiteX89" fmla="*/ 2178845 w 3785642"/>
                <a:gd name="connsiteY89" fmla="*/ 472794 h 479077"/>
                <a:gd name="connsiteX90" fmla="*/ 2162474 w 3785642"/>
                <a:gd name="connsiteY90" fmla="*/ 474778 h 479077"/>
                <a:gd name="connsiteX91" fmla="*/ 2146104 w 3785642"/>
                <a:gd name="connsiteY91" fmla="*/ 473290 h 479077"/>
                <a:gd name="connsiteX92" fmla="*/ 2129733 w 3785642"/>
                <a:gd name="connsiteY92" fmla="*/ 474778 h 479077"/>
                <a:gd name="connsiteX93" fmla="*/ 2113363 w 3785642"/>
                <a:gd name="connsiteY93" fmla="*/ 474778 h 479077"/>
                <a:gd name="connsiteX94" fmla="*/ 2096992 w 3785642"/>
                <a:gd name="connsiteY94" fmla="*/ 474778 h 479077"/>
                <a:gd name="connsiteX95" fmla="*/ 2080621 w 3785642"/>
                <a:gd name="connsiteY95" fmla="*/ 474282 h 479077"/>
                <a:gd name="connsiteX96" fmla="*/ 2064251 w 3785642"/>
                <a:gd name="connsiteY96" fmla="*/ 472794 h 479077"/>
                <a:gd name="connsiteX97" fmla="*/ 2047880 w 3785642"/>
                <a:gd name="connsiteY97" fmla="*/ 474778 h 479077"/>
                <a:gd name="connsiteX98" fmla="*/ 2031510 w 3785642"/>
                <a:gd name="connsiteY98" fmla="*/ 474778 h 479077"/>
                <a:gd name="connsiteX99" fmla="*/ 2015139 w 3785642"/>
                <a:gd name="connsiteY99" fmla="*/ 474778 h 479077"/>
                <a:gd name="connsiteX100" fmla="*/ 1998769 w 3785642"/>
                <a:gd name="connsiteY100" fmla="*/ 474282 h 479077"/>
                <a:gd name="connsiteX101" fmla="*/ 1982398 w 3785642"/>
                <a:gd name="connsiteY101" fmla="*/ 473786 h 479077"/>
                <a:gd name="connsiteX102" fmla="*/ 1966028 w 3785642"/>
                <a:gd name="connsiteY102" fmla="*/ 473786 h 479077"/>
                <a:gd name="connsiteX103" fmla="*/ 1949657 w 3785642"/>
                <a:gd name="connsiteY103" fmla="*/ 472794 h 479077"/>
                <a:gd name="connsiteX104" fmla="*/ 1933287 w 3785642"/>
                <a:gd name="connsiteY104" fmla="*/ 473290 h 479077"/>
                <a:gd name="connsiteX105" fmla="*/ 1916916 w 3785642"/>
                <a:gd name="connsiteY105" fmla="*/ 474778 h 479077"/>
                <a:gd name="connsiteX106" fmla="*/ 1900546 w 3785642"/>
                <a:gd name="connsiteY106" fmla="*/ 472794 h 479077"/>
                <a:gd name="connsiteX107" fmla="*/ 1884175 w 3785642"/>
                <a:gd name="connsiteY107" fmla="*/ 473786 h 479077"/>
                <a:gd name="connsiteX108" fmla="*/ 1867804 w 3785642"/>
                <a:gd name="connsiteY108" fmla="*/ 474778 h 479077"/>
                <a:gd name="connsiteX109" fmla="*/ 1851434 w 3785642"/>
                <a:gd name="connsiteY109" fmla="*/ 474778 h 479077"/>
                <a:gd name="connsiteX110" fmla="*/ 1835063 w 3785642"/>
                <a:gd name="connsiteY110" fmla="*/ 474778 h 479077"/>
                <a:gd name="connsiteX111" fmla="*/ 1818693 w 3785642"/>
                <a:gd name="connsiteY111" fmla="*/ 474282 h 479077"/>
                <a:gd name="connsiteX112" fmla="*/ 1802322 w 3785642"/>
                <a:gd name="connsiteY112" fmla="*/ 472794 h 479077"/>
                <a:gd name="connsiteX113" fmla="*/ 1785951 w 3785642"/>
                <a:gd name="connsiteY113" fmla="*/ 473786 h 479077"/>
                <a:gd name="connsiteX114" fmla="*/ 1769581 w 3785642"/>
                <a:gd name="connsiteY114" fmla="*/ 473290 h 479077"/>
                <a:gd name="connsiteX115" fmla="*/ 1753210 w 3785642"/>
                <a:gd name="connsiteY115" fmla="*/ 472298 h 479077"/>
                <a:gd name="connsiteX116" fmla="*/ 1736840 w 3785642"/>
                <a:gd name="connsiteY116" fmla="*/ 473290 h 479077"/>
                <a:gd name="connsiteX117" fmla="*/ 1720469 w 3785642"/>
                <a:gd name="connsiteY117" fmla="*/ 474778 h 479077"/>
                <a:gd name="connsiteX118" fmla="*/ 1704098 w 3785642"/>
                <a:gd name="connsiteY118" fmla="*/ 472794 h 479077"/>
                <a:gd name="connsiteX119" fmla="*/ 1687728 w 3785642"/>
                <a:gd name="connsiteY119" fmla="*/ 474778 h 479077"/>
                <a:gd name="connsiteX120" fmla="*/ 1671357 w 3785642"/>
                <a:gd name="connsiteY120" fmla="*/ 474778 h 479077"/>
                <a:gd name="connsiteX121" fmla="*/ 1654987 w 3785642"/>
                <a:gd name="connsiteY121" fmla="*/ 472298 h 479077"/>
                <a:gd name="connsiteX122" fmla="*/ 1638616 w 3785642"/>
                <a:gd name="connsiteY122" fmla="*/ 472794 h 479077"/>
                <a:gd name="connsiteX123" fmla="*/ 1622246 w 3785642"/>
                <a:gd name="connsiteY123" fmla="*/ 473786 h 479077"/>
                <a:gd name="connsiteX124" fmla="*/ 1605875 w 3785642"/>
                <a:gd name="connsiteY124" fmla="*/ 474778 h 479077"/>
                <a:gd name="connsiteX125" fmla="*/ 1589505 w 3785642"/>
                <a:gd name="connsiteY125" fmla="*/ 473290 h 479077"/>
                <a:gd name="connsiteX126" fmla="*/ 1573134 w 3785642"/>
                <a:gd name="connsiteY126" fmla="*/ 474778 h 479077"/>
                <a:gd name="connsiteX127" fmla="*/ 1556763 w 3785642"/>
                <a:gd name="connsiteY127" fmla="*/ 472794 h 479077"/>
                <a:gd name="connsiteX128" fmla="*/ 1540393 w 3785642"/>
                <a:gd name="connsiteY128" fmla="*/ 472794 h 479077"/>
                <a:gd name="connsiteX129" fmla="*/ 1524022 w 3785642"/>
                <a:gd name="connsiteY129" fmla="*/ 474282 h 479077"/>
                <a:gd name="connsiteX130" fmla="*/ 1507652 w 3785642"/>
                <a:gd name="connsiteY130" fmla="*/ 472794 h 479077"/>
                <a:gd name="connsiteX131" fmla="*/ 1491281 w 3785642"/>
                <a:gd name="connsiteY131" fmla="*/ 474282 h 479077"/>
                <a:gd name="connsiteX132" fmla="*/ 1474910 w 3785642"/>
                <a:gd name="connsiteY132" fmla="*/ 474282 h 479077"/>
                <a:gd name="connsiteX133" fmla="*/ 1458540 w 3785642"/>
                <a:gd name="connsiteY133" fmla="*/ 472794 h 479077"/>
                <a:gd name="connsiteX134" fmla="*/ 1442169 w 3785642"/>
                <a:gd name="connsiteY134" fmla="*/ 471802 h 479077"/>
                <a:gd name="connsiteX135" fmla="*/ 1425799 w 3785642"/>
                <a:gd name="connsiteY135" fmla="*/ 472298 h 479077"/>
                <a:gd name="connsiteX136" fmla="*/ 1409428 w 3785642"/>
                <a:gd name="connsiteY136" fmla="*/ 472794 h 479077"/>
                <a:gd name="connsiteX137" fmla="*/ 1393058 w 3785642"/>
                <a:gd name="connsiteY137" fmla="*/ 473786 h 479077"/>
                <a:gd name="connsiteX138" fmla="*/ 1376687 w 3785642"/>
                <a:gd name="connsiteY138" fmla="*/ 471802 h 479077"/>
                <a:gd name="connsiteX139" fmla="*/ 1360317 w 3785642"/>
                <a:gd name="connsiteY139" fmla="*/ 473786 h 479077"/>
                <a:gd name="connsiteX140" fmla="*/ 1343946 w 3785642"/>
                <a:gd name="connsiteY140" fmla="*/ 473786 h 479077"/>
                <a:gd name="connsiteX141" fmla="*/ 1327576 w 3785642"/>
                <a:gd name="connsiteY141" fmla="*/ 472794 h 479077"/>
                <a:gd name="connsiteX142" fmla="*/ 1311205 w 3785642"/>
                <a:gd name="connsiteY142" fmla="*/ 473786 h 479077"/>
                <a:gd name="connsiteX143" fmla="*/ 1294834 w 3785642"/>
                <a:gd name="connsiteY143" fmla="*/ 473786 h 479077"/>
                <a:gd name="connsiteX144" fmla="*/ 1278464 w 3785642"/>
                <a:gd name="connsiteY144" fmla="*/ 473786 h 479077"/>
                <a:gd name="connsiteX145" fmla="*/ 1262093 w 3785642"/>
                <a:gd name="connsiteY145" fmla="*/ 473786 h 479077"/>
                <a:gd name="connsiteX146" fmla="*/ 1245723 w 3785642"/>
                <a:gd name="connsiteY146" fmla="*/ 473290 h 479077"/>
                <a:gd name="connsiteX147" fmla="*/ 1229352 w 3785642"/>
                <a:gd name="connsiteY147" fmla="*/ 472794 h 479077"/>
                <a:gd name="connsiteX148" fmla="*/ 1212981 w 3785642"/>
                <a:gd name="connsiteY148" fmla="*/ 473786 h 479077"/>
                <a:gd name="connsiteX149" fmla="*/ 1196611 w 3785642"/>
                <a:gd name="connsiteY149" fmla="*/ 472298 h 479077"/>
                <a:gd name="connsiteX150" fmla="*/ 1180240 w 3785642"/>
                <a:gd name="connsiteY150" fmla="*/ 472794 h 479077"/>
                <a:gd name="connsiteX151" fmla="*/ 1163870 w 3785642"/>
                <a:gd name="connsiteY151" fmla="*/ 472794 h 479077"/>
                <a:gd name="connsiteX152" fmla="*/ 1147499 w 3785642"/>
                <a:gd name="connsiteY152" fmla="*/ 473786 h 479077"/>
                <a:gd name="connsiteX153" fmla="*/ 1131128 w 3785642"/>
                <a:gd name="connsiteY153" fmla="*/ 473786 h 479077"/>
                <a:gd name="connsiteX154" fmla="*/ 1114758 w 3785642"/>
                <a:gd name="connsiteY154" fmla="*/ 472794 h 479077"/>
                <a:gd name="connsiteX155" fmla="*/ 1098387 w 3785642"/>
                <a:gd name="connsiteY155" fmla="*/ 473786 h 479077"/>
                <a:gd name="connsiteX156" fmla="*/ 1082017 w 3785642"/>
                <a:gd name="connsiteY156" fmla="*/ 474778 h 479077"/>
                <a:gd name="connsiteX157" fmla="*/ 1065646 w 3785642"/>
                <a:gd name="connsiteY157" fmla="*/ 474778 h 479077"/>
                <a:gd name="connsiteX158" fmla="*/ 1049276 w 3785642"/>
                <a:gd name="connsiteY158" fmla="*/ 474282 h 479077"/>
                <a:gd name="connsiteX159" fmla="*/ 1032905 w 3785642"/>
                <a:gd name="connsiteY159" fmla="*/ 473290 h 479077"/>
                <a:gd name="connsiteX160" fmla="*/ 1016535 w 3785642"/>
                <a:gd name="connsiteY160" fmla="*/ 474282 h 479077"/>
                <a:gd name="connsiteX161" fmla="*/ 1000164 w 3785642"/>
                <a:gd name="connsiteY161" fmla="*/ 474282 h 479077"/>
                <a:gd name="connsiteX162" fmla="*/ 983793 w 3785642"/>
                <a:gd name="connsiteY162" fmla="*/ 472794 h 479077"/>
                <a:gd name="connsiteX163" fmla="*/ 967423 w 3785642"/>
                <a:gd name="connsiteY163" fmla="*/ 472794 h 479077"/>
                <a:gd name="connsiteX164" fmla="*/ 951052 w 3785642"/>
                <a:gd name="connsiteY164" fmla="*/ 473786 h 479077"/>
                <a:gd name="connsiteX165" fmla="*/ 934682 w 3785642"/>
                <a:gd name="connsiteY165" fmla="*/ 474282 h 479077"/>
                <a:gd name="connsiteX166" fmla="*/ 918311 w 3785642"/>
                <a:gd name="connsiteY166" fmla="*/ 474778 h 479077"/>
                <a:gd name="connsiteX167" fmla="*/ 901940 w 3785642"/>
                <a:gd name="connsiteY167" fmla="*/ 473290 h 479077"/>
                <a:gd name="connsiteX168" fmla="*/ 885570 w 3785642"/>
                <a:gd name="connsiteY168" fmla="*/ 474778 h 479077"/>
                <a:gd name="connsiteX169" fmla="*/ 869199 w 3785642"/>
                <a:gd name="connsiteY169" fmla="*/ 474282 h 479077"/>
                <a:gd name="connsiteX170" fmla="*/ 852829 w 3785642"/>
                <a:gd name="connsiteY170" fmla="*/ 473786 h 479077"/>
                <a:gd name="connsiteX171" fmla="*/ 836458 w 3785642"/>
                <a:gd name="connsiteY171" fmla="*/ 474778 h 479077"/>
                <a:gd name="connsiteX172" fmla="*/ 820088 w 3785642"/>
                <a:gd name="connsiteY172" fmla="*/ 475274 h 479077"/>
                <a:gd name="connsiteX173" fmla="*/ 803717 w 3785642"/>
                <a:gd name="connsiteY173" fmla="*/ 473786 h 479077"/>
                <a:gd name="connsiteX174" fmla="*/ 787347 w 3785642"/>
                <a:gd name="connsiteY174" fmla="*/ 475770 h 479077"/>
                <a:gd name="connsiteX175" fmla="*/ 770976 w 3785642"/>
                <a:gd name="connsiteY175" fmla="*/ 474778 h 479077"/>
                <a:gd name="connsiteX176" fmla="*/ 754605 w 3785642"/>
                <a:gd name="connsiteY176" fmla="*/ 475274 h 479077"/>
                <a:gd name="connsiteX177" fmla="*/ 738235 w 3785642"/>
                <a:gd name="connsiteY177" fmla="*/ 473786 h 479077"/>
                <a:gd name="connsiteX178" fmla="*/ 721864 w 3785642"/>
                <a:gd name="connsiteY178" fmla="*/ 475274 h 479077"/>
                <a:gd name="connsiteX179" fmla="*/ 705494 w 3785642"/>
                <a:gd name="connsiteY179" fmla="*/ 475770 h 479077"/>
                <a:gd name="connsiteX180" fmla="*/ 689123 w 3785642"/>
                <a:gd name="connsiteY180" fmla="*/ 474282 h 479077"/>
                <a:gd name="connsiteX181" fmla="*/ 672753 w 3785642"/>
                <a:gd name="connsiteY181" fmla="*/ 475274 h 479077"/>
                <a:gd name="connsiteX182" fmla="*/ 656382 w 3785642"/>
                <a:gd name="connsiteY182" fmla="*/ 474778 h 479077"/>
                <a:gd name="connsiteX183" fmla="*/ 640011 w 3785642"/>
                <a:gd name="connsiteY183" fmla="*/ 475770 h 479077"/>
                <a:gd name="connsiteX184" fmla="*/ 623641 w 3785642"/>
                <a:gd name="connsiteY184" fmla="*/ 473786 h 479077"/>
                <a:gd name="connsiteX185" fmla="*/ 607270 w 3785642"/>
                <a:gd name="connsiteY185" fmla="*/ 474778 h 479077"/>
                <a:gd name="connsiteX186" fmla="*/ 590900 w 3785642"/>
                <a:gd name="connsiteY186" fmla="*/ 475274 h 479077"/>
                <a:gd name="connsiteX187" fmla="*/ 574529 w 3785642"/>
                <a:gd name="connsiteY187" fmla="*/ 474282 h 479077"/>
                <a:gd name="connsiteX188" fmla="*/ 558158 w 3785642"/>
                <a:gd name="connsiteY188" fmla="*/ 475274 h 479077"/>
                <a:gd name="connsiteX189" fmla="*/ 541788 w 3785642"/>
                <a:gd name="connsiteY189" fmla="*/ 475770 h 479077"/>
                <a:gd name="connsiteX190" fmla="*/ 525417 w 3785642"/>
                <a:gd name="connsiteY190" fmla="*/ 474282 h 479077"/>
                <a:gd name="connsiteX191" fmla="*/ 509047 w 3785642"/>
                <a:gd name="connsiteY191" fmla="*/ 473786 h 479077"/>
                <a:gd name="connsiteX192" fmla="*/ 492676 w 3785642"/>
                <a:gd name="connsiteY192" fmla="*/ 473786 h 479077"/>
                <a:gd name="connsiteX193" fmla="*/ 476306 w 3785642"/>
                <a:gd name="connsiteY193" fmla="*/ 474778 h 479077"/>
                <a:gd name="connsiteX194" fmla="*/ 459935 w 3785642"/>
                <a:gd name="connsiteY194" fmla="*/ 473786 h 479077"/>
                <a:gd name="connsiteX195" fmla="*/ 443565 w 3785642"/>
                <a:gd name="connsiteY195" fmla="*/ 474778 h 479077"/>
                <a:gd name="connsiteX196" fmla="*/ 427194 w 3785642"/>
                <a:gd name="connsiteY196" fmla="*/ 474282 h 479077"/>
                <a:gd name="connsiteX197" fmla="*/ 410823 w 3785642"/>
                <a:gd name="connsiteY197" fmla="*/ 473290 h 479077"/>
                <a:gd name="connsiteX198" fmla="*/ 394453 w 3785642"/>
                <a:gd name="connsiteY198" fmla="*/ 475770 h 479077"/>
                <a:gd name="connsiteX199" fmla="*/ 378082 w 3785642"/>
                <a:gd name="connsiteY199" fmla="*/ 475274 h 479077"/>
                <a:gd name="connsiteX200" fmla="*/ 361712 w 3785642"/>
                <a:gd name="connsiteY200" fmla="*/ 474778 h 479077"/>
                <a:gd name="connsiteX201" fmla="*/ 345341 w 3785642"/>
                <a:gd name="connsiteY201" fmla="*/ 476266 h 479077"/>
                <a:gd name="connsiteX202" fmla="*/ 328970 w 3785642"/>
                <a:gd name="connsiteY202" fmla="*/ 474282 h 479077"/>
                <a:gd name="connsiteX203" fmla="*/ 312600 w 3785642"/>
                <a:gd name="connsiteY203" fmla="*/ 475274 h 479077"/>
                <a:gd name="connsiteX204" fmla="*/ 296229 w 3785642"/>
                <a:gd name="connsiteY204" fmla="*/ 474282 h 479077"/>
                <a:gd name="connsiteX205" fmla="*/ 279859 w 3785642"/>
                <a:gd name="connsiteY205" fmla="*/ 475770 h 479077"/>
                <a:gd name="connsiteX206" fmla="*/ 263488 w 3785642"/>
                <a:gd name="connsiteY206" fmla="*/ 476266 h 479077"/>
                <a:gd name="connsiteX207" fmla="*/ 247118 w 3785642"/>
                <a:gd name="connsiteY207" fmla="*/ 476266 h 479077"/>
                <a:gd name="connsiteX208" fmla="*/ 230747 w 3785642"/>
                <a:gd name="connsiteY208" fmla="*/ 474778 h 479077"/>
                <a:gd name="connsiteX209" fmla="*/ 214376 w 3785642"/>
                <a:gd name="connsiteY209" fmla="*/ 474778 h 479077"/>
                <a:gd name="connsiteX210" fmla="*/ 198006 w 3785642"/>
                <a:gd name="connsiteY210" fmla="*/ 476762 h 479077"/>
                <a:gd name="connsiteX211" fmla="*/ 181635 w 3785642"/>
                <a:gd name="connsiteY211" fmla="*/ 476266 h 479077"/>
                <a:gd name="connsiteX212" fmla="*/ 165265 w 3785642"/>
                <a:gd name="connsiteY212" fmla="*/ 474778 h 479077"/>
                <a:gd name="connsiteX213" fmla="*/ 148894 w 3785642"/>
                <a:gd name="connsiteY213" fmla="*/ 476762 h 479077"/>
                <a:gd name="connsiteX214" fmla="*/ 132524 w 3785642"/>
                <a:gd name="connsiteY214" fmla="*/ 476266 h 479077"/>
                <a:gd name="connsiteX215" fmla="*/ 116153 w 3785642"/>
                <a:gd name="connsiteY215" fmla="*/ 475274 h 479077"/>
                <a:gd name="connsiteX216" fmla="*/ 99783 w 3785642"/>
                <a:gd name="connsiteY216" fmla="*/ 475274 h 479077"/>
                <a:gd name="connsiteX217" fmla="*/ 83412 w 3785642"/>
                <a:gd name="connsiteY217" fmla="*/ 475274 h 479077"/>
                <a:gd name="connsiteX218" fmla="*/ 67041 w 3785642"/>
                <a:gd name="connsiteY218" fmla="*/ 474778 h 479077"/>
                <a:gd name="connsiteX219" fmla="*/ 50671 w 3785642"/>
                <a:gd name="connsiteY219" fmla="*/ 475274 h 479077"/>
                <a:gd name="connsiteX220" fmla="*/ 34300 w 3785642"/>
                <a:gd name="connsiteY220" fmla="*/ 475274 h 479077"/>
                <a:gd name="connsiteX221" fmla="*/ 17930 w 3785642"/>
                <a:gd name="connsiteY221" fmla="*/ 475770 h 479077"/>
                <a:gd name="connsiteX222" fmla="*/ 567 w 3785642"/>
                <a:gd name="connsiteY222" fmla="*/ 475770 h 479077"/>
                <a:gd name="connsiteX223" fmla="*/ 12969 w 3785642"/>
                <a:gd name="connsiteY223" fmla="*/ 463368 h 479077"/>
                <a:gd name="connsiteX224" fmla="*/ 24379 w 3785642"/>
                <a:gd name="connsiteY224" fmla="*/ 451958 h 479077"/>
                <a:gd name="connsiteX225" fmla="*/ 35788 w 3785642"/>
                <a:gd name="connsiteY225" fmla="*/ 440053 h 479077"/>
                <a:gd name="connsiteX226" fmla="*/ 48686 w 3785642"/>
                <a:gd name="connsiteY226" fmla="*/ 430131 h 479077"/>
                <a:gd name="connsiteX227" fmla="*/ 59600 w 3785642"/>
                <a:gd name="connsiteY227" fmla="*/ 418225 h 479077"/>
                <a:gd name="connsiteX228" fmla="*/ 70514 w 3785642"/>
                <a:gd name="connsiteY228" fmla="*/ 405823 h 479077"/>
                <a:gd name="connsiteX229" fmla="*/ 83412 w 3785642"/>
                <a:gd name="connsiteY229" fmla="*/ 395406 h 479077"/>
                <a:gd name="connsiteX230" fmla="*/ 94822 w 3785642"/>
                <a:gd name="connsiteY230" fmla="*/ 383500 h 479077"/>
                <a:gd name="connsiteX231" fmla="*/ 106728 w 3785642"/>
                <a:gd name="connsiteY231" fmla="*/ 372090 h 479077"/>
                <a:gd name="connsiteX232" fmla="*/ 117145 w 3785642"/>
                <a:gd name="connsiteY232" fmla="*/ 359688 h 479077"/>
                <a:gd name="connsiteX233" fmla="*/ 128555 w 3785642"/>
                <a:gd name="connsiteY233" fmla="*/ 348278 h 479077"/>
                <a:gd name="connsiteX234" fmla="*/ 140461 w 3785642"/>
                <a:gd name="connsiteY234" fmla="*/ 336868 h 479077"/>
                <a:gd name="connsiteX235" fmla="*/ 152863 w 3785642"/>
                <a:gd name="connsiteY235" fmla="*/ 326451 h 479077"/>
                <a:gd name="connsiteX236" fmla="*/ 164769 w 3785642"/>
                <a:gd name="connsiteY236" fmla="*/ 315041 h 479077"/>
                <a:gd name="connsiteX237" fmla="*/ 176178 w 3785642"/>
                <a:gd name="connsiteY237" fmla="*/ 303135 h 479077"/>
                <a:gd name="connsiteX238" fmla="*/ 188084 w 3785642"/>
                <a:gd name="connsiteY238" fmla="*/ 291725 h 479077"/>
                <a:gd name="connsiteX239" fmla="*/ 199494 w 3785642"/>
                <a:gd name="connsiteY239" fmla="*/ 280315 h 479077"/>
                <a:gd name="connsiteX240" fmla="*/ 210904 w 3785642"/>
                <a:gd name="connsiteY240" fmla="*/ 268906 h 479077"/>
                <a:gd name="connsiteX241" fmla="*/ 221818 w 3785642"/>
                <a:gd name="connsiteY241" fmla="*/ 256504 h 479077"/>
                <a:gd name="connsiteX242" fmla="*/ 233724 w 3785642"/>
                <a:gd name="connsiteY242" fmla="*/ 245094 h 479077"/>
                <a:gd name="connsiteX243" fmla="*/ 244141 w 3785642"/>
                <a:gd name="connsiteY243" fmla="*/ 232692 h 479077"/>
                <a:gd name="connsiteX244" fmla="*/ 257039 w 3785642"/>
                <a:gd name="connsiteY244" fmla="*/ 222770 h 479077"/>
                <a:gd name="connsiteX245" fmla="*/ 266961 w 3785642"/>
                <a:gd name="connsiteY245" fmla="*/ 209376 h 479077"/>
                <a:gd name="connsiteX246" fmla="*/ 278371 w 3785642"/>
                <a:gd name="connsiteY246" fmla="*/ 197966 h 479077"/>
                <a:gd name="connsiteX247" fmla="*/ 291269 w 3785642"/>
                <a:gd name="connsiteY247" fmla="*/ 188045 h 479077"/>
                <a:gd name="connsiteX248" fmla="*/ 301686 w 3785642"/>
                <a:gd name="connsiteY248" fmla="*/ 175147 h 479077"/>
                <a:gd name="connsiteX249" fmla="*/ 313592 w 3785642"/>
                <a:gd name="connsiteY249" fmla="*/ 163737 h 479077"/>
                <a:gd name="connsiteX250" fmla="*/ 325994 w 3785642"/>
                <a:gd name="connsiteY250" fmla="*/ 153319 h 479077"/>
                <a:gd name="connsiteX251" fmla="*/ 337404 w 3785642"/>
                <a:gd name="connsiteY251" fmla="*/ 141910 h 479077"/>
                <a:gd name="connsiteX252" fmla="*/ 347325 w 3785642"/>
                <a:gd name="connsiteY252" fmla="*/ 129012 h 479077"/>
                <a:gd name="connsiteX253" fmla="*/ 360224 w 3785642"/>
                <a:gd name="connsiteY253" fmla="*/ 118594 h 479077"/>
                <a:gd name="connsiteX254" fmla="*/ 371137 w 3785642"/>
                <a:gd name="connsiteY254" fmla="*/ 106192 h 479077"/>
                <a:gd name="connsiteX255" fmla="*/ 382051 w 3785642"/>
                <a:gd name="connsiteY255" fmla="*/ 93790 h 479077"/>
                <a:gd name="connsiteX256" fmla="*/ 393957 w 3785642"/>
                <a:gd name="connsiteY256" fmla="*/ 82380 h 479077"/>
                <a:gd name="connsiteX257" fmla="*/ 405366 w 3785642"/>
                <a:gd name="connsiteY257" fmla="*/ 70475 h 479077"/>
                <a:gd name="connsiteX258" fmla="*/ 417272 w 3785642"/>
                <a:gd name="connsiteY258" fmla="*/ 59561 h 479077"/>
                <a:gd name="connsiteX259" fmla="*/ 429674 w 3785642"/>
                <a:gd name="connsiteY259" fmla="*/ 48647 h 479077"/>
                <a:gd name="connsiteX260" fmla="*/ 440092 w 3785642"/>
                <a:gd name="connsiteY260" fmla="*/ 35749 h 479077"/>
                <a:gd name="connsiteX261" fmla="*/ 452494 w 3785642"/>
                <a:gd name="connsiteY261" fmla="*/ 24835 h 479077"/>
                <a:gd name="connsiteX262" fmla="*/ 463904 w 3785642"/>
                <a:gd name="connsiteY262" fmla="*/ 12929 h 479077"/>
                <a:gd name="connsiteX263" fmla="*/ 475313 w 3785642"/>
                <a:gd name="connsiteY263" fmla="*/ 1024 h 479077"/>
                <a:gd name="connsiteX264" fmla="*/ 491684 w 3785642"/>
                <a:gd name="connsiteY264" fmla="*/ 2512 h 479077"/>
                <a:gd name="connsiteX265" fmla="*/ 508055 w 3785642"/>
                <a:gd name="connsiteY265" fmla="*/ 2512 h 479077"/>
                <a:gd name="connsiteX266" fmla="*/ 524425 w 3785642"/>
                <a:gd name="connsiteY266" fmla="*/ 2512 h 479077"/>
                <a:gd name="connsiteX267" fmla="*/ 540796 w 3785642"/>
                <a:gd name="connsiteY267" fmla="*/ 1024 h 479077"/>
                <a:gd name="connsiteX268" fmla="*/ 557166 w 3785642"/>
                <a:gd name="connsiteY268" fmla="*/ 2512 h 479077"/>
                <a:gd name="connsiteX269" fmla="*/ 573537 w 3785642"/>
                <a:gd name="connsiteY269" fmla="*/ 1024 h 479077"/>
                <a:gd name="connsiteX270" fmla="*/ 589908 w 3785642"/>
                <a:gd name="connsiteY270" fmla="*/ 527 h 479077"/>
                <a:gd name="connsiteX271" fmla="*/ 606278 w 3785642"/>
                <a:gd name="connsiteY271" fmla="*/ 1520 h 479077"/>
                <a:gd name="connsiteX272" fmla="*/ 622649 w 3785642"/>
                <a:gd name="connsiteY272" fmla="*/ 1520 h 479077"/>
                <a:gd name="connsiteX273" fmla="*/ 639019 w 3785642"/>
                <a:gd name="connsiteY273" fmla="*/ 2016 h 479077"/>
                <a:gd name="connsiteX274" fmla="*/ 655390 w 3785642"/>
                <a:gd name="connsiteY274" fmla="*/ 527 h 479077"/>
                <a:gd name="connsiteX275" fmla="*/ 671760 w 3785642"/>
                <a:gd name="connsiteY275" fmla="*/ 1520 h 479077"/>
                <a:gd name="connsiteX276" fmla="*/ 688131 w 3785642"/>
                <a:gd name="connsiteY276" fmla="*/ 2512 h 479077"/>
                <a:gd name="connsiteX277" fmla="*/ 704501 w 3785642"/>
                <a:gd name="connsiteY277" fmla="*/ 1024 h 479077"/>
                <a:gd name="connsiteX278" fmla="*/ 720872 w 3785642"/>
                <a:gd name="connsiteY278" fmla="*/ 1520 h 479077"/>
                <a:gd name="connsiteX279" fmla="*/ 737243 w 3785642"/>
                <a:gd name="connsiteY279" fmla="*/ 2016 h 479077"/>
                <a:gd name="connsiteX280" fmla="*/ 753613 w 3785642"/>
                <a:gd name="connsiteY280" fmla="*/ 1024 h 479077"/>
                <a:gd name="connsiteX281" fmla="*/ 769984 w 3785642"/>
                <a:gd name="connsiteY281" fmla="*/ 527 h 479077"/>
                <a:gd name="connsiteX282" fmla="*/ 786354 w 3785642"/>
                <a:gd name="connsiteY282" fmla="*/ 1520 h 479077"/>
                <a:gd name="connsiteX283" fmla="*/ 802725 w 3785642"/>
                <a:gd name="connsiteY283" fmla="*/ 527 h 479077"/>
                <a:gd name="connsiteX284" fmla="*/ 819096 w 3785642"/>
                <a:gd name="connsiteY284" fmla="*/ 2512 h 479077"/>
                <a:gd name="connsiteX285" fmla="*/ 835466 w 3785642"/>
                <a:gd name="connsiteY285" fmla="*/ 527 h 479077"/>
                <a:gd name="connsiteX286" fmla="*/ 851837 w 3785642"/>
                <a:gd name="connsiteY286" fmla="*/ 1520 h 479077"/>
                <a:gd name="connsiteX287" fmla="*/ 868207 w 3785642"/>
                <a:gd name="connsiteY287" fmla="*/ 2016 h 479077"/>
                <a:gd name="connsiteX288" fmla="*/ 884578 w 3785642"/>
                <a:gd name="connsiteY288" fmla="*/ 2512 h 479077"/>
                <a:gd name="connsiteX289" fmla="*/ 900948 w 3785642"/>
                <a:gd name="connsiteY289" fmla="*/ 1520 h 479077"/>
                <a:gd name="connsiteX290" fmla="*/ 917319 w 3785642"/>
                <a:gd name="connsiteY290" fmla="*/ 1024 h 479077"/>
                <a:gd name="connsiteX291" fmla="*/ 933689 w 3785642"/>
                <a:gd name="connsiteY291" fmla="*/ 2512 h 479077"/>
                <a:gd name="connsiteX292" fmla="*/ 950060 w 3785642"/>
                <a:gd name="connsiteY292" fmla="*/ 1520 h 479077"/>
                <a:gd name="connsiteX293" fmla="*/ 966431 w 3785642"/>
                <a:gd name="connsiteY293" fmla="*/ 2016 h 479077"/>
                <a:gd name="connsiteX294" fmla="*/ 982801 w 3785642"/>
                <a:gd name="connsiteY294" fmla="*/ 2512 h 479077"/>
                <a:gd name="connsiteX295" fmla="*/ 999172 w 3785642"/>
                <a:gd name="connsiteY295" fmla="*/ 1520 h 479077"/>
                <a:gd name="connsiteX296" fmla="*/ 1015542 w 3785642"/>
                <a:gd name="connsiteY296" fmla="*/ 2512 h 479077"/>
                <a:gd name="connsiteX297" fmla="*/ 1031913 w 3785642"/>
                <a:gd name="connsiteY297" fmla="*/ 1520 h 479077"/>
                <a:gd name="connsiteX298" fmla="*/ 1048283 w 3785642"/>
                <a:gd name="connsiteY298" fmla="*/ 2016 h 479077"/>
                <a:gd name="connsiteX299" fmla="*/ 1064654 w 3785642"/>
                <a:gd name="connsiteY299" fmla="*/ 3504 h 479077"/>
                <a:gd name="connsiteX300" fmla="*/ 1081025 w 3785642"/>
                <a:gd name="connsiteY300" fmla="*/ 2016 h 479077"/>
                <a:gd name="connsiteX301" fmla="*/ 1097395 w 3785642"/>
                <a:gd name="connsiteY301" fmla="*/ 2512 h 479077"/>
                <a:gd name="connsiteX302" fmla="*/ 1113766 w 3785642"/>
                <a:gd name="connsiteY302" fmla="*/ 2512 h 479077"/>
                <a:gd name="connsiteX303" fmla="*/ 1130136 w 3785642"/>
                <a:gd name="connsiteY303" fmla="*/ 3504 h 479077"/>
                <a:gd name="connsiteX304" fmla="*/ 1146507 w 3785642"/>
                <a:gd name="connsiteY304" fmla="*/ 1520 h 479077"/>
                <a:gd name="connsiteX305" fmla="*/ 1162878 w 3785642"/>
                <a:gd name="connsiteY305" fmla="*/ 3008 h 479077"/>
                <a:gd name="connsiteX306" fmla="*/ 1179248 w 3785642"/>
                <a:gd name="connsiteY306" fmla="*/ 4000 h 479077"/>
                <a:gd name="connsiteX307" fmla="*/ 1195619 w 3785642"/>
                <a:gd name="connsiteY307" fmla="*/ 3504 h 479077"/>
                <a:gd name="connsiteX308" fmla="*/ 1211989 w 3785642"/>
                <a:gd name="connsiteY308" fmla="*/ 1520 h 479077"/>
                <a:gd name="connsiteX309" fmla="*/ 1228360 w 3785642"/>
                <a:gd name="connsiteY309" fmla="*/ 3504 h 479077"/>
                <a:gd name="connsiteX310" fmla="*/ 1244730 w 3785642"/>
                <a:gd name="connsiteY310" fmla="*/ 1520 h 479077"/>
                <a:gd name="connsiteX311" fmla="*/ 1261101 w 3785642"/>
                <a:gd name="connsiteY311" fmla="*/ 2512 h 479077"/>
                <a:gd name="connsiteX312" fmla="*/ 1277471 w 3785642"/>
                <a:gd name="connsiteY312" fmla="*/ 3504 h 479077"/>
                <a:gd name="connsiteX313" fmla="*/ 1293842 w 3785642"/>
                <a:gd name="connsiteY313" fmla="*/ 4000 h 479077"/>
                <a:gd name="connsiteX314" fmla="*/ 1310213 w 3785642"/>
                <a:gd name="connsiteY314" fmla="*/ 1520 h 479077"/>
                <a:gd name="connsiteX315" fmla="*/ 1326583 w 3785642"/>
                <a:gd name="connsiteY315" fmla="*/ 2016 h 479077"/>
                <a:gd name="connsiteX316" fmla="*/ 1342954 w 3785642"/>
                <a:gd name="connsiteY316" fmla="*/ 3008 h 479077"/>
                <a:gd name="connsiteX317" fmla="*/ 1359324 w 3785642"/>
                <a:gd name="connsiteY317" fmla="*/ 3008 h 479077"/>
                <a:gd name="connsiteX318" fmla="*/ 1375695 w 3785642"/>
                <a:gd name="connsiteY318" fmla="*/ 2512 h 479077"/>
                <a:gd name="connsiteX319" fmla="*/ 1392066 w 3785642"/>
                <a:gd name="connsiteY319" fmla="*/ 2512 h 479077"/>
                <a:gd name="connsiteX320" fmla="*/ 1408436 w 3785642"/>
                <a:gd name="connsiteY320" fmla="*/ 3504 h 479077"/>
                <a:gd name="connsiteX321" fmla="*/ 1424807 w 3785642"/>
                <a:gd name="connsiteY321" fmla="*/ 3504 h 479077"/>
                <a:gd name="connsiteX322" fmla="*/ 1441177 w 3785642"/>
                <a:gd name="connsiteY322" fmla="*/ 1520 h 479077"/>
                <a:gd name="connsiteX323" fmla="*/ 1457548 w 3785642"/>
                <a:gd name="connsiteY323" fmla="*/ 2512 h 479077"/>
                <a:gd name="connsiteX324" fmla="*/ 1473919 w 3785642"/>
                <a:gd name="connsiteY324" fmla="*/ 2016 h 479077"/>
                <a:gd name="connsiteX325" fmla="*/ 1490289 w 3785642"/>
                <a:gd name="connsiteY325" fmla="*/ 2016 h 479077"/>
                <a:gd name="connsiteX326" fmla="*/ 1506660 w 3785642"/>
                <a:gd name="connsiteY326" fmla="*/ 1520 h 479077"/>
                <a:gd name="connsiteX327" fmla="*/ 1523030 w 3785642"/>
                <a:gd name="connsiteY327" fmla="*/ 3504 h 479077"/>
                <a:gd name="connsiteX328" fmla="*/ 1539401 w 3785642"/>
                <a:gd name="connsiteY328" fmla="*/ 3008 h 479077"/>
                <a:gd name="connsiteX329" fmla="*/ 1555771 w 3785642"/>
                <a:gd name="connsiteY329" fmla="*/ 3008 h 479077"/>
                <a:gd name="connsiteX330" fmla="*/ 1572142 w 3785642"/>
                <a:gd name="connsiteY330" fmla="*/ 2512 h 479077"/>
                <a:gd name="connsiteX331" fmla="*/ 1588512 w 3785642"/>
                <a:gd name="connsiteY331" fmla="*/ 2016 h 479077"/>
                <a:gd name="connsiteX332" fmla="*/ 1604883 w 3785642"/>
                <a:gd name="connsiteY332" fmla="*/ 3008 h 479077"/>
                <a:gd name="connsiteX333" fmla="*/ 1621253 w 3785642"/>
                <a:gd name="connsiteY333" fmla="*/ 3008 h 479077"/>
                <a:gd name="connsiteX334" fmla="*/ 1637624 w 3785642"/>
                <a:gd name="connsiteY33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313375 w 3785642"/>
                <a:gd name="connsiteY7" fmla="*/ 10945 h 479077"/>
                <a:gd name="connsiteX8" fmla="*/ 3300973 w 3785642"/>
                <a:gd name="connsiteY8" fmla="*/ 21363 h 479077"/>
                <a:gd name="connsiteX9" fmla="*/ 3289068 w 3785642"/>
                <a:gd name="connsiteY9" fmla="*/ 32276 h 479077"/>
                <a:gd name="connsiteX10" fmla="*/ 3277658 w 3785642"/>
                <a:gd name="connsiteY10" fmla="*/ 43686 h 479077"/>
                <a:gd name="connsiteX11" fmla="*/ 3266248 w 3785642"/>
                <a:gd name="connsiteY11" fmla="*/ 55592 h 479077"/>
                <a:gd name="connsiteX12" fmla="*/ 3255830 w 3785642"/>
                <a:gd name="connsiteY12" fmla="*/ 68490 h 479077"/>
                <a:gd name="connsiteX13" fmla="*/ 3243924 w 3785642"/>
                <a:gd name="connsiteY13" fmla="*/ 79900 h 479077"/>
                <a:gd name="connsiteX14" fmla="*/ 3231522 w 3785642"/>
                <a:gd name="connsiteY14" fmla="*/ 90814 h 479077"/>
                <a:gd name="connsiteX15" fmla="*/ 3220609 w 3785642"/>
                <a:gd name="connsiteY15" fmla="*/ 102720 h 479077"/>
                <a:gd name="connsiteX16" fmla="*/ 3208207 w 3785642"/>
                <a:gd name="connsiteY16" fmla="*/ 113137 h 479077"/>
                <a:gd name="connsiteX17" fmla="*/ 3197293 w 3785642"/>
                <a:gd name="connsiteY17" fmla="*/ 125043 h 479077"/>
                <a:gd name="connsiteX18" fmla="*/ 3185387 w 3785642"/>
                <a:gd name="connsiteY18" fmla="*/ 136453 h 479077"/>
                <a:gd name="connsiteX19" fmla="*/ 3174970 w 3785642"/>
                <a:gd name="connsiteY19" fmla="*/ 148855 h 479077"/>
                <a:gd name="connsiteX20" fmla="*/ 3162071 w 3785642"/>
                <a:gd name="connsiteY20" fmla="*/ 159272 h 479077"/>
                <a:gd name="connsiteX21" fmla="*/ 3151158 w 3785642"/>
                <a:gd name="connsiteY21" fmla="*/ 171674 h 479077"/>
                <a:gd name="connsiteX22" fmla="*/ 3139252 w 3785642"/>
                <a:gd name="connsiteY22" fmla="*/ 182588 h 479077"/>
                <a:gd name="connsiteX23" fmla="*/ 3127843 w 3785642"/>
                <a:gd name="connsiteY23" fmla="*/ 194494 h 479077"/>
                <a:gd name="connsiteX24" fmla="*/ 3116432 w 3785642"/>
                <a:gd name="connsiteY24" fmla="*/ 205904 h 479077"/>
                <a:gd name="connsiteX25" fmla="*/ 3105022 w 3785642"/>
                <a:gd name="connsiteY25" fmla="*/ 217810 h 479077"/>
                <a:gd name="connsiteX26" fmla="*/ 3093117 w 3785642"/>
                <a:gd name="connsiteY26" fmla="*/ 229219 h 479077"/>
                <a:gd name="connsiteX27" fmla="*/ 3081707 w 3785642"/>
                <a:gd name="connsiteY27" fmla="*/ 240629 h 479077"/>
                <a:gd name="connsiteX28" fmla="*/ 3069305 w 3785642"/>
                <a:gd name="connsiteY28" fmla="*/ 251543 h 479077"/>
                <a:gd name="connsiteX29" fmla="*/ 3057895 w 3785642"/>
                <a:gd name="connsiteY29" fmla="*/ 263449 h 479077"/>
                <a:gd name="connsiteX30" fmla="*/ 3046486 w 3785642"/>
                <a:gd name="connsiteY30" fmla="*/ 275355 h 479077"/>
                <a:gd name="connsiteX31" fmla="*/ 3035572 w 3785642"/>
                <a:gd name="connsiteY31" fmla="*/ 287260 h 479077"/>
                <a:gd name="connsiteX32" fmla="*/ 3024658 w 3785642"/>
                <a:gd name="connsiteY32" fmla="*/ 299166 h 479077"/>
                <a:gd name="connsiteX33" fmla="*/ 3013248 w 3785642"/>
                <a:gd name="connsiteY33" fmla="*/ 311072 h 479077"/>
                <a:gd name="connsiteX34" fmla="*/ 3000350 w 3785642"/>
                <a:gd name="connsiteY34" fmla="*/ 321490 h 479077"/>
                <a:gd name="connsiteX35" fmla="*/ 2988941 w 3785642"/>
                <a:gd name="connsiteY35" fmla="*/ 333396 h 479077"/>
                <a:gd name="connsiteX36" fmla="*/ 2976539 w 3785642"/>
                <a:gd name="connsiteY36" fmla="*/ 344309 h 479077"/>
                <a:gd name="connsiteX37" fmla="*/ 2965129 w 3785642"/>
                <a:gd name="connsiteY37" fmla="*/ 356215 h 479077"/>
                <a:gd name="connsiteX38" fmla="*/ 2953223 w 3785642"/>
                <a:gd name="connsiteY38" fmla="*/ 367625 h 479077"/>
                <a:gd name="connsiteX39" fmla="*/ 2941813 w 3785642"/>
                <a:gd name="connsiteY39" fmla="*/ 379531 h 479077"/>
                <a:gd name="connsiteX40" fmla="*/ 2931395 w 3785642"/>
                <a:gd name="connsiteY40" fmla="*/ 392429 h 479077"/>
                <a:gd name="connsiteX41" fmla="*/ 2918497 w 3785642"/>
                <a:gd name="connsiteY41" fmla="*/ 402847 h 479077"/>
                <a:gd name="connsiteX42" fmla="*/ 2907584 w 3785642"/>
                <a:gd name="connsiteY42" fmla="*/ 415249 h 479077"/>
                <a:gd name="connsiteX43" fmla="*/ 2896174 w 3785642"/>
                <a:gd name="connsiteY43" fmla="*/ 426658 h 479077"/>
                <a:gd name="connsiteX44" fmla="*/ 2884268 w 3785642"/>
                <a:gd name="connsiteY44" fmla="*/ 438068 h 479077"/>
                <a:gd name="connsiteX45" fmla="*/ 2873354 w 3785642"/>
                <a:gd name="connsiteY45" fmla="*/ 450470 h 479077"/>
                <a:gd name="connsiteX46" fmla="*/ 2860952 w 3785642"/>
                <a:gd name="connsiteY46" fmla="*/ 461384 h 479077"/>
                <a:gd name="connsiteX47" fmla="*/ 2850039 w 3785642"/>
                <a:gd name="connsiteY47" fmla="*/ 473786 h 479077"/>
                <a:gd name="connsiteX48" fmla="*/ 2833668 w 3785642"/>
                <a:gd name="connsiteY48" fmla="*/ 473786 h 479077"/>
                <a:gd name="connsiteX49" fmla="*/ 2817297 w 3785642"/>
                <a:gd name="connsiteY49" fmla="*/ 473290 h 479077"/>
                <a:gd name="connsiteX50" fmla="*/ 2800927 w 3785642"/>
                <a:gd name="connsiteY50" fmla="*/ 473290 h 479077"/>
                <a:gd name="connsiteX51" fmla="*/ 2784556 w 3785642"/>
                <a:gd name="connsiteY51" fmla="*/ 473786 h 479077"/>
                <a:gd name="connsiteX52" fmla="*/ 2768186 w 3785642"/>
                <a:gd name="connsiteY52" fmla="*/ 474282 h 479077"/>
                <a:gd name="connsiteX53" fmla="*/ 2751815 w 3785642"/>
                <a:gd name="connsiteY53" fmla="*/ 474282 h 479077"/>
                <a:gd name="connsiteX54" fmla="*/ 2735444 w 3785642"/>
                <a:gd name="connsiteY54" fmla="*/ 473290 h 479077"/>
                <a:gd name="connsiteX55" fmla="*/ 2719074 w 3785642"/>
                <a:gd name="connsiteY55" fmla="*/ 474282 h 479077"/>
                <a:gd name="connsiteX56" fmla="*/ 2702703 w 3785642"/>
                <a:gd name="connsiteY56" fmla="*/ 472298 h 479077"/>
                <a:gd name="connsiteX57" fmla="*/ 2686333 w 3785642"/>
                <a:gd name="connsiteY57" fmla="*/ 472794 h 479077"/>
                <a:gd name="connsiteX58" fmla="*/ 2669962 w 3785642"/>
                <a:gd name="connsiteY58" fmla="*/ 474282 h 479077"/>
                <a:gd name="connsiteX59" fmla="*/ 2653592 w 3785642"/>
                <a:gd name="connsiteY59" fmla="*/ 472298 h 479077"/>
                <a:gd name="connsiteX60" fmla="*/ 2637221 w 3785642"/>
                <a:gd name="connsiteY60" fmla="*/ 474282 h 479077"/>
                <a:gd name="connsiteX61" fmla="*/ 2620851 w 3785642"/>
                <a:gd name="connsiteY61" fmla="*/ 474282 h 479077"/>
                <a:gd name="connsiteX62" fmla="*/ 2604480 w 3785642"/>
                <a:gd name="connsiteY62" fmla="*/ 472298 h 479077"/>
                <a:gd name="connsiteX63" fmla="*/ 2588109 w 3785642"/>
                <a:gd name="connsiteY63" fmla="*/ 473786 h 479077"/>
                <a:gd name="connsiteX64" fmla="*/ 2571739 w 3785642"/>
                <a:gd name="connsiteY64" fmla="*/ 472298 h 479077"/>
                <a:gd name="connsiteX65" fmla="*/ 2555368 w 3785642"/>
                <a:gd name="connsiteY65" fmla="*/ 473290 h 479077"/>
                <a:gd name="connsiteX66" fmla="*/ 2538998 w 3785642"/>
                <a:gd name="connsiteY66" fmla="*/ 474282 h 479077"/>
                <a:gd name="connsiteX67" fmla="*/ 2522627 w 3785642"/>
                <a:gd name="connsiteY67" fmla="*/ 473290 h 479077"/>
                <a:gd name="connsiteX68" fmla="*/ 2506257 w 3785642"/>
                <a:gd name="connsiteY68" fmla="*/ 474282 h 479077"/>
                <a:gd name="connsiteX69" fmla="*/ 2489886 w 3785642"/>
                <a:gd name="connsiteY69" fmla="*/ 473786 h 479077"/>
                <a:gd name="connsiteX70" fmla="*/ 2473516 w 3785642"/>
                <a:gd name="connsiteY70" fmla="*/ 474282 h 479077"/>
                <a:gd name="connsiteX71" fmla="*/ 2457145 w 3785642"/>
                <a:gd name="connsiteY71" fmla="*/ 472794 h 479077"/>
                <a:gd name="connsiteX72" fmla="*/ 2440775 w 3785642"/>
                <a:gd name="connsiteY72" fmla="*/ 472298 h 479077"/>
                <a:gd name="connsiteX73" fmla="*/ 2424404 w 3785642"/>
                <a:gd name="connsiteY73" fmla="*/ 473786 h 479077"/>
                <a:gd name="connsiteX74" fmla="*/ 2408033 w 3785642"/>
                <a:gd name="connsiteY74" fmla="*/ 472794 h 479077"/>
                <a:gd name="connsiteX75" fmla="*/ 2391663 w 3785642"/>
                <a:gd name="connsiteY75" fmla="*/ 473290 h 479077"/>
                <a:gd name="connsiteX76" fmla="*/ 2375292 w 3785642"/>
                <a:gd name="connsiteY76" fmla="*/ 473290 h 479077"/>
                <a:gd name="connsiteX77" fmla="*/ 2358922 w 3785642"/>
                <a:gd name="connsiteY77" fmla="*/ 472794 h 479077"/>
                <a:gd name="connsiteX78" fmla="*/ 2342551 w 3785642"/>
                <a:gd name="connsiteY78" fmla="*/ 472298 h 479077"/>
                <a:gd name="connsiteX79" fmla="*/ 2326180 w 3785642"/>
                <a:gd name="connsiteY79" fmla="*/ 473786 h 479077"/>
                <a:gd name="connsiteX80" fmla="*/ 2309810 w 3785642"/>
                <a:gd name="connsiteY80" fmla="*/ 473786 h 479077"/>
                <a:gd name="connsiteX81" fmla="*/ 2293439 w 3785642"/>
                <a:gd name="connsiteY81" fmla="*/ 473786 h 479077"/>
                <a:gd name="connsiteX82" fmla="*/ 2277069 w 3785642"/>
                <a:gd name="connsiteY82" fmla="*/ 472794 h 479077"/>
                <a:gd name="connsiteX83" fmla="*/ 2260698 w 3785642"/>
                <a:gd name="connsiteY83" fmla="*/ 474282 h 479077"/>
                <a:gd name="connsiteX84" fmla="*/ 2244327 w 3785642"/>
                <a:gd name="connsiteY84" fmla="*/ 472298 h 479077"/>
                <a:gd name="connsiteX85" fmla="*/ 2227957 w 3785642"/>
                <a:gd name="connsiteY85" fmla="*/ 474282 h 479077"/>
                <a:gd name="connsiteX86" fmla="*/ 2211586 w 3785642"/>
                <a:gd name="connsiteY86" fmla="*/ 473290 h 479077"/>
                <a:gd name="connsiteX87" fmla="*/ 2195216 w 3785642"/>
                <a:gd name="connsiteY87" fmla="*/ 474282 h 479077"/>
                <a:gd name="connsiteX88" fmla="*/ 2178845 w 3785642"/>
                <a:gd name="connsiteY88" fmla="*/ 472794 h 479077"/>
                <a:gd name="connsiteX89" fmla="*/ 2162474 w 3785642"/>
                <a:gd name="connsiteY89" fmla="*/ 474778 h 479077"/>
                <a:gd name="connsiteX90" fmla="*/ 2146104 w 3785642"/>
                <a:gd name="connsiteY90" fmla="*/ 473290 h 479077"/>
                <a:gd name="connsiteX91" fmla="*/ 2129733 w 3785642"/>
                <a:gd name="connsiteY91" fmla="*/ 474778 h 479077"/>
                <a:gd name="connsiteX92" fmla="*/ 2113363 w 3785642"/>
                <a:gd name="connsiteY92" fmla="*/ 474778 h 479077"/>
                <a:gd name="connsiteX93" fmla="*/ 2096992 w 3785642"/>
                <a:gd name="connsiteY93" fmla="*/ 474778 h 479077"/>
                <a:gd name="connsiteX94" fmla="*/ 2080621 w 3785642"/>
                <a:gd name="connsiteY94" fmla="*/ 474282 h 479077"/>
                <a:gd name="connsiteX95" fmla="*/ 2064251 w 3785642"/>
                <a:gd name="connsiteY95" fmla="*/ 472794 h 479077"/>
                <a:gd name="connsiteX96" fmla="*/ 2047880 w 3785642"/>
                <a:gd name="connsiteY96" fmla="*/ 474778 h 479077"/>
                <a:gd name="connsiteX97" fmla="*/ 2031510 w 3785642"/>
                <a:gd name="connsiteY97" fmla="*/ 474778 h 479077"/>
                <a:gd name="connsiteX98" fmla="*/ 2015139 w 3785642"/>
                <a:gd name="connsiteY98" fmla="*/ 474778 h 479077"/>
                <a:gd name="connsiteX99" fmla="*/ 1998769 w 3785642"/>
                <a:gd name="connsiteY99" fmla="*/ 474282 h 479077"/>
                <a:gd name="connsiteX100" fmla="*/ 1982398 w 3785642"/>
                <a:gd name="connsiteY100" fmla="*/ 473786 h 479077"/>
                <a:gd name="connsiteX101" fmla="*/ 1966028 w 3785642"/>
                <a:gd name="connsiteY101" fmla="*/ 473786 h 479077"/>
                <a:gd name="connsiteX102" fmla="*/ 1949657 w 3785642"/>
                <a:gd name="connsiteY102" fmla="*/ 472794 h 479077"/>
                <a:gd name="connsiteX103" fmla="*/ 1933287 w 3785642"/>
                <a:gd name="connsiteY103" fmla="*/ 473290 h 479077"/>
                <a:gd name="connsiteX104" fmla="*/ 1916916 w 3785642"/>
                <a:gd name="connsiteY104" fmla="*/ 474778 h 479077"/>
                <a:gd name="connsiteX105" fmla="*/ 1900546 w 3785642"/>
                <a:gd name="connsiteY105" fmla="*/ 472794 h 479077"/>
                <a:gd name="connsiteX106" fmla="*/ 1884175 w 3785642"/>
                <a:gd name="connsiteY106" fmla="*/ 473786 h 479077"/>
                <a:gd name="connsiteX107" fmla="*/ 1867804 w 3785642"/>
                <a:gd name="connsiteY107" fmla="*/ 474778 h 479077"/>
                <a:gd name="connsiteX108" fmla="*/ 1851434 w 3785642"/>
                <a:gd name="connsiteY108" fmla="*/ 474778 h 479077"/>
                <a:gd name="connsiteX109" fmla="*/ 1835063 w 3785642"/>
                <a:gd name="connsiteY109" fmla="*/ 474778 h 479077"/>
                <a:gd name="connsiteX110" fmla="*/ 1818693 w 3785642"/>
                <a:gd name="connsiteY110" fmla="*/ 474282 h 479077"/>
                <a:gd name="connsiteX111" fmla="*/ 1802322 w 3785642"/>
                <a:gd name="connsiteY111" fmla="*/ 472794 h 479077"/>
                <a:gd name="connsiteX112" fmla="*/ 1785951 w 3785642"/>
                <a:gd name="connsiteY112" fmla="*/ 473786 h 479077"/>
                <a:gd name="connsiteX113" fmla="*/ 1769581 w 3785642"/>
                <a:gd name="connsiteY113" fmla="*/ 473290 h 479077"/>
                <a:gd name="connsiteX114" fmla="*/ 1753210 w 3785642"/>
                <a:gd name="connsiteY114" fmla="*/ 472298 h 479077"/>
                <a:gd name="connsiteX115" fmla="*/ 1736840 w 3785642"/>
                <a:gd name="connsiteY115" fmla="*/ 473290 h 479077"/>
                <a:gd name="connsiteX116" fmla="*/ 1720469 w 3785642"/>
                <a:gd name="connsiteY116" fmla="*/ 474778 h 479077"/>
                <a:gd name="connsiteX117" fmla="*/ 1704098 w 3785642"/>
                <a:gd name="connsiteY117" fmla="*/ 472794 h 479077"/>
                <a:gd name="connsiteX118" fmla="*/ 1687728 w 3785642"/>
                <a:gd name="connsiteY118" fmla="*/ 474778 h 479077"/>
                <a:gd name="connsiteX119" fmla="*/ 1671357 w 3785642"/>
                <a:gd name="connsiteY119" fmla="*/ 474778 h 479077"/>
                <a:gd name="connsiteX120" fmla="*/ 1654987 w 3785642"/>
                <a:gd name="connsiteY120" fmla="*/ 472298 h 479077"/>
                <a:gd name="connsiteX121" fmla="*/ 1638616 w 3785642"/>
                <a:gd name="connsiteY121" fmla="*/ 472794 h 479077"/>
                <a:gd name="connsiteX122" fmla="*/ 1622246 w 3785642"/>
                <a:gd name="connsiteY122" fmla="*/ 473786 h 479077"/>
                <a:gd name="connsiteX123" fmla="*/ 1605875 w 3785642"/>
                <a:gd name="connsiteY123" fmla="*/ 474778 h 479077"/>
                <a:gd name="connsiteX124" fmla="*/ 1589505 w 3785642"/>
                <a:gd name="connsiteY124" fmla="*/ 473290 h 479077"/>
                <a:gd name="connsiteX125" fmla="*/ 1573134 w 3785642"/>
                <a:gd name="connsiteY125" fmla="*/ 474778 h 479077"/>
                <a:gd name="connsiteX126" fmla="*/ 1556763 w 3785642"/>
                <a:gd name="connsiteY126" fmla="*/ 472794 h 479077"/>
                <a:gd name="connsiteX127" fmla="*/ 1540393 w 3785642"/>
                <a:gd name="connsiteY127" fmla="*/ 472794 h 479077"/>
                <a:gd name="connsiteX128" fmla="*/ 1524022 w 3785642"/>
                <a:gd name="connsiteY128" fmla="*/ 474282 h 479077"/>
                <a:gd name="connsiteX129" fmla="*/ 1507652 w 3785642"/>
                <a:gd name="connsiteY129" fmla="*/ 472794 h 479077"/>
                <a:gd name="connsiteX130" fmla="*/ 1491281 w 3785642"/>
                <a:gd name="connsiteY130" fmla="*/ 474282 h 479077"/>
                <a:gd name="connsiteX131" fmla="*/ 1474910 w 3785642"/>
                <a:gd name="connsiteY131" fmla="*/ 474282 h 479077"/>
                <a:gd name="connsiteX132" fmla="*/ 1458540 w 3785642"/>
                <a:gd name="connsiteY132" fmla="*/ 472794 h 479077"/>
                <a:gd name="connsiteX133" fmla="*/ 1442169 w 3785642"/>
                <a:gd name="connsiteY133" fmla="*/ 471802 h 479077"/>
                <a:gd name="connsiteX134" fmla="*/ 1425799 w 3785642"/>
                <a:gd name="connsiteY134" fmla="*/ 472298 h 479077"/>
                <a:gd name="connsiteX135" fmla="*/ 1409428 w 3785642"/>
                <a:gd name="connsiteY135" fmla="*/ 472794 h 479077"/>
                <a:gd name="connsiteX136" fmla="*/ 1393058 w 3785642"/>
                <a:gd name="connsiteY136" fmla="*/ 473786 h 479077"/>
                <a:gd name="connsiteX137" fmla="*/ 1376687 w 3785642"/>
                <a:gd name="connsiteY137" fmla="*/ 471802 h 479077"/>
                <a:gd name="connsiteX138" fmla="*/ 1360317 w 3785642"/>
                <a:gd name="connsiteY138" fmla="*/ 473786 h 479077"/>
                <a:gd name="connsiteX139" fmla="*/ 1343946 w 3785642"/>
                <a:gd name="connsiteY139" fmla="*/ 473786 h 479077"/>
                <a:gd name="connsiteX140" fmla="*/ 1327576 w 3785642"/>
                <a:gd name="connsiteY140" fmla="*/ 472794 h 479077"/>
                <a:gd name="connsiteX141" fmla="*/ 1311205 w 3785642"/>
                <a:gd name="connsiteY141" fmla="*/ 473786 h 479077"/>
                <a:gd name="connsiteX142" fmla="*/ 1294834 w 3785642"/>
                <a:gd name="connsiteY142" fmla="*/ 473786 h 479077"/>
                <a:gd name="connsiteX143" fmla="*/ 1278464 w 3785642"/>
                <a:gd name="connsiteY143" fmla="*/ 473786 h 479077"/>
                <a:gd name="connsiteX144" fmla="*/ 1262093 w 3785642"/>
                <a:gd name="connsiteY144" fmla="*/ 473786 h 479077"/>
                <a:gd name="connsiteX145" fmla="*/ 1245723 w 3785642"/>
                <a:gd name="connsiteY145" fmla="*/ 473290 h 479077"/>
                <a:gd name="connsiteX146" fmla="*/ 1229352 w 3785642"/>
                <a:gd name="connsiteY146" fmla="*/ 472794 h 479077"/>
                <a:gd name="connsiteX147" fmla="*/ 1212981 w 3785642"/>
                <a:gd name="connsiteY147" fmla="*/ 473786 h 479077"/>
                <a:gd name="connsiteX148" fmla="*/ 1196611 w 3785642"/>
                <a:gd name="connsiteY148" fmla="*/ 472298 h 479077"/>
                <a:gd name="connsiteX149" fmla="*/ 1180240 w 3785642"/>
                <a:gd name="connsiteY149" fmla="*/ 472794 h 479077"/>
                <a:gd name="connsiteX150" fmla="*/ 1163870 w 3785642"/>
                <a:gd name="connsiteY150" fmla="*/ 472794 h 479077"/>
                <a:gd name="connsiteX151" fmla="*/ 1147499 w 3785642"/>
                <a:gd name="connsiteY151" fmla="*/ 473786 h 479077"/>
                <a:gd name="connsiteX152" fmla="*/ 1131128 w 3785642"/>
                <a:gd name="connsiteY152" fmla="*/ 473786 h 479077"/>
                <a:gd name="connsiteX153" fmla="*/ 1114758 w 3785642"/>
                <a:gd name="connsiteY153" fmla="*/ 472794 h 479077"/>
                <a:gd name="connsiteX154" fmla="*/ 1098387 w 3785642"/>
                <a:gd name="connsiteY154" fmla="*/ 473786 h 479077"/>
                <a:gd name="connsiteX155" fmla="*/ 1082017 w 3785642"/>
                <a:gd name="connsiteY155" fmla="*/ 474778 h 479077"/>
                <a:gd name="connsiteX156" fmla="*/ 1065646 w 3785642"/>
                <a:gd name="connsiteY156" fmla="*/ 474778 h 479077"/>
                <a:gd name="connsiteX157" fmla="*/ 1049276 w 3785642"/>
                <a:gd name="connsiteY157" fmla="*/ 474282 h 479077"/>
                <a:gd name="connsiteX158" fmla="*/ 1032905 w 3785642"/>
                <a:gd name="connsiteY158" fmla="*/ 473290 h 479077"/>
                <a:gd name="connsiteX159" fmla="*/ 1016535 w 3785642"/>
                <a:gd name="connsiteY159" fmla="*/ 474282 h 479077"/>
                <a:gd name="connsiteX160" fmla="*/ 1000164 w 3785642"/>
                <a:gd name="connsiteY160" fmla="*/ 474282 h 479077"/>
                <a:gd name="connsiteX161" fmla="*/ 983793 w 3785642"/>
                <a:gd name="connsiteY161" fmla="*/ 472794 h 479077"/>
                <a:gd name="connsiteX162" fmla="*/ 967423 w 3785642"/>
                <a:gd name="connsiteY162" fmla="*/ 472794 h 479077"/>
                <a:gd name="connsiteX163" fmla="*/ 951052 w 3785642"/>
                <a:gd name="connsiteY163" fmla="*/ 473786 h 479077"/>
                <a:gd name="connsiteX164" fmla="*/ 934682 w 3785642"/>
                <a:gd name="connsiteY164" fmla="*/ 474282 h 479077"/>
                <a:gd name="connsiteX165" fmla="*/ 918311 w 3785642"/>
                <a:gd name="connsiteY165" fmla="*/ 474778 h 479077"/>
                <a:gd name="connsiteX166" fmla="*/ 901940 w 3785642"/>
                <a:gd name="connsiteY166" fmla="*/ 473290 h 479077"/>
                <a:gd name="connsiteX167" fmla="*/ 885570 w 3785642"/>
                <a:gd name="connsiteY167" fmla="*/ 474778 h 479077"/>
                <a:gd name="connsiteX168" fmla="*/ 869199 w 3785642"/>
                <a:gd name="connsiteY168" fmla="*/ 474282 h 479077"/>
                <a:gd name="connsiteX169" fmla="*/ 852829 w 3785642"/>
                <a:gd name="connsiteY169" fmla="*/ 473786 h 479077"/>
                <a:gd name="connsiteX170" fmla="*/ 836458 w 3785642"/>
                <a:gd name="connsiteY170" fmla="*/ 474778 h 479077"/>
                <a:gd name="connsiteX171" fmla="*/ 820088 w 3785642"/>
                <a:gd name="connsiteY171" fmla="*/ 475274 h 479077"/>
                <a:gd name="connsiteX172" fmla="*/ 803717 w 3785642"/>
                <a:gd name="connsiteY172" fmla="*/ 473786 h 479077"/>
                <a:gd name="connsiteX173" fmla="*/ 787347 w 3785642"/>
                <a:gd name="connsiteY173" fmla="*/ 475770 h 479077"/>
                <a:gd name="connsiteX174" fmla="*/ 770976 w 3785642"/>
                <a:gd name="connsiteY174" fmla="*/ 474778 h 479077"/>
                <a:gd name="connsiteX175" fmla="*/ 754605 w 3785642"/>
                <a:gd name="connsiteY175" fmla="*/ 475274 h 479077"/>
                <a:gd name="connsiteX176" fmla="*/ 738235 w 3785642"/>
                <a:gd name="connsiteY176" fmla="*/ 473786 h 479077"/>
                <a:gd name="connsiteX177" fmla="*/ 721864 w 3785642"/>
                <a:gd name="connsiteY177" fmla="*/ 475274 h 479077"/>
                <a:gd name="connsiteX178" fmla="*/ 705494 w 3785642"/>
                <a:gd name="connsiteY178" fmla="*/ 475770 h 479077"/>
                <a:gd name="connsiteX179" fmla="*/ 689123 w 3785642"/>
                <a:gd name="connsiteY179" fmla="*/ 474282 h 479077"/>
                <a:gd name="connsiteX180" fmla="*/ 672753 w 3785642"/>
                <a:gd name="connsiteY180" fmla="*/ 475274 h 479077"/>
                <a:gd name="connsiteX181" fmla="*/ 656382 w 3785642"/>
                <a:gd name="connsiteY181" fmla="*/ 474778 h 479077"/>
                <a:gd name="connsiteX182" fmla="*/ 640011 w 3785642"/>
                <a:gd name="connsiteY182" fmla="*/ 475770 h 479077"/>
                <a:gd name="connsiteX183" fmla="*/ 623641 w 3785642"/>
                <a:gd name="connsiteY183" fmla="*/ 473786 h 479077"/>
                <a:gd name="connsiteX184" fmla="*/ 607270 w 3785642"/>
                <a:gd name="connsiteY184" fmla="*/ 474778 h 479077"/>
                <a:gd name="connsiteX185" fmla="*/ 590900 w 3785642"/>
                <a:gd name="connsiteY185" fmla="*/ 475274 h 479077"/>
                <a:gd name="connsiteX186" fmla="*/ 574529 w 3785642"/>
                <a:gd name="connsiteY186" fmla="*/ 474282 h 479077"/>
                <a:gd name="connsiteX187" fmla="*/ 558158 w 3785642"/>
                <a:gd name="connsiteY187" fmla="*/ 475274 h 479077"/>
                <a:gd name="connsiteX188" fmla="*/ 541788 w 3785642"/>
                <a:gd name="connsiteY188" fmla="*/ 475770 h 479077"/>
                <a:gd name="connsiteX189" fmla="*/ 525417 w 3785642"/>
                <a:gd name="connsiteY189" fmla="*/ 474282 h 479077"/>
                <a:gd name="connsiteX190" fmla="*/ 509047 w 3785642"/>
                <a:gd name="connsiteY190" fmla="*/ 473786 h 479077"/>
                <a:gd name="connsiteX191" fmla="*/ 492676 w 3785642"/>
                <a:gd name="connsiteY191" fmla="*/ 473786 h 479077"/>
                <a:gd name="connsiteX192" fmla="*/ 476306 w 3785642"/>
                <a:gd name="connsiteY192" fmla="*/ 474778 h 479077"/>
                <a:gd name="connsiteX193" fmla="*/ 459935 w 3785642"/>
                <a:gd name="connsiteY193" fmla="*/ 473786 h 479077"/>
                <a:gd name="connsiteX194" fmla="*/ 443565 w 3785642"/>
                <a:gd name="connsiteY194" fmla="*/ 474778 h 479077"/>
                <a:gd name="connsiteX195" fmla="*/ 427194 w 3785642"/>
                <a:gd name="connsiteY195" fmla="*/ 474282 h 479077"/>
                <a:gd name="connsiteX196" fmla="*/ 410823 w 3785642"/>
                <a:gd name="connsiteY196" fmla="*/ 473290 h 479077"/>
                <a:gd name="connsiteX197" fmla="*/ 394453 w 3785642"/>
                <a:gd name="connsiteY197" fmla="*/ 475770 h 479077"/>
                <a:gd name="connsiteX198" fmla="*/ 378082 w 3785642"/>
                <a:gd name="connsiteY198" fmla="*/ 475274 h 479077"/>
                <a:gd name="connsiteX199" fmla="*/ 361712 w 3785642"/>
                <a:gd name="connsiteY199" fmla="*/ 474778 h 479077"/>
                <a:gd name="connsiteX200" fmla="*/ 345341 w 3785642"/>
                <a:gd name="connsiteY200" fmla="*/ 476266 h 479077"/>
                <a:gd name="connsiteX201" fmla="*/ 328970 w 3785642"/>
                <a:gd name="connsiteY201" fmla="*/ 474282 h 479077"/>
                <a:gd name="connsiteX202" fmla="*/ 312600 w 3785642"/>
                <a:gd name="connsiteY202" fmla="*/ 475274 h 479077"/>
                <a:gd name="connsiteX203" fmla="*/ 296229 w 3785642"/>
                <a:gd name="connsiteY203" fmla="*/ 474282 h 479077"/>
                <a:gd name="connsiteX204" fmla="*/ 279859 w 3785642"/>
                <a:gd name="connsiteY204" fmla="*/ 475770 h 479077"/>
                <a:gd name="connsiteX205" fmla="*/ 263488 w 3785642"/>
                <a:gd name="connsiteY205" fmla="*/ 476266 h 479077"/>
                <a:gd name="connsiteX206" fmla="*/ 247118 w 3785642"/>
                <a:gd name="connsiteY206" fmla="*/ 476266 h 479077"/>
                <a:gd name="connsiteX207" fmla="*/ 230747 w 3785642"/>
                <a:gd name="connsiteY207" fmla="*/ 474778 h 479077"/>
                <a:gd name="connsiteX208" fmla="*/ 214376 w 3785642"/>
                <a:gd name="connsiteY208" fmla="*/ 474778 h 479077"/>
                <a:gd name="connsiteX209" fmla="*/ 198006 w 3785642"/>
                <a:gd name="connsiteY209" fmla="*/ 476762 h 479077"/>
                <a:gd name="connsiteX210" fmla="*/ 181635 w 3785642"/>
                <a:gd name="connsiteY210" fmla="*/ 476266 h 479077"/>
                <a:gd name="connsiteX211" fmla="*/ 165265 w 3785642"/>
                <a:gd name="connsiteY211" fmla="*/ 474778 h 479077"/>
                <a:gd name="connsiteX212" fmla="*/ 148894 w 3785642"/>
                <a:gd name="connsiteY212" fmla="*/ 476762 h 479077"/>
                <a:gd name="connsiteX213" fmla="*/ 132524 w 3785642"/>
                <a:gd name="connsiteY213" fmla="*/ 476266 h 479077"/>
                <a:gd name="connsiteX214" fmla="*/ 116153 w 3785642"/>
                <a:gd name="connsiteY214" fmla="*/ 475274 h 479077"/>
                <a:gd name="connsiteX215" fmla="*/ 99783 w 3785642"/>
                <a:gd name="connsiteY215" fmla="*/ 475274 h 479077"/>
                <a:gd name="connsiteX216" fmla="*/ 83412 w 3785642"/>
                <a:gd name="connsiteY216" fmla="*/ 475274 h 479077"/>
                <a:gd name="connsiteX217" fmla="*/ 67041 w 3785642"/>
                <a:gd name="connsiteY217" fmla="*/ 474778 h 479077"/>
                <a:gd name="connsiteX218" fmla="*/ 50671 w 3785642"/>
                <a:gd name="connsiteY218" fmla="*/ 475274 h 479077"/>
                <a:gd name="connsiteX219" fmla="*/ 34300 w 3785642"/>
                <a:gd name="connsiteY219" fmla="*/ 475274 h 479077"/>
                <a:gd name="connsiteX220" fmla="*/ 17930 w 3785642"/>
                <a:gd name="connsiteY220" fmla="*/ 475770 h 479077"/>
                <a:gd name="connsiteX221" fmla="*/ 567 w 3785642"/>
                <a:gd name="connsiteY221" fmla="*/ 475770 h 479077"/>
                <a:gd name="connsiteX222" fmla="*/ 12969 w 3785642"/>
                <a:gd name="connsiteY222" fmla="*/ 463368 h 479077"/>
                <a:gd name="connsiteX223" fmla="*/ 24379 w 3785642"/>
                <a:gd name="connsiteY223" fmla="*/ 451958 h 479077"/>
                <a:gd name="connsiteX224" fmla="*/ 35788 w 3785642"/>
                <a:gd name="connsiteY224" fmla="*/ 440053 h 479077"/>
                <a:gd name="connsiteX225" fmla="*/ 48686 w 3785642"/>
                <a:gd name="connsiteY225" fmla="*/ 430131 h 479077"/>
                <a:gd name="connsiteX226" fmla="*/ 59600 w 3785642"/>
                <a:gd name="connsiteY226" fmla="*/ 418225 h 479077"/>
                <a:gd name="connsiteX227" fmla="*/ 70514 w 3785642"/>
                <a:gd name="connsiteY227" fmla="*/ 405823 h 479077"/>
                <a:gd name="connsiteX228" fmla="*/ 83412 w 3785642"/>
                <a:gd name="connsiteY228" fmla="*/ 395406 h 479077"/>
                <a:gd name="connsiteX229" fmla="*/ 94822 w 3785642"/>
                <a:gd name="connsiteY229" fmla="*/ 383500 h 479077"/>
                <a:gd name="connsiteX230" fmla="*/ 106728 w 3785642"/>
                <a:gd name="connsiteY230" fmla="*/ 372090 h 479077"/>
                <a:gd name="connsiteX231" fmla="*/ 117145 w 3785642"/>
                <a:gd name="connsiteY231" fmla="*/ 359688 h 479077"/>
                <a:gd name="connsiteX232" fmla="*/ 128555 w 3785642"/>
                <a:gd name="connsiteY232" fmla="*/ 348278 h 479077"/>
                <a:gd name="connsiteX233" fmla="*/ 140461 w 3785642"/>
                <a:gd name="connsiteY233" fmla="*/ 336868 h 479077"/>
                <a:gd name="connsiteX234" fmla="*/ 152863 w 3785642"/>
                <a:gd name="connsiteY234" fmla="*/ 326451 h 479077"/>
                <a:gd name="connsiteX235" fmla="*/ 164769 w 3785642"/>
                <a:gd name="connsiteY235" fmla="*/ 315041 h 479077"/>
                <a:gd name="connsiteX236" fmla="*/ 176178 w 3785642"/>
                <a:gd name="connsiteY236" fmla="*/ 303135 h 479077"/>
                <a:gd name="connsiteX237" fmla="*/ 188084 w 3785642"/>
                <a:gd name="connsiteY237" fmla="*/ 291725 h 479077"/>
                <a:gd name="connsiteX238" fmla="*/ 199494 w 3785642"/>
                <a:gd name="connsiteY238" fmla="*/ 280315 h 479077"/>
                <a:gd name="connsiteX239" fmla="*/ 210904 w 3785642"/>
                <a:gd name="connsiteY239" fmla="*/ 268906 h 479077"/>
                <a:gd name="connsiteX240" fmla="*/ 221818 w 3785642"/>
                <a:gd name="connsiteY240" fmla="*/ 256504 h 479077"/>
                <a:gd name="connsiteX241" fmla="*/ 233724 w 3785642"/>
                <a:gd name="connsiteY241" fmla="*/ 245094 h 479077"/>
                <a:gd name="connsiteX242" fmla="*/ 244141 w 3785642"/>
                <a:gd name="connsiteY242" fmla="*/ 232692 h 479077"/>
                <a:gd name="connsiteX243" fmla="*/ 257039 w 3785642"/>
                <a:gd name="connsiteY243" fmla="*/ 222770 h 479077"/>
                <a:gd name="connsiteX244" fmla="*/ 266961 w 3785642"/>
                <a:gd name="connsiteY244" fmla="*/ 209376 h 479077"/>
                <a:gd name="connsiteX245" fmla="*/ 278371 w 3785642"/>
                <a:gd name="connsiteY245" fmla="*/ 197966 h 479077"/>
                <a:gd name="connsiteX246" fmla="*/ 291269 w 3785642"/>
                <a:gd name="connsiteY246" fmla="*/ 188045 h 479077"/>
                <a:gd name="connsiteX247" fmla="*/ 301686 w 3785642"/>
                <a:gd name="connsiteY247" fmla="*/ 175147 h 479077"/>
                <a:gd name="connsiteX248" fmla="*/ 313592 w 3785642"/>
                <a:gd name="connsiteY248" fmla="*/ 163737 h 479077"/>
                <a:gd name="connsiteX249" fmla="*/ 325994 w 3785642"/>
                <a:gd name="connsiteY249" fmla="*/ 153319 h 479077"/>
                <a:gd name="connsiteX250" fmla="*/ 337404 w 3785642"/>
                <a:gd name="connsiteY250" fmla="*/ 141910 h 479077"/>
                <a:gd name="connsiteX251" fmla="*/ 347325 w 3785642"/>
                <a:gd name="connsiteY251" fmla="*/ 129012 h 479077"/>
                <a:gd name="connsiteX252" fmla="*/ 360224 w 3785642"/>
                <a:gd name="connsiteY252" fmla="*/ 118594 h 479077"/>
                <a:gd name="connsiteX253" fmla="*/ 371137 w 3785642"/>
                <a:gd name="connsiteY253" fmla="*/ 106192 h 479077"/>
                <a:gd name="connsiteX254" fmla="*/ 382051 w 3785642"/>
                <a:gd name="connsiteY254" fmla="*/ 93790 h 479077"/>
                <a:gd name="connsiteX255" fmla="*/ 393957 w 3785642"/>
                <a:gd name="connsiteY255" fmla="*/ 82380 h 479077"/>
                <a:gd name="connsiteX256" fmla="*/ 405366 w 3785642"/>
                <a:gd name="connsiteY256" fmla="*/ 70475 h 479077"/>
                <a:gd name="connsiteX257" fmla="*/ 417272 w 3785642"/>
                <a:gd name="connsiteY257" fmla="*/ 59561 h 479077"/>
                <a:gd name="connsiteX258" fmla="*/ 429674 w 3785642"/>
                <a:gd name="connsiteY258" fmla="*/ 48647 h 479077"/>
                <a:gd name="connsiteX259" fmla="*/ 440092 w 3785642"/>
                <a:gd name="connsiteY259" fmla="*/ 35749 h 479077"/>
                <a:gd name="connsiteX260" fmla="*/ 452494 w 3785642"/>
                <a:gd name="connsiteY260" fmla="*/ 24835 h 479077"/>
                <a:gd name="connsiteX261" fmla="*/ 463904 w 3785642"/>
                <a:gd name="connsiteY261" fmla="*/ 12929 h 479077"/>
                <a:gd name="connsiteX262" fmla="*/ 475313 w 3785642"/>
                <a:gd name="connsiteY262" fmla="*/ 1024 h 479077"/>
                <a:gd name="connsiteX263" fmla="*/ 491684 w 3785642"/>
                <a:gd name="connsiteY263" fmla="*/ 2512 h 479077"/>
                <a:gd name="connsiteX264" fmla="*/ 508055 w 3785642"/>
                <a:gd name="connsiteY264" fmla="*/ 2512 h 479077"/>
                <a:gd name="connsiteX265" fmla="*/ 524425 w 3785642"/>
                <a:gd name="connsiteY265" fmla="*/ 2512 h 479077"/>
                <a:gd name="connsiteX266" fmla="*/ 540796 w 3785642"/>
                <a:gd name="connsiteY266" fmla="*/ 1024 h 479077"/>
                <a:gd name="connsiteX267" fmla="*/ 557166 w 3785642"/>
                <a:gd name="connsiteY267" fmla="*/ 2512 h 479077"/>
                <a:gd name="connsiteX268" fmla="*/ 573537 w 3785642"/>
                <a:gd name="connsiteY268" fmla="*/ 1024 h 479077"/>
                <a:gd name="connsiteX269" fmla="*/ 589908 w 3785642"/>
                <a:gd name="connsiteY269" fmla="*/ 527 h 479077"/>
                <a:gd name="connsiteX270" fmla="*/ 606278 w 3785642"/>
                <a:gd name="connsiteY270" fmla="*/ 1520 h 479077"/>
                <a:gd name="connsiteX271" fmla="*/ 622649 w 3785642"/>
                <a:gd name="connsiteY271" fmla="*/ 1520 h 479077"/>
                <a:gd name="connsiteX272" fmla="*/ 639019 w 3785642"/>
                <a:gd name="connsiteY272" fmla="*/ 2016 h 479077"/>
                <a:gd name="connsiteX273" fmla="*/ 655390 w 3785642"/>
                <a:gd name="connsiteY273" fmla="*/ 527 h 479077"/>
                <a:gd name="connsiteX274" fmla="*/ 671760 w 3785642"/>
                <a:gd name="connsiteY274" fmla="*/ 1520 h 479077"/>
                <a:gd name="connsiteX275" fmla="*/ 688131 w 3785642"/>
                <a:gd name="connsiteY275" fmla="*/ 2512 h 479077"/>
                <a:gd name="connsiteX276" fmla="*/ 704501 w 3785642"/>
                <a:gd name="connsiteY276" fmla="*/ 1024 h 479077"/>
                <a:gd name="connsiteX277" fmla="*/ 720872 w 3785642"/>
                <a:gd name="connsiteY277" fmla="*/ 1520 h 479077"/>
                <a:gd name="connsiteX278" fmla="*/ 737243 w 3785642"/>
                <a:gd name="connsiteY278" fmla="*/ 2016 h 479077"/>
                <a:gd name="connsiteX279" fmla="*/ 753613 w 3785642"/>
                <a:gd name="connsiteY279" fmla="*/ 1024 h 479077"/>
                <a:gd name="connsiteX280" fmla="*/ 769984 w 3785642"/>
                <a:gd name="connsiteY280" fmla="*/ 527 h 479077"/>
                <a:gd name="connsiteX281" fmla="*/ 786354 w 3785642"/>
                <a:gd name="connsiteY281" fmla="*/ 1520 h 479077"/>
                <a:gd name="connsiteX282" fmla="*/ 802725 w 3785642"/>
                <a:gd name="connsiteY282" fmla="*/ 527 h 479077"/>
                <a:gd name="connsiteX283" fmla="*/ 819096 w 3785642"/>
                <a:gd name="connsiteY283" fmla="*/ 2512 h 479077"/>
                <a:gd name="connsiteX284" fmla="*/ 835466 w 3785642"/>
                <a:gd name="connsiteY284" fmla="*/ 527 h 479077"/>
                <a:gd name="connsiteX285" fmla="*/ 851837 w 3785642"/>
                <a:gd name="connsiteY285" fmla="*/ 1520 h 479077"/>
                <a:gd name="connsiteX286" fmla="*/ 868207 w 3785642"/>
                <a:gd name="connsiteY286" fmla="*/ 2016 h 479077"/>
                <a:gd name="connsiteX287" fmla="*/ 884578 w 3785642"/>
                <a:gd name="connsiteY287" fmla="*/ 2512 h 479077"/>
                <a:gd name="connsiteX288" fmla="*/ 900948 w 3785642"/>
                <a:gd name="connsiteY288" fmla="*/ 1520 h 479077"/>
                <a:gd name="connsiteX289" fmla="*/ 917319 w 3785642"/>
                <a:gd name="connsiteY289" fmla="*/ 1024 h 479077"/>
                <a:gd name="connsiteX290" fmla="*/ 933689 w 3785642"/>
                <a:gd name="connsiteY290" fmla="*/ 2512 h 479077"/>
                <a:gd name="connsiteX291" fmla="*/ 950060 w 3785642"/>
                <a:gd name="connsiteY291" fmla="*/ 1520 h 479077"/>
                <a:gd name="connsiteX292" fmla="*/ 966431 w 3785642"/>
                <a:gd name="connsiteY292" fmla="*/ 2016 h 479077"/>
                <a:gd name="connsiteX293" fmla="*/ 982801 w 3785642"/>
                <a:gd name="connsiteY293" fmla="*/ 2512 h 479077"/>
                <a:gd name="connsiteX294" fmla="*/ 999172 w 3785642"/>
                <a:gd name="connsiteY294" fmla="*/ 1520 h 479077"/>
                <a:gd name="connsiteX295" fmla="*/ 1015542 w 3785642"/>
                <a:gd name="connsiteY295" fmla="*/ 2512 h 479077"/>
                <a:gd name="connsiteX296" fmla="*/ 1031913 w 3785642"/>
                <a:gd name="connsiteY296" fmla="*/ 1520 h 479077"/>
                <a:gd name="connsiteX297" fmla="*/ 1048283 w 3785642"/>
                <a:gd name="connsiteY297" fmla="*/ 2016 h 479077"/>
                <a:gd name="connsiteX298" fmla="*/ 1064654 w 3785642"/>
                <a:gd name="connsiteY298" fmla="*/ 3504 h 479077"/>
                <a:gd name="connsiteX299" fmla="*/ 1081025 w 3785642"/>
                <a:gd name="connsiteY299" fmla="*/ 2016 h 479077"/>
                <a:gd name="connsiteX300" fmla="*/ 1097395 w 3785642"/>
                <a:gd name="connsiteY300" fmla="*/ 2512 h 479077"/>
                <a:gd name="connsiteX301" fmla="*/ 1113766 w 3785642"/>
                <a:gd name="connsiteY301" fmla="*/ 2512 h 479077"/>
                <a:gd name="connsiteX302" fmla="*/ 1130136 w 3785642"/>
                <a:gd name="connsiteY302" fmla="*/ 3504 h 479077"/>
                <a:gd name="connsiteX303" fmla="*/ 1146507 w 3785642"/>
                <a:gd name="connsiteY303" fmla="*/ 1520 h 479077"/>
                <a:gd name="connsiteX304" fmla="*/ 1162878 w 3785642"/>
                <a:gd name="connsiteY304" fmla="*/ 3008 h 479077"/>
                <a:gd name="connsiteX305" fmla="*/ 1179248 w 3785642"/>
                <a:gd name="connsiteY305" fmla="*/ 4000 h 479077"/>
                <a:gd name="connsiteX306" fmla="*/ 1195619 w 3785642"/>
                <a:gd name="connsiteY306" fmla="*/ 3504 h 479077"/>
                <a:gd name="connsiteX307" fmla="*/ 1211989 w 3785642"/>
                <a:gd name="connsiteY307" fmla="*/ 1520 h 479077"/>
                <a:gd name="connsiteX308" fmla="*/ 1228360 w 3785642"/>
                <a:gd name="connsiteY308" fmla="*/ 3504 h 479077"/>
                <a:gd name="connsiteX309" fmla="*/ 1244730 w 3785642"/>
                <a:gd name="connsiteY309" fmla="*/ 1520 h 479077"/>
                <a:gd name="connsiteX310" fmla="*/ 1261101 w 3785642"/>
                <a:gd name="connsiteY310" fmla="*/ 2512 h 479077"/>
                <a:gd name="connsiteX311" fmla="*/ 1277471 w 3785642"/>
                <a:gd name="connsiteY311" fmla="*/ 3504 h 479077"/>
                <a:gd name="connsiteX312" fmla="*/ 1293842 w 3785642"/>
                <a:gd name="connsiteY312" fmla="*/ 4000 h 479077"/>
                <a:gd name="connsiteX313" fmla="*/ 1310213 w 3785642"/>
                <a:gd name="connsiteY313" fmla="*/ 1520 h 479077"/>
                <a:gd name="connsiteX314" fmla="*/ 1326583 w 3785642"/>
                <a:gd name="connsiteY314" fmla="*/ 2016 h 479077"/>
                <a:gd name="connsiteX315" fmla="*/ 1342954 w 3785642"/>
                <a:gd name="connsiteY315" fmla="*/ 3008 h 479077"/>
                <a:gd name="connsiteX316" fmla="*/ 1359324 w 3785642"/>
                <a:gd name="connsiteY316" fmla="*/ 3008 h 479077"/>
                <a:gd name="connsiteX317" fmla="*/ 1375695 w 3785642"/>
                <a:gd name="connsiteY317" fmla="*/ 2512 h 479077"/>
                <a:gd name="connsiteX318" fmla="*/ 1392066 w 3785642"/>
                <a:gd name="connsiteY318" fmla="*/ 2512 h 479077"/>
                <a:gd name="connsiteX319" fmla="*/ 1408436 w 3785642"/>
                <a:gd name="connsiteY319" fmla="*/ 3504 h 479077"/>
                <a:gd name="connsiteX320" fmla="*/ 1424807 w 3785642"/>
                <a:gd name="connsiteY320" fmla="*/ 3504 h 479077"/>
                <a:gd name="connsiteX321" fmla="*/ 1441177 w 3785642"/>
                <a:gd name="connsiteY321" fmla="*/ 1520 h 479077"/>
                <a:gd name="connsiteX322" fmla="*/ 1457548 w 3785642"/>
                <a:gd name="connsiteY322" fmla="*/ 2512 h 479077"/>
                <a:gd name="connsiteX323" fmla="*/ 1473919 w 3785642"/>
                <a:gd name="connsiteY323" fmla="*/ 2016 h 479077"/>
                <a:gd name="connsiteX324" fmla="*/ 1490289 w 3785642"/>
                <a:gd name="connsiteY324" fmla="*/ 2016 h 479077"/>
                <a:gd name="connsiteX325" fmla="*/ 1506660 w 3785642"/>
                <a:gd name="connsiteY325" fmla="*/ 1520 h 479077"/>
                <a:gd name="connsiteX326" fmla="*/ 1523030 w 3785642"/>
                <a:gd name="connsiteY326" fmla="*/ 3504 h 479077"/>
                <a:gd name="connsiteX327" fmla="*/ 1539401 w 3785642"/>
                <a:gd name="connsiteY327" fmla="*/ 3008 h 479077"/>
                <a:gd name="connsiteX328" fmla="*/ 1555771 w 3785642"/>
                <a:gd name="connsiteY328" fmla="*/ 3008 h 479077"/>
                <a:gd name="connsiteX329" fmla="*/ 1572142 w 3785642"/>
                <a:gd name="connsiteY329" fmla="*/ 2512 h 479077"/>
                <a:gd name="connsiteX330" fmla="*/ 1588512 w 3785642"/>
                <a:gd name="connsiteY330" fmla="*/ 2016 h 479077"/>
                <a:gd name="connsiteX331" fmla="*/ 1604883 w 3785642"/>
                <a:gd name="connsiteY331" fmla="*/ 3008 h 479077"/>
                <a:gd name="connsiteX332" fmla="*/ 1621253 w 3785642"/>
                <a:gd name="connsiteY332" fmla="*/ 3008 h 479077"/>
                <a:gd name="connsiteX333" fmla="*/ 1637624 w 3785642"/>
                <a:gd name="connsiteY33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313375 w 3785642"/>
                <a:gd name="connsiteY6" fmla="*/ 10945 h 479077"/>
                <a:gd name="connsiteX7" fmla="*/ 3300973 w 3785642"/>
                <a:gd name="connsiteY7" fmla="*/ 21363 h 479077"/>
                <a:gd name="connsiteX8" fmla="*/ 3289068 w 3785642"/>
                <a:gd name="connsiteY8" fmla="*/ 32276 h 479077"/>
                <a:gd name="connsiteX9" fmla="*/ 3277658 w 3785642"/>
                <a:gd name="connsiteY9" fmla="*/ 43686 h 479077"/>
                <a:gd name="connsiteX10" fmla="*/ 3266248 w 3785642"/>
                <a:gd name="connsiteY10" fmla="*/ 55592 h 479077"/>
                <a:gd name="connsiteX11" fmla="*/ 3255830 w 3785642"/>
                <a:gd name="connsiteY11" fmla="*/ 68490 h 479077"/>
                <a:gd name="connsiteX12" fmla="*/ 3243924 w 3785642"/>
                <a:gd name="connsiteY12" fmla="*/ 79900 h 479077"/>
                <a:gd name="connsiteX13" fmla="*/ 3231522 w 3785642"/>
                <a:gd name="connsiteY13" fmla="*/ 90814 h 479077"/>
                <a:gd name="connsiteX14" fmla="*/ 3220609 w 3785642"/>
                <a:gd name="connsiteY14" fmla="*/ 102720 h 479077"/>
                <a:gd name="connsiteX15" fmla="*/ 3208207 w 3785642"/>
                <a:gd name="connsiteY15" fmla="*/ 113137 h 479077"/>
                <a:gd name="connsiteX16" fmla="*/ 3197293 w 3785642"/>
                <a:gd name="connsiteY16" fmla="*/ 125043 h 479077"/>
                <a:gd name="connsiteX17" fmla="*/ 3185387 w 3785642"/>
                <a:gd name="connsiteY17" fmla="*/ 136453 h 479077"/>
                <a:gd name="connsiteX18" fmla="*/ 3174970 w 3785642"/>
                <a:gd name="connsiteY18" fmla="*/ 148855 h 479077"/>
                <a:gd name="connsiteX19" fmla="*/ 3162071 w 3785642"/>
                <a:gd name="connsiteY19" fmla="*/ 159272 h 479077"/>
                <a:gd name="connsiteX20" fmla="*/ 3151158 w 3785642"/>
                <a:gd name="connsiteY20" fmla="*/ 171674 h 479077"/>
                <a:gd name="connsiteX21" fmla="*/ 3139252 w 3785642"/>
                <a:gd name="connsiteY21" fmla="*/ 182588 h 479077"/>
                <a:gd name="connsiteX22" fmla="*/ 3127843 w 3785642"/>
                <a:gd name="connsiteY22" fmla="*/ 194494 h 479077"/>
                <a:gd name="connsiteX23" fmla="*/ 3116432 w 3785642"/>
                <a:gd name="connsiteY23" fmla="*/ 205904 h 479077"/>
                <a:gd name="connsiteX24" fmla="*/ 3105022 w 3785642"/>
                <a:gd name="connsiteY24" fmla="*/ 217810 h 479077"/>
                <a:gd name="connsiteX25" fmla="*/ 3093117 w 3785642"/>
                <a:gd name="connsiteY25" fmla="*/ 229219 h 479077"/>
                <a:gd name="connsiteX26" fmla="*/ 3081707 w 3785642"/>
                <a:gd name="connsiteY26" fmla="*/ 240629 h 479077"/>
                <a:gd name="connsiteX27" fmla="*/ 3069305 w 3785642"/>
                <a:gd name="connsiteY27" fmla="*/ 251543 h 479077"/>
                <a:gd name="connsiteX28" fmla="*/ 3057895 w 3785642"/>
                <a:gd name="connsiteY28" fmla="*/ 263449 h 479077"/>
                <a:gd name="connsiteX29" fmla="*/ 3046486 w 3785642"/>
                <a:gd name="connsiteY29" fmla="*/ 275355 h 479077"/>
                <a:gd name="connsiteX30" fmla="*/ 3035572 w 3785642"/>
                <a:gd name="connsiteY30" fmla="*/ 287260 h 479077"/>
                <a:gd name="connsiteX31" fmla="*/ 3024658 w 3785642"/>
                <a:gd name="connsiteY31" fmla="*/ 299166 h 479077"/>
                <a:gd name="connsiteX32" fmla="*/ 3013248 w 3785642"/>
                <a:gd name="connsiteY32" fmla="*/ 311072 h 479077"/>
                <a:gd name="connsiteX33" fmla="*/ 3000350 w 3785642"/>
                <a:gd name="connsiteY33" fmla="*/ 321490 h 479077"/>
                <a:gd name="connsiteX34" fmla="*/ 2988941 w 3785642"/>
                <a:gd name="connsiteY34" fmla="*/ 333396 h 479077"/>
                <a:gd name="connsiteX35" fmla="*/ 2976539 w 3785642"/>
                <a:gd name="connsiteY35" fmla="*/ 344309 h 479077"/>
                <a:gd name="connsiteX36" fmla="*/ 2965129 w 3785642"/>
                <a:gd name="connsiteY36" fmla="*/ 356215 h 479077"/>
                <a:gd name="connsiteX37" fmla="*/ 2953223 w 3785642"/>
                <a:gd name="connsiteY37" fmla="*/ 367625 h 479077"/>
                <a:gd name="connsiteX38" fmla="*/ 2941813 w 3785642"/>
                <a:gd name="connsiteY38" fmla="*/ 379531 h 479077"/>
                <a:gd name="connsiteX39" fmla="*/ 2931395 w 3785642"/>
                <a:gd name="connsiteY39" fmla="*/ 392429 h 479077"/>
                <a:gd name="connsiteX40" fmla="*/ 2918497 w 3785642"/>
                <a:gd name="connsiteY40" fmla="*/ 402847 h 479077"/>
                <a:gd name="connsiteX41" fmla="*/ 2907584 w 3785642"/>
                <a:gd name="connsiteY41" fmla="*/ 415249 h 479077"/>
                <a:gd name="connsiteX42" fmla="*/ 2896174 w 3785642"/>
                <a:gd name="connsiteY42" fmla="*/ 426658 h 479077"/>
                <a:gd name="connsiteX43" fmla="*/ 2884268 w 3785642"/>
                <a:gd name="connsiteY43" fmla="*/ 438068 h 479077"/>
                <a:gd name="connsiteX44" fmla="*/ 2873354 w 3785642"/>
                <a:gd name="connsiteY44" fmla="*/ 450470 h 479077"/>
                <a:gd name="connsiteX45" fmla="*/ 2860952 w 3785642"/>
                <a:gd name="connsiteY45" fmla="*/ 461384 h 479077"/>
                <a:gd name="connsiteX46" fmla="*/ 2850039 w 3785642"/>
                <a:gd name="connsiteY46" fmla="*/ 473786 h 479077"/>
                <a:gd name="connsiteX47" fmla="*/ 2833668 w 3785642"/>
                <a:gd name="connsiteY47" fmla="*/ 473786 h 479077"/>
                <a:gd name="connsiteX48" fmla="*/ 2817297 w 3785642"/>
                <a:gd name="connsiteY48" fmla="*/ 473290 h 479077"/>
                <a:gd name="connsiteX49" fmla="*/ 2800927 w 3785642"/>
                <a:gd name="connsiteY49" fmla="*/ 473290 h 479077"/>
                <a:gd name="connsiteX50" fmla="*/ 2784556 w 3785642"/>
                <a:gd name="connsiteY50" fmla="*/ 473786 h 479077"/>
                <a:gd name="connsiteX51" fmla="*/ 2768186 w 3785642"/>
                <a:gd name="connsiteY51" fmla="*/ 474282 h 479077"/>
                <a:gd name="connsiteX52" fmla="*/ 2751815 w 3785642"/>
                <a:gd name="connsiteY52" fmla="*/ 474282 h 479077"/>
                <a:gd name="connsiteX53" fmla="*/ 2735444 w 3785642"/>
                <a:gd name="connsiteY53" fmla="*/ 473290 h 479077"/>
                <a:gd name="connsiteX54" fmla="*/ 2719074 w 3785642"/>
                <a:gd name="connsiteY54" fmla="*/ 474282 h 479077"/>
                <a:gd name="connsiteX55" fmla="*/ 2702703 w 3785642"/>
                <a:gd name="connsiteY55" fmla="*/ 472298 h 479077"/>
                <a:gd name="connsiteX56" fmla="*/ 2686333 w 3785642"/>
                <a:gd name="connsiteY56" fmla="*/ 472794 h 479077"/>
                <a:gd name="connsiteX57" fmla="*/ 2669962 w 3785642"/>
                <a:gd name="connsiteY57" fmla="*/ 474282 h 479077"/>
                <a:gd name="connsiteX58" fmla="*/ 2653592 w 3785642"/>
                <a:gd name="connsiteY58" fmla="*/ 472298 h 479077"/>
                <a:gd name="connsiteX59" fmla="*/ 2637221 w 3785642"/>
                <a:gd name="connsiteY59" fmla="*/ 474282 h 479077"/>
                <a:gd name="connsiteX60" fmla="*/ 2620851 w 3785642"/>
                <a:gd name="connsiteY60" fmla="*/ 474282 h 479077"/>
                <a:gd name="connsiteX61" fmla="*/ 2604480 w 3785642"/>
                <a:gd name="connsiteY61" fmla="*/ 472298 h 479077"/>
                <a:gd name="connsiteX62" fmla="*/ 2588109 w 3785642"/>
                <a:gd name="connsiteY62" fmla="*/ 473786 h 479077"/>
                <a:gd name="connsiteX63" fmla="*/ 2571739 w 3785642"/>
                <a:gd name="connsiteY63" fmla="*/ 472298 h 479077"/>
                <a:gd name="connsiteX64" fmla="*/ 2555368 w 3785642"/>
                <a:gd name="connsiteY64" fmla="*/ 473290 h 479077"/>
                <a:gd name="connsiteX65" fmla="*/ 2538998 w 3785642"/>
                <a:gd name="connsiteY65" fmla="*/ 474282 h 479077"/>
                <a:gd name="connsiteX66" fmla="*/ 2522627 w 3785642"/>
                <a:gd name="connsiteY66" fmla="*/ 473290 h 479077"/>
                <a:gd name="connsiteX67" fmla="*/ 2506257 w 3785642"/>
                <a:gd name="connsiteY67" fmla="*/ 474282 h 479077"/>
                <a:gd name="connsiteX68" fmla="*/ 2489886 w 3785642"/>
                <a:gd name="connsiteY68" fmla="*/ 473786 h 479077"/>
                <a:gd name="connsiteX69" fmla="*/ 2473516 w 3785642"/>
                <a:gd name="connsiteY69" fmla="*/ 474282 h 479077"/>
                <a:gd name="connsiteX70" fmla="*/ 2457145 w 3785642"/>
                <a:gd name="connsiteY70" fmla="*/ 472794 h 479077"/>
                <a:gd name="connsiteX71" fmla="*/ 2440775 w 3785642"/>
                <a:gd name="connsiteY71" fmla="*/ 472298 h 479077"/>
                <a:gd name="connsiteX72" fmla="*/ 2424404 w 3785642"/>
                <a:gd name="connsiteY72" fmla="*/ 473786 h 479077"/>
                <a:gd name="connsiteX73" fmla="*/ 2408033 w 3785642"/>
                <a:gd name="connsiteY73" fmla="*/ 472794 h 479077"/>
                <a:gd name="connsiteX74" fmla="*/ 2391663 w 3785642"/>
                <a:gd name="connsiteY74" fmla="*/ 473290 h 479077"/>
                <a:gd name="connsiteX75" fmla="*/ 2375292 w 3785642"/>
                <a:gd name="connsiteY75" fmla="*/ 473290 h 479077"/>
                <a:gd name="connsiteX76" fmla="*/ 2358922 w 3785642"/>
                <a:gd name="connsiteY76" fmla="*/ 472794 h 479077"/>
                <a:gd name="connsiteX77" fmla="*/ 2342551 w 3785642"/>
                <a:gd name="connsiteY77" fmla="*/ 472298 h 479077"/>
                <a:gd name="connsiteX78" fmla="*/ 2326180 w 3785642"/>
                <a:gd name="connsiteY78" fmla="*/ 473786 h 479077"/>
                <a:gd name="connsiteX79" fmla="*/ 2309810 w 3785642"/>
                <a:gd name="connsiteY79" fmla="*/ 473786 h 479077"/>
                <a:gd name="connsiteX80" fmla="*/ 2293439 w 3785642"/>
                <a:gd name="connsiteY80" fmla="*/ 473786 h 479077"/>
                <a:gd name="connsiteX81" fmla="*/ 2277069 w 3785642"/>
                <a:gd name="connsiteY81" fmla="*/ 472794 h 479077"/>
                <a:gd name="connsiteX82" fmla="*/ 2260698 w 3785642"/>
                <a:gd name="connsiteY82" fmla="*/ 474282 h 479077"/>
                <a:gd name="connsiteX83" fmla="*/ 2244327 w 3785642"/>
                <a:gd name="connsiteY83" fmla="*/ 472298 h 479077"/>
                <a:gd name="connsiteX84" fmla="*/ 2227957 w 3785642"/>
                <a:gd name="connsiteY84" fmla="*/ 474282 h 479077"/>
                <a:gd name="connsiteX85" fmla="*/ 2211586 w 3785642"/>
                <a:gd name="connsiteY85" fmla="*/ 473290 h 479077"/>
                <a:gd name="connsiteX86" fmla="*/ 2195216 w 3785642"/>
                <a:gd name="connsiteY86" fmla="*/ 474282 h 479077"/>
                <a:gd name="connsiteX87" fmla="*/ 2178845 w 3785642"/>
                <a:gd name="connsiteY87" fmla="*/ 472794 h 479077"/>
                <a:gd name="connsiteX88" fmla="*/ 2162474 w 3785642"/>
                <a:gd name="connsiteY88" fmla="*/ 474778 h 479077"/>
                <a:gd name="connsiteX89" fmla="*/ 2146104 w 3785642"/>
                <a:gd name="connsiteY89" fmla="*/ 473290 h 479077"/>
                <a:gd name="connsiteX90" fmla="*/ 2129733 w 3785642"/>
                <a:gd name="connsiteY90" fmla="*/ 474778 h 479077"/>
                <a:gd name="connsiteX91" fmla="*/ 2113363 w 3785642"/>
                <a:gd name="connsiteY91" fmla="*/ 474778 h 479077"/>
                <a:gd name="connsiteX92" fmla="*/ 2096992 w 3785642"/>
                <a:gd name="connsiteY92" fmla="*/ 474778 h 479077"/>
                <a:gd name="connsiteX93" fmla="*/ 2080621 w 3785642"/>
                <a:gd name="connsiteY93" fmla="*/ 474282 h 479077"/>
                <a:gd name="connsiteX94" fmla="*/ 2064251 w 3785642"/>
                <a:gd name="connsiteY94" fmla="*/ 472794 h 479077"/>
                <a:gd name="connsiteX95" fmla="*/ 2047880 w 3785642"/>
                <a:gd name="connsiteY95" fmla="*/ 474778 h 479077"/>
                <a:gd name="connsiteX96" fmla="*/ 2031510 w 3785642"/>
                <a:gd name="connsiteY96" fmla="*/ 474778 h 479077"/>
                <a:gd name="connsiteX97" fmla="*/ 2015139 w 3785642"/>
                <a:gd name="connsiteY97" fmla="*/ 474778 h 479077"/>
                <a:gd name="connsiteX98" fmla="*/ 1998769 w 3785642"/>
                <a:gd name="connsiteY98" fmla="*/ 474282 h 479077"/>
                <a:gd name="connsiteX99" fmla="*/ 1982398 w 3785642"/>
                <a:gd name="connsiteY99" fmla="*/ 473786 h 479077"/>
                <a:gd name="connsiteX100" fmla="*/ 1966028 w 3785642"/>
                <a:gd name="connsiteY100" fmla="*/ 473786 h 479077"/>
                <a:gd name="connsiteX101" fmla="*/ 1949657 w 3785642"/>
                <a:gd name="connsiteY101" fmla="*/ 472794 h 479077"/>
                <a:gd name="connsiteX102" fmla="*/ 1933287 w 3785642"/>
                <a:gd name="connsiteY102" fmla="*/ 473290 h 479077"/>
                <a:gd name="connsiteX103" fmla="*/ 1916916 w 3785642"/>
                <a:gd name="connsiteY103" fmla="*/ 474778 h 479077"/>
                <a:gd name="connsiteX104" fmla="*/ 1900546 w 3785642"/>
                <a:gd name="connsiteY104" fmla="*/ 472794 h 479077"/>
                <a:gd name="connsiteX105" fmla="*/ 1884175 w 3785642"/>
                <a:gd name="connsiteY105" fmla="*/ 473786 h 479077"/>
                <a:gd name="connsiteX106" fmla="*/ 1867804 w 3785642"/>
                <a:gd name="connsiteY106" fmla="*/ 474778 h 479077"/>
                <a:gd name="connsiteX107" fmla="*/ 1851434 w 3785642"/>
                <a:gd name="connsiteY107" fmla="*/ 474778 h 479077"/>
                <a:gd name="connsiteX108" fmla="*/ 1835063 w 3785642"/>
                <a:gd name="connsiteY108" fmla="*/ 474778 h 479077"/>
                <a:gd name="connsiteX109" fmla="*/ 1818693 w 3785642"/>
                <a:gd name="connsiteY109" fmla="*/ 474282 h 479077"/>
                <a:gd name="connsiteX110" fmla="*/ 1802322 w 3785642"/>
                <a:gd name="connsiteY110" fmla="*/ 472794 h 479077"/>
                <a:gd name="connsiteX111" fmla="*/ 1785951 w 3785642"/>
                <a:gd name="connsiteY111" fmla="*/ 473786 h 479077"/>
                <a:gd name="connsiteX112" fmla="*/ 1769581 w 3785642"/>
                <a:gd name="connsiteY112" fmla="*/ 473290 h 479077"/>
                <a:gd name="connsiteX113" fmla="*/ 1753210 w 3785642"/>
                <a:gd name="connsiteY113" fmla="*/ 472298 h 479077"/>
                <a:gd name="connsiteX114" fmla="*/ 1736840 w 3785642"/>
                <a:gd name="connsiteY114" fmla="*/ 473290 h 479077"/>
                <a:gd name="connsiteX115" fmla="*/ 1720469 w 3785642"/>
                <a:gd name="connsiteY115" fmla="*/ 474778 h 479077"/>
                <a:gd name="connsiteX116" fmla="*/ 1704098 w 3785642"/>
                <a:gd name="connsiteY116" fmla="*/ 472794 h 479077"/>
                <a:gd name="connsiteX117" fmla="*/ 1687728 w 3785642"/>
                <a:gd name="connsiteY117" fmla="*/ 474778 h 479077"/>
                <a:gd name="connsiteX118" fmla="*/ 1671357 w 3785642"/>
                <a:gd name="connsiteY118" fmla="*/ 474778 h 479077"/>
                <a:gd name="connsiteX119" fmla="*/ 1654987 w 3785642"/>
                <a:gd name="connsiteY119" fmla="*/ 472298 h 479077"/>
                <a:gd name="connsiteX120" fmla="*/ 1638616 w 3785642"/>
                <a:gd name="connsiteY120" fmla="*/ 472794 h 479077"/>
                <a:gd name="connsiteX121" fmla="*/ 1622246 w 3785642"/>
                <a:gd name="connsiteY121" fmla="*/ 473786 h 479077"/>
                <a:gd name="connsiteX122" fmla="*/ 1605875 w 3785642"/>
                <a:gd name="connsiteY122" fmla="*/ 474778 h 479077"/>
                <a:gd name="connsiteX123" fmla="*/ 1589505 w 3785642"/>
                <a:gd name="connsiteY123" fmla="*/ 473290 h 479077"/>
                <a:gd name="connsiteX124" fmla="*/ 1573134 w 3785642"/>
                <a:gd name="connsiteY124" fmla="*/ 474778 h 479077"/>
                <a:gd name="connsiteX125" fmla="*/ 1556763 w 3785642"/>
                <a:gd name="connsiteY125" fmla="*/ 472794 h 479077"/>
                <a:gd name="connsiteX126" fmla="*/ 1540393 w 3785642"/>
                <a:gd name="connsiteY126" fmla="*/ 472794 h 479077"/>
                <a:gd name="connsiteX127" fmla="*/ 1524022 w 3785642"/>
                <a:gd name="connsiteY127" fmla="*/ 474282 h 479077"/>
                <a:gd name="connsiteX128" fmla="*/ 1507652 w 3785642"/>
                <a:gd name="connsiteY128" fmla="*/ 472794 h 479077"/>
                <a:gd name="connsiteX129" fmla="*/ 1491281 w 3785642"/>
                <a:gd name="connsiteY129" fmla="*/ 474282 h 479077"/>
                <a:gd name="connsiteX130" fmla="*/ 1474910 w 3785642"/>
                <a:gd name="connsiteY130" fmla="*/ 474282 h 479077"/>
                <a:gd name="connsiteX131" fmla="*/ 1458540 w 3785642"/>
                <a:gd name="connsiteY131" fmla="*/ 472794 h 479077"/>
                <a:gd name="connsiteX132" fmla="*/ 1442169 w 3785642"/>
                <a:gd name="connsiteY132" fmla="*/ 471802 h 479077"/>
                <a:gd name="connsiteX133" fmla="*/ 1425799 w 3785642"/>
                <a:gd name="connsiteY133" fmla="*/ 472298 h 479077"/>
                <a:gd name="connsiteX134" fmla="*/ 1409428 w 3785642"/>
                <a:gd name="connsiteY134" fmla="*/ 472794 h 479077"/>
                <a:gd name="connsiteX135" fmla="*/ 1393058 w 3785642"/>
                <a:gd name="connsiteY135" fmla="*/ 473786 h 479077"/>
                <a:gd name="connsiteX136" fmla="*/ 1376687 w 3785642"/>
                <a:gd name="connsiteY136" fmla="*/ 471802 h 479077"/>
                <a:gd name="connsiteX137" fmla="*/ 1360317 w 3785642"/>
                <a:gd name="connsiteY137" fmla="*/ 473786 h 479077"/>
                <a:gd name="connsiteX138" fmla="*/ 1343946 w 3785642"/>
                <a:gd name="connsiteY138" fmla="*/ 473786 h 479077"/>
                <a:gd name="connsiteX139" fmla="*/ 1327576 w 3785642"/>
                <a:gd name="connsiteY139" fmla="*/ 472794 h 479077"/>
                <a:gd name="connsiteX140" fmla="*/ 1311205 w 3785642"/>
                <a:gd name="connsiteY140" fmla="*/ 473786 h 479077"/>
                <a:gd name="connsiteX141" fmla="*/ 1294834 w 3785642"/>
                <a:gd name="connsiteY141" fmla="*/ 473786 h 479077"/>
                <a:gd name="connsiteX142" fmla="*/ 1278464 w 3785642"/>
                <a:gd name="connsiteY142" fmla="*/ 473786 h 479077"/>
                <a:gd name="connsiteX143" fmla="*/ 1262093 w 3785642"/>
                <a:gd name="connsiteY143" fmla="*/ 473786 h 479077"/>
                <a:gd name="connsiteX144" fmla="*/ 1245723 w 3785642"/>
                <a:gd name="connsiteY144" fmla="*/ 473290 h 479077"/>
                <a:gd name="connsiteX145" fmla="*/ 1229352 w 3785642"/>
                <a:gd name="connsiteY145" fmla="*/ 472794 h 479077"/>
                <a:gd name="connsiteX146" fmla="*/ 1212981 w 3785642"/>
                <a:gd name="connsiteY146" fmla="*/ 473786 h 479077"/>
                <a:gd name="connsiteX147" fmla="*/ 1196611 w 3785642"/>
                <a:gd name="connsiteY147" fmla="*/ 472298 h 479077"/>
                <a:gd name="connsiteX148" fmla="*/ 1180240 w 3785642"/>
                <a:gd name="connsiteY148" fmla="*/ 472794 h 479077"/>
                <a:gd name="connsiteX149" fmla="*/ 1163870 w 3785642"/>
                <a:gd name="connsiteY149" fmla="*/ 472794 h 479077"/>
                <a:gd name="connsiteX150" fmla="*/ 1147499 w 3785642"/>
                <a:gd name="connsiteY150" fmla="*/ 473786 h 479077"/>
                <a:gd name="connsiteX151" fmla="*/ 1131128 w 3785642"/>
                <a:gd name="connsiteY151" fmla="*/ 473786 h 479077"/>
                <a:gd name="connsiteX152" fmla="*/ 1114758 w 3785642"/>
                <a:gd name="connsiteY152" fmla="*/ 472794 h 479077"/>
                <a:gd name="connsiteX153" fmla="*/ 1098387 w 3785642"/>
                <a:gd name="connsiteY153" fmla="*/ 473786 h 479077"/>
                <a:gd name="connsiteX154" fmla="*/ 1082017 w 3785642"/>
                <a:gd name="connsiteY154" fmla="*/ 474778 h 479077"/>
                <a:gd name="connsiteX155" fmla="*/ 1065646 w 3785642"/>
                <a:gd name="connsiteY155" fmla="*/ 474778 h 479077"/>
                <a:gd name="connsiteX156" fmla="*/ 1049276 w 3785642"/>
                <a:gd name="connsiteY156" fmla="*/ 474282 h 479077"/>
                <a:gd name="connsiteX157" fmla="*/ 1032905 w 3785642"/>
                <a:gd name="connsiteY157" fmla="*/ 473290 h 479077"/>
                <a:gd name="connsiteX158" fmla="*/ 1016535 w 3785642"/>
                <a:gd name="connsiteY158" fmla="*/ 474282 h 479077"/>
                <a:gd name="connsiteX159" fmla="*/ 1000164 w 3785642"/>
                <a:gd name="connsiteY159" fmla="*/ 474282 h 479077"/>
                <a:gd name="connsiteX160" fmla="*/ 983793 w 3785642"/>
                <a:gd name="connsiteY160" fmla="*/ 472794 h 479077"/>
                <a:gd name="connsiteX161" fmla="*/ 967423 w 3785642"/>
                <a:gd name="connsiteY161" fmla="*/ 472794 h 479077"/>
                <a:gd name="connsiteX162" fmla="*/ 951052 w 3785642"/>
                <a:gd name="connsiteY162" fmla="*/ 473786 h 479077"/>
                <a:gd name="connsiteX163" fmla="*/ 934682 w 3785642"/>
                <a:gd name="connsiteY163" fmla="*/ 474282 h 479077"/>
                <a:gd name="connsiteX164" fmla="*/ 918311 w 3785642"/>
                <a:gd name="connsiteY164" fmla="*/ 474778 h 479077"/>
                <a:gd name="connsiteX165" fmla="*/ 901940 w 3785642"/>
                <a:gd name="connsiteY165" fmla="*/ 473290 h 479077"/>
                <a:gd name="connsiteX166" fmla="*/ 885570 w 3785642"/>
                <a:gd name="connsiteY166" fmla="*/ 474778 h 479077"/>
                <a:gd name="connsiteX167" fmla="*/ 869199 w 3785642"/>
                <a:gd name="connsiteY167" fmla="*/ 474282 h 479077"/>
                <a:gd name="connsiteX168" fmla="*/ 852829 w 3785642"/>
                <a:gd name="connsiteY168" fmla="*/ 473786 h 479077"/>
                <a:gd name="connsiteX169" fmla="*/ 836458 w 3785642"/>
                <a:gd name="connsiteY169" fmla="*/ 474778 h 479077"/>
                <a:gd name="connsiteX170" fmla="*/ 820088 w 3785642"/>
                <a:gd name="connsiteY170" fmla="*/ 475274 h 479077"/>
                <a:gd name="connsiteX171" fmla="*/ 803717 w 3785642"/>
                <a:gd name="connsiteY171" fmla="*/ 473786 h 479077"/>
                <a:gd name="connsiteX172" fmla="*/ 787347 w 3785642"/>
                <a:gd name="connsiteY172" fmla="*/ 475770 h 479077"/>
                <a:gd name="connsiteX173" fmla="*/ 770976 w 3785642"/>
                <a:gd name="connsiteY173" fmla="*/ 474778 h 479077"/>
                <a:gd name="connsiteX174" fmla="*/ 754605 w 3785642"/>
                <a:gd name="connsiteY174" fmla="*/ 475274 h 479077"/>
                <a:gd name="connsiteX175" fmla="*/ 738235 w 3785642"/>
                <a:gd name="connsiteY175" fmla="*/ 473786 h 479077"/>
                <a:gd name="connsiteX176" fmla="*/ 721864 w 3785642"/>
                <a:gd name="connsiteY176" fmla="*/ 475274 h 479077"/>
                <a:gd name="connsiteX177" fmla="*/ 705494 w 3785642"/>
                <a:gd name="connsiteY177" fmla="*/ 475770 h 479077"/>
                <a:gd name="connsiteX178" fmla="*/ 689123 w 3785642"/>
                <a:gd name="connsiteY178" fmla="*/ 474282 h 479077"/>
                <a:gd name="connsiteX179" fmla="*/ 672753 w 3785642"/>
                <a:gd name="connsiteY179" fmla="*/ 475274 h 479077"/>
                <a:gd name="connsiteX180" fmla="*/ 656382 w 3785642"/>
                <a:gd name="connsiteY180" fmla="*/ 474778 h 479077"/>
                <a:gd name="connsiteX181" fmla="*/ 640011 w 3785642"/>
                <a:gd name="connsiteY181" fmla="*/ 475770 h 479077"/>
                <a:gd name="connsiteX182" fmla="*/ 623641 w 3785642"/>
                <a:gd name="connsiteY182" fmla="*/ 473786 h 479077"/>
                <a:gd name="connsiteX183" fmla="*/ 607270 w 3785642"/>
                <a:gd name="connsiteY183" fmla="*/ 474778 h 479077"/>
                <a:gd name="connsiteX184" fmla="*/ 590900 w 3785642"/>
                <a:gd name="connsiteY184" fmla="*/ 475274 h 479077"/>
                <a:gd name="connsiteX185" fmla="*/ 574529 w 3785642"/>
                <a:gd name="connsiteY185" fmla="*/ 474282 h 479077"/>
                <a:gd name="connsiteX186" fmla="*/ 558158 w 3785642"/>
                <a:gd name="connsiteY186" fmla="*/ 475274 h 479077"/>
                <a:gd name="connsiteX187" fmla="*/ 541788 w 3785642"/>
                <a:gd name="connsiteY187" fmla="*/ 475770 h 479077"/>
                <a:gd name="connsiteX188" fmla="*/ 525417 w 3785642"/>
                <a:gd name="connsiteY188" fmla="*/ 474282 h 479077"/>
                <a:gd name="connsiteX189" fmla="*/ 509047 w 3785642"/>
                <a:gd name="connsiteY189" fmla="*/ 473786 h 479077"/>
                <a:gd name="connsiteX190" fmla="*/ 492676 w 3785642"/>
                <a:gd name="connsiteY190" fmla="*/ 473786 h 479077"/>
                <a:gd name="connsiteX191" fmla="*/ 476306 w 3785642"/>
                <a:gd name="connsiteY191" fmla="*/ 474778 h 479077"/>
                <a:gd name="connsiteX192" fmla="*/ 459935 w 3785642"/>
                <a:gd name="connsiteY192" fmla="*/ 473786 h 479077"/>
                <a:gd name="connsiteX193" fmla="*/ 443565 w 3785642"/>
                <a:gd name="connsiteY193" fmla="*/ 474778 h 479077"/>
                <a:gd name="connsiteX194" fmla="*/ 427194 w 3785642"/>
                <a:gd name="connsiteY194" fmla="*/ 474282 h 479077"/>
                <a:gd name="connsiteX195" fmla="*/ 410823 w 3785642"/>
                <a:gd name="connsiteY195" fmla="*/ 473290 h 479077"/>
                <a:gd name="connsiteX196" fmla="*/ 394453 w 3785642"/>
                <a:gd name="connsiteY196" fmla="*/ 475770 h 479077"/>
                <a:gd name="connsiteX197" fmla="*/ 378082 w 3785642"/>
                <a:gd name="connsiteY197" fmla="*/ 475274 h 479077"/>
                <a:gd name="connsiteX198" fmla="*/ 361712 w 3785642"/>
                <a:gd name="connsiteY198" fmla="*/ 474778 h 479077"/>
                <a:gd name="connsiteX199" fmla="*/ 345341 w 3785642"/>
                <a:gd name="connsiteY199" fmla="*/ 476266 h 479077"/>
                <a:gd name="connsiteX200" fmla="*/ 328970 w 3785642"/>
                <a:gd name="connsiteY200" fmla="*/ 474282 h 479077"/>
                <a:gd name="connsiteX201" fmla="*/ 312600 w 3785642"/>
                <a:gd name="connsiteY201" fmla="*/ 475274 h 479077"/>
                <a:gd name="connsiteX202" fmla="*/ 296229 w 3785642"/>
                <a:gd name="connsiteY202" fmla="*/ 474282 h 479077"/>
                <a:gd name="connsiteX203" fmla="*/ 279859 w 3785642"/>
                <a:gd name="connsiteY203" fmla="*/ 475770 h 479077"/>
                <a:gd name="connsiteX204" fmla="*/ 263488 w 3785642"/>
                <a:gd name="connsiteY204" fmla="*/ 476266 h 479077"/>
                <a:gd name="connsiteX205" fmla="*/ 247118 w 3785642"/>
                <a:gd name="connsiteY205" fmla="*/ 476266 h 479077"/>
                <a:gd name="connsiteX206" fmla="*/ 230747 w 3785642"/>
                <a:gd name="connsiteY206" fmla="*/ 474778 h 479077"/>
                <a:gd name="connsiteX207" fmla="*/ 214376 w 3785642"/>
                <a:gd name="connsiteY207" fmla="*/ 474778 h 479077"/>
                <a:gd name="connsiteX208" fmla="*/ 198006 w 3785642"/>
                <a:gd name="connsiteY208" fmla="*/ 476762 h 479077"/>
                <a:gd name="connsiteX209" fmla="*/ 181635 w 3785642"/>
                <a:gd name="connsiteY209" fmla="*/ 476266 h 479077"/>
                <a:gd name="connsiteX210" fmla="*/ 165265 w 3785642"/>
                <a:gd name="connsiteY210" fmla="*/ 474778 h 479077"/>
                <a:gd name="connsiteX211" fmla="*/ 148894 w 3785642"/>
                <a:gd name="connsiteY211" fmla="*/ 476762 h 479077"/>
                <a:gd name="connsiteX212" fmla="*/ 132524 w 3785642"/>
                <a:gd name="connsiteY212" fmla="*/ 476266 h 479077"/>
                <a:gd name="connsiteX213" fmla="*/ 116153 w 3785642"/>
                <a:gd name="connsiteY213" fmla="*/ 475274 h 479077"/>
                <a:gd name="connsiteX214" fmla="*/ 99783 w 3785642"/>
                <a:gd name="connsiteY214" fmla="*/ 475274 h 479077"/>
                <a:gd name="connsiteX215" fmla="*/ 83412 w 3785642"/>
                <a:gd name="connsiteY215" fmla="*/ 475274 h 479077"/>
                <a:gd name="connsiteX216" fmla="*/ 67041 w 3785642"/>
                <a:gd name="connsiteY216" fmla="*/ 474778 h 479077"/>
                <a:gd name="connsiteX217" fmla="*/ 50671 w 3785642"/>
                <a:gd name="connsiteY217" fmla="*/ 475274 h 479077"/>
                <a:gd name="connsiteX218" fmla="*/ 34300 w 3785642"/>
                <a:gd name="connsiteY218" fmla="*/ 475274 h 479077"/>
                <a:gd name="connsiteX219" fmla="*/ 17930 w 3785642"/>
                <a:gd name="connsiteY219" fmla="*/ 475770 h 479077"/>
                <a:gd name="connsiteX220" fmla="*/ 567 w 3785642"/>
                <a:gd name="connsiteY220" fmla="*/ 475770 h 479077"/>
                <a:gd name="connsiteX221" fmla="*/ 12969 w 3785642"/>
                <a:gd name="connsiteY221" fmla="*/ 463368 h 479077"/>
                <a:gd name="connsiteX222" fmla="*/ 24379 w 3785642"/>
                <a:gd name="connsiteY222" fmla="*/ 451958 h 479077"/>
                <a:gd name="connsiteX223" fmla="*/ 35788 w 3785642"/>
                <a:gd name="connsiteY223" fmla="*/ 440053 h 479077"/>
                <a:gd name="connsiteX224" fmla="*/ 48686 w 3785642"/>
                <a:gd name="connsiteY224" fmla="*/ 430131 h 479077"/>
                <a:gd name="connsiteX225" fmla="*/ 59600 w 3785642"/>
                <a:gd name="connsiteY225" fmla="*/ 418225 h 479077"/>
                <a:gd name="connsiteX226" fmla="*/ 70514 w 3785642"/>
                <a:gd name="connsiteY226" fmla="*/ 405823 h 479077"/>
                <a:gd name="connsiteX227" fmla="*/ 83412 w 3785642"/>
                <a:gd name="connsiteY227" fmla="*/ 395406 h 479077"/>
                <a:gd name="connsiteX228" fmla="*/ 94822 w 3785642"/>
                <a:gd name="connsiteY228" fmla="*/ 383500 h 479077"/>
                <a:gd name="connsiteX229" fmla="*/ 106728 w 3785642"/>
                <a:gd name="connsiteY229" fmla="*/ 372090 h 479077"/>
                <a:gd name="connsiteX230" fmla="*/ 117145 w 3785642"/>
                <a:gd name="connsiteY230" fmla="*/ 359688 h 479077"/>
                <a:gd name="connsiteX231" fmla="*/ 128555 w 3785642"/>
                <a:gd name="connsiteY231" fmla="*/ 348278 h 479077"/>
                <a:gd name="connsiteX232" fmla="*/ 140461 w 3785642"/>
                <a:gd name="connsiteY232" fmla="*/ 336868 h 479077"/>
                <a:gd name="connsiteX233" fmla="*/ 152863 w 3785642"/>
                <a:gd name="connsiteY233" fmla="*/ 326451 h 479077"/>
                <a:gd name="connsiteX234" fmla="*/ 164769 w 3785642"/>
                <a:gd name="connsiteY234" fmla="*/ 315041 h 479077"/>
                <a:gd name="connsiteX235" fmla="*/ 176178 w 3785642"/>
                <a:gd name="connsiteY235" fmla="*/ 303135 h 479077"/>
                <a:gd name="connsiteX236" fmla="*/ 188084 w 3785642"/>
                <a:gd name="connsiteY236" fmla="*/ 291725 h 479077"/>
                <a:gd name="connsiteX237" fmla="*/ 199494 w 3785642"/>
                <a:gd name="connsiteY237" fmla="*/ 280315 h 479077"/>
                <a:gd name="connsiteX238" fmla="*/ 210904 w 3785642"/>
                <a:gd name="connsiteY238" fmla="*/ 268906 h 479077"/>
                <a:gd name="connsiteX239" fmla="*/ 221818 w 3785642"/>
                <a:gd name="connsiteY239" fmla="*/ 256504 h 479077"/>
                <a:gd name="connsiteX240" fmla="*/ 233724 w 3785642"/>
                <a:gd name="connsiteY240" fmla="*/ 245094 h 479077"/>
                <a:gd name="connsiteX241" fmla="*/ 244141 w 3785642"/>
                <a:gd name="connsiteY241" fmla="*/ 232692 h 479077"/>
                <a:gd name="connsiteX242" fmla="*/ 257039 w 3785642"/>
                <a:gd name="connsiteY242" fmla="*/ 222770 h 479077"/>
                <a:gd name="connsiteX243" fmla="*/ 266961 w 3785642"/>
                <a:gd name="connsiteY243" fmla="*/ 209376 h 479077"/>
                <a:gd name="connsiteX244" fmla="*/ 278371 w 3785642"/>
                <a:gd name="connsiteY244" fmla="*/ 197966 h 479077"/>
                <a:gd name="connsiteX245" fmla="*/ 291269 w 3785642"/>
                <a:gd name="connsiteY245" fmla="*/ 188045 h 479077"/>
                <a:gd name="connsiteX246" fmla="*/ 301686 w 3785642"/>
                <a:gd name="connsiteY246" fmla="*/ 175147 h 479077"/>
                <a:gd name="connsiteX247" fmla="*/ 313592 w 3785642"/>
                <a:gd name="connsiteY247" fmla="*/ 163737 h 479077"/>
                <a:gd name="connsiteX248" fmla="*/ 325994 w 3785642"/>
                <a:gd name="connsiteY248" fmla="*/ 153319 h 479077"/>
                <a:gd name="connsiteX249" fmla="*/ 337404 w 3785642"/>
                <a:gd name="connsiteY249" fmla="*/ 141910 h 479077"/>
                <a:gd name="connsiteX250" fmla="*/ 347325 w 3785642"/>
                <a:gd name="connsiteY250" fmla="*/ 129012 h 479077"/>
                <a:gd name="connsiteX251" fmla="*/ 360224 w 3785642"/>
                <a:gd name="connsiteY251" fmla="*/ 118594 h 479077"/>
                <a:gd name="connsiteX252" fmla="*/ 371137 w 3785642"/>
                <a:gd name="connsiteY252" fmla="*/ 106192 h 479077"/>
                <a:gd name="connsiteX253" fmla="*/ 382051 w 3785642"/>
                <a:gd name="connsiteY253" fmla="*/ 93790 h 479077"/>
                <a:gd name="connsiteX254" fmla="*/ 393957 w 3785642"/>
                <a:gd name="connsiteY254" fmla="*/ 82380 h 479077"/>
                <a:gd name="connsiteX255" fmla="*/ 405366 w 3785642"/>
                <a:gd name="connsiteY255" fmla="*/ 70475 h 479077"/>
                <a:gd name="connsiteX256" fmla="*/ 417272 w 3785642"/>
                <a:gd name="connsiteY256" fmla="*/ 59561 h 479077"/>
                <a:gd name="connsiteX257" fmla="*/ 429674 w 3785642"/>
                <a:gd name="connsiteY257" fmla="*/ 48647 h 479077"/>
                <a:gd name="connsiteX258" fmla="*/ 440092 w 3785642"/>
                <a:gd name="connsiteY258" fmla="*/ 35749 h 479077"/>
                <a:gd name="connsiteX259" fmla="*/ 452494 w 3785642"/>
                <a:gd name="connsiteY259" fmla="*/ 24835 h 479077"/>
                <a:gd name="connsiteX260" fmla="*/ 463904 w 3785642"/>
                <a:gd name="connsiteY260" fmla="*/ 12929 h 479077"/>
                <a:gd name="connsiteX261" fmla="*/ 475313 w 3785642"/>
                <a:gd name="connsiteY261" fmla="*/ 1024 h 479077"/>
                <a:gd name="connsiteX262" fmla="*/ 491684 w 3785642"/>
                <a:gd name="connsiteY262" fmla="*/ 2512 h 479077"/>
                <a:gd name="connsiteX263" fmla="*/ 508055 w 3785642"/>
                <a:gd name="connsiteY263" fmla="*/ 2512 h 479077"/>
                <a:gd name="connsiteX264" fmla="*/ 524425 w 3785642"/>
                <a:gd name="connsiteY264" fmla="*/ 2512 h 479077"/>
                <a:gd name="connsiteX265" fmla="*/ 540796 w 3785642"/>
                <a:gd name="connsiteY265" fmla="*/ 1024 h 479077"/>
                <a:gd name="connsiteX266" fmla="*/ 557166 w 3785642"/>
                <a:gd name="connsiteY266" fmla="*/ 2512 h 479077"/>
                <a:gd name="connsiteX267" fmla="*/ 573537 w 3785642"/>
                <a:gd name="connsiteY267" fmla="*/ 1024 h 479077"/>
                <a:gd name="connsiteX268" fmla="*/ 589908 w 3785642"/>
                <a:gd name="connsiteY268" fmla="*/ 527 h 479077"/>
                <a:gd name="connsiteX269" fmla="*/ 606278 w 3785642"/>
                <a:gd name="connsiteY269" fmla="*/ 1520 h 479077"/>
                <a:gd name="connsiteX270" fmla="*/ 622649 w 3785642"/>
                <a:gd name="connsiteY270" fmla="*/ 1520 h 479077"/>
                <a:gd name="connsiteX271" fmla="*/ 639019 w 3785642"/>
                <a:gd name="connsiteY271" fmla="*/ 2016 h 479077"/>
                <a:gd name="connsiteX272" fmla="*/ 655390 w 3785642"/>
                <a:gd name="connsiteY272" fmla="*/ 527 h 479077"/>
                <a:gd name="connsiteX273" fmla="*/ 671760 w 3785642"/>
                <a:gd name="connsiteY273" fmla="*/ 1520 h 479077"/>
                <a:gd name="connsiteX274" fmla="*/ 688131 w 3785642"/>
                <a:gd name="connsiteY274" fmla="*/ 2512 h 479077"/>
                <a:gd name="connsiteX275" fmla="*/ 704501 w 3785642"/>
                <a:gd name="connsiteY275" fmla="*/ 1024 h 479077"/>
                <a:gd name="connsiteX276" fmla="*/ 720872 w 3785642"/>
                <a:gd name="connsiteY276" fmla="*/ 1520 h 479077"/>
                <a:gd name="connsiteX277" fmla="*/ 737243 w 3785642"/>
                <a:gd name="connsiteY277" fmla="*/ 2016 h 479077"/>
                <a:gd name="connsiteX278" fmla="*/ 753613 w 3785642"/>
                <a:gd name="connsiteY278" fmla="*/ 1024 h 479077"/>
                <a:gd name="connsiteX279" fmla="*/ 769984 w 3785642"/>
                <a:gd name="connsiteY279" fmla="*/ 527 h 479077"/>
                <a:gd name="connsiteX280" fmla="*/ 786354 w 3785642"/>
                <a:gd name="connsiteY280" fmla="*/ 1520 h 479077"/>
                <a:gd name="connsiteX281" fmla="*/ 802725 w 3785642"/>
                <a:gd name="connsiteY281" fmla="*/ 527 h 479077"/>
                <a:gd name="connsiteX282" fmla="*/ 819096 w 3785642"/>
                <a:gd name="connsiteY282" fmla="*/ 2512 h 479077"/>
                <a:gd name="connsiteX283" fmla="*/ 835466 w 3785642"/>
                <a:gd name="connsiteY283" fmla="*/ 527 h 479077"/>
                <a:gd name="connsiteX284" fmla="*/ 851837 w 3785642"/>
                <a:gd name="connsiteY284" fmla="*/ 1520 h 479077"/>
                <a:gd name="connsiteX285" fmla="*/ 868207 w 3785642"/>
                <a:gd name="connsiteY285" fmla="*/ 2016 h 479077"/>
                <a:gd name="connsiteX286" fmla="*/ 884578 w 3785642"/>
                <a:gd name="connsiteY286" fmla="*/ 2512 h 479077"/>
                <a:gd name="connsiteX287" fmla="*/ 900948 w 3785642"/>
                <a:gd name="connsiteY287" fmla="*/ 1520 h 479077"/>
                <a:gd name="connsiteX288" fmla="*/ 917319 w 3785642"/>
                <a:gd name="connsiteY288" fmla="*/ 1024 h 479077"/>
                <a:gd name="connsiteX289" fmla="*/ 933689 w 3785642"/>
                <a:gd name="connsiteY289" fmla="*/ 2512 h 479077"/>
                <a:gd name="connsiteX290" fmla="*/ 950060 w 3785642"/>
                <a:gd name="connsiteY290" fmla="*/ 1520 h 479077"/>
                <a:gd name="connsiteX291" fmla="*/ 966431 w 3785642"/>
                <a:gd name="connsiteY291" fmla="*/ 2016 h 479077"/>
                <a:gd name="connsiteX292" fmla="*/ 982801 w 3785642"/>
                <a:gd name="connsiteY292" fmla="*/ 2512 h 479077"/>
                <a:gd name="connsiteX293" fmla="*/ 999172 w 3785642"/>
                <a:gd name="connsiteY293" fmla="*/ 1520 h 479077"/>
                <a:gd name="connsiteX294" fmla="*/ 1015542 w 3785642"/>
                <a:gd name="connsiteY294" fmla="*/ 2512 h 479077"/>
                <a:gd name="connsiteX295" fmla="*/ 1031913 w 3785642"/>
                <a:gd name="connsiteY295" fmla="*/ 1520 h 479077"/>
                <a:gd name="connsiteX296" fmla="*/ 1048283 w 3785642"/>
                <a:gd name="connsiteY296" fmla="*/ 2016 h 479077"/>
                <a:gd name="connsiteX297" fmla="*/ 1064654 w 3785642"/>
                <a:gd name="connsiteY297" fmla="*/ 3504 h 479077"/>
                <a:gd name="connsiteX298" fmla="*/ 1081025 w 3785642"/>
                <a:gd name="connsiteY298" fmla="*/ 2016 h 479077"/>
                <a:gd name="connsiteX299" fmla="*/ 1097395 w 3785642"/>
                <a:gd name="connsiteY299" fmla="*/ 2512 h 479077"/>
                <a:gd name="connsiteX300" fmla="*/ 1113766 w 3785642"/>
                <a:gd name="connsiteY300" fmla="*/ 2512 h 479077"/>
                <a:gd name="connsiteX301" fmla="*/ 1130136 w 3785642"/>
                <a:gd name="connsiteY301" fmla="*/ 3504 h 479077"/>
                <a:gd name="connsiteX302" fmla="*/ 1146507 w 3785642"/>
                <a:gd name="connsiteY302" fmla="*/ 1520 h 479077"/>
                <a:gd name="connsiteX303" fmla="*/ 1162878 w 3785642"/>
                <a:gd name="connsiteY303" fmla="*/ 3008 h 479077"/>
                <a:gd name="connsiteX304" fmla="*/ 1179248 w 3785642"/>
                <a:gd name="connsiteY304" fmla="*/ 4000 h 479077"/>
                <a:gd name="connsiteX305" fmla="*/ 1195619 w 3785642"/>
                <a:gd name="connsiteY305" fmla="*/ 3504 h 479077"/>
                <a:gd name="connsiteX306" fmla="*/ 1211989 w 3785642"/>
                <a:gd name="connsiteY306" fmla="*/ 1520 h 479077"/>
                <a:gd name="connsiteX307" fmla="*/ 1228360 w 3785642"/>
                <a:gd name="connsiteY307" fmla="*/ 3504 h 479077"/>
                <a:gd name="connsiteX308" fmla="*/ 1244730 w 3785642"/>
                <a:gd name="connsiteY308" fmla="*/ 1520 h 479077"/>
                <a:gd name="connsiteX309" fmla="*/ 1261101 w 3785642"/>
                <a:gd name="connsiteY309" fmla="*/ 2512 h 479077"/>
                <a:gd name="connsiteX310" fmla="*/ 1277471 w 3785642"/>
                <a:gd name="connsiteY310" fmla="*/ 3504 h 479077"/>
                <a:gd name="connsiteX311" fmla="*/ 1293842 w 3785642"/>
                <a:gd name="connsiteY311" fmla="*/ 4000 h 479077"/>
                <a:gd name="connsiteX312" fmla="*/ 1310213 w 3785642"/>
                <a:gd name="connsiteY312" fmla="*/ 1520 h 479077"/>
                <a:gd name="connsiteX313" fmla="*/ 1326583 w 3785642"/>
                <a:gd name="connsiteY313" fmla="*/ 2016 h 479077"/>
                <a:gd name="connsiteX314" fmla="*/ 1342954 w 3785642"/>
                <a:gd name="connsiteY314" fmla="*/ 3008 h 479077"/>
                <a:gd name="connsiteX315" fmla="*/ 1359324 w 3785642"/>
                <a:gd name="connsiteY315" fmla="*/ 3008 h 479077"/>
                <a:gd name="connsiteX316" fmla="*/ 1375695 w 3785642"/>
                <a:gd name="connsiteY316" fmla="*/ 2512 h 479077"/>
                <a:gd name="connsiteX317" fmla="*/ 1392066 w 3785642"/>
                <a:gd name="connsiteY317" fmla="*/ 2512 h 479077"/>
                <a:gd name="connsiteX318" fmla="*/ 1408436 w 3785642"/>
                <a:gd name="connsiteY318" fmla="*/ 3504 h 479077"/>
                <a:gd name="connsiteX319" fmla="*/ 1424807 w 3785642"/>
                <a:gd name="connsiteY319" fmla="*/ 3504 h 479077"/>
                <a:gd name="connsiteX320" fmla="*/ 1441177 w 3785642"/>
                <a:gd name="connsiteY320" fmla="*/ 1520 h 479077"/>
                <a:gd name="connsiteX321" fmla="*/ 1457548 w 3785642"/>
                <a:gd name="connsiteY321" fmla="*/ 2512 h 479077"/>
                <a:gd name="connsiteX322" fmla="*/ 1473919 w 3785642"/>
                <a:gd name="connsiteY322" fmla="*/ 2016 h 479077"/>
                <a:gd name="connsiteX323" fmla="*/ 1490289 w 3785642"/>
                <a:gd name="connsiteY323" fmla="*/ 2016 h 479077"/>
                <a:gd name="connsiteX324" fmla="*/ 1506660 w 3785642"/>
                <a:gd name="connsiteY324" fmla="*/ 1520 h 479077"/>
                <a:gd name="connsiteX325" fmla="*/ 1523030 w 3785642"/>
                <a:gd name="connsiteY325" fmla="*/ 3504 h 479077"/>
                <a:gd name="connsiteX326" fmla="*/ 1539401 w 3785642"/>
                <a:gd name="connsiteY326" fmla="*/ 3008 h 479077"/>
                <a:gd name="connsiteX327" fmla="*/ 1555771 w 3785642"/>
                <a:gd name="connsiteY327" fmla="*/ 3008 h 479077"/>
                <a:gd name="connsiteX328" fmla="*/ 1572142 w 3785642"/>
                <a:gd name="connsiteY328" fmla="*/ 2512 h 479077"/>
                <a:gd name="connsiteX329" fmla="*/ 1588512 w 3785642"/>
                <a:gd name="connsiteY329" fmla="*/ 2016 h 479077"/>
                <a:gd name="connsiteX330" fmla="*/ 1604883 w 3785642"/>
                <a:gd name="connsiteY330" fmla="*/ 3008 h 479077"/>
                <a:gd name="connsiteX331" fmla="*/ 1621253 w 3785642"/>
                <a:gd name="connsiteY331" fmla="*/ 3008 h 479077"/>
                <a:gd name="connsiteX332" fmla="*/ 1637624 w 3785642"/>
                <a:gd name="connsiteY33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313375 w 3785642"/>
                <a:gd name="connsiteY5" fmla="*/ 10945 h 479077"/>
                <a:gd name="connsiteX6" fmla="*/ 3300973 w 3785642"/>
                <a:gd name="connsiteY6" fmla="*/ 21363 h 479077"/>
                <a:gd name="connsiteX7" fmla="*/ 3289068 w 3785642"/>
                <a:gd name="connsiteY7" fmla="*/ 32276 h 479077"/>
                <a:gd name="connsiteX8" fmla="*/ 3277658 w 3785642"/>
                <a:gd name="connsiteY8" fmla="*/ 43686 h 479077"/>
                <a:gd name="connsiteX9" fmla="*/ 3266248 w 3785642"/>
                <a:gd name="connsiteY9" fmla="*/ 55592 h 479077"/>
                <a:gd name="connsiteX10" fmla="*/ 3255830 w 3785642"/>
                <a:gd name="connsiteY10" fmla="*/ 68490 h 479077"/>
                <a:gd name="connsiteX11" fmla="*/ 3243924 w 3785642"/>
                <a:gd name="connsiteY11" fmla="*/ 79900 h 479077"/>
                <a:gd name="connsiteX12" fmla="*/ 3231522 w 3785642"/>
                <a:gd name="connsiteY12" fmla="*/ 90814 h 479077"/>
                <a:gd name="connsiteX13" fmla="*/ 3220609 w 3785642"/>
                <a:gd name="connsiteY13" fmla="*/ 102720 h 479077"/>
                <a:gd name="connsiteX14" fmla="*/ 3208207 w 3785642"/>
                <a:gd name="connsiteY14" fmla="*/ 113137 h 479077"/>
                <a:gd name="connsiteX15" fmla="*/ 3197293 w 3785642"/>
                <a:gd name="connsiteY15" fmla="*/ 125043 h 479077"/>
                <a:gd name="connsiteX16" fmla="*/ 3185387 w 3785642"/>
                <a:gd name="connsiteY16" fmla="*/ 136453 h 479077"/>
                <a:gd name="connsiteX17" fmla="*/ 3174970 w 3785642"/>
                <a:gd name="connsiteY17" fmla="*/ 148855 h 479077"/>
                <a:gd name="connsiteX18" fmla="*/ 3162071 w 3785642"/>
                <a:gd name="connsiteY18" fmla="*/ 159272 h 479077"/>
                <a:gd name="connsiteX19" fmla="*/ 3151158 w 3785642"/>
                <a:gd name="connsiteY19" fmla="*/ 171674 h 479077"/>
                <a:gd name="connsiteX20" fmla="*/ 3139252 w 3785642"/>
                <a:gd name="connsiteY20" fmla="*/ 182588 h 479077"/>
                <a:gd name="connsiteX21" fmla="*/ 3127843 w 3785642"/>
                <a:gd name="connsiteY21" fmla="*/ 194494 h 479077"/>
                <a:gd name="connsiteX22" fmla="*/ 3116432 w 3785642"/>
                <a:gd name="connsiteY22" fmla="*/ 205904 h 479077"/>
                <a:gd name="connsiteX23" fmla="*/ 3105022 w 3785642"/>
                <a:gd name="connsiteY23" fmla="*/ 217810 h 479077"/>
                <a:gd name="connsiteX24" fmla="*/ 3093117 w 3785642"/>
                <a:gd name="connsiteY24" fmla="*/ 229219 h 479077"/>
                <a:gd name="connsiteX25" fmla="*/ 3081707 w 3785642"/>
                <a:gd name="connsiteY25" fmla="*/ 240629 h 479077"/>
                <a:gd name="connsiteX26" fmla="*/ 3069305 w 3785642"/>
                <a:gd name="connsiteY26" fmla="*/ 251543 h 479077"/>
                <a:gd name="connsiteX27" fmla="*/ 3057895 w 3785642"/>
                <a:gd name="connsiteY27" fmla="*/ 263449 h 479077"/>
                <a:gd name="connsiteX28" fmla="*/ 3046486 w 3785642"/>
                <a:gd name="connsiteY28" fmla="*/ 275355 h 479077"/>
                <a:gd name="connsiteX29" fmla="*/ 3035572 w 3785642"/>
                <a:gd name="connsiteY29" fmla="*/ 287260 h 479077"/>
                <a:gd name="connsiteX30" fmla="*/ 3024658 w 3785642"/>
                <a:gd name="connsiteY30" fmla="*/ 299166 h 479077"/>
                <a:gd name="connsiteX31" fmla="*/ 3013248 w 3785642"/>
                <a:gd name="connsiteY31" fmla="*/ 311072 h 479077"/>
                <a:gd name="connsiteX32" fmla="*/ 3000350 w 3785642"/>
                <a:gd name="connsiteY32" fmla="*/ 321490 h 479077"/>
                <a:gd name="connsiteX33" fmla="*/ 2988941 w 3785642"/>
                <a:gd name="connsiteY33" fmla="*/ 333396 h 479077"/>
                <a:gd name="connsiteX34" fmla="*/ 2976539 w 3785642"/>
                <a:gd name="connsiteY34" fmla="*/ 344309 h 479077"/>
                <a:gd name="connsiteX35" fmla="*/ 2965129 w 3785642"/>
                <a:gd name="connsiteY35" fmla="*/ 356215 h 479077"/>
                <a:gd name="connsiteX36" fmla="*/ 2953223 w 3785642"/>
                <a:gd name="connsiteY36" fmla="*/ 367625 h 479077"/>
                <a:gd name="connsiteX37" fmla="*/ 2941813 w 3785642"/>
                <a:gd name="connsiteY37" fmla="*/ 379531 h 479077"/>
                <a:gd name="connsiteX38" fmla="*/ 2931395 w 3785642"/>
                <a:gd name="connsiteY38" fmla="*/ 392429 h 479077"/>
                <a:gd name="connsiteX39" fmla="*/ 2918497 w 3785642"/>
                <a:gd name="connsiteY39" fmla="*/ 402847 h 479077"/>
                <a:gd name="connsiteX40" fmla="*/ 2907584 w 3785642"/>
                <a:gd name="connsiteY40" fmla="*/ 415249 h 479077"/>
                <a:gd name="connsiteX41" fmla="*/ 2896174 w 3785642"/>
                <a:gd name="connsiteY41" fmla="*/ 426658 h 479077"/>
                <a:gd name="connsiteX42" fmla="*/ 2884268 w 3785642"/>
                <a:gd name="connsiteY42" fmla="*/ 438068 h 479077"/>
                <a:gd name="connsiteX43" fmla="*/ 2873354 w 3785642"/>
                <a:gd name="connsiteY43" fmla="*/ 450470 h 479077"/>
                <a:gd name="connsiteX44" fmla="*/ 2860952 w 3785642"/>
                <a:gd name="connsiteY44" fmla="*/ 461384 h 479077"/>
                <a:gd name="connsiteX45" fmla="*/ 2850039 w 3785642"/>
                <a:gd name="connsiteY45" fmla="*/ 473786 h 479077"/>
                <a:gd name="connsiteX46" fmla="*/ 2833668 w 3785642"/>
                <a:gd name="connsiteY46" fmla="*/ 473786 h 479077"/>
                <a:gd name="connsiteX47" fmla="*/ 2817297 w 3785642"/>
                <a:gd name="connsiteY47" fmla="*/ 473290 h 479077"/>
                <a:gd name="connsiteX48" fmla="*/ 2800927 w 3785642"/>
                <a:gd name="connsiteY48" fmla="*/ 473290 h 479077"/>
                <a:gd name="connsiteX49" fmla="*/ 2784556 w 3785642"/>
                <a:gd name="connsiteY49" fmla="*/ 473786 h 479077"/>
                <a:gd name="connsiteX50" fmla="*/ 2768186 w 3785642"/>
                <a:gd name="connsiteY50" fmla="*/ 474282 h 479077"/>
                <a:gd name="connsiteX51" fmla="*/ 2751815 w 3785642"/>
                <a:gd name="connsiteY51" fmla="*/ 474282 h 479077"/>
                <a:gd name="connsiteX52" fmla="*/ 2735444 w 3785642"/>
                <a:gd name="connsiteY52" fmla="*/ 473290 h 479077"/>
                <a:gd name="connsiteX53" fmla="*/ 2719074 w 3785642"/>
                <a:gd name="connsiteY53" fmla="*/ 474282 h 479077"/>
                <a:gd name="connsiteX54" fmla="*/ 2702703 w 3785642"/>
                <a:gd name="connsiteY54" fmla="*/ 472298 h 479077"/>
                <a:gd name="connsiteX55" fmla="*/ 2686333 w 3785642"/>
                <a:gd name="connsiteY55" fmla="*/ 472794 h 479077"/>
                <a:gd name="connsiteX56" fmla="*/ 2669962 w 3785642"/>
                <a:gd name="connsiteY56" fmla="*/ 474282 h 479077"/>
                <a:gd name="connsiteX57" fmla="*/ 2653592 w 3785642"/>
                <a:gd name="connsiteY57" fmla="*/ 472298 h 479077"/>
                <a:gd name="connsiteX58" fmla="*/ 2637221 w 3785642"/>
                <a:gd name="connsiteY58" fmla="*/ 474282 h 479077"/>
                <a:gd name="connsiteX59" fmla="*/ 2620851 w 3785642"/>
                <a:gd name="connsiteY59" fmla="*/ 474282 h 479077"/>
                <a:gd name="connsiteX60" fmla="*/ 2604480 w 3785642"/>
                <a:gd name="connsiteY60" fmla="*/ 472298 h 479077"/>
                <a:gd name="connsiteX61" fmla="*/ 2588109 w 3785642"/>
                <a:gd name="connsiteY61" fmla="*/ 473786 h 479077"/>
                <a:gd name="connsiteX62" fmla="*/ 2571739 w 3785642"/>
                <a:gd name="connsiteY62" fmla="*/ 472298 h 479077"/>
                <a:gd name="connsiteX63" fmla="*/ 2555368 w 3785642"/>
                <a:gd name="connsiteY63" fmla="*/ 473290 h 479077"/>
                <a:gd name="connsiteX64" fmla="*/ 2538998 w 3785642"/>
                <a:gd name="connsiteY64" fmla="*/ 474282 h 479077"/>
                <a:gd name="connsiteX65" fmla="*/ 2522627 w 3785642"/>
                <a:gd name="connsiteY65" fmla="*/ 473290 h 479077"/>
                <a:gd name="connsiteX66" fmla="*/ 2506257 w 3785642"/>
                <a:gd name="connsiteY66" fmla="*/ 474282 h 479077"/>
                <a:gd name="connsiteX67" fmla="*/ 2489886 w 3785642"/>
                <a:gd name="connsiteY67" fmla="*/ 473786 h 479077"/>
                <a:gd name="connsiteX68" fmla="*/ 2473516 w 3785642"/>
                <a:gd name="connsiteY68" fmla="*/ 474282 h 479077"/>
                <a:gd name="connsiteX69" fmla="*/ 2457145 w 3785642"/>
                <a:gd name="connsiteY69" fmla="*/ 472794 h 479077"/>
                <a:gd name="connsiteX70" fmla="*/ 2440775 w 3785642"/>
                <a:gd name="connsiteY70" fmla="*/ 472298 h 479077"/>
                <a:gd name="connsiteX71" fmla="*/ 2424404 w 3785642"/>
                <a:gd name="connsiteY71" fmla="*/ 473786 h 479077"/>
                <a:gd name="connsiteX72" fmla="*/ 2408033 w 3785642"/>
                <a:gd name="connsiteY72" fmla="*/ 472794 h 479077"/>
                <a:gd name="connsiteX73" fmla="*/ 2391663 w 3785642"/>
                <a:gd name="connsiteY73" fmla="*/ 473290 h 479077"/>
                <a:gd name="connsiteX74" fmla="*/ 2375292 w 3785642"/>
                <a:gd name="connsiteY74" fmla="*/ 473290 h 479077"/>
                <a:gd name="connsiteX75" fmla="*/ 2358922 w 3785642"/>
                <a:gd name="connsiteY75" fmla="*/ 472794 h 479077"/>
                <a:gd name="connsiteX76" fmla="*/ 2342551 w 3785642"/>
                <a:gd name="connsiteY76" fmla="*/ 472298 h 479077"/>
                <a:gd name="connsiteX77" fmla="*/ 2326180 w 3785642"/>
                <a:gd name="connsiteY77" fmla="*/ 473786 h 479077"/>
                <a:gd name="connsiteX78" fmla="*/ 2309810 w 3785642"/>
                <a:gd name="connsiteY78" fmla="*/ 473786 h 479077"/>
                <a:gd name="connsiteX79" fmla="*/ 2293439 w 3785642"/>
                <a:gd name="connsiteY79" fmla="*/ 473786 h 479077"/>
                <a:gd name="connsiteX80" fmla="*/ 2277069 w 3785642"/>
                <a:gd name="connsiteY80" fmla="*/ 472794 h 479077"/>
                <a:gd name="connsiteX81" fmla="*/ 2260698 w 3785642"/>
                <a:gd name="connsiteY81" fmla="*/ 474282 h 479077"/>
                <a:gd name="connsiteX82" fmla="*/ 2244327 w 3785642"/>
                <a:gd name="connsiteY82" fmla="*/ 472298 h 479077"/>
                <a:gd name="connsiteX83" fmla="*/ 2227957 w 3785642"/>
                <a:gd name="connsiteY83" fmla="*/ 474282 h 479077"/>
                <a:gd name="connsiteX84" fmla="*/ 2211586 w 3785642"/>
                <a:gd name="connsiteY84" fmla="*/ 473290 h 479077"/>
                <a:gd name="connsiteX85" fmla="*/ 2195216 w 3785642"/>
                <a:gd name="connsiteY85" fmla="*/ 474282 h 479077"/>
                <a:gd name="connsiteX86" fmla="*/ 2178845 w 3785642"/>
                <a:gd name="connsiteY86" fmla="*/ 472794 h 479077"/>
                <a:gd name="connsiteX87" fmla="*/ 2162474 w 3785642"/>
                <a:gd name="connsiteY87" fmla="*/ 474778 h 479077"/>
                <a:gd name="connsiteX88" fmla="*/ 2146104 w 3785642"/>
                <a:gd name="connsiteY88" fmla="*/ 473290 h 479077"/>
                <a:gd name="connsiteX89" fmla="*/ 2129733 w 3785642"/>
                <a:gd name="connsiteY89" fmla="*/ 474778 h 479077"/>
                <a:gd name="connsiteX90" fmla="*/ 2113363 w 3785642"/>
                <a:gd name="connsiteY90" fmla="*/ 474778 h 479077"/>
                <a:gd name="connsiteX91" fmla="*/ 2096992 w 3785642"/>
                <a:gd name="connsiteY91" fmla="*/ 474778 h 479077"/>
                <a:gd name="connsiteX92" fmla="*/ 2080621 w 3785642"/>
                <a:gd name="connsiteY92" fmla="*/ 474282 h 479077"/>
                <a:gd name="connsiteX93" fmla="*/ 2064251 w 3785642"/>
                <a:gd name="connsiteY93" fmla="*/ 472794 h 479077"/>
                <a:gd name="connsiteX94" fmla="*/ 2047880 w 3785642"/>
                <a:gd name="connsiteY94" fmla="*/ 474778 h 479077"/>
                <a:gd name="connsiteX95" fmla="*/ 2031510 w 3785642"/>
                <a:gd name="connsiteY95" fmla="*/ 474778 h 479077"/>
                <a:gd name="connsiteX96" fmla="*/ 2015139 w 3785642"/>
                <a:gd name="connsiteY96" fmla="*/ 474778 h 479077"/>
                <a:gd name="connsiteX97" fmla="*/ 1998769 w 3785642"/>
                <a:gd name="connsiteY97" fmla="*/ 474282 h 479077"/>
                <a:gd name="connsiteX98" fmla="*/ 1982398 w 3785642"/>
                <a:gd name="connsiteY98" fmla="*/ 473786 h 479077"/>
                <a:gd name="connsiteX99" fmla="*/ 1966028 w 3785642"/>
                <a:gd name="connsiteY99" fmla="*/ 473786 h 479077"/>
                <a:gd name="connsiteX100" fmla="*/ 1949657 w 3785642"/>
                <a:gd name="connsiteY100" fmla="*/ 472794 h 479077"/>
                <a:gd name="connsiteX101" fmla="*/ 1933287 w 3785642"/>
                <a:gd name="connsiteY101" fmla="*/ 473290 h 479077"/>
                <a:gd name="connsiteX102" fmla="*/ 1916916 w 3785642"/>
                <a:gd name="connsiteY102" fmla="*/ 474778 h 479077"/>
                <a:gd name="connsiteX103" fmla="*/ 1900546 w 3785642"/>
                <a:gd name="connsiteY103" fmla="*/ 472794 h 479077"/>
                <a:gd name="connsiteX104" fmla="*/ 1884175 w 3785642"/>
                <a:gd name="connsiteY104" fmla="*/ 473786 h 479077"/>
                <a:gd name="connsiteX105" fmla="*/ 1867804 w 3785642"/>
                <a:gd name="connsiteY105" fmla="*/ 474778 h 479077"/>
                <a:gd name="connsiteX106" fmla="*/ 1851434 w 3785642"/>
                <a:gd name="connsiteY106" fmla="*/ 474778 h 479077"/>
                <a:gd name="connsiteX107" fmla="*/ 1835063 w 3785642"/>
                <a:gd name="connsiteY107" fmla="*/ 474778 h 479077"/>
                <a:gd name="connsiteX108" fmla="*/ 1818693 w 3785642"/>
                <a:gd name="connsiteY108" fmla="*/ 474282 h 479077"/>
                <a:gd name="connsiteX109" fmla="*/ 1802322 w 3785642"/>
                <a:gd name="connsiteY109" fmla="*/ 472794 h 479077"/>
                <a:gd name="connsiteX110" fmla="*/ 1785951 w 3785642"/>
                <a:gd name="connsiteY110" fmla="*/ 473786 h 479077"/>
                <a:gd name="connsiteX111" fmla="*/ 1769581 w 3785642"/>
                <a:gd name="connsiteY111" fmla="*/ 473290 h 479077"/>
                <a:gd name="connsiteX112" fmla="*/ 1753210 w 3785642"/>
                <a:gd name="connsiteY112" fmla="*/ 472298 h 479077"/>
                <a:gd name="connsiteX113" fmla="*/ 1736840 w 3785642"/>
                <a:gd name="connsiteY113" fmla="*/ 473290 h 479077"/>
                <a:gd name="connsiteX114" fmla="*/ 1720469 w 3785642"/>
                <a:gd name="connsiteY114" fmla="*/ 474778 h 479077"/>
                <a:gd name="connsiteX115" fmla="*/ 1704098 w 3785642"/>
                <a:gd name="connsiteY115" fmla="*/ 472794 h 479077"/>
                <a:gd name="connsiteX116" fmla="*/ 1687728 w 3785642"/>
                <a:gd name="connsiteY116" fmla="*/ 474778 h 479077"/>
                <a:gd name="connsiteX117" fmla="*/ 1671357 w 3785642"/>
                <a:gd name="connsiteY117" fmla="*/ 474778 h 479077"/>
                <a:gd name="connsiteX118" fmla="*/ 1654987 w 3785642"/>
                <a:gd name="connsiteY118" fmla="*/ 472298 h 479077"/>
                <a:gd name="connsiteX119" fmla="*/ 1638616 w 3785642"/>
                <a:gd name="connsiteY119" fmla="*/ 472794 h 479077"/>
                <a:gd name="connsiteX120" fmla="*/ 1622246 w 3785642"/>
                <a:gd name="connsiteY120" fmla="*/ 473786 h 479077"/>
                <a:gd name="connsiteX121" fmla="*/ 1605875 w 3785642"/>
                <a:gd name="connsiteY121" fmla="*/ 474778 h 479077"/>
                <a:gd name="connsiteX122" fmla="*/ 1589505 w 3785642"/>
                <a:gd name="connsiteY122" fmla="*/ 473290 h 479077"/>
                <a:gd name="connsiteX123" fmla="*/ 1573134 w 3785642"/>
                <a:gd name="connsiteY123" fmla="*/ 474778 h 479077"/>
                <a:gd name="connsiteX124" fmla="*/ 1556763 w 3785642"/>
                <a:gd name="connsiteY124" fmla="*/ 472794 h 479077"/>
                <a:gd name="connsiteX125" fmla="*/ 1540393 w 3785642"/>
                <a:gd name="connsiteY125" fmla="*/ 472794 h 479077"/>
                <a:gd name="connsiteX126" fmla="*/ 1524022 w 3785642"/>
                <a:gd name="connsiteY126" fmla="*/ 474282 h 479077"/>
                <a:gd name="connsiteX127" fmla="*/ 1507652 w 3785642"/>
                <a:gd name="connsiteY127" fmla="*/ 472794 h 479077"/>
                <a:gd name="connsiteX128" fmla="*/ 1491281 w 3785642"/>
                <a:gd name="connsiteY128" fmla="*/ 474282 h 479077"/>
                <a:gd name="connsiteX129" fmla="*/ 1474910 w 3785642"/>
                <a:gd name="connsiteY129" fmla="*/ 474282 h 479077"/>
                <a:gd name="connsiteX130" fmla="*/ 1458540 w 3785642"/>
                <a:gd name="connsiteY130" fmla="*/ 472794 h 479077"/>
                <a:gd name="connsiteX131" fmla="*/ 1442169 w 3785642"/>
                <a:gd name="connsiteY131" fmla="*/ 471802 h 479077"/>
                <a:gd name="connsiteX132" fmla="*/ 1425799 w 3785642"/>
                <a:gd name="connsiteY132" fmla="*/ 472298 h 479077"/>
                <a:gd name="connsiteX133" fmla="*/ 1409428 w 3785642"/>
                <a:gd name="connsiteY133" fmla="*/ 472794 h 479077"/>
                <a:gd name="connsiteX134" fmla="*/ 1393058 w 3785642"/>
                <a:gd name="connsiteY134" fmla="*/ 473786 h 479077"/>
                <a:gd name="connsiteX135" fmla="*/ 1376687 w 3785642"/>
                <a:gd name="connsiteY135" fmla="*/ 471802 h 479077"/>
                <a:gd name="connsiteX136" fmla="*/ 1360317 w 3785642"/>
                <a:gd name="connsiteY136" fmla="*/ 473786 h 479077"/>
                <a:gd name="connsiteX137" fmla="*/ 1343946 w 3785642"/>
                <a:gd name="connsiteY137" fmla="*/ 473786 h 479077"/>
                <a:gd name="connsiteX138" fmla="*/ 1327576 w 3785642"/>
                <a:gd name="connsiteY138" fmla="*/ 472794 h 479077"/>
                <a:gd name="connsiteX139" fmla="*/ 1311205 w 3785642"/>
                <a:gd name="connsiteY139" fmla="*/ 473786 h 479077"/>
                <a:gd name="connsiteX140" fmla="*/ 1294834 w 3785642"/>
                <a:gd name="connsiteY140" fmla="*/ 473786 h 479077"/>
                <a:gd name="connsiteX141" fmla="*/ 1278464 w 3785642"/>
                <a:gd name="connsiteY141" fmla="*/ 473786 h 479077"/>
                <a:gd name="connsiteX142" fmla="*/ 1262093 w 3785642"/>
                <a:gd name="connsiteY142" fmla="*/ 473786 h 479077"/>
                <a:gd name="connsiteX143" fmla="*/ 1245723 w 3785642"/>
                <a:gd name="connsiteY143" fmla="*/ 473290 h 479077"/>
                <a:gd name="connsiteX144" fmla="*/ 1229352 w 3785642"/>
                <a:gd name="connsiteY144" fmla="*/ 472794 h 479077"/>
                <a:gd name="connsiteX145" fmla="*/ 1212981 w 3785642"/>
                <a:gd name="connsiteY145" fmla="*/ 473786 h 479077"/>
                <a:gd name="connsiteX146" fmla="*/ 1196611 w 3785642"/>
                <a:gd name="connsiteY146" fmla="*/ 472298 h 479077"/>
                <a:gd name="connsiteX147" fmla="*/ 1180240 w 3785642"/>
                <a:gd name="connsiteY147" fmla="*/ 472794 h 479077"/>
                <a:gd name="connsiteX148" fmla="*/ 1163870 w 3785642"/>
                <a:gd name="connsiteY148" fmla="*/ 472794 h 479077"/>
                <a:gd name="connsiteX149" fmla="*/ 1147499 w 3785642"/>
                <a:gd name="connsiteY149" fmla="*/ 473786 h 479077"/>
                <a:gd name="connsiteX150" fmla="*/ 1131128 w 3785642"/>
                <a:gd name="connsiteY150" fmla="*/ 473786 h 479077"/>
                <a:gd name="connsiteX151" fmla="*/ 1114758 w 3785642"/>
                <a:gd name="connsiteY151" fmla="*/ 472794 h 479077"/>
                <a:gd name="connsiteX152" fmla="*/ 1098387 w 3785642"/>
                <a:gd name="connsiteY152" fmla="*/ 473786 h 479077"/>
                <a:gd name="connsiteX153" fmla="*/ 1082017 w 3785642"/>
                <a:gd name="connsiteY153" fmla="*/ 474778 h 479077"/>
                <a:gd name="connsiteX154" fmla="*/ 1065646 w 3785642"/>
                <a:gd name="connsiteY154" fmla="*/ 474778 h 479077"/>
                <a:gd name="connsiteX155" fmla="*/ 1049276 w 3785642"/>
                <a:gd name="connsiteY155" fmla="*/ 474282 h 479077"/>
                <a:gd name="connsiteX156" fmla="*/ 1032905 w 3785642"/>
                <a:gd name="connsiteY156" fmla="*/ 473290 h 479077"/>
                <a:gd name="connsiteX157" fmla="*/ 1016535 w 3785642"/>
                <a:gd name="connsiteY157" fmla="*/ 474282 h 479077"/>
                <a:gd name="connsiteX158" fmla="*/ 1000164 w 3785642"/>
                <a:gd name="connsiteY158" fmla="*/ 474282 h 479077"/>
                <a:gd name="connsiteX159" fmla="*/ 983793 w 3785642"/>
                <a:gd name="connsiteY159" fmla="*/ 472794 h 479077"/>
                <a:gd name="connsiteX160" fmla="*/ 967423 w 3785642"/>
                <a:gd name="connsiteY160" fmla="*/ 472794 h 479077"/>
                <a:gd name="connsiteX161" fmla="*/ 951052 w 3785642"/>
                <a:gd name="connsiteY161" fmla="*/ 473786 h 479077"/>
                <a:gd name="connsiteX162" fmla="*/ 934682 w 3785642"/>
                <a:gd name="connsiteY162" fmla="*/ 474282 h 479077"/>
                <a:gd name="connsiteX163" fmla="*/ 918311 w 3785642"/>
                <a:gd name="connsiteY163" fmla="*/ 474778 h 479077"/>
                <a:gd name="connsiteX164" fmla="*/ 901940 w 3785642"/>
                <a:gd name="connsiteY164" fmla="*/ 473290 h 479077"/>
                <a:gd name="connsiteX165" fmla="*/ 885570 w 3785642"/>
                <a:gd name="connsiteY165" fmla="*/ 474778 h 479077"/>
                <a:gd name="connsiteX166" fmla="*/ 869199 w 3785642"/>
                <a:gd name="connsiteY166" fmla="*/ 474282 h 479077"/>
                <a:gd name="connsiteX167" fmla="*/ 852829 w 3785642"/>
                <a:gd name="connsiteY167" fmla="*/ 473786 h 479077"/>
                <a:gd name="connsiteX168" fmla="*/ 836458 w 3785642"/>
                <a:gd name="connsiteY168" fmla="*/ 474778 h 479077"/>
                <a:gd name="connsiteX169" fmla="*/ 820088 w 3785642"/>
                <a:gd name="connsiteY169" fmla="*/ 475274 h 479077"/>
                <a:gd name="connsiteX170" fmla="*/ 803717 w 3785642"/>
                <a:gd name="connsiteY170" fmla="*/ 473786 h 479077"/>
                <a:gd name="connsiteX171" fmla="*/ 787347 w 3785642"/>
                <a:gd name="connsiteY171" fmla="*/ 475770 h 479077"/>
                <a:gd name="connsiteX172" fmla="*/ 770976 w 3785642"/>
                <a:gd name="connsiteY172" fmla="*/ 474778 h 479077"/>
                <a:gd name="connsiteX173" fmla="*/ 754605 w 3785642"/>
                <a:gd name="connsiteY173" fmla="*/ 475274 h 479077"/>
                <a:gd name="connsiteX174" fmla="*/ 738235 w 3785642"/>
                <a:gd name="connsiteY174" fmla="*/ 473786 h 479077"/>
                <a:gd name="connsiteX175" fmla="*/ 721864 w 3785642"/>
                <a:gd name="connsiteY175" fmla="*/ 475274 h 479077"/>
                <a:gd name="connsiteX176" fmla="*/ 705494 w 3785642"/>
                <a:gd name="connsiteY176" fmla="*/ 475770 h 479077"/>
                <a:gd name="connsiteX177" fmla="*/ 689123 w 3785642"/>
                <a:gd name="connsiteY177" fmla="*/ 474282 h 479077"/>
                <a:gd name="connsiteX178" fmla="*/ 672753 w 3785642"/>
                <a:gd name="connsiteY178" fmla="*/ 475274 h 479077"/>
                <a:gd name="connsiteX179" fmla="*/ 656382 w 3785642"/>
                <a:gd name="connsiteY179" fmla="*/ 474778 h 479077"/>
                <a:gd name="connsiteX180" fmla="*/ 640011 w 3785642"/>
                <a:gd name="connsiteY180" fmla="*/ 475770 h 479077"/>
                <a:gd name="connsiteX181" fmla="*/ 623641 w 3785642"/>
                <a:gd name="connsiteY181" fmla="*/ 473786 h 479077"/>
                <a:gd name="connsiteX182" fmla="*/ 607270 w 3785642"/>
                <a:gd name="connsiteY182" fmla="*/ 474778 h 479077"/>
                <a:gd name="connsiteX183" fmla="*/ 590900 w 3785642"/>
                <a:gd name="connsiteY183" fmla="*/ 475274 h 479077"/>
                <a:gd name="connsiteX184" fmla="*/ 574529 w 3785642"/>
                <a:gd name="connsiteY184" fmla="*/ 474282 h 479077"/>
                <a:gd name="connsiteX185" fmla="*/ 558158 w 3785642"/>
                <a:gd name="connsiteY185" fmla="*/ 475274 h 479077"/>
                <a:gd name="connsiteX186" fmla="*/ 541788 w 3785642"/>
                <a:gd name="connsiteY186" fmla="*/ 475770 h 479077"/>
                <a:gd name="connsiteX187" fmla="*/ 525417 w 3785642"/>
                <a:gd name="connsiteY187" fmla="*/ 474282 h 479077"/>
                <a:gd name="connsiteX188" fmla="*/ 509047 w 3785642"/>
                <a:gd name="connsiteY188" fmla="*/ 473786 h 479077"/>
                <a:gd name="connsiteX189" fmla="*/ 492676 w 3785642"/>
                <a:gd name="connsiteY189" fmla="*/ 473786 h 479077"/>
                <a:gd name="connsiteX190" fmla="*/ 476306 w 3785642"/>
                <a:gd name="connsiteY190" fmla="*/ 474778 h 479077"/>
                <a:gd name="connsiteX191" fmla="*/ 459935 w 3785642"/>
                <a:gd name="connsiteY191" fmla="*/ 473786 h 479077"/>
                <a:gd name="connsiteX192" fmla="*/ 443565 w 3785642"/>
                <a:gd name="connsiteY192" fmla="*/ 474778 h 479077"/>
                <a:gd name="connsiteX193" fmla="*/ 427194 w 3785642"/>
                <a:gd name="connsiteY193" fmla="*/ 474282 h 479077"/>
                <a:gd name="connsiteX194" fmla="*/ 410823 w 3785642"/>
                <a:gd name="connsiteY194" fmla="*/ 473290 h 479077"/>
                <a:gd name="connsiteX195" fmla="*/ 394453 w 3785642"/>
                <a:gd name="connsiteY195" fmla="*/ 475770 h 479077"/>
                <a:gd name="connsiteX196" fmla="*/ 378082 w 3785642"/>
                <a:gd name="connsiteY196" fmla="*/ 475274 h 479077"/>
                <a:gd name="connsiteX197" fmla="*/ 361712 w 3785642"/>
                <a:gd name="connsiteY197" fmla="*/ 474778 h 479077"/>
                <a:gd name="connsiteX198" fmla="*/ 345341 w 3785642"/>
                <a:gd name="connsiteY198" fmla="*/ 476266 h 479077"/>
                <a:gd name="connsiteX199" fmla="*/ 328970 w 3785642"/>
                <a:gd name="connsiteY199" fmla="*/ 474282 h 479077"/>
                <a:gd name="connsiteX200" fmla="*/ 312600 w 3785642"/>
                <a:gd name="connsiteY200" fmla="*/ 475274 h 479077"/>
                <a:gd name="connsiteX201" fmla="*/ 296229 w 3785642"/>
                <a:gd name="connsiteY201" fmla="*/ 474282 h 479077"/>
                <a:gd name="connsiteX202" fmla="*/ 279859 w 3785642"/>
                <a:gd name="connsiteY202" fmla="*/ 475770 h 479077"/>
                <a:gd name="connsiteX203" fmla="*/ 263488 w 3785642"/>
                <a:gd name="connsiteY203" fmla="*/ 476266 h 479077"/>
                <a:gd name="connsiteX204" fmla="*/ 247118 w 3785642"/>
                <a:gd name="connsiteY204" fmla="*/ 476266 h 479077"/>
                <a:gd name="connsiteX205" fmla="*/ 230747 w 3785642"/>
                <a:gd name="connsiteY205" fmla="*/ 474778 h 479077"/>
                <a:gd name="connsiteX206" fmla="*/ 214376 w 3785642"/>
                <a:gd name="connsiteY206" fmla="*/ 474778 h 479077"/>
                <a:gd name="connsiteX207" fmla="*/ 198006 w 3785642"/>
                <a:gd name="connsiteY207" fmla="*/ 476762 h 479077"/>
                <a:gd name="connsiteX208" fmla="*/ 181635 w 3785642"/>
                <a:gd name="connsiteY208" fmla="*/ 476266 h 479077"/>
                <a:gd name="connsiteX209" fmla="*/ 165265 w 3785642"/>
                <a:gd name="connsiteY209" fmla="*/ 474778 h 479077"/>
                <a:gd name="connsiteX210" fmla="*/ 148894 w 3785642"/>
                <a:gd name="connsiteY210" fmla="*/ 476762 h 479077"/>
                <a:gd name="connsiteX211" fmla="*/ 132524 w 3785642"/>
                <a:gd name="connsiteY211" fmla="*/ 476266 h 479077"/>
                <a:gd name="connsiteX212" fmla="*/ 116153 w 3785642"/>
                <a:gd name="connsiteY212" fmla="*/ 475274 h 479077"/>
                <a:gd name="connsiteX213" fmla="*/ 99783 w 3785642"/>
                <a:gd name="connsiteY213" fmla="*/ 475274 h 479077"/>
                <a:gd name="connsiteX214" fmla="*/ 83412 w 3785642"/>
                <a:gd name="connsiteY214" fmla="*/ 475274 h 479077"/>
                <a:gd name="connsiteX215" fmla="*/ 67041 w 3785642"/>
                <a:gd name="connsiteY215" fmla="*/ 474778 h 479077"/>
                <a:gd name="connsiteX216" fmla="*/ 50671 w 3785642"/>
                <a:gd name="connsiteY216" fmla="*/ 475274 h 479077"/>
                <a:gd name="connsiteX217" fmla="*/ 34300 w 3785642"/>
                <a:gd name="connsiteY217" fmla="*/ 475274 h 479077"/>
                <a:gd name="connsiteX218" fmla="*/ 17930 w 3785642"/>
                <a:gd name="connsiteY218" fmla="*/ 475770 h 479077"/>
                <a:gd name="connsiteX219" fmla="*/ 567 w 3785642"/>
                <a:gd name="connsiteY219" fmla="*/ 475770 h 479077"/>
                <a:gd name="connsiteX220" fmla="*/ 12969 w 3785642"/>
                <a:gd name="connsiteY220" fmla="*/ 463368 h 479077"/>
                <a:gd name="connsiteX221" fmla="*/ 24379 w 3785642"/>
                <a:gd name="connsiteY221" fmla="*/ 451958 h 479077"/>
                <a:gd name="connsiteX222" fmla="*/ 35788 w 3785642"/>
                <a:gd name="connsiteY222" fmla="*/ 440053 h 479077"/>
                <a:gd name="connsiteX223" fmla="*/ 48686 w 3785642"/>
                <a:gd name="connsiteY223" fmla="*/ 430131 h 479077"/>
                <a:gd name="connsiteX224" fmla="*/ 59600 w 3785642"/>
                <a:gd name="connsiteY224" fmla="*/ 418225 h 479077"/>
                <a:gd name="connsiteX225" fmla="*/ 70514 w 3785642"/>
                <a:gd name="connsiteY225" fmla="*/ 405823 h 479077"/>
                <a:gd name="connsiteX226" fmla="*/ 83412 w 3785642"/>
                <a:gd name="connsiteY226" fmla="*/ 395406 h 479077"/>
                <a:gd name="connsiteX227" fmla="*/ 94822 w 3785642"/>
                <a:gd name="connsiteY227" fmla="*/ 383500 h 479077"/>
                <a:gd name="connsiteX228" fmla="*/ 106728 w 3785642"/>
                <a:gd name="connsiteY228" fmla="*/ 372090 h 479077"/>
                <a:gd name="connsiteX229" fmla="*/ 117145 w 3785642"/>
                <a:gd name="connsiteY229" fmla="*/ 359688 h 479077"/>
                <a:gd name="connsiteX230" fmla="*/ 128555 w 3785642"/>
                <a:gd name="connsiteY230" fmla="*/ 348278 h 479077"/>
                <a:gd name="connsiteX231" fmla="*/ 140461 w 3785642"/>
                <a:gd name="connsiteY231" fmla="*/ 336868 h 479077"/>
                <a:gd name="connsiteX232" fmla="*/ 152863 w 3785642"/>
                <a:gd name="connsiteY232" fmla="*/ 326451 h 479077"/>
                <a:gd name="connsiteX233" fmla="*/ 164769 w 3785642"/>
                <a:gd name="connsiteY233" fmla="*/ 315041 h 479077"/>
                <a:gd name="connsiteX234" fmla="*/ 176178 w 3785642"/>
                <a:gd name="connsiteY234" fmla="*/ 303135 h 479077"/>
                <a:gd name="connsiteX235" fmla="*/ 188084 w 3785642"/>
                <a:gd name="connsiteY235" fmla="*/ 291725 h 479077"/>
                <a:gd name="connsiteX236" fmla="*/ 199494 w 3785642"/>
                <a:gd name="connsiteY236" fmla="*/ 280315 h 479077"/>
                <a:gd name="connsiteX237" fmla="*/ 210904 w 3785642"/>
                <a:gd name="connsiteY237" fmla="*/ 268906 h 479077"/>
                <a:gd name="connsiteX238" fmla="*/ 221818 w 3785642"/>
                <a:gd name="connsiteY238" fmla="*/ 256504 h 479077"/>
                <a:gd name="connsiteX239" fmla="*/ 233724 w 3785642"/>
                <a:gd name="connsiteY239" fmla="*/ 245094 h 479077"/>
                <a:gd name="connsiteX240" fmla="*/ 244141 w 3785642"/>
                <a:gd name="connsiteY240" fmla="*/ 232692 h 479077"/>
                <a:gd name="connsiteX241" fmla="*/ 257039 w 3785642"/>
                <a:gd name="connsiteY241" fmla="*/ 222770 h 479077"/>
                <a:gd name="connsiteX242" fmla="*/ 266961 w 3785642"/>
                <a:gd name="connsiteY242" fmla="*/ 209376 h 479077"/>
                <a:gd name="connsiteX243" fmla="*/ 278371 w 3785642"/>
                <a:gd name="connsiteY243" fmla="*/ 197966 h 479077"/>
                <a:gd name="connsiteX244" fmla="*/ 291269 w 3785642"/>
                <a:gd name="connsiteY244" fmla="*/ 188045 h 479077"/>
                <a:gd name="connsiteX245" fmla="*/ 301686 w 3785642"/>
                <a:gd name="connsiteY245" fmla="*/ 175147 h 479077"/>
                <a:gd name="connsiteX246" fmla="*/ 313592 w 3785642"/>
                <a:gd name="connsiteY246" fmla="*/ 163737 h 479077"/>
                <a:gd name="connsiteX247" fmla="*/ 325994 w 3785642"/>
                <a:gd name="connsiteY247" fmla="*/ 153319 h 479077"/>
                <a:gd name="connsiteX248" fmla="*/ 337404 w 3785642"/>
                <a:gd name="connsiteY248" fmla="*/ 141910 h 479077"/>
                <a:gd name="connsiteX249" fmla="*/ 347325 w 3785642"/>
                <a:gd name="connsiteY249" fmla="*/ 129012 h 479077"/>
                <a:gd name="connsiteX250" fmla="*/ 360224 w 3785642"/>
                <a:gd name="connsiteY250" fmla="*/ 118594 h 479077"/>
                <a:gd name="connsiteX251" fmla="*/ 371137 w 3785642"/>
                <a:gd name="connsiteY251" fmla="*/ 106192 h 479077"/>
                <a:gd name="connsiteX252" fmla="*/ 382051 w 3785642"/>
                <a:gd name="connsiteY252" fmla="*/ 93790 h 479077"/>
                <a:gd name="connsiteX253" fmla="*/ 393957 w 3785642"/>
                <a:gd name="connsiteY253" fmla="*/ 82380 h 479077"/>
                <a:gd name="connsiteX254" fmla="*/ 405366 w 3785642"/>
                <a:gd name="connsiteY254" fmla="*/ 70475 h 479077"/>
                <a:gd name="connsiteX255" fmla="*/ 417272 w 3785642"/>
                <a:gd name="connsiteY255" fmla="*/ 59561 h 479077"/>
                <a:gd name="connsiteX256" fmla="*/ 429674 w 3785642"/>
                <a:gd name="connsiteY256" fmla="*/ 48647 h 479077"/>
                <a:gd name="connsiteX257" fmla="*/ 440092 w 3785642"/>
                <a:gd name="connsiteY257" fmla="*/ 35749 h 479077"/>
                <a:gd name="connsiteX258" fmla="*/ 452494 w 3785642"/>
                <a:gd name="connsiteY258" fmla="*/ 24835 h 479077"/>
                <a:gd name="connsiteX259" fmla="*/ 463904 w 3785642"/>
                <a:gd name="connsiteY259" fmla="*/ 12929 h 479077"/>
                <a:gd name="connsiteX260" fmla="*/ 475313 w 3785642"/>
                <a:gd name="connsiteY260" fmla="*/ 1024 h 479077"/>
                <a:gd name="connsiteX261" fmla="*/ 491684 w 3785642"/>
                <a:gd name="connsiteY261" fmla="*/ 2512 h 479077"/>
                <a:gd name="connsiteX262" fmla="*/ 508055 w 3785642"/>
                <a:gd name="connsiteY262" fmla="*/ 2512 h 479077"/>
                <a:gd name="connsiteX263" fmla="*/ 524425 w 3785642"/>
                <a:gd name="connsiteY263" fmla="*/ 2512 h 479077"/>
                <a:gd name="connsiteX264" fmla="*/ 540796 w 3785642"/>
                <a:gd name="connsiteY264" fmla="*/ 1024 h 479077"/>
                <a:gd name="connsiteX265" fmla="*/ 557166 w 3785642"/>
                <a:gd name="connsiteY265" fmla="*/ 2512 h 479077"/>
                <a:gd name="connsiteX266" fmla="*/ 573537 w 3785642"/>
                <a:gd name="connsiteY266" fmla="*/ 1024 h 479077"/>
                <a:gd name="connsiteX267" fmla="*/ 589908 w 3785642"/>
                <a:gd name="connsiteY267" fmla="*/ 527 h 479077"/>
                <a:gd name="connsiteX268" fmla="*/ 606278 w 3785642"/>
                <a:gd name="connsiteY268" fmla="*/ 1520 h 479077"/>
                <a:gd name="connsiteX269" fmla="*/ 622649 w 3785642"/>
                <a:gd name="connsiteY269" fmla="*/ 1520 h 479077"/>
                <a:gd name="connsiteX270" fmla="*/ 639019 w 3785642"/>
                <a:gd name="connsiteY270" fmla="*/ 2016 h 479077"/>
                <a:gd name="connsiteX271" fmla="*/ 655390 w 3785642"/>
                <a:gd name="connsiteY271" fmla="*/ 527 h 479077"/>
                <a:gd name="connsiteX272" fmla="*/ 671760 w 3785642"/>
                <a:gd name="connsiteY272" fmla="*/ 1520 h 479077"/>
                <a:gd name="connsiteX273" fmla="*/ 688131 w 3785642"/>
                <a:gd name="connsiteY273" fmla="*/ 2512 h 479077"/>
                <a:gd name="connsiteX274" fmla="*/ 704501 w 3785642"/>
                <a:gd name="connsiteY274" fmla="*/ 1024 h 479077"/>
                <a:gd name="connsiteX275" fmla="*/ 720872 w 3785642"/>
                <a:gd name="connsiteY275" fmla="*/ 1520 h 479077"/>
                <a:gd name="connsiteX276" fmla="*/ 737243 w 3785642"/>
                <a:gd name="connsiteY276" fmla="*/ 2016 h 479077"/>
                <a:gd name="connsiteX277" fmla="*/ 753613 w 3785642"/>
                <a:gd name="connsiteY277" fmla="*/ 1024 h 479077"/>
                <a:gd name="connsiteX278" fmla="*/ 769984 w 3785642"/>
                <a:gd name="connsiteY278" fmla="*/ 527 h 479077"/>
                <a:gd name="connsiteX279" fmla="*/ 786354 w 3785642"/>
                <a:gd name="connsiteY279" fmla="*/ 1520 h 479077"/>
                <a:gd name="connsiteX280" fmla="*/ 802725 w 3785642"/>
                <a:gd name="connsiteY280" fmla="*/ 527 h 479077"/>
                <a:gd name="connsiteX281" fmla="*/ 819096 w 3785642"/>
                <a:gd name="connsiteY281" fmla="*/ 2512 h 479077"/>
                <a:gd name="connsiteX282" fmla="*/ 835466 w 3785642"/>
                <a:gd name="connsiteY282" fmla="*/ 527 h 479077"/>
                <a:gd name="connsiteX283" fmla="*/ 851837 w 3785642"/>
                <a:gd name="connsiteY283" fmla="*/ 1520 h 479077"/>
                <a:gd name="connsiteX284" fmla="*/ 868207 w 3785642"/>
                <a:gd name="connsiteY284" fmla="*/ 2016 h 479077"/>
                <a:gd name="connsiteX285" fmla="*/ 884578 w 3785642"/>
                <a:gd name="connsiteY285" fmla="*/ 2512 h 479077"/>
                <a:gd name="connsiteX286" fmla="*/ 900948 w 3785642"/>
                <a:gd name="connsiteY286" fmla="*/ 1520 h 479077"/>
                <a:gd name="connsiteX287" fmla="*/ 917319 w 3785642"/>
                <a:gd name="connsiteY287" fmla="*/ 1024 h 479077"/>
                <a:gd name="connsiteX288" fmla="*/ 933689 w 3785642"/>
                <a:gd name="connsiteY288" fmla="*/ 2512 h 479077"/>
                <a:gd name="connsiteX289" fmla="*/ 950060 w 3785642"/>
                <a:gd name="connsiteY289" fmla="*/ 1520 h 479077"/>
                <a:gd name="connsiteX290" fmla="*/ 966431 w 3785642"/>
                <a:gd name="connsiteY290" fmla="*/ 2016 h 479077"/>
                <a:gd name="connsiteX291" fmla="*/ 982801 w 3785642"/>
                <a:gd name="connsiteY291" fmla="*/ 2512 h 479077"/>
                <a:gd name="connsiteX292" fmla="*/ 999172 w 3785642"/>
                <a:gd name="connsiteY292" fmla="*/ 1520 h 479077"/>
                <a:gd name="connsiteX293" fmla="*/ 1015542 w 3785642"/>
                <a:gd name="connsiteY293" fmla="*/ 2512 h 479077"/>
                <a:gd name="connsiteX294" fmla="*/ 1031913 w 3785642"/>
                <a:gd name="connsiteY294" fmla="*/ 1520 h 479077"/>
                <a:gd name="connsiteX295" fmla="*/ 1048283 w 3785642"/>
                <a:gd name="connsiteY295" fmla="*/ 2016 h 479077"/>
                <a:gd name="connsiteX296" fmla="*/ 1064654 w 3785642"/>
                <a:gd name="connsiteY296" fmla="*/ 3504 h 479077"/>
                <a:gd name="connsiteX297" fmla="*/ 1081025 w 3785642"/>
                <a:gd name="connsiteY297" fmla="*/ 2016 h 479077"/>
                <a:gd name="connsiteX298" fmla="*/ 1097395 w 3785642"/>
                <a:gd name="connsiteY298" fmla="*/ 2512 h 479077"/>
                <a:gd name="connsiteX299" fmla="*/ 1113766 w 3785642"/>
                <a:gd name="connsiteY299" fmla="*/ 2512 h 479077"/>
                <a:gd name="connsiteX300" fmla="*/ 1130136 w 3785642"/>
                <a:gd name="connsiteY300" fmla="*/ 3504 h 479077"/>
                <a:gd name="connsiteX301" fmla="*/ 1146507 w 3785642"/>
                <a:gd name="connsiteY301" fmla="*/ 1520 h 479077"/>
                <a:gd name="connsiteX302" fmla="*/ 1162878 w 3785642"/>
                <a:gd name="connsiteY302" fmla="*/ 3008 h 479077"/>
                <a:gd name="connsiteX303" fmla="*/ 1179248 w 3785642"/>
                <a:gd name="connsiteY303" fmla="*/ 4000 h 479077"/>
                <a:gd name="connsiteX304" fmla="*/ 1195619 w 3785642"/>
                <a:gd name="connsiteY304" fmla="*/ 3504 h 479077"/>
                <a:gd name="connsiteX305" fmla="*/ 1211989 w 3785642"/>
                <a:gd name="connsiteY305" fmla="*/ 1520 h 479077"/>
                <a:gd name="connsiteX306" fmla="*/ 1228360 w 3785642"/>
                <a:gd name="connsiteY306" fmla="*/ 3504 h 479077"/>
                <a:gd name="connsiteX307" fmla="*/ 1244730 w 3785642"/>
                <a:gd name="connsiteY307" fmla="*/ 1520 h 479077"/>
                <a:gd name="connsiteX308" fmla="*/ 1261101 w 3785642"/>
                <a:gd name="connsiteY308" fmla="*/ 2512 h 479077"/>
                <a:gd name="connsiteX309" fmla="*/ 1277471 w 3785642"/>
                <a:gd name="connsiteY309" fmla="*/ 3504 h 479077"/>
                <a:gd name="connsiteX310" fmla="*/ 1293842 w 3785642"/>
                <a:gd name="connsiteY310" fmla="*/ 4000 h 479077"/>
                <a:gd name="connsiteX311" fmla="*/ 1310213 w 3785642"/>
                <a:gd name="connsiteY311" fmla="*/ 1520 h 479077"/>
                <a:gd name="connsiteX312" fmla="*/ 1326583 w 3785642"/>
                <a:gd name="connsiteY312" fmla="*/ 2016 h 479077"/>
                <a:gd name="connsiteX313" fmla="*/ 1342954 w 3785642"/>
                <a:gd name="connsiteY313" fmla="*/ 3008 h 479077"/>
                <a:gd name="connsiteX314" fmla="*/ 1359324 w 3785642"/>
                <a:gd name="connsiteY314" fmla="*/ 3008 h 479077"/>
                <a:gd name="connsiteX315" fmla="*/ 1375695 w 3785642"/>
                <a:gd name="connsiteY315" fmla="*/ 2512 h 479077"/>
                <a:gd name="connsiteX316" fmla="*/ 1392066 w 3785642"/>
                <a:gd name="connsiteY316" fmla="*/ 2512 h 479077"/>
                <a:gd name="connsiteX317" fmla="*/ 1408436 w 3785642"/>
                <a:gd name="connsiteY317" fmla="*/ 3504 h 479077"/>
                <a:gd name="connsiteX318" fmla="*/ 1424807 w 3785642"/>
                <a:gd name="connsiteY318" fmla="*/ 3504 h 479077"/>
                <a:gd name="connsiteX319" fmla="*/ 1441177 w 3785642"/>
                <a:gd name="connsiteY319" fmla="*/ 1520 h 479077"/>
                <a:gd name="connsiteX320" fmla="*/ 1457548 w 3785642"/>
                <a:gd name="connsiteY320" fmla="*/ 2512 h 479077"/>
                <a:gd name="connsiteX321" fmla="*/ 1473919 w 3785642"/>
                <a:gd name="connsiteY321" fmla="*/ 2016 h 479077"/>
                <a:gd name="connsiteX322" fmla="*/ 1490289 w 3785642"/>
                <a:gd name="connsiteY322" fmla="*/ 2016 h 479077"/>
                <a:gd name="connsiteX323" fmla="*/ 1506660 w 3785642"/>
                <a:gd name="connsiteY323" fmla="*/ 1520 h 479077"/>
                <a:gd name="connsiteX324" fmla="*/ 1523030 w 3785642"/>
                <a:gd name="connsiteY324" fmla="*/ 3504 h 479077"/>
                <a:gd name="connsiteX325" fmla="*/ 1539401 w 3785642"/>
                <a:gd name="connsiteY325" fmla="*/ 3008 h 479077"/>
                <a:gd name="connsiteX326" fmla="*/ 1555771 w 3785642"/>
                <a:gd name="connsiteY326" fmla="*/ 3008 h 479077"/>
                <a:gd name="connsiteX327" fmla="*/ 1572142 w 3785642"/>
                <a:gd name="connsiteY327" fmla="*/ 2512 h 479077"/>
                <a:gd name="connsiteX328" fmla="*/ 1588512 w 3785642"/>
                <a:gd name="connsiteY328" fmla="*/ 2016 h 479077"/>
                <a:gd name="connsiteX329" fmla="*/ 1604883 w 3785642"/>
                <a:gd name="connsiteY329" fmla="*/ 3008 h 479077"/>
                <a:gd name="connsiteX330" fmla="*/ 1621253 w 3785642"/>
                <a:gd name="connsiteY330" fmla="*/ 3008 h 479077"/>
                <a:gd name="connsiteX331" fmla="*/ 1637624 w 3785642"/>
                <a:gd name="connsiteY331" fmla="*/ 2512 h 479077"/>
                <a:gd name="connsiteX0" fmla="*/ 3785642 w 3787506"/>
                <a:gd name="connsiteY0" fmla="*/ 462376 h 479077"/>
                <a:gd name="connsiteX1" fmla="*/ 3775224 w 3787506"/>
                <a:gd name="connsiteY1" fmla="*/ 449974 h 479077"/>
                <a:gd name="connsiteX2" fmla="*/ 3763318 w 3787506"/>
                <a:gd name="connsiteY2" fmla="*/ 438564 h 479077"/>
                <a:gd name="connsiteX3" fmla="*/ 3751908 w 3787506"/>
                <a:gd name="connsiteY3" fmla="*/ 427155 h 479077"/>
                <a:gd name="connsiteX4" fmla="*/ 3313375 w 3787506"/>
                <a:gd name="connsiteY4" fmla="*/ 10945 h 479077"/>
                <a:gd name="connsiteX5" fmla="*/ 3300973 w 3787506"/>
                <a:gd name="connsiteY5" fmla="*/ 21363 h 479077"/>
                <a:gd name="connsiteX6" fmla="*/ 3289068 w 3787506"/>
                <a:gd name="connsiteY6" fmla="*/ 32276 h 479077"/>
                <a:gd name="connsiteX7" fmla="*/ 3277658 w 3787506"/>
                <a:gd name="connsiteY7" fmla="*/ 43686 h 479077"/>
                <a:gd name="connsiteX8" fmla="*/ 3266248 w 3787506"/>
                <a:gd name="connsiteY8" fmla="*/ 55592 h 479077"/>
                <a:gd name="connsiteX9" fmla="*/ 3255830 w 3787506"/>
                <a:gd name="connsiteY9" fmla="*/ 68490 h 479077"/>
                <a:gd name="connsiteX10" fmla="*/ 3243924 w 3787506"/>
                <a:gd name="connsiteY10" fmla="*/ 79900 h 479077"/>
                <a:gd name="connsiteX11" fmla="*/ 3231522 w 3787506"/>
                <a:gd name="connsiteY11" fmla="*/ 90814 h 479077"/>
                <a:gd name="connsiteX12" fmla="*/ 3220609 w 3787506"/>
                <a:gd name="connsiteY12" fmla="*/ 102720 h 479077"/>
                <a:gd name="connsiteX13" fmla="*/ 3208207 w 3787506"/>
                <a:gd name="connsiteY13" fmla="*/ 113137 h 479077"/>
                <a:gd name="connsiteX14" fmla="*/ 3197293 w 3787506"/>
                <a:gd name="connsiteY14" fmla="*/ 125043 h 479077"/>
                <a:gd name="connsiteX15" fmla="*/ 3185387 w 3787506"/>
                <a:gd name="connsiteY15" fmla="*/ 136453 h 479077"/>
                <a:gd name="connsiteX16" fmla="*/ 3174970 w 3787506"/>
                <a:gd name="connsiteY16" fmla="*/ 148855 h 479077"/>
                <a:gd name="connsiteX17" fmla="*/ 3162071 w 3787506"/>
                <a:gd name="connsiteY17" fmla="*/ 159272 h 479077"/>
                <a:gd name="connsiteX18" fmla="*/ 3151158 w 3787506"/>
                <a:gd name="connsiteY18" fmla="*/ 171674 h 479077"/>
                <a:gd name="connsiteX19" fmla="*/ 3139252 w 3787506"/>
                <a:gd name="connsiteY19" fmla="*/ 182588 h 479077"/>
                <a:gd name="connsiteX20" fmla="*/ 3127843 w 3787506"/>
                <a:gd name="connsiteY20" fmla="*/ 194494 h 479077"/>
                <a:gd name="connsiteX21" fmla="*/ 3116432 w 3787506"/>
                <a:gd name="connsiteY21" fmla="*/ 205904 h 479077"/>
                <a:gd name="connsiteX22" fmla="*/ 3105022 w 3787506"/>
                <a:gd name="connsiteY22" fmla="*/ 217810 h 479077"/>
                <a:gd name="connsiteX23" fmla="*/ 3093117 w 3787506"/>
                <a:gd name="connsiteY23" fmla="*/ 229219 h 479077"/>
                <a:gd name="connsiteX24" fmla="*/ 3081707 w 3787506"/>
                <a:gd name="connsiteY24" fmla="*/ 240629 h 479077"/>
                <a:gd name="connsiteX25" fmla="*/ 3069305 w 3787506"/>
                <a:gd name="connsiteY25" fmla="*/ 251543 h 479077"/>
                <a:gd name="connsiteX26" fmla="*/ 3057895 w 3787506"/>
                <a:gd name="connsiteY26" fmla="*/ 263449 h 479077"/>
                <a:gd name="connsiteX27" fmla="*/ 3046486 w 3787506"/>
                <a:gd name="connsiteY27" fmla="*/ 275355 h 479077"/>
                <a:gd name="connsiteX28" fmla="*/ 3035572 w 3787506"/>
                <a:gd name="connsiteY28" fmla="*/ 287260 h 479077"/>
                <a:gd name="connsiteX29" fmla="*/ 3024658 w 3787506"/>
                <a:gd name="connsiteY29" fmla="*/ 299166 h 479077"/>
                <a:gd name="connsiteX30" fmla="*/ 3013248 w 3787506"/>
                <a:gd name="connsiteY30" fmla="*/ 311072 h 479077"/>
                <a:gd name="connsiteX31" fmla="*/ 3000350 w 3787506"/>
                <a:gd name="connsiteY31" fmla="*/ 321490 h 479077"/>
                <a:gd name="connsiteX32" fmla="*/ 2988941 w 3787506"/>
                <a:gd name="connsiteY32" fmla="*/ 333396 h 479077"/>
                <a:gd name="connsiteX33" fmla="*/ 2976539 w 3787506"/>
                <a:gd name="connsiteY33" fmla="*/ 344309 h 479077"/>
                <a:gd name="connsiteX34" fmla="*/ 2965129 w 3787506"/>
                <a:gd name="connsiteY34" fmla="*/ 356215 h 479077"/>
                <a:gd name="connsiteX35" fmla="*/ 2953223 w 3787506"/>
                <a:gd name="connsiteY35" fmla="*/ 367625 h 479077"/>
                <a:gd name="connsiteX36" fmla="*/ 2941813 w 3787506"/>
                <a:gd name="connsiteY36" fmla="*/ 379531 h 479077"/>
                <a:gd name="connsiteX37" fmla="*/ 2931395 w 3787506"/>
                <a:gd name="connsiteY37" fmla="*/ 392429 h 479077"/>
                <a:gd name="connsiteX38" fmla="*/ 2918497 w 3787506"/>
                <a:gd name="connsiteY38" fmla="*/ 402847 h 479077"/>
                <a:gd name="connsiteX39" fmla="*/ 2907584 w 3787506"/>
                <a:gd name="connsiteY39" fmla="*/ 415249 h 479077"/>
                <a:gd name="connsiteX40" fmla="*/ 2896174 w 3787506"/>
                <a:gd name="connsiteY40" fmla="*/ 426658 h 479077"/>
                <a:gd name="connsiteX41" fmla="*/ 2884268 w 3787506"/>
                <a:gd name="connsiteY41" fmla="*/ 438068 h 479077"/>
                <a:gd name="connsiteX42" fmla="*/ 2873354 w 3787506"/>
                <a:gd name="connsiteY42" fmla="*/ 450470 h 479077"/>
                <a:gd name="connsiteX43" fmla="*/ 2860952 w 3787506"/>
                <a:gd name="connsiteY43" fmla="*/ 461384 h 479077"/>
                <a:gd name="connsiteX44" fmla="*/ 2850039 w 3787506"/>
                <a:gd name="connsiteY44" fmla="*/ 473786 h 479077"/>
                <a:gd name="connsiteX45" fmla="*/ 2833668 w 3787506"/>
                <a:gd name="connsiteY45" fmla="*/ 473786 h 479077"/>
                <a:gd name="connsiteX46" fmla="*/ 2817297 w 3787506"/>
                <a:gd name="connsiteY46" fmla="*/ 473290 h 479077"/>
                <a:gd name="connsiteX47" fmla="*/ 2800927 w 3787506"/>
                <a:gd name="connsiteY47" fmla="*/ 473290 h 479077"/>
                <a:gd name="connsiteX48" fmla="*/ 2784556 w 3787506"/>
                <a:gd name="connsiteY48" fmla="*/ 473786 h 479077"/>
                <a:gd name="connsiteX49" fmla="*/ 2768186 w 3787506"/>
                <a:gd name="connsiteY49" fmla="*/ 474282 h 479077"/>
                <a:gd name="connsiteX50" fmla="*/ 2751815 w 3787506"/>
                <a:gd name="connsiteY50" fmla="*/ 474282 h 479077"/>
                <a:gd name="connsiteX51" fmla="*/ 2735444 w 3787506"/>
                <a:gd name="connsiteY51" fmla="*/ 473290 h 479077"/>
                <a:gd name="connsiteX52" fmla="*/ 2719074 w 3787506"/>
                <a:gd name="connsiteY52" fmla="*/ 474282 h 479077"/>
                <a:gd name="connsiteX53" fmla="*/ 2702703 w 3787506"/>
                <a:gd name="connsiteY53" fmla="*/ 472298 h 479077"/>
                <a:gd name="connsiteX54" fmla="*/ 2686333 w 3787506"/>
                <a:gd name="connsiteY54" fmla="*/ 472794 h 479077"/>
                <a:gd name="connsiteX55" fmla="*/ 2669962 w 3787506"/>
                <a:gd name="connsiteY55" fmla="*/ 474282 h 479077"/>
                <a:gd name="connsiteX56" fmla="*/ 2653592 w 3787506"/>
                <a:gd name="connsiteY56" fmla="*/ 472298 h 479077"/>
                <a:gd name="connsiteX57" fmla="*/ 2637221 w 3787506"/>
                <a:gd name="connsiteY57" fmla="*/ 474282 h 479077"/>
                <a:gd name="connsiteX58" fmla="*/ 2620851 w 3787506"/>
                <a:gd name="connsiteY58" fmla="*/ 474282 h 479077"/>
                <a:gd name="connsiteX59" fmla="*/ 2604480 w 3787506"/>
                <a:gd name="connsiteY59" fmla="*/ 472298 h 479077"/>
                <a:gd name="connsiteX60" fmla="*/ 2588109 w 3787506"/>
                <a:gd name="connsiteY60" fmla="*/ 473786 h 479077"/>
                <a:gd name="connsiteX61" fmla="*/ 2571739 w 3787506"/>
                <a:gd name="connsiteY61" fmla="*/ 472298 h 479077"/>
                <a:gd name="connsiteX62" fmla="*/ 2555368 w 3787506"/>
                <a:gd name="connsiteY62" fmla="*/ 473290 h 479077"/>
                <a:gd name="connsiteX63" fmla="*/ 2538998 w 3787506"/>
                <a:gd name="connsiteY63" fmla="*/ 474282 h 479077"/>
                <a:gd name="connsiteX64" fmla="*/ 2522627 w 3787506"/>
                <a:gd name="connsiteY64" fmla="*/ 473290 h 479077"/>
                <a:gd name="connsiteX65" fmla="*/ 2506257 w 3787506"/>
                <a:gd name="connsiteY65" fmla="*/ 474282 h 479077"/>
                <a:gd name="connsiteX66" fmla="*/ 2489886 w 3787506"/>
                <a:gd name="connsiteY66" fmla="*/ 473786 h 479077"/>
                <a:gd name="connsiteX67" fmla="*/ 2473516 w 3787506"/>
                <a:gd name="connsiteY67" fmla="*/ 474282 h 479077"/>
                <a:gd name="connsiteX68" fmla="*/ 2457145 w 3787506"/>
                <a:gd name="connsiteY68" fmla="*/ 472794 h 479077"/>
                <a:gd name="connsiteX69" fmla="*/ 2440775 w 3787506"/>
                <a:gd name="connsiteY69" fmla="*/ 472298 h 479077"/>
                <a:gd name="connsiteX70" fmla="*/ 2424404 w 3787506"/>
                <a:gd name="connsiteY70" fmla="*/ 473786 h 479077"/>
                <a:gd name="connsiteX71" fmla="*/ 2408033 w 3787506"/>
                <a:gd name="connsiteY71" fmla="*/ 472794 h 479077"/>
                <a:gd name="connsiteX72" fmla="*/ 2391663 w 3787506"/>
                <a:gd name="connsiteY72" fmla="*/ 473290 h 479077"/>
                <a:gd name="connsiteX73" fmla="*/ 2375292 w 3787506"/>
                <a:gd name="connsiteY73" fmla="*/ 473290 h 479077"/>
                <a:gd name="connsiteX74" fmla="*/ 2358922 w 3787506"/>
                <a:gd name="connsiteY74" fmla="*/ 472794 h 479077"/>
                <a:gd name="connsiteX75" fmla="*/ 2342551 w 3787506"/>
                <a:gd name="connsiteY75" fmla="*/ 472298 h 479077"/>
                <a:gd name="connsiteX76" fmla="*/ 2326180 w 3787506"/>
                <a:gd name="connsiteY76" fmla="*/ 473786 h 479077"/>
                <a:gd name="connsiteX77" fmla="*/ 2309810 w 3787506"/>
                <a:gd name="connsiteY77" fmla="*/ 473786 h 479077"/>
                <a:gd name="connsiteX78" fmla="*/ 2293439 w 3787506"/>
                <a:gd name="connsiteY78" fmla="*/ 473786 h 479077"/>
                <a:gd name="connsiteX79" fmla="*/ 2277069 w 3787506"/>
                <a:gd name="connsiteY79" fmla="*/ 472794 h 479077"/>
                <a:gd name="connsiteX80" fmla="*/ 2260698 w 3787506"/>
                <a:gd name="connsiteY80" fmla="*/ 474282 h 479077"/>
                <a:gd name="connsiteX81" fmla="*/ 2244327 w 3787506"/>
                <a:gd name="connsiteY81" fmla="*/ 472298 h 479077"/>
                <a:gd name="connsiteX82" fmla="*/ 2227957 w 3787506"/>
                <a:gd name="connsiteY82" fmla="*/ 474282 h 479077"/>
                <a:gd name="connsiteX83" fmla="*/ 2211586 w 3787506"/>
                <a:gd name="connsiteY83" fmla="*/ 473290 h 479077"/>
                <a:gd name="connsiteX84" fmla="*/ 2195216 w 3787506"/>
                <a:gd name="connsiteY84" fmla="*/ 474282 h 479077"/>
                <a:gd name="connsiteX85" fmla="*/ 2178845 w 3787506"/>
                <a:gd name="connsiteY85" fmla="*/ 472794 h 479077"/>
                <a:gd name="connsiteX86" fmla="*/ 2162474 w 3787506"/>
                <a:gd name="connsiteY86" fmla="*/ 474778 h 479077"/>
                <a:gd name="connsiteX87" fmla="*/ 2146104 w 3787506"/>
                <a:gd name="connsiteY87" fmla="*/ 473290 h 479077"/>
                <a:gd name="connsiteX88" fmla="*/ 2129733 w 3787506"/>
                <a:gd name="connsiteY88" fmla="*/ 474778 h 479077"/>
                <a:gd name="connsiteX89" fmla="*/ 2113363 w 3787506"/>
                <a:gd name="connsiteY89" fmla="*/ 474778 h 479077"/>
                <a:gd name="connsiteX90" fmla="*/ 2096992 w 3787506"/>
                <a:gd name="connsiteY90" fmla="*/ 474778 h 479077"/>
                <a:gd name="connsiteX91" fmla="*/ 2080621 w 3787506"/>
                <a:gd name="connsiteY91" fmla="*/ 474282 h 479077"/>
                <a:gd name="connsiteX92" fmla="*/ 2064251 w 3787506"/>
                <a:gd name="connsiteY92" fmla="*/ 472794 h 479077"/>
                <a:gd name="connsiteX93" fmla="*/ 2047880 w 3787506"/>
                <a:gd name="connsiteY93" fmla="*/ 474778 h 479077"/>
                <a:gd name="connsiteX94" fmla="*/ 2031510 w 3787506"/>
                <a:gd name="connsiteY94" fmla="*/ 474778 h 479077"/>
                <a:gd name="connsiteX95" fmla="*/ 2015139 w 3787506"/>
                <a:gd name="connsiteY95" fmla="*/ 474778 h 479077"/>
                <a:gd name="connsiteX96" fmla="*/ 1998769 w 3787506"/>
                <a:gd name="connsiteY96" fmla="*/ 474282 h 479077"/>
                <a:gd name="connsiteX97" fmla="*/ 1982398 w 3787506"/>
                <a:gd name="connsiteY97" fmla="*/ 473786 h 479077"/>
                <a:gd name="connsiteX98" fmla="*/ 1966028 w 3787506"/>
                <a:gd name="connsiteY98" fmla="*/ 473786 h 479077"/>
                <a:gd name="connsiteX99" fmla="*/ 1949657 w 3787506"/>
                <a:gd name="connsiteY99" fmla="*/ 472794 h 479077"/>
                <a:gd name="connsiteX100" fmla="*/ 1933287 w 3787506"/>
                <a:gd name="connsiteY100" fmla="*/ 473290 h 479077"/>
                <a:gd name="connsiteX101" fmla="*/ 1916916 w 3787506"/>
                <a:gd name="connsiteY101" fmla="*/ 474778 h 479077"/>
                <a:gd name="connsiteX102" fmla="*/ 1900546 w 3787506"/>
                <a:gd name="connsiteY102" fmla="*/ 472794 h 479077"/>
                <a:gd name="connsiteX103" fmla="*/ 1884175 w 3787506"/>
                <a:gd name="connsiteY103" fmla="*/ 473786 h 479077"/>
                <a:gd name="connsiteX104" fmla="*/ 1867804 w 3787506"/>
                <a:gd name="connsiteY104" fmla="*/ 474778 h 479077"/>
                <a:gd name="connsiteX105" fmla="*/ 1851434 w 3787506"/>
                <a:gd name="connsiteY105" fmla="*/ 474778 h 479077"/>
                <a:gd name="connsiteX106" fmla="*/ 1835063 w 3787506"/>
                <a:gd name="connsiteY106" fmla="*/ 474778 h 479077"/>
                <a:gd name="connsiteX107" fmla="*/ 1818693 w 3787506"/>
                <a:gd name="connsiteY107" fmla="*/ 474282 h 479077"/>
                <a:gd name="connsiteX108" fmla="*/ 1802322 w 3787506"/>
                <a:gd name="connsiteY108" fmla="*/ 472794 h 479077"/>
                <a:gd name="connsiteX109" fmla="*/ 1785951 w 3787506"/>
                <a:gd name="connsiteY109" fmla="*/ 473786 h 479077"/>
                <a:gd name="connsiteX110" fmla="*/ 1769581 w 3787506"/>
                <a:gd name="connsiteY110" fmla="*/ 473290 h 479077"/>
                <a:gd name="connsiteX111" fmla="*/ 1753210 w 3787506"/>
                <a:gd name="connsiteY111" fmla="*/ 472298 h 479077"/>
                <a:gd name="connsiteX112" fmla="*/ 1736840 w 3787506"/>
                <a:gd name="connsiteY112" fmla="*/ 473290 h 479077"/>
                <a:gd name="connsiteX113" fmla="*/ 1720469 w 3787506"/>
                <a:gd name="connsiteY113" fmla="*/ 474778 h 479077"/>
                <a:gd name="connsiteX114" fmla="*/ 1704098 w 3787506"/>
                <a:gd name="connsiteY114" fmla="*/ 472794 h 479077"/>
                <a:gd name="connsiteX115" fmla="*/ 1687728 w 3787506"/>
                <a:gd name="connsiteY115" fmla="*/ 474778 h 479077"/>
                <a:gd name="connsiteX116" fmla="*/ 1671357 w 3787506"/>
                <a:gd name="connsiteY116" fmla="*/ 474778 h 479077"/>
                <a:gd name="connsiteX117" fmla="*/ 1654987 w 3787506"/>
                <a:gd name="connsiteY117" fmla="*/ 472298 h 479077"/>
                <a:gd name="connsiteX118" fmla="*/ 1638616 w 3787506"/>
                <a:gd name="connsiteY118" fmla="*/ 472794 h 479077"/>
                <a:gd name="connsiteX119" fmla="*/ 1622246 w 3787506"/>
                <a:gd name="connsiteY119" fmla="*/ 473786 h 479077"/>
                <a:gd name="connsiteX120" fmla="*/ 1605875 w 3787506"/>
                <a:gd name="connsiteY120" fmla="*/ 474778 h 479077"/>
                <a:gd name="connsiteX121" fmla="*/ 1589505 w 3787506"/>
                <a:gd name="connsiteY121" fmla="*/ 473290 h 479077"/>
                <a:gd name="connsiteX122" fmla="*/ 1573134 w 3787506"/>
                <a:gd name="connsiteY122" fmla="*/ 474778 h 479077"/>
                <a:gd name="connsiteX123" fmla="*/ 1556763 w 3787506"/>
                <a:gd name="connsiteY123" fmla="*/ 472794 h 479077"/>
                <a:gd name="connsiteX124" fmla="*/ 1540393 w 3787506"/>
                <a:gd name="connsiteY124" fmla="*/ 472794 h 479077"/>
                <a:gd name="connsiteX125" fmla="*/ 1524022 w 3787506"/>
                <a:gd name="connsiteY125" fmla="*/ 474282 h 479077"/>
                <a:gd name="connsiteX126" fmla="*/ 1507652 w 3787506"/>
                <a:gd name="connsiteY126" fmla="*/ 472794 h 479077"/>
                <a:gd name="connsiteX127" fmla="*/ 1491281 w 3787506"/>
                <a:gd name="connsiteY127" fmla="*/ 474282 h 479077"/>
                <a:gd name="connsiteX128" fmla="*/ 1474910 w 3787506"/>
                <a:gd name="connsiteY128" fmla="*/ 474282 h 479077"/>
                <a:gd name="connsiteX129" fmla="*/ 1458540 w 3787506"/>
                <a:gd name="connsiteY129" fmla="*/ 472794 h 479077"/>
                <a:gd name="connsiteX130" fmla="*/ 1442169 w 3787506"/>
                <a:gd name="connsiteY130" fmla="*/ 471802 h 479077"/>
                <a:gd name="connsiteX131" fmla="*/ 1425799 w 3787506"/>
                <a:gd name="connsiteY131" fmla="*/ 472298 h 479077"/>
                <a:gd name="connsiteX132" fmla="*/ 1409428 w 3787506"/>
                <a:gd name="connsiteY132" fmla="*/ 472794 h 479077"/>
                <a:gd name="connsiteX133" fmla="*/ 1393058 w 3787506"/>
                <a:gd name="connsiteY133" fmla="*/ 473786 h 479077"/>
                <a:gd name="connsiteX134" fmla="*/ 1376687 w 3787506"/>
                <a:gd name="connsiteY134" fmla="*/ 471802 h 479077"/>
                <a:gd name="connsiteX135" fmla="*/ 1360317 w 3787506"/>
                <a:gd name="connsiteY135" fmla="*/ 473786 h 479077"/>
                <a:gd name="connsiteX136" fmla="*/ 1343946 w 3787506"/>
                <a:gd name="connsiteY136" fmla="*/ 473786 h 479077"/>
                <a:gd name="connsiteX137" fmla="*/ 1327576 w 3787506"/>
                <a:gd name="connsiteY137" fmla="*/ 472794 h 479077"/>
                <a:gd name="connsiteX138" fmla="*/ 1311205 w 3787506"/>
                <a:gd name="connsiteY138" fmla="*/ 473786 h 479077"/>
                <a:gd name="connsiteX139" fmla="*/ 1294834 w 3787506"/>
                <a:gd name="connsiteY139" fmla="*/ 473786 h 479077"/>
                <a:gd name="connsiteX140" fmla="*/ 1278464 w 3787506"/>
                <a:gd name="connsiteY140" fmla="*/ 473786 h 479077"/>
                <a:gd name="connsiteX141" fmla="*/ 1262093 w 3787506"/>
                <a:gd name="connsiteY141" fmla="*/ 473786 h 479077"/>
                <a:gd name="connsiteX142" fmla="*/ 1245723 w 3787506"/>
                <a:gd name="connsiteY142" fmla="*/ 473290 h 479077"/>
                <a:gd name="connsiteX143" fmla="*/ 1229352 w 3787506"/>
                <a:gd name="connsiteY143" fmla="*/ 472794 h 479077"/>
                <a:gd name="connsiteX144" fmla="*/ 1212981 w 3787506"/>
                <a:gd name="connsiteY144" fmla="*/ 473786 h 479077"/>
                <a:gd name="connsiteX145" fmla="*/ 1196611 w 3787506"/>
                <a:gd name="connsiteY145" fmla="*/ 472298 h 479077"/>
                <a:gd name="connsiteX146" fmla="*/ 1180240 w 3787506"/>
                <a:gd name="connsiteY146" fmla="*/ 472794 h 479077"/>
                <a:gd name="connsiteX147" fmla="*/ 1163870 w 3787506"/>
                <a:gd name="connsiteY147" fmla="*/ 472794 h 479077"/>
                <a:gd name="connsiteX148" fmla="*/ 1147499 w 3787506"/>
                <a:gd name="connsiteY148" fmla="*/ 473786 h 479077"/>
                <a:gd name="connsiteX149" fmla="*/ 1131128 w 3787506"/>
                <a:gd name="connsiteY149" fmla="*/ 473786 h 479077"/>
                <a:gd name="connsiteX150" fmla="*/ 1114758 w 3787506"/>
                <a:gd name="connsiteY150" fmla="*/ 472794 h 479077"/>
                <a:gd name="connsiteX151" fmla="*/ 1098387 w 3787506"/>
                <a:gd name="connsiteY151" fmla="*/ 473786 h 479077"/>
                <a:gd name="connsiteX152" fmla="*/ 1082017 w 3787506"/>
                <a:gd name="connsiteY152" fmla="*/ 474778 h 479077"/>
                <a:gd name="connsiteX153" fmla="*/ 1065646 w 3787506"/>
                <a:gd name="connsiteY153" fmla="*/ 474778 h 479077"/>
                <a:gd name="connsiteX154" fmla="*/ 1049276 w 3787506"/>
                <a:gd name="connsiteY154" fmla="*/ 474282 h 479077"/>
                <a:gd name="connsiteX155" fmla="*/ 1032905 w 3787506"/>
                <a:gd name="connsiteY155" fmla="*/ 473290 h 479077"/>
                <a:gd name="connsiteX156" fmla="*/ 1016535 w 3787506"/>
                <a:gd name="connsiteY156" fmla="*/ 474282 h 479077"/>
                <a:gd name="connsiteX157" fmla="*/ 1000164 w 3787506"/>
                <a:gd name="connsiteY157" fmla="*/ 474282 h 479077"/>
                <a:gd name="connsiteX158" fmla="*/ 983793 w 3787506"/>
                <a:gd name="connsiteY158" fmla="*/ 472794 h 479077"/>
                <a:gd name="connsiteX159" fmla="*/ 967423 w 3787506"/>
                <a:gd name="connsiteY159" fmla="*/ 472794 h 479077"/>
                <a:gd name="connsiteX160" fmla="*/ 951052 w 3787506"/>
                <a:gd name="connsiteY160" fmla="*/ 473786 h 479077"/>
                <a:gd name="connsiteX161" fmla="*/ 934682 w 3787506"/>
                <a:gd name="connsiteY161" fmla="*/ 474282 h 479077"/>
                <a:gd name="connsiteX162" fmla="*/ 918311 w 3787506"/>
                <a:gd name="connsiteY162" fmla="*/ 474778 h 479077"/>
                <a:gd name="connsiteX163" fmla="*/ 901940 w 3787506"/>
                <a:gd name="connsiteY163" fmla="*/ 473290 h 479077"/>
                <a:gd name="connsiteX164" fmla="*/ 885570 w 3787506"/>
                <a:gd name="connsiteY164" fmla="*/ 474778 h 479077"/>
                <a:gd name="connsiteX165" fmla="*/ 869199 w 3787506"/>
                <a:gd name="connsiteY165" fmla="*/ 474282 h 479077"/>
                <a:gd name="connsiteX166" fmla="*/ 852829 w 3787506"/>
                <a:gd name="connsiteY166" fmla="*/ 473786 h 479077"/>
                <a:gd name="connsiteX167" fmla="*/ 836458 w 3787506"/>
                <a:gd name="connsiteY167" fmla="*/ 474778 h 479077"/>
                <a:gd name="connsiteX168" fmla="*/ 820088 w 3787506"/>
                <a:gd name="connsiteY168" fmla="*/ 475274 h 479077"/>
                <a:gd name="connsiteX169" fmla="*/ 803717 w 3787506"/>
                <a:gd name="connsiteY169" fmla="*/ 473786 h 479077"/>
                <a:gd name="connsiteX170" fmla="*/ 787347 w 3787506"/>
                <a:gd name="connsiteY170" fmla="*/ 475770 h 479077"/>
                <a:gd name="connsiteX171" fmla="*/ 770976 w 3787506"/>
                <a:gd name="connsiteY171" fmla="*/ 474778 h 479077"/>
                <a:gd name="connsiteX172" fmla="*/ 754605 w 3787506"/>
                <a:gd name="connsiteY172" fmla="*/ 475274 h 479077"/>
                <a:gd name="connsiteX173" fmla="*/ 738235 w 3787506"/>
                <a:gd name="connsiteY173" fmla="*/ 473786 h 479077"/>
                <a:gd name="connsiteX174" fmla="*/ 721864 w 3787506"/>
                <a:gd name="connsiteY174" fmla="*/ 475274 h 479077"/>
                <a:gd name="connsiteX175" fmla="*/ 705494 w 3787506"/>
                <a:gd name="connsiteY175" fmla="*/ 475770 h 479077"/>
                <a:gd name="connsiteX176" fmla="*/ 689123 w 3787506"/>
                <a:gd name="connsiteY176" fmla="*/ 474282 h 479077"/>
                <a:gd name="connsiteX177" fmla="*/ 672753 w 3787506"/>
                <a:gd name="connsiteY177" fmla="*/ 475274 h 479077"/>
                <a:gd name="connsiteX178" fmla="*/ 656382 w 3787506"/>
                <a:gd name="connsiteY178" fmla="*/ 474778 h 479077"/>
                <a:gd name="connsiteX179" fmla="*/ 640011 w 3787506"/>
                <a:gd name="connsiteY179" fmla="*/ 475770 h 479077"/>
                <a:gd name="connsiteX180" fmla="*/ 623641 w 3787506"/>
                <a:gd name="connsiteY180" fmla="*/ 473786 h 479077"/>
                <a:gd name="connsiteX181" fmla="*/ 607270 w 3787506"/>
                <a:gd name="connsiteY181" fmla="*/ 474778 h 479077"/>
                <a:gd name="connsiteX182" fmla="*/ 590900 w 3787506"/>
                <a:gd name="connsiteY182" fmla="*/ 475274 h 479077"/>
                <a:gd name="connsiteX183" fmla="*/ 574529 w 3787506"/>
                <a:gd name="connsiteY183" fmla="*/ 474282 h 479077"/>
                <a:gd name="connsiteX184" fmla="*/ 558158 w 3787506"/>
                <a:gd name="connsiteY184" fmla="*/ 475274 h 479077"/>
                <a:gd name="connsiteX185" fmla="*/ 541788 w 3787506"/>
                <a:gd name="connsiteY185" fmla="*/ 475770 h 479077"/>
                <a:gd name="connsiteX186" fmla="*/ 525417 w 3787506"/>
                <a:gd name="connsiteY186" fmla="*/ 474282 h 479077"/>
                <a:gd name="connsiteX187" fmla="*/ 509047 w 3787506"/>
                <a:gd name="connsiteY187" fmla="*/ 473786 h 479077"/>
                <a:gd name="connsiteX188" fmla="*/ 492676 w 3787506"/>
                <a:gd name="connsiteY188" fmla="*/ 473786 h 479077"/>
                <a:gd name="connsiteX189" fmla="*/ 476306 w 3787506"/>
                <a:gd name="connsiteY189" fmla="*/ 474778 h 479077"/>
                <a:gd name="connsiteX190" fmla="*/ 459935 w 3787506"/>
                <a:gd name="connsiteY190" fmla="*/ 473786 h 479077"/>
                <a:gd name="connsiteX191" fmla="*/ 443565 w 3787506"/>
                <a:gd name="connsiteY191" fmla="*/ 474778 h 479077"/>
                <a:gd name="connsiteX192" fmla="*/ 427194 w 3787506"/>
                <a:gd name="connsiteY192" fmla="*/ 474282 h 479077"/>
                <a:gd name="connsiteX193" fmla="*/ 410823 w 3787506"/>
                <a:gd name="connsiteY193" fmla="*/ 473290 h 479077"/>
                <a:gd name="connsiteX194" fmla="*/ 394453 w 3787506"/>
                <a:gd name="connsiteY194" fmla="*/ 475770 h 479077"/>
                <a:gd name="connsiteX195" fmla="*/ 378082 w 3787506"/>
                <a:gd name="connsiteY195" fmla="*/ 475274 h 479077"/>
                <a:gd name="connsiteX196" fmla="*/ 361712 w 3787506"/>
                <a:gd name="connsiteY196" fmla="*/ 474778 h 479077"/>
                <a:gd name="connsiteX197" fmla="*/ 345341 w 3787506"/>
                <a:gd name="connsiteY197" fmla="*/ 476266 h 479077"/>
                <a:gd name="connsiteX198" fmla="*/ 328970 w 3787506"/>
                <a:gd name="connsiteY198" fmla="*/ 474282 h 479077"/>
                <a:gd name="connsiteX199" fmla="*/ 312600 w 3787506"/>
                <a:gd name="connsiteY199" fmla="*/ 475274 h 479077"/>
                <a:gd name="connsiteX200" fmla="*/ 296229 w 3787506"/>
                <a:gd name="connsiteY200" fmla="*/ 474282 h 479077"/>
                <a:gd name="connsiteX201" fmla="*/ 279859 w 3787506"/>
                <a:gd name="connsiteY201" fmla="*/ 475770 h 479077"/>
                <a:gd name="connsiteX202" fmla="*/ 263488 w 3787506"/>
                <a:gd name="connsiteY202" fmla="*/ 476266 h 479077"/>
                <a:gd name="connsiteX203" fmla="*/ 247118 w 3787506"/>
                <a:gd name="connsiteY203" fmla="*/ 476266 h 479077"/>
                <a:gd name="connsiteX204" fmla="*/ 230747 w 3787506"/>
                <a:gd name="connsiteY204" fmla="*/ 474778 h 479077"/>
                <a:gd name="connsiteX205" fmla="*/ 214376 w 3787506"/>
                <a:gd name="connsiteY205" fmla="*/ 474778 h 479077"/>
                <a:gd name="connsiteX206" fmla="*/ 198006 w 3787506"/>
                <a:gd name="connsiteY206" fmla="*/ 476762 h 479077"/>
                <a:gd name="connsiteX207" fmla="*/ 181635 w 3787506"/>
                <a:gd name="connsiteY207" fmla="*/ 476266 h 479077"/>
                <a:gd name="connsiteX208" fmla="*/ 165265 w 3787506"/>
                <a:gd name="connsiteY208" fmla="*/ 474778 h 479077"/>
                <a:gd name="connsiteX209" fmla="*/ 148894 w 3787506"/>
                <a:gd name="connsiteY209" fmla="*/ 476762 h 479077"/>
                <a:gd name="connsiteX210" fmla="*/ 132524 w 3787506"/>
                <a:gd name="connsiteY210" fmla="*/ 476266 h 479077"/>
                <a:gd name="connsiteX211" fmla="*/ 116153 w 3787506"/>
                <a:gd name="connsiteY211" fmla="*/ 475274 h 479077"/>
                <a:gd name="connsiteX212" fmla="*/ 99783 w 3787506"/>
                <a:gd name="connsiteY212" fmla="*/ 475274 h 479077"/>
                <a:gd name="connsiteX213" fmla="*/ 83412 w 3787506"/>
                <a:gd name="connsiteY213" fmla="*/ 475274 h 479077"/>
                <a:gd name="connsiteX214" fmla="*/ 67041 w 3787506"/>
                <a:gd name="connsiteY214" fmla="*/ 474778 h 479077"/>
                <a:gd name="connsiteX215" fmla="*/ 50671 w 3787506"/>
                <a:gd name="connsiteY215" fmla="*/ 475274 h 479077"/>
                <a:gd name="connsiteX216" fmla="*/ 34300 w 3787506"/>
                <a:gd name="connsiteY216" fmla="*/ 475274 h 479077"/>
                <a:gd name="connsiteX217" fmla="*/ 17930 w 3787506"/>
                <a:gd name="connsiteY217" fmla="*/ 475770 h 479077"/>
                <a:gd name="connsiteX218" fmla="*/ 567 w 3787506"/>
                <a:gd name="connsiteY218" fmla="*/ 475770 h 479077"/>
                <a:gd name="connsiteX219" fmla="*/ 12969 w 3787506"/>
                <a:gd name="connsiteY219" fmla="*/ 463368 h 479077"/>
                <a:gd name="connsiteX220" fmla="*/ 24379 w 3787506"/>
                <a:gd name="connsiteY220" fmla="*/ 451958 h 479077"/>
                <a:gd name="connsiteX221" fmla="*/ 35788 w 3787506"/>
                <a:gd name="connsiteY221" fmla="*/ 440053 h 479077"/>
                <a:gd name="connsiteX222" fmla="*/ 48686 w 3787506"/>
                <a:gd name="connsiteY222" fmla="*/ 430131 h 479077"/>
                <a:gd name="connsiteX223" fmla="*/ 59600 w 3787506"/>
                <a:gd name="connsiteY223" fmla="*/ 418225 h 479077"/>
                <a:gd name="connsiteX224" fmla="*/ 70514 w 3787506"/>
                <a:gd name="connsiteY224" fmla="*/ 405823 h 479077"/>
                <a:gd name="connsiteX225" fmla="*/ 83412 w 3787506"/>
                <a:gd name="connsiteY225" fmla="*/ 395406 h 479077"/>
                <a:gd name="connsiteX226" fmla="*/ 94822 w 3787506"/>
                <a:gd name="connsiteY226" fmla="*/ 383500 h 479077"/>
                <a:gd name="connsiteX227" fmla="*/ 106728 w 3787506"/>
                <a:gd name="connsiteY227" fmla="*/ 372090 h 479077"/>
                <a:gd name="connsiteX228" fmla="*/ 117145 w 3787506"/>
                <a:gd name="connsiteY228" fmla="*/ 359688 h 479077"/>
                <a:gd name="connsiteX229" fmla="*/ 128555 w 3787506"/>
                <a:gd name="connsiteY229" fmla="*/ 348278 h 479077"/>
                <a:gd name="connsiteX230" fmla="*/ 140461 w 3787506"/>
                <a:gd name="connsiteY230" fmla="*/ 336868 h 479077"/>
                <a:gd name="connsiteX231" fmla="*/ 152863 w 3787506"/>
                <a:gd name="connsiteY231" fmla="*/ 326451 h 479077"/>
                <a:gd name="connsiteX232" fmla="*/ 164769 w 3787506"/>
                <a:gd name="connsiteY232" fmla="*/ 315041 h 479077"/>
                <a:gd name="connsiteX233" fmla="*/ 176178 w 3787506"/>
                <a:gd name="connsiteY233" fmla="*/ 303135 h 479077"/>
                <a:gd name="connsiteX234" fmla="*/ 188084 w 3787506"/>
                <a:gd name="connsiteY234" fmla="*/ 291725 h 479077"/>
                <a:gd name="connsiteX235" fmla="*/ 199494 w 3787506"/>
                <a:gd name="connsiteY235" fmla="*/ 280315 h 479077"/>
                <a:gd name="connsiteX236" fmla="*/ 210904 w 3787506"/>
                <a:gd name="connsiteY236" fmla="*/ 268906 h 479077"/>
                <a:gd name="connsiteX237" fmla="*/ 221818 w 3787506"/>
                <a:gd name="connsiteY237" fmla="*/ 256504 h 479077"/>
                <a:gd name="connsiteX238" fmla="*/ 233724 w 3787506"/>
                <a:gd name="connsiteY238" fmla="*/ 245094 h 479077"/>
                <a:gd name="connsiteX239" fmla="*/ 244141 w 3787506"/>
                <a:gd name="connsiteY239" fmla="*/ 232692 h 479077"/>
                <a:gd name="connsiteX240" fmla="*/ 257039 w 3787506"/>
                <a:gd name="connsiteY240" fmla="*/ 222770 h 479077"/>
                <a:gd name="connsiteX241" fmla="*/ 266961 w 3787506"/>
                <a:gd name="connsiteY241" fmla="*/ 209376 h 479077"/>
                <a:gd name="connsiteX242" fmla="*/ 278371 w 3787506"/>
                <a:gd name="connsiteY242" fmla="*/ 197966 h 479077"/>
                <a:gd name="connsiteX243" fmla="*/ 291269 w 3787506"/>
                <a:gd name="connsiteY243" fmla="*/ 188045 h 479077"/>
                <a:gd name="connsiteX244" fmla="*/ 301686 w 3787506"/>
                <a:gd name="connsiteY244" fmla="*/ 175147 h 479077"/>
                <a:gd name="connsiteX245" fmla="*/ 313592 w 3787506"/>
                <a:gd name="connsiteY245" fmla="*/ 163737 h 479077"/>
                <a:gd name="connsiteX246" fmla="*/ 325994 w 3787506"/>
                <a:gd name="connsiteY246" fmla="*/ 153319 h 479077"/>
                <a:gd name="connsiteX247" fmla="*/ 337404 w 3787506"/>
                <a:gd name="connsiteY247" fmla="*/ 141910 h 479077"/>
                <a:gd name="connsiteX248" fmla="*/ 347325 w 3787506"/>
                <a:gd name="connsiteY248" fmla="*/ 129012 h 479077"/>
                <a:gd name="connsiteX249" fmla="*/ 360224 w 3787506"/>
                <a:gd name="connsiteY249" fmla="*/ 118594 h 479077"/>
                <a:gd name="connsiteX250" fmla="*/ 371137 w 3787506"/>
                <a:gd name="connsiteY250" fmla="*/ 106192 h 479077"/>
                <a:gd name="connsiteX251" fmla="*/ 382051 w 3787506"/>
                <a:gd name="connsiteY251" fmla="*/ 93790 h 479077"/>
                <a:gd name="connsiteX252" fmla="*/ 393957 w 3787506"/>
                <a:gd name="connsiteY252" fmla="*/ 82380 h 479077"/>
                <a:gd name="connsiteX253" fmla="*/ 405366 w 3787506"/>
                <a:gd name="connsiteY253" fmla="*/ 70475 h 479077"/>
                <a:gd name="connsiteX254" fmla="*/ 417272 w 3787506"/>
                <a:gd name="connsiteY254" fmla="*/ 59561 h 479077"/>
                <a:gd name="connsiteX255" fmla="*/ 429674 w 3787506"/>
                <a:gd name="connsiteY255" fmla="*/ 48647 h 479077"/>
                <a:gd name="connsiteX256" fmla="*/ 440092 w 3787506"/>
                <a:gd name="connsiteY256" fmla="*/ 35749 h 479077"/>
                <a:gd name="connsiteX257" fmla="*/ 452494 w 3787506"/>
                <a:gd name="connsiteY257" fmla="*/ 24835 h 479077"/>
                <a:gd name="connsiteX258" fmla="*/ 463904 w 3787506"/>
                <a:gd name="connsiteY258" fmla="*/ 12929 h 479077"/>
                <a:gd name="connsiteX259" fmla="*/ 475313 w 3787506"/>
                <a:gd name="connsiteY259" fmla="*/ 1024 h 479077"/>
                <a:gd name="connsiteX260" fmla="*/ 491684 w 3787506"/>
                <a:gd name="connsiteY260" fmla="*/ 2512 h 479077"/>
                <a:gd name="connsiteX261" fmla="*/ 508055 w 3787506"/>
                <a:gd name="connsiteY261" fmla="*/ 2512 h 479077"/>
                <a:gd name="connsiteX262" fmla="*/ 524425 w 3787506"/>
                <a:gd name="connsiteY262" fmla="*/ 2512 h 479077"/>
                <a:gd name="connsiteX263" fmla="*/ 540796 w 3787506"/>
                <a:gd name="connsiteY263" fmla="*/ 1024 h 479077"/>
                <a:gd name="connsiteX264" fmla="*/ 557166 w 3787506"/>
                <a:gd name="connsiteY264" fmla="*/ 2512 h 479077"/>
                <a:gd name="connsiteX265" fmla="*/ 573537 w 3787506"/>
                <a:gd name="connsiteY265" fmla="*/ 1024 h 479077"/>
                <a:gd name="connsiteX266" fmla="*/ 589908 w 3787506"/>
                <a:gd name="connsiteY266" fmla="*/ 527 h 479077"/>
                <a:gd name="connsiteX267" fmla="*/ 606278 w 3787506"/>
                <a:gd name="connsiteY267" fmla="*/ 1520 h 479077"/>
                <a:gd name="connsiteX268" fmla="*/ 622649 w 3787506"/>
                <a:gd name="connsiteY268" fmla="*/ 1520 h 479077"/>
                <a:gd name="connsiteX269" fmla="*/ 639019 w 3787506"/>
                <a:gd name="connsiteY269" fmla="*/ 2016 h 479077"/>
                <a:gd name="connsiteX270" fmla="*/ 655390 w 3787506"/>
                <a:gd name="connsiteY270" fmla="*/ 527 h 479077"/>
                <a:gd name="connsiteX271" fmla="*/ 671760 w 3787506"/>
                <a:gd name="connsiteY271" fmla="*/ 1520 h 479077"/>
                <a:gd name="connsiteX272" fmla="*/ 688131 w 3787506"/>
                <a:gd name="connsiteY272" fmla="*/ 2512 h 479077"/>
                <a:gd name="connsiteX273" fmla="*/ 704501 w 3787506"/>
                <a:gd name="connsiteY273" fmla="*/ 1024 h 479077"/>
                <a:gd name="connsiteX274" fmla="*/ 720872 w 3787506"/>
                <a:gd name="connsiteY274" fmla="*/ 1520 h 479077"/>
                <a:gd name="connsiteX275" fmla="*/ 737243 w 3787506"/>
                <a:gd name="connsiteY275" fmla="*/ 2016 h 479077"/>
                <a:gd name="connsiteX276" fmla="*/ 753613 w 3787506"/>
                <a:gd name="connsiteY276" fmla="*/ 1024 h 479077"/>
                <a:gd name="connsiteX277" fmla="*/ 769984 w 3787506"/>
                <a:gd name="connsiteY277" fmla="*/ 527 h 479077"/>
                <a:gd name="connsiteX278" fmla="*/ 786354 w 3787506"/>
                <a:gd name="connsiteY278" fmla="*/ 1520 h 479077"/>
                <a:gd name="connsiteX279" fmla="*/ 802725 w 3787506"/>
                <a:gd name="connsiteY279" fmla="*/ 527 h 479077"/>
                <a:gd name="connsiteX280" fmla="*/ 819096 w 3787506"/>
                <a:gd name="connsiteY280" fmla="*/ 2512 h 479077"/>
                <a:gd name="connsiteX281" fmla="*/ 835466 w 3787506"/>
                <a:gd name="connsiteY281" fmla="*/ 527 h 479077"/>
                <a:gd name="connsiteX282" fmla="*/ 851837 w 3787506"/>
                <a:gd name="connsiteY282" fmla="*/ 1520 h 479077"/>
                <a:gd name="connsiteX283" fmla="*/ 868207 w 3787506"/>
                <a:gd name="connsiteY283" fmla="*/ 2016 h 479077"/>
                <a:gd name="connsiteX284" fmla="*/ 884578 w 3787506"/>
                <a:gd name="connsiteY284" fmla="*/ 2512 h 479077"/>
                <a:gd name="connsiteX285" fmla="*/ 900948 w 3787506"/>
                <a:gd name="connsiteY285" fmla="*/ 1520 h 479077"/>
                <a:gd name="connsiteX286" fmla="*/ 917319 w 3787506"/>
                <a:gd name="connsiteY286" fmla="*/ 1024 h 479077"/>
                <a:gd name="connsiteX287" fmla="*/ 933689 w 3787506"/>
                <a:gd name="connsiteY287" fmla="*/ 2512 h 479077"/>
                <a:gd name="connsiteX288" fmla="*/ 950060 w 3787506"/>
                <a:gd name="connsiteY288" fmla="*/ 1520 h 479077"/>
                <a:gd name="connsiteX289" fmla="*/ 966431 w 3787506"/>
                <a:gd name="connsiteY289" fmla="*/ 2016 h 479077"/>
                <a:gd name="connsiteX290" fmla="*/ 982801 w 3787506"/>
                <a:gd name="connsiteY290" fmla="*/ 2512 h 479077"/>
                <a:gd name="connsiteX291" fmla="*/ 999172 w 3787506"/>
                <a:gd name="connsiteY291" fmla="*/ 1520 h 479077"/>
                <a:gd name="connsiteX292" fmla="*/ 1015542 w 3787506"/>
                <a:gd name="connsiteY292" fmla="*/ 2512 h 479077"/>
                <a:gd name="connsiteX293" fmla="*/ 1031913 w 3787506"/>
                <a:gd name="connsiteY293" fmla="*/ 1520 h 479077"/>
                <a:gd name="connsiteX294" fmla="*/ 1048283 w 3787506"/>
                <a:gd name="connsiteY294" fmla="*/ 2016 h 479077"/>
                <a:gd name="connsiteX295" fmla="*/ 1064654 w 3787506"/>
                <a:gd name="connsiteY295" fmla="*/ 3504 h 479077"/>
                <a:gd name="connsiteX296" fmla="*/ 1081025 w 3787506"/>
                <a:gd name="connsiteY296" fmla="*/ 2016 h 479077"/>
                <a:gd name="connsiteX297" fmla="*/ 1097395 w 3787506"/>
                <a:gd name="connsiteY297" fmla="*/ 2512 h 479077"/>
                <a:gd name="connsiteX298" fmla="*/ 1113766 w 3787506"/>
                <a:gd name="connsiteY298" fmla="*/ 2512 h 479077"/>
                <a:gd name="connsiteX299" fmla="*/ 1130136 w 3787506"/>
                <a:gd name="connsiteY299" fmla="*/ 3504 h 479077"/>
                <a:gd name="connsiteX300" fmla="*/ 1146507 w 3787506"/>
                <a:gd name="connsiteY300" fmla="*/ 1520 h 479077"/>
                <a:gd name="connsiteX301" fmla="*/ 1162878 w 3787506"/>
                <a:gd name="connsiteY301" fmla="*/ 3008 h 479077"/>
                <a:gd name="connsiteX302" fmla="*/ 1179248 w 3787506"/>
                <a:gd name="connsiteY302" fmla="*/ 4000 h 479077"/>
                <a:gd name="connsiteX303" fmla="*/ 1195619 w 3787506"/>
                <a:gd name="connsiteY303" fmla="*/ 3504 h 479077"/>
                <a:gd name="connsiteX304" fmla="*/ 1211989 w 3787506"/>
                <a:gd name="connsiteY304" fmla="*/ 1520 h 479077"/>
                <a:gd name="connsiteX305" fmla="*/ 1228360 w 3787506"/>
                <a:gd name="connsiteY305" fmla="*/ 3504 h 479077"/>
                <a:gd name="connsiteX306" fmla="*/ 1244730 w 3787506"/>
                <a:gd name="connsiteY306" fmla="*/ 1520 h 479077"/>
                <a:gd name="connsiteX307" fmla="*/ 1261101 w 3787506"/>
                <a:gd name="connsiteY307" fmla="*/ 2512 h 479077"/>
                <a:gd name="connsiteX308" fmla="*/ 1277471 w 3787506"/>
                <a:gd name="connsiteY308" fmla="*/ 3504 h 479077"/>
                <a:gd name="connsiteX309" fmla="*/ 1293842 w 3787506"/>
                <a:gd name="connsiteY309" fmla="*/ 4000 h 479077"/>
                <a:gd name="connsiteX310" fmla="*/ 1310213 w 3787506"/>
                <a:gd name="connsiteY310" fmla="*/ 1520 h 479077"/>
                <a:gd name="connsiteX311" fmla="*/ 1326583 w 3787506"/>
                <a:gd name="connsiteY311" fmla="*/ 2016 h 479077"/>
                <a:gd name="connsiteX312" fmla="*/ 1342954 w 3787506"/>
                <a:gd name="connsiteY312" fmla="*/ 3008 h 479077"/>
                <a:gd name="connsiteX313" fmla="*/ 1359324 w 3787506"/>
                <a:gd name="connsiteY313" fmla="*/ 3008 h 479077"/>
                <a:gd name="connsiteX314" fmla="*/ 1375695 w 3787506"/>
                <a:gd name="connsiteY314" fmla="*/ 2512 h 479077"/>
                <a:gd name="connsiteX315" fmla="*/ 1392066 w 3787506"/>
                <a:gd name="connsiteY315" fmla="*/ 2512 h 479077"/>
                <a:gd name="connsiteX316" fmla="*/ 1408436 w 3787506"/>
                <a:gd name="connsiteY316" fmla="*/ 3504 h 479077"/>
                <a:gd name="connsiteX317" fmla="*/ 1424807 w 3787506"/>
                <a:gd name="connsiteY317" fmla="*/ 3504 h 479077"/>
                <a:gd name="connsiteX318" fmla="*/ 1441177 w 3787506"/>
                <a:gd name="connsiteY318" fmla="*/ 1520 h 479077"/>
                <a:gd name="connsiteX319" fmla="*/ 1457548 w 3787506"/>
                <a:gd name="connsiteY319" fmla="*/ 2512 h 479077"/>
                <a:gd name="connsiteX320" fmla="*/ 1473919 w 3787506"/>
                <a:gd name="connsiteY320" fmla="*/ 2016 h 479077"/>
                <a:gd name="connsiteX321" fmla="*/ 1490289 w 3787506"/>
                <a:gd name="connsiteY321" fmla="*/ 2016 h 479077"/>
                <a:gd name="connsiteX322" fmla="*/ 1506660 w 3787506"/>
                <a:gd name="connsiteY322" fmla="*/ 1520 h 479077"/>
                <a:gd name="connsiteX323" fmla="*/ 1523030 w 3787506"/>
                <a:gd name="connsiteY323" fmla="*/ 3504 h 479077"/>
                <a:gd name="connsiteX324" fmla="*/ 1539401 w 3787506"/>
                <a:gd name="connsiteY324" fmla="*/ 3008 h 479077"/>
                <a:gd name="connsiteX325" fmla="*/ 1555771 w 3787506"/>
                <a:gd name="connsiteY325" fmla="*/ 3008 h 479077"/>
                <a:gd name="connsiteX326" fmla="*/ 1572142 w 3787506"/>
                <a:gd name="connsiteY326" fmla="*/ 2512 h 479077"/>
                <a:gd name="connsiteX327" fmla="*/ 1588512 w 3787506"/>
                <a:gd name="connsiteY327" fmla="*/ 2016 h 479077"/>
                <a:gd name="connsiteX328" fmla="*/ 1604883 w 3787506"/>
                <a:gd name="connsiteY328" fmla="*/ 3008 h 479077"/>
                <a:gd name="connsiteX329" fmla="*/ 1621253 w 3787506"/>
                <a:gd name="connsiteY329" fmla="*/ 3008 h 479077"/>
                <a:gd name="connsiteX330" fmla="*/ 1637624 w 3787506"/>
                <a:gd name="connsiteY33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313375 w 3785642"/>
                <a:gd name="connsiteY3" fmla="*/ 10945 h 479077"/>
                <a:gd name="connsiteX4" fmla="*/ 3300973 w 3785642"/>
                <a:gd name="connsiteY4" fmla="*/ 21363 h 479077"/>
                <a:gd name="connsiteX5" fmla="*/ 3289068 w 3785642"/>
                <a:gd name="connsiteY5" fmla="*/ 32276 h 479077"/>
                <a:gd name="connsiteX6" fmla="*/ 3277658 w 3785642"/>
                <a:gd name="connsiteY6" fmla="*/ 43686 h 479077"/>
                <a:gd name="connsiteX7" fmla="*/ 3266248 w 3785642"/>
                <a:gd name="connsiteY7" fmla="*/ 55592 h 479077"/>
                <a:gd name="connsiteX8" fmla="*/ 3255830 w 3785642"/>
                <a:gd name="connsiteY8" fmla="*/ 68490 h 479077"/>
                <a:gd name="connsiteX9" fmla="*/ 3243924 w 3785642"/>
                <a:gd name="connsiteY9" fmla="*/ 79900 h 479077"/>
                <a:gd name="connsiteX10" fmla="*/ 3231522 w 3785642"/>
                <a:gd name="connsiteY10" fmla="*/ 90814 h 479077"/>
                <a:gd name="connsiteX11" fmla="*/ 3220609 w 3785642"/>
                <a:gd name="connsiteY11" fmla="*/ 102720 h 479077"/>
                <a:gd name="connsiteX12" fmla="*/ 3208207 w 3785642"/>
                <a:gd name="connsiteY12" fmla="*/ 113137 h 479077"/>
                <a:gd name="connsiteX13" fmla="*/ 3197293 w 3785642"/>
                <a:gd name="connsiteY13" fmla="*/ 125043 h 479077"/>
                <a:gd name="connsiteX14" fmla="*/ 3185387 w 3785642"/>
                <a:gd name="connsiteY14" fmla="*/ 136453 h 479077"/>
                <a:gd name="connsiteX15" fmla="*/ 3174970 w 3785642"/>
                <a:gd name="connsiteY15" fmla="*/ 148855 h 479077"/>
                <a:gd name="connsiteX16" fmla="*/ 3162071 w 3785642"/>
                <a:gd name="connsiteY16" fmla="*/ 159272 h 479077"/>
                <a:gd name="connsiteX17" fmla="*/ 3151158 w 3785642"/>
                <a:gd name="connsiteY17" fmla="*/ 171674 h 479077"/>
                <a:gd name="connsiteX18" fmla="*/ 3139252 w 3785642"/>
                <a:gd name="connsiteY18" fmla="*/ 182588 h 479077"/>
                <a:gd name="connsiteX19" fmla="*/ 3127843 w 3785642"/>
                <a:gd name="connsiteY19" fmla="*/ 194494 h 479077"/>
                <a:gd name="connsiteX20" fmla="*/ 3116432 w 3785642"/>
                <a:gd name="connsiteY20" fmla="*/ 205904 h 479077"/>
                <a:gd name="connsiteX21" fmla="*/ 3105022 w 3785642"/>
                <a:gd name="connsiteY21" fmla="*/ 217810 h 479077"/>
                <a:gd name="connsiteX22" fmla="*/ 3093117 w 3785642"/>
                <a:gd name="connsiteY22" fmla="*/ 229219 h 479077"/>
                <a:gd name="connsiteX23" fmla="*/ 3081707 w 3785642"/>
                <a:gd name="connsiteY23" fmla="*/ 240629 h 479077"/>
                <a:gd name="connsiteX24" fmla="*/ 3069305 w 3785642"/>
                <a:gd name="connsiteY24" fmla="*/ 251543 h 479077"/>
                <a:gd name="connsiteX25" fmla="*/ 3057895 w 3785642"/>
                <a:gd name="connsiteY25" fmla="*/ 263449 h 479077"/>
                <a:gd name="connsiteX26" fmla="*/ 3046486 w 3785642"/>
                <a:gd name="connsiteY26" fmla="*/ 275355 h 479077"/>
                <a:gd name="connsiteX27" fmla="*/ 3035572 w 3785642"/>
                <a:gd name="connsiteY27" fmla="*/ 287260 h 479077"/>
                <a:gd name="connsiteX28" fmla="*/ 3024658 w 3785642"/>
                <a:gd name="connsiteY28" fmla="*/ 299166 h 479077"/>
                <a:gd name="connsiteX29" fmla="*/ 3013248 w 3785642"/>
                <a:gd name="connsiteY29" fmla="*/ 311072 h 479077"/>
                <a:gd name="connsiteX30" fmla="*/ 3000350 w 3785642"/>
                <a:gd name="connsiteY30" fmla="*/ 321490 h 479077"/>
                <a:gd name="connsiteX31" fmla="*/ 2988941 w 3785642"/>
                <a:gd name="connsiteY31" fmla="*/ 333396 h 479077"/>
                <a:gd name="connsiteX32" fmla="*/ 2976539 w 3785642"/>
                <a:gd name="connsiteY32" fmla="*/ 344309 h 479077"/>
                <a:gd name="connsiteX33" fmla="*/ 2965129 w 3785642"/>
                <a:gd name="connsiteY33" fmla="*/ 356215 h 479077"/>
                <a:gd name="connsiteX34" fmla="*/ 2953223 w 3785642"/>
                <a:gd name="connsiteY34" fmla="*/ 367625 h 479077"/>
                <a:gd name="connsiteX35" fmla="*/ 2941813 w 3785642"/>
                <a:gd name="connsiteY35" fmla="*/ 379531 h 479077"/>
                <a:gd name="connsiteX36" fmla="*/ 2931395 w 3785642"/>
                <a:gd name="connsiteY36" fmla="*/ 392429 h 479077"/>
                <a:gd name="connsiteX37" fmla="*/ 2918497 w 3785642"/>
                <a:gd name="connsiteY37" fmla="*/ 402847 h 479077"/>
                <a:gd name="connsiteX38" fmla="*/ 2907584 w 3785642"/>
                <a:gd name="connsiteY38" fmla="*/ 415249 h 479077"/>
                <a:gd name="connsiteX39" fmla="*/ 2896174 w 3785642"/>
                <a:gd name="connsiteY39" fmla="*/ 426658 h 479077"/>
                <a:gd name="connsiteX40" fmla="*/ 2884268 w 3785642"/>
                <a:gd name="connsiteY40" fmla="*/ 438068 h 479077"/>
                <a:gd name="connsiteX41" fmla="*/ 2873354 w 3785642"/>
                <a:gd name="connsiteY41" fmla="*/ 450470 h 479077"/>
                <a:gd name="connsiteX42" fmla="*/ 2860952 w 3785642"/>
                <a:gd name="connsiteY42" fmla="*/ 461384 h 479077"/>
                <a:gd name="connsiteX43" fmla="*/ 2850039 w 3785642"/>
                <a:gd name="connsiteY43" fmla="*/ 473786 h 479077"/>
                <a:gd name="connsiteX44" fmla="*/ 2833668 w 3785642"/>
                <a:gd name="connsiteY44" fmla="*/ 473786 h 479077"/>
                <a:gd name="connsiteX45" fmla="*/ 2817297 w 3785642"/>
                <a:gd name="connsiteY45" fmla="*/ 473290 h 479077"/>
                <a:gd name="connsiteX46" fmla="*/ 2800927 w 3785642"/>
                <a:gd name="connsiteY46" fmla="*/ 473290 h 479077"/>
                <a:gd name="connsiteX47" fmla="*/ 2784556 w 3785642"/>
                <a:gd name="connsiteY47" fmla="*/ 473786 h 479077"/>
                <a:gd name="connsiteX48" fmla="*/ 2768186 w 3785642"/>
                <a:gd name="connsiteY48" fmla="*/ 474282 h 479077"/>
                <a:gd name="connsiteX49" fmla="*/ 2751815 w 3785642"/>
                <a:gd name="connsiteY49" fmla="*/ 474282 h 479077"/>
                <a:gd name="connsiteX50" fmla="*/ 2735444 w 3785642"/>
                <a:gd name="connsiteY50" fmla="*/ 473290 h 479077"/>
                <a:gd name="connsiteX51" fmla="*/ 2719074 w 3785642"/>
                <a:gd name="connsiteY51" fmla="*/ 474282 h 479077"/>
                <a:gd name="connsiteX52" fmla="*/ 2702703 w 3785642"/>
                <a:gd name="connsiteY52" fmla="*/ 472298 h 479077"/>
                <a:gd name="connsiteX53" fmla="*/ 2686333 w 3785642"/>
                <a:gd name="connsiteY53" fmla="*/ 472794 h 479077"/>
                <a:gd name="connsiteX54" fmla="*/ 2669962 w 3785642"/>
                <a:gd name="connsiteY54" fmla="*/ 474282 h 479077"/>
                <a:gd name="connsiteX55" fmla="*/ 2653592 w 3785642"/>
                <a:gd name="connsiteY55" fmla="*/ 472298 h 479077"/>
                <a:gd name="connsiteX56" fmla="*/ 2637221 w 3785642"/>
                <a:gd name="connsiteY56" fmla="*/ 474282 h 479077"/>
                <a:gd name="connsiteX57" fmla="*/ 2620851 w 3785642"/>
                <a:gd name="connsiteY57" fmla="*/ 474282 h 479077"/>
                <a:gd name="connsiteX58" fmla="*/ 2604480 w 3785642"/>
                <a:gd name="connsiteY58" fmla="*/ 472298 h 479077"/>
                <a:gd name="connsiteX59" fmla="*/ 2588109 w 3785642"/>
                <a:gd name="connsiteY59" fmla="*/ 473786 h 479077"/>
                <a:gd name="connsiteX60" fmla="*/ 2571739 w 3785642"/>
                <a:gd name="connsiteY60" fmla="*/ 472298 h 479077"/>
                <a:gd name="connsiteX61" fmla="*/ 2555368 w 3785642"/>
                <a:gd name="connsiteY61" fmla="*/ 473290 h 479077"/>
                <a:gd name="connsiteX62" fmla="*/ 2538998 w 3785642"/>
                <a:gd name="connsiteY62" fmla="*/ 474282 h 479077"/>
                <a:gd name="connsiteX63" fmla="*/ 2522627 w 3785642"/>
                <a:gd name="connsiteY63" fmla="*/ 473290 h 479077"/>
                <a:gd name="connsiteX64" fmla="*/ 2506257 w 3785642"/>
                <a:gd name="connsiteY64" fmla="*/ 474282 h 479077"/>
                <a:gd name="connsiteX65" fmla="*/ 2489886 w 3785642"/>
                <a:gd name="connsiteY65" fmla="*/ 473786 h 479077"/>
                <a:gd name="connsiteX66" fmla="*/ 2473516 w 3785642"/>
                <a:gd name="connsiteY66" fmla="*/ 474282 h 479077"/>
                <a:gd name="connsiteX67" fmla="*/ 2457145 w 3785642"/>
                <a:gd name="connsiteY67" fmla="*/ 472794 h 479077"/>
                <a:gd name="connsiteX68" fmla="*/ 2440775 w 3785642"/>
                <a:gd name="connsiteY68" fmla="*/ 472298 h 479077"/>
                <a:gd name="connsiteX69" fmla="*/ 2424404 w 3785642"/>
                <a:gd name="connsiteY69" fmla="*/ 473786 h 479077"/>
                <a:gd name="connsiteX70" fmla="*/ 2408033 w 3785642"/>
                <a:gd name="connsiteY70" fmla="*/ 472794 h 479077"/>
                <a:gd name="connsiteX71" fmla="*/ 2391663 w 3785642"/>
                <a:gd name="connsiteY71" fmla="*/ 473290 h 479077"/>
                <a:gd name="connsiteX72" fmla="*/ 2375292 w 3785642"/>
                <a:gd name="connsiteY72" fmla="*/ 473290 h 479077"/>
                <a:gd name="connsiteX73" fmla="*/ 2358922 w 3785642"/>
                <a:gd name="connsiteY73" fmla="*/ 472794 h 479077"/>
                <a:gd name="connsiteX74" fmla="*/ 2342551 w 3785642"/>
                <a:gd name="connsiteY74" fmla="*/ 472298 h 479077"/>
                <a:gd name="connsiteX75" fmla="*/ 2326180 w 3785642"/>
                <a:gd name="connsiteY75" fmla="*/ 473786 h 479077"/>
                <a:gd name="connsiteX76" fmla="*/ 2309810 w 3785642"/>
                <a:gd name="connsiteY76" fmla="*/ 473786 h 479077"/>
                <a:gd name="connsiteX77" fmla="*/ 2293439 w 3785642"/>
                <a:gd name="connsiteY77" fmla="*/ 473786 h 479077"/>
                <a:gd name="connsiteX78" fmla="*/ 2277069 w 3785642"/>
                <a:gd name="connsiteY78" fmla="*/ 472794 h 479077"/>
                <a:gd name="connsiteX79" fmla="*/ 2260698 w 3785642"/>
                <a:gd name="connsiteY79" fmla="*/ 474282 h 479077"/>
                <a:gd name="connsiteX80" fmla="*/ 2244327 w 3785642"/>
                <a:gd name="connsiteY80" fmla="*/ 472298 h 479077"/>
                <a:gd name="connsiteX81" fmla="*/ 2227957 w 3785642"/>
                <a:gd name="connsiteY81" fmla="*/ 474282 h 479077"/>
                <a:gd name="connsiteX82" fmla="*/ 2211586 w 3785642"/>
                <a:gd name="connsiteY82" fmla="*/ 473290 h 479077"/>
                <a:gd name="connsiteX83" fmla="*/ 2195216 w 3785642"/>
                <a:gd name="connsiteY83" fmla="*/ 474282 h 479077"/>
                <a:gd name="connsiteX84" fmla="*/ 2178845 w 3785642"/>
                <a:gd name="connsiteY84" fmla="*/ 472794 h 479077"/>
                <a:gd name="connsiteX85" fmla="*/ 2162474 w 3785642"/>
                <a:gd name="connsiteY85" fmla="*/ 474778 h 479077"/>
                <a:gd name="connsiteX86" fmla="*/ 2146104 w 3785642"/>
                <a:gd name="connsiteY86" fmla="*/ 473290 h 479077"/>
                <a:gd name="connsiteX87" fmla="*/ 2129733 w 3785642"/>
                <a:gd name="connsiteY87" fmla="*/ 474778 h 479077"/>
                <a:gd name="connsiteX88" fmla="*/ 2113363 w 3785642"/>
                <a:gd name="connsiteY88" fmla="*/ 474778 h 479077"/>
                <a:gd name="connsiteX89" fmla="*/ 2096992 w 3785642"/>
                <a:gd name="connsiteY89" fmla="*/ 474778 h 479077"/>
                <a:gd name="connsiteX90" fmla="*/ 2080621 w 3785642"/>
                <a:gd name="connsiteY90" fmla="*/ 474282 h 479077"/>
                <a:gd name="connsiteX91" fmla="*/ 2064251 w 3785642"/>
                <a:gd name="connsiteY91" fmla="*/ 472794 h 479077"/>
                <a:gd name="connsiteX92" fmla="*/ 2047880 w 3785642"/>
                <a:gd name="connsiteY92" fmla="*/ 474778 h 479077"/>
                <a:gd name="connsiteX93" fmla="*/ 2031510 w 3785642"/>
                <a:gd name="connsiteY93" fmla="*/ 474778 h 479077"/>
                <a:gd name="connsiteX94" fmla="*/ 2015139 w 3785642"/>
                <a:gd name="connsiteY94" fmla="*/ 474778 h 479077"/>
                <a:gd name="connsiteX95" fmla="*/ 1998769 w 3785642"/>
                <a:gd name="connsiteY95" fmla="*/ 474282 h 479077"/>
                <a:gd name="connsiteX96" fmla="*/ 1982398 w 3785642"/>
                <a:gd name="connsiteY96" fmla="*/ 473786 h 479077"/>
                <a:gd name="connsiteX97" fmla="*/ 1966028 w 3785642"/>
                <a:gd name="connsiteY97" fmla="*/ 473786 h 479077"/>
                <a:gd name="connsiteX98" fmla="*/ 1949657 w 3785642"/>
                <a:gd name="connsiteY98" fmla="*/ 472794 h 479077"/>
                <a:gd name="connsiteX99" fmla="*/ 1933287 w 3785642"/>
                <a:gd name="connsiteY99" fmla="*/ 473290 h 479077"/>
                <a:gd name="connsiteX100" fmla="*/ 1916916 w 3785642"/>
                <a:gd name="connsiteY100" fmla="*/ 474778 h 479077"/>
                <a:gd name="connsiteX101" fmla="*/ 1900546 w 3785642"/>
                <a:gd name="connsiteY101" fmla="*/ 472794 h 479077"/>
                <a:gd name="connsiteX102" fmla="*/ 1884175 w 3785642"/>
                <a:gd name="connsiteY102" fmla="*/ 473786 h 479077"/>
                <a:gd name="connsiteX103" fmla="*/ 1867804 w 3785642"/>
                <a:gd name="connsiteY103" fmla="*/ 474778 h 479077"/>
                <a:gd name="connsiteX104" fmla="*/ 1851434 w 3785642"/>
                <a:gd name="connsiteY104" fmla="*/ 474778 h 479077"/>
                <a:gd name="connsiteX105" fmla="*/ 1835063 w 3785642"/>
                <a:gd name="connsiteY105" fmla="*/ 474778 h 479077"/>
                <a:gd name="connsiteX106" fmla="*/ 1818693 w 3785642"/>
                <a:gd name="connsiteY106" fmla="*/ 474282 h 479077"/>
                <a:gd name="connsiteX107" fmla="*/ 1802322 w 3785642"/>
                <a:gd name="connsiteY107" fmla="*/ 472794 h 479077"/>
                <a:gd name="connsiteX108" fmla="*/ 1785951 w 3785642"/>
                <a:gd name="connsiteY108" fmla="*/ 473786 h 479077"/>
                <a:gd name="connsiteX109" fmla="*/ 1769581 w 3785642"/>
                <a:gd name="connsiteY109" fmla="*/ 473290 h 479077"/>
                <a:gd name="connsiteX110" fmla="*/ 1753210 w 3785642"/>
                <a:gd name="connsiteY110" fmla="*/ 472298 h 479077"/>
                <a:gd name="connsiteX111" fmla="*/ 1736840 w 3785642"/>
                <a:gd name="connsiteY111" fmla="*/ 473290 h 479077"/>
                <a:gd name="connsiteX112" fmla="*/ 1720469 w 3785642"/>
                <a:gd name="connsiteY112" fmla="*/ 474778 h 479077"/>
                <a:gd name="connsiteX113" fmla="*/ 1704098 w 3785642"/>
                <a:gd name="connsiteY113" fmla="*/ 472794 h 479077"/>
                <a:gd name="connsiteX114" fmla="*/ 1687728 w 3785642"/>
                <a:gd name="connsiteY114" fmla="*/ 474778 h 479077"/>
                <a:gd name="connsiteX115" fmla="*/ 1671357 w 3785642"/>
                <a:gd name="connsiteY115" fmla="*/ 474778 h 479077"/>
                <a:gd name="connsiteX116" fmla="*/ 1654987 w 3785642"/>
                <a:gd name="connsiteY116" fmla="*/ 472298 h 479077"/>
                <a:gd name="connsiteX117" fmla="*/ 1638616 w 3785642"/>
                <a:gd name="connsiteY117" fmla="*/ 472794 h 479077"/>
                <a:gd name="connsiteX118" fmla="*/ 1622246 w 3785642"/>
                <a:gd name="connsiteY118" fmla="*/ 473786 h 479077"/>
                <a:gd name="connsiteX119" fmla="*/ 1605875 w 3785642"/>
                <a:gd name="connsiteY119" fmla="*/ 474778 h 479077"/>
                <a:gd name="connsiteX120" fmla="*/ 1589505 w 3785642"/>
                <a:gd name="connsiteY120" fmla="*/ 473290 h 479077"/>
                <a:gd name="connsiteX121" fmla="*/ 1573134 w 3785642"/>
                <a:gd name="connsiteY121" fmla="*/ 474778 h 479077"/>
                <a:gd name="connsiteX122" fmla="*/ 1556763 w 3785642"/>
                <a:gd name="connsiteY122" fmla="*/ 472794 h 479077"/>
                <a:gd name="connsiteX123" fmla="*/ 1540393 w 3785642"/>
                <a:gd name="connsiteY123" fmla="*/ 472794 h 479077"/>
                <a:gd name="connsiteX124" fmla="*/ 1524022 w 3785642"/>
                <a:gd name="connsiteY124" fmla="*/ 474282 h 479077"/>
                <a:gd name="connsiteX125" fmla="*/ 1507652 w 3785642"/>
                <a:gd name="connsiteY125" fmla="*/ 472794 h 479077"/>
                <a:gd name="connsiteX126" fmla="*/ 1491281 w 3785642"/>
                <a:gd name="connsiteY126" fmla="*/ 474282 h 479077"/>
                <a:gd name="connsiteX127" fmla="*/ 1474910 w 3785642"/>
                <a:gd name="connsiteY127" fmla="*/ 474282 h 479077"/>
                <a:gd name="connsiteX128" fmla="*/ 1458540 w 3785642"/>
                <a:gd name="connsiteY128" fmla="*/ 472794 h 479077"/>
                <a:gd name="connsiteX129" fmla="*/ 1442169 w 3785642"/>
                <a:gd name="connsiteY129" fmla="*/ 471802 h 479077"/>
                <a:gd name="connsiteX130" fmla="*/ 1425799 w 3785642"/>
                <a:gd name="connsiteY130" fmla="*/ 472298 h 479077"/>
                <a:gd name="connsiteX131" fmla="*/ 1409428 w 3785642"/>
                <a:gd name="connsiteY131" fmla="*/ 472794 h 479077"/>
                <a:gd name="connsiteX132" fmla="*/ 1393058 w 3785642"/>
                <a:gd name="connsiteY132" fmla="*/ 473786 h 479077"/>
                <a:gd name="connsiteX133" fmla="*/ 1376687 w 3785642"/>
                <a:gd name="connsiteY133" fmla="*/ 471802 h 479077"/>
                <a:gd name="connsiteX134" fmla="*/ 1360317 w 3785642"/>
                <a:gd name="connsiteY134" fmla="*/ 473786 h 479077"/>
                <a:gd name="connsiteX135" fmla="*/ 1343946 w 3785642"/>
                <a:gd name="connsiteY135" fmla="*/ 473786 h 479077"/>
                <a:gd name="connsiteX136" fmla="*/ 1327576 w 3785642"/>
                <a:gd name="connsiteY136" fmla="*/ 472794 h 479077"/>
                <a:gd name="connsiteX137" fmla="*/ 1311205 w 3785642"/>
                <a:gd name="connsiteY137" fmla="*/ 473786 h 479077"/>
                <a:gd name="connsiteX138" fmla="*/ 1294834 w 3785642"/>
                <a:gd name="connsiteY138" fmla="*/ 473786 h 479077"/>
                <a:gd name="connsiteX139" fmla="*/ 1278464 w 3785642"/>
                <a:gd name="connsiteY139" fmla="*/ 473786 h 479077"/>
                <a:gd name="connsiteX140" fmla="*/ 1262093 w 3785642"/>
                <a:gd name="connsiteY140" fmla="*/ 473786 h 479077"/>
                <a:gd name="connsiteX141" fmla="*/ 1245723 w 3785642"/>
                <a:gd name="connsiteY141" fmla="*/ 473290 h 479077"/>
                <a:gd name="connsiteX142" fmla="*/ 1229352 w 3785642"/>
                <a:gd name="connsiteY142" fmla="*/ 472794 h 479077"/>
                <a:gd name="connsiteX143" fmla="*/ 1212981 w 3785642"/>
                <a:gd name="connsiteY143" fmla="*/ 473786 h 479077"/>
                <a:gd name="connsiteX144" fmla="*/ 1196611 w 3785642"/>
                <a:gd name="connsiteY144" fmla="*/ 472298 h 479077"/>
                <a:gd name="connsiteX145" fmla="*/ 1180240 w 3785642"/>
                <a:gd name="connsiteY145" fmla="*/ 472794 h 479077"/>
                <a:gd name="connsiteX146" fmla="*/ 1163870 w 3785642"/>
                <a:gd name="connsiteY146" fmla="*/ 472794 h 479077"/>
                <a:gd name="connsiteX147" fmla="*/ 1147499 w 3785642"/>
                <a:gd name="connsiteY147" fmla="*/ 473786 h 479077"/>
                <a:gd name="connsiteX148" fmla="*/ 1131128 w 3785642"/>
                <a:gd name="connsiteY148" fmla="*/ 473786 h 479077"/>
                <a:gd name="connsiteX149" fmla="*/ 1114758 w 3785642"/>
                <a:gd name="connsiteY149" fmla="*/ 472794 h 479077"/>
                <a:gd name="connsiteX150" fmla="*/ 1098387 w 3785642"/>
                <a:gd name="connsiteY150" fmla="*/ 473786 h 479077"/>
                <a:gd name="connsiteX151" fmla="*/ 1082017 w 3785642"/>
                <a:gd name="connsiteY151" fmla="*/ 474778 h 479077"/>
                <a:gd name="connsiteX152" fmla="*/ 1065646 w 3785642"/>
                <a:gd name="connsiteY152" fmla="*/ 474778 h 479077"/>
                <a:gd name="connsiteX153" fmla="*/ 1049276 w 3785642"/>
                <a:gd name="connsiteY153" fmla="*/ 474282 h 479077"/>
                <a:gd name="connsiteX154" fmla="*/ 1032905 w 3785642"/>
                <a:gd name="connsiteY154" fmla="*/ 473290 h 479077"/>
                <a:gd name="connsiteX155" fmla="*/ 1016535 w 3785642"/>
                <a:gd name="connsiteY155" fmla="*/ 474282 h 479077"/>
                <a:gd name="connsiteX156" fmla="*/ 1000164 w 3785642"/>
                <a:gd name="connsiteY156" fmla="*/ 474282 h 479077"/>
                <a:gd name="connsiteX157" fmla="*/ 983793 w 3785642"/>
                <a:gd name="connsiteY157" fmla="*/ 472794 h 479077"/>
                <a:gd name="connsiteX158" fmla="*/ 967423 w 3785642"/>
                <a:gd name="connsiteY158" fmla="*/ 472794 h 479077"/>
                <a:gd name="connsiteX159" fmla="*/ 951052 w 3785642"/>
                <a:gd name="connsiteY159" fmla="*/ 473786 h 479077"/>
                <a:gd name="connsiteX160" fmla="*/ 934682 w 3785642"/>
                <a:gd name="connsiteY160" fmla="*/ 474282 h 479077"/>
                <a:gd name="connsiteX161" fmla="*/ 918311 w 3785642"/>
                <a:gd name="connsiteY161" fmla="*/ 474778 h 479077"/>
                <a:gd name="connsiteX162" fmla="*/ 901940 w 3785642"/>
                <a:gd name="connsiteY162" fmla="*/ 473290 h 479077"/>
                <a:gd name="connsiteX163" fmla="*/ 885570 w 3785642"/>
                <a:gd name="connsiteY163" fmla="*/ 474778 h 479077"/>
                <a:gd name="connsiteX164" fmla="*/ 869199 w 3785642"/>
                <a:gd name="connsiteY164" fmla="*/ 474282 h 479077"/>
                <a:gd name="connsiteX165" fmla="*/ 852829 w 3785642"/>
                <a:gd name="connsiteY165" fmla="*/ 473786 h 479077"/>
                <a:gd name="connsiteX166" fmla="*/ 836458 w 3785642"/>
                <a:gd name="connsiteY166" fmla="*/ 474778 h 479077"/>
                <a:gd name="connsiteX167" fmla="*/ 820088 w 3785642"/>
                <a:gd name="connsiteY167" fmla="*/ 475274 h 479077"/>
                <a:gd name="connsiteX168" fmla="*/ 803717 w 3785642"/>
                <a:gd name="connsiteY168" fmla="*/ 473786 h 479077"/>
                <a:gd name="connsiteX169" fmla="*/ 787347 w 3785642"/>
                <a:gd name="connsiteY169" fmla="*/ 475770 h 479077"/>
                <a:gd name="connsiteX170" fmla="*/ 770976 w 3785642"/>
                <a:gd name="connsiteY170" fmla="*/ 474778 h 479077"/>
                <a:gd name="connsiteX171" fmla="*/ 754605 w 3785642"/>
                <a:gd name="connsiteY171" fmla="*/ 475274 h 479077"/>
                <a:gd name="connsiteX172" fmla="*/ 738235 w 3785642"/>
                <a:gd name="connsiteY172" fmla="*/ 473786 h 479077"/>
                <a:gd name="connsiteX173" fmla="*/ 721864 w 3785642"/>
                <a:gd name="connsiteY173" fmla="*/ 475274 h 479077"/>
                <a:gd name="connsiteX174" fmla="*/ 705494 w 3785642"/>
                <a:gd name="connsiteY174" fmla="*/ 475770 h 479077"/>
                <a:gd name="connsiteX175" fmla="*/ 689123 w 3785642"/>
                <a:gd name="connsiteY175" fmla="*/ 474282 h 479077"/>
                <a:gd name="connsiteX176" fmla="*/ 672753 w 3785642"/>
                <a:gd name="connsiteY176" fmla="*/ 475274 h 479077"/>
                <a:gd name="connsiteX177" fmla="*/ 656382 w 3785642"/>
                <a:gd name="connsiteY177" fmla="*/ 474778 h 479077"/>
                <a:gd name="connsiteX178" fmla="*/ 640011 w 3785642"/>
                <a:gd name="connsiteY178" fmla="*/ 475770 h 479077"/>
                <a:gd name="connsiteX179" fmla="*/ 623641 w 3785642"/>
                <a:gd name="connsiteY179" fmla="*/ 473786 h 479077"/>
                <a:gd name="connsiteX180" fmla="*/ 607270 w 3785642"/>
                <a:gd name="connsiteY180" fmla="*/ 474778 h 479077"/>
                <a:gd name="connsiteX181" fmla="*/ 590900 w 3785642"/>
                <a:gd name="connsiteY181" fmla="*/ 475274 h 479077"/>
                <a:gd name="connsiteX182" fmla="*/ 574529 w 3785642"/>
                <a:gd name="connsiteY182" fmla="*/ 474282 h 479077"/>
                <a:gd name="connsiteX183" fmla="*/ 558158 w 3785642"/>
                <a:gd name="connsiteY183" fmla="*/ 475274 h 479077"/>
                <a:gd name="connsiteX184" fmla="*/ 541788 w 3785642"/>
                <a:gd name="connsiteY184" fmla="*/ 475770 h 479077"/>
                <a:gd name="connsiteX185" fmla="*/ 525417 w 3785642"/>
                <a:gd name="connsiteY185" fmla="*/ 474282 h 479077"/>
                <a:gd name="connsiteX186" fmla="*/ 509047 w 3785642"/>
                <a:gd name="connsiteY186" fmla="*/ 473786 h 479077"/>
                <a:gd name="connsiteX187" fmla="*/ 492676 w 3785642"/>
                <a:gd name="connsiteY187" fmla="*/ 473786 h 479077"/>
                <a:gd name="connsiteX188" fmla="*/ 476306 w 3785642"/>
                <a:gd name="connsiteY188" fmla="*/ 474778 h 479077"/>
                <a:gd name="connsiteX189" fmla="*/ 459935 w 3785642"/>
                <a:gd name="connsiteY189" fmla="*/ 473786 h 479077"/>
                <a:gd name="connsiteX190" fmla="*/ 443565 w 3785642"/>
                <a:gd name="connsiteY190" fmla="*/ 474778 h 479077"/>
                <a:gd name="connsiteX191" fmla="*/ 427194 w 3785642"/>
                <a:gd name="connsiteY191" fmla="*/ 474282 h 479077"/>
                <a:gd name="connsiteX192" fmla="*/ 410823 w 3785642"/>
                <a:gd name="connsiteY192" fmla="*/ 473290 h 479077"/>
                <a:gd name="connsiteX193" fmla="*/ 394453 w 3785642"/>
                <a:gd name="connsiteY193" fmla="*/ 475770 h 479077"/>
                <a:gd name="connsiteX194" fmla="*/ 378082 w 3785642"/>
                <a:gd name="connsiteY194" fmla="*/ 475274 h 479077"/>
                <a:gd name="connsiteX195" fmla="*/ 361712 w 3785642"/>
                <a:gd name="connsiteY195" fmla="*/ 474778 h 479077"/>
                <a:gd name="connsiteX196" fmla="*/ 345341 w 3785642"/>
                <a:gd name="connsiteY196" fmla="*/ 476266 h 479077"/>
                <a:gd name="connsiteX197" fmla="*/ 328970 w 3785642"/>
                <a:gd name="connsiteY197" fmla="*/ 474282 h 479077"/>
                <a:gd name="connsiteX198" fmla="*/ 312600 w 3785642"/>
                <a:gd name="connsiteY198" fmla="*/ 475274 h 479077"/>
                <a:gd name="connsiteX199" fmla="*/ 296229 w 3785642"/>
                <a:gd name="connsiteY199" fmla="*/ 474282 h 479077"/>
                <a:gd name="connsiteX200" fmla="*/ 279859 w 3785642"/>
                <a:gd name="connsiteY200" fmla="*/ 475770 h 479077"/>
                <a:gd name="connsiteX201" fmla="*/ 263488 w 3785642"/>
                <a:gd name="connsiteY201" fmla="*/ 476266 h 479077"/>
                <a:gd name="connsiteX202" fmla="*/ 247118 w 3785642"/>
                <a:gd name="connsiteY202" fmla="*/ 476266 h 479077"/>
                <a:gd name="connsiteX203" fmla="*/ 230747 w 3785642"/>
                <a:gd name="connsiteY203" fmla="*/ 474778 h 479077"/>
                <a:gd name="connsiteX204" fmla="*/ 214376 w 3785642"/>
                <a:gd name="connsiteY204" fmla="*/ 474778 h 479077"/>
                <a:gd name="connsiteX205" fmla="*/ 198006 w 3785642"/>
                <a:gd name="connsiteY205" fmla="*/ 476762 h 479077"/>
                <a:gd name="connsiteX206" fmla="*/ 181635 w 3785642"/>
                <a:gd name="connsiteY206" fmla="*/ 476266 h 479077"/>
                <a:gd name="connsiteX207" fmla="*/ 165265 w 3785642"/>
                <a:gd name="connsiteY207" fmla="*/ 474778 h 479077"/>
                <a:gd name="connsiteX208" fmla="*/ 148894 w 3785642"/>
                <a:gd name="connsiteY208" fmla="*/ 476762 h 479077"/>
                <a:gd name="connsiteX209" fmla="*/ 132524 w 3785642"/>
                <a:gd name="connsiteY209" fmla="*/ 476266 h 479077"/>
                <a:gd name="connsiteX210" fmla="*/ 116153 w 3785642"/>
                <a:gd name="connsiteY210" fmla="*/ 475274 h 479077"/>
                <a:gd name="connsiteX211" fmla="*/ 99783 w 3785642"/>
                <a:gd name="connsiteY211" fmla="*/ 475274 h 479077"/>
                <a:gd name="connsiteX212" fmla="*/ 83412 w 3785642"/>
                <a:gd name="connsiteY212" fmla="*/ 475274 h 479077"/>
                <a:gd name="connsiteX213" fmla="*/ 67041 w 3785642"/>
                <a:gd name="connsiteY213" fmla="*/ 474778 h 479077"/>
                <a:gd name="connsiteX214" fmla="*/ 50671 w 3785642"/>
                <a:gd name="connsiteY214" fmla="*/ 475274 h 479077"/>
                <a:gd name="connsiteX215" fmla="*/ 34300 w 3785642"/>
                <a:gd name="connsiteY215" fmla="*/ 475274 h 479077"/>
                <a:gd name="connsiteX216" fmla="*/ 17930 w 3785642"/>
                <a:gd name="connsiteY216" fmla="*/ 475770 h 479077"/>
                <a:gd name="connsiteX217" fmla="*/ 567 w 3785642"/>
                <a:gd name="connsiteY217" fmla="*/ 475770 h 479077"/>
                <a:gd name="connsiteX218" fmla="*/ 12969 w 3785642"/>
                <a:gd name="connsiteY218" fmla="*/ 463368 h 479077"/>
                <a:gd name="connsiteX219" fmla="*/ 24379 w 3785642"/>
                <a:gd name="connsiteY219" fmla="*/ 451958 h 479077"/>
                <a:gd name="connsiteX220" fmla="*/ 35788 w 3785642"/>
                <a:gd name="connsiteY220" fmla="*/ 440053 h 479077"/>
                <a:gd name="connsiteX221" fmla="*/ 48686 w 3785642"/>
                <a:gd name="connsiteY221" fmla="*/ 430131 h 479077"/>
                <a:gd name="connsiteX222" fmla="*/ 59600 w 3785642"/>
                <a:gd name="connsiteY222" fmla="*/ 418225 h 479077"/>
                <a:gd name="connsiteX223" fmla="*/ 70514 w 3785642"/>
                <a:gd name="connsiteY223" fmla="*/ 405823 h 479077"/>
                <a:gd name="connsiteX224" fmla="*/ 83412 w 3785642"/>
                <a:gd name="connsiteY224" fmla="*/ 395406 h 479077"/>
                <a:gd name="connsiteX225" fmla="*/ 94822 w 3785642"/>
                <a:gd name="connsiteY225" fmla="*/ 383500 h 479077"/>
                <a:gd name="connsiteX226" fmla="*/ 106728 w 3785642"/>
                <a:gd name="connsiteY226" fmla="*/ 372090 h 479077"/>
                <a:gd name="connsiteX227" fmla="*/ 117145 w 3785642"/>
                <a:gd name="connsiteY227" fmla="*/ 359688 h 479077"/>
                <a:gd name="connsiteX228" fmla="*/ 128555 w 3785642"/>
                <a:gd name="connsiteY228" fmla="*/ 348278 h 479077"/>
                <a:gd name="connsiteX229" fmla="*/ 140461 w 3785642"/>
                <a:gd name="connsiteY229" fmla="*/ 336868 h 479077"/>
                <a:gd name="connsiteX230" fmla="*/ 152863 w 3785642"/>
                <a:gd name="connsiteY230" fmla="*/ 326451 h 479077"/>
                <a:gd name="connsiteX231" fmla="*/ 164769 w 3785642"/>
                <a:gd name="connsiteY231" fmla="*/ 315041 h 479077"/>
                <a:gd name="connsiteX232" fmla="*/ 176178 w 3785642"/>
                <a:gd name="connsiteY232" fmla="*/ 303135 h 479077"/>
                <a:gd name="connsiteX233" fmla="*/ 188084 w 3785642"/>
                <a:gd name="connsiteY233" fmla="*/ 291725 h 479077"/>
                <a:gd name="connsiteX234" fmla="*/ 199494 w 3785642"/>
                <a:gd name="connsiteY234" fmla="*/ 280315 h 479077"/>
                <a:gd name="connsiteX235" fmla="*/ 210904 w 3785642"/>
                <a:gd name="connsiteY235" fmla="*/ 268906 h 479077"/>
                <a:gd name="connsiteX236" fmla="*/ 221818 w 3785642"/>
                <a:gd name="connsiteY236" fmla="*/ 256504 h 479077"/>
                <a:gd name="connsiteX237" fmla="*/ 233724 w 3785642"/>
                <a:gd name="connsiteY237" fmla="*/ 245094 h 479077"/>
                <a:gd name="connsiteX238" fmla="*/ 244141 w 3785642"/>
                <a:gd name="connsiteY238" fmla="*/ 232692 h 479077"/>
                <a:gd name="connsiteX239" fmla="*/ 257039 w 3785642"/>
                <a:gd name="connsiteY239" fmla="*/ 222770 h 479077"/>
                <a:gd name="connsiteX240" fmla="*/ 266961 w 3785642"/>
                <a:gd name="connsiteY240" fmla="*/ 209376 h 479077"/>
                <a:gd name="connsiteX241" fmla="*/ 278371 w 3785642"/>
                <a:gd name="connsiteY241" fmla="*/ 197966 h 479077"/>
                <a:gd name="connsiteX242" fmla="*/ 291269 w 3785642"/>
                <a:gd name="connsiteY242" fmla="*/ 188045 h 479077"/>
                <a:gd name="connsiteX243" fmla="*/ 301686 w 3785642"/>
                <a:gd name="connsiteY243" fmla="*/ 175147 h 479077"/>
                <a:gd name="connsiteX244" fmla="*/ 313592 w 3785642"/>
                <a:gd name="connsiteY244" fmla="*/ 163737 h 479077"/>
                <a:gd name="connsiteX245" fmla="*/ 325994 w 3785642"/>
                <a:gd name="connsiteY245" fmla="*/ 153319 h 479077"/>
                <a:gd name="connsiteX246" fmla="*/ 337404 w 3785642"/>
                <a:gd name="connsiteY246" fmla="*/ 141910 h 479077"/>
                <a:gd name="connsiteX247" fmla="*/ 347325 w 3785642"/>
                <a:gd name="connsiteY247" fmla="*/ 129012 h 479077"/>
                <a:gd name="connsiteX248" fmla="*/ 360224 w 3785642"/>
                <a:gd name="connsiteY248" fmla="*/ 118594 h 479077"/>
                <a:gd name="connsiteX249" fmla="*/ 371137 w 3785642"/>
                <a:gd name="connsiteY249" fmla="*/ 106192 h 479077"/>
                <a:gd name="connsiteX250" fmla="*/ 382051 w 3785642"/>
                <a:gd name="connsiteY250" fmla="*/ 93790 h 479077"/>
                <a:gd name="connsiteX251" fmla="*/ 393957 w 3785642"/>
                <a:gd name="connsiteY251" fmla="*/ 82380 h 479077"/>
                <a:gd name="connsiteX252" fmla="*/ 405366 w 3785642"/>
                <a:gd name="connsiteY252" fmla="*/ 70475 h 479077"/>
                <a:gd name="connsiteX253" fmla="*/ 417272 w 3785642"/>
                <a:gd name="connsiteY253" fmla="*/ 59561 h 479077"/>
                <a:gd name="connsiteX254" fmla="*/ 429674 w 3785642"/>
                <a:gd name="connsiteY254" fmla="*/ 48647 h 479077"/>
                <a:gd name="connsiteX255" fmla="*/ 440092 w 3785642"/>
                <a:gd name="connsiteY255" fmla="*/ 35749 h 479077"/>
                <a:gd name="connsiteX256" fmla="*/ 452494 w 3785642"/>
                <a:gd name="connsiteY256" fmla="*/ 24835 h 479077"/>
                <a:gd name="connsiteX257" fmla="*/ 463904 w 3785642"/>
                <a:gd name="connsiteY257" fmla="*/ 12929 h 479077"/>
                <a:gd name="connsiteX258" fmla="*/ 475313 w 3785642"/>
                <a:gd name="connsiteY258" fmla="*/ 1024 h 479077"/>
                <a:gd name="connsiteX259" fmla="*/ 491684 w 3785642"/>
                <a:gd name="connsiteY259" fmla="*/ 2512 h 479077"/>
                <a:gd name="connsiteX260" fmla="*/ 508055 w 3785642"/>
                <a:gd name="connsiteY260" fmla="*/ 2512 h 479077"/>
                <a:gd name="connsiteX261" fmla="*/ 524425 w 3785642"/>
                <a:gd name="connsiteY261" fmla="*/ 2512 h 479077"/>
                <a:gd name="connsiteX262" fmla="*/ 540796 w 3785642"/>
                <a:gd name="connsiteY262" fmla="*/ 1024 h 479077"/>
                <a:gd name="connsiteX263" fmla="*/ 557166 w 3785642"/>
                <a:gd name="connsiteY263" fmla="*/ 2512 h 479077"/>
                <a:gd name="connsiteX264" fmla="*/ 573537 w 3785642"/>
                <a:gd name="connsiteY264" fmla="*/ 1024 h 479077"/>
                <a:gd name="connsiteX265" fmla="*/ 589908 w 3785642"/>
                <a:gd name="connsiteY265" fmla="*/ 527 h 479077"/>
                <a:gd name="connsiteX266" fmla="*/ 606278 w 3785642"/>
                <a:gd name="connsiteY266" fmla="*/ 1520 h 479077"/>
                <a:gd name="connsiteX267" fmla="*/ 622649 w 3785642"/>
                <a:gd name="connsiteY267" fmla="*/ 1520 h 479077"/>
                <a:gd name="connsiteX268" fmla="*/ 639019 w 3785642"/>
                <a:gd name="connsiteY268" fmla="*/ 2016 h 479077"/>
                <a:gd name="connsiteX269" fmla="*/ 655390 w 3785642"/>
                <a:gd name="connsiteY269" fmla="*/ 527 h 479077"/>
                <a:gd name="connsiteX270" fmla="*/ 671760 w 3785642"/>
                <a:gd name="connsiteY270" fmla="*/ 1520 h 479077"/>
                <a:gd name="connsiteX271" fmla="*/ 688131 w 3785642"/>
                <a:gd name="connsiteY271" fmla="*/ 2512 h 479077"/>
                <a:gd name="connsiteX272" fmla="*/ 704501 w 3785642"/>
                <a:gd name="connsiteY272" fmla="*/ 1024 h 479077"/>
                <a:gd name="connsiteX273" fmla="*/ 720872 w 3785642"/>
                <a:gd name="connsiteY273" fmla="*/ 1520 h 479077"/>
                <a:gd name="connsiteX274" fmla="*/ 737243 w 3785642"/>
                <a:gd name="connsiteY274" fmla="*/ 2016 h 479077"/>
                <a:gd name="connsiteX275" fmla="*/ 753613 w 3785642"/>
                <a:gd name="connsiteY275" fmla="*/ 1024 h 479077"/>
                <a:gd name="connsiteX276" fmla="*/ 769984 w 3785642"/>
                <a:gd name="connsiteY276" fmla="*/ 527 h 479077"/>
                <a:gd name="connsiteX277" fmla="*/ 786354 w 3785642"/>
                <a:gd name="connsiteY277" fmla="*/ 1520 h 479077"/>
                <a:gd name="connsiteX278" fmla="*/ 802725 w 3785642"/>
                <a:gd name="connsiteY278" fmla="*/ 527 h 479077"/>
                <a:gd name="connsiteX279" fmla="*/ 819096 w 3785642"/>
                <a:gd name="connsiteY279" fmla="*/ 2512 h 479077"/>
                <a:gd name="connsiteX280" fmla="*/ 835466 w 3785642"/>
                <a:gd name="connsiteY280" fmla="*/ 527 h 479077"/>
                <a:gd name="connsiteX281" fmla="*/ 851837 w 3785642"/>
                <a:gd name="connsiteY281" fmla="*/ 1520 h 479077"/>
                <a:gd name="connsiteX282" fmla="*/ 868207 w 3785642"/>
                <a:gd name="connsiteY282" fmla="*/ 2016 h 479077"/>
                <a:gd name="connsiteX283" fmla="*/ 884578 w 3785642"/>
                <a:gd name="connsiteY283" fmla="*/ 2512 h 479077"/>
                <a:gd name="connsiteX284" fmla="*/ 900948 w 3785642"/>
                <a:gd name="connsiteY284" fmla="*/ 1520 h 479077"/>
                <a:gd name="connsiteX285" fmla="*/ 917319 w 3785642"/>
                <a:gd name="connsiteY285" fmla="*/ 1024 h 479077"/>
                <a:gd name="connsiteX286" fmla="*/ 933689 w 3785642"/>
                <a:gd name="connsiteY286" fmla="*/ 2512 h 479077"/>
                <a:gd name="connsiteX287" fmla="*/ 950060 w 3785642"/>
                <a:gd name="connsiteY287" fmla="*/ 1520 h 479077"/>
                <a:gd name="connsiteX288" fmla="*/ 966431 w 3785642"/>
                <a:gd name="connsiteY288" fmla="*/ 2016 h 479077"/>
                <a:gd name="connsiteX289" fmla="*/ 982801 w 3785642"/>
                <a:gd name="connsiteY289" fmla="*/ 2512 h 479077"/>
                <a:gd name="connsiteX290" fmla="*/ 999172 w 3785642"/>
                <a:gd name="connsiteY290" fmla="*/ 1520 h 479077"/>
                <a:gd name="connsiteX291" fmla="*/ 1015542 w 3785642"/>
                <a:gd name="connsiteY291" fmla="*/ 2512 h 479077"/>
                <a:gd name="connsiteX292" fmla="*/ 1031913 w 3785642"/>
                <a:gd name="connsiteY292" fmla="*/ 1520 h 479077"/>
                <a:gd name="connsiteX293" fmla="*/ 1048283 w 3785642"/>
                <a:gd name="connsiteY293" fmla="*/ 2016 h 479077"/>
                <a:gd name="connsiteX294" fmla="*/ 1064654 w 3785642"/>
                <a:gd name="connsiteY294" fmla="*/ 3504 h 479077"/>
                <a:gd name="connsiteX295" fmla="*/ 1081025 w 3785642"/>
                <a:gd name="connsiteY295" fmla="*/ 2016 h 479077"/>
                <a:gd name="connsiteX296" fmla="*/ 1097395 w 3785642"/>
                <a:gd name="connsiteY296" fmla="*/ 2512 h 479077"/>
                <a:gd name="connsiteX297" fmla="*/ 1113766 w 3785642"/>
                <a:gd name="connsiteY297" fmla="*/ 2512 h 479077"/>
                <a:gd name="connsiteX298" fmla="*/ 1130136 w 3785642"/>
                <a:gd name="connsiteY298" fmla="*/ 3504 h 479077"/>
                <a:gd name="connsiteX299" fmla="*/ 1146507 w 3785642"/>
                <a:gd name="connsiteY299" fmla="*/ 1520 h 479077"/>
                <a:gd name="connsiteX300" fmla="*/ 1162878 w 3785642"/>
                <a:gd name="connsiteY300" fmla="*/ 3008 h 479077"/>
                <a:gd name="connsiteX301" fmla="*/ 1179248 w 3785642"/>
                <a:gd name="connsiteY301" fmla="*/ 4000 h 479077"/>
                <a:gd name="connsiteX302" fmla="*/ 1195619 w 3785642"/>
                <a:gd name="connsiteY302" fmla="*/ 3504 h 479077"/>
                <a:gd name="connsiteX303" fmla="*/ 1211989 w 3785642"/>
                <a:gd name="connsiteY303" fmla="*/ 1520 h 479077"/>
                <a:gd name="connsiteX304" fmla="*/ 1228360 w 3785642"/>
                <a:gd name="connsiteY304" fmla="*/ 3504 h 479077"/>
                <a:gd name="connsiteX305" fmla="*/ 1244730 w 3785642"/>
                <a:gd name="connsiteY305" fmla="*/ 1520 h 479077"/>
                <a:gd name="connsiteX306" fmla="*/ 1261101 w 3785642"/>
                <a:gd name="connsiteY306" fmla="*/ 2512 h 479077"/>
                <a:gd name="connsiteX307" fmla="*/ 1277471 w 3785642"/>
                <a:gd name="connsiteY307" fmla="*/ 3504 h 479077"/>
                <a:gd name="connsiteX308" fmla="*/ 1293842 w 3785642"/>
                <a:gd name="connsiteY308" fmla="*/ 4000 h 479077"/>
                <a:gd name="connsiteX309" fmla="*/ 1310213 w 3785642"/>
                <a:gd name="connsiteY309" fmla="*/ 1520 h 479077"/>
                <a:gd name="connsiteX310" fmla="*/ 1326583 w 3785642"/>
                <a:gd name="connsiteY310" fmla="*/ 2016 h 479077"/>
                <a:gd name="connsiteX311" fmla="*/ 1342954 w 3785642"/>
                <a:gd name="connsiteY311" fmla="*/ 3008 h 479077"/>
                <a:gd name="connsiteX312" fmla="*/ 1359324 w 3785642"/>
                <a:gd name="connsiteY312" fmla="*/ 3008 h 479077"/>
                <a:gd name="connsiteX313" fmla="*/ 1375695 w 3785642"/>
                <a:gd name="connsiteY313" fmla="*/ 2512 h 479077"/>
                <a:gd name="connsiteX314" fmla="*/ 1392066 w 3785642"/>
                <a:gd name="connsiteY314" fmla="*/ 2512 h 479077"/>
                <a:gd name="connsiteX315" fmla="*/ 1408436 w 3785642"/>
                <a:gd name="connsiteY315" fmla="*/ 3504 h 479077"/>
                <a:gd name="connsiteX316" fmla="*/ 1424807 w 3785642"/>
                <a:gd name="connsiteY316" fmla="*/ 3504 h 479077"/>
                <a:gd name="connsiteX317" fmla="*/ 1441177 w 3785642"/>
                <a:gd name="connsiteY317" fmla="*/ 1520 h 479077"/>
                <a:gd name="connsiteX318" fmla="*/ 1457548 w 3785642"/>
                <a:gd name="connsiteY318" fmla="*/ 2512 h 479077"/>
                <a:gd name="connsiteX319" fmla="*/ 1473919 w 3785642"/>
                <a:gd name="connsiteY319" fmla="*/ 2016 h 479077"/>
                <a:gd name="connsiteX320" fmla="*/ 1490289 w 3785642"/>
                <a:gd name="connsiteY320" fmla="*/ 2016 h 479077"/>
                <a:gd name="connsiteX321" fmla="*/ 1506660 w 3785642"/>
                <a:gd name="connsiteY321" fmla="*/ 1520 h 479077"/>
                <a:gd name="connsiteX322" fmla="*/ 1523030 w 3785642"/>
                <a:gd name="connsiteY322" fmla="*/ 3504 h 479077"/>
                <a:gd name="connsiteX323" fmla="*/ 1539401 w 3785642"/>
                <a:gd name="connsiteY323" fmla="*/ 3008 h 479077"/>
                <a:gd name="connsiteX324" fmla="*/ 1555771 w 3785642"/>
                <a:gd name="connsiteY324" fmla="*/ 3008 h 479077"/>
                <a:gd name="connsiteX325" fmla="*/ 1572142 w 3785642"/>
                <a:gd name="connsiteY325" fmla="*/ 2512 h 479077"/>
                <a:gd name="connsiteX326" fmla="*/ 1588512 w 3785642"/>
                <a:gd name="connsiteY326" fmla="*/ 2016 h 479077"/>
                <a:gd name="connsiteX327" fmla="*/ 1604883 w 3785642"/>
                <a:gd name="connsiteY327" fmla="*/ 3008 h 479077"/>
                <a:gd name="connsiteX328" fmla="*/ 1621253 w 3785642"/>
                <a:gd name="connsiteY328" fmla="*/ 3008 h 479077"/>
                <a:gd name="connsiteX329" fmla="*/ 1637624 w 3785642"/>
                <a:gd name="connsiteY329" fmla="*/ 2512 h 479077"/>
                <a:gd name="connsiteX0" fmla="*/ 3785642 w 3811655"/>
                <a:gd name="connsiteY0" fmla="*/ 462376 h 485440"/>
                <a:gd name="connsiteX1" fmla="*/ 3775224 w 3811655"/>
                <a:gd name="connsiteY1" fmla="*/ 449974 h 485440"/>
                <a:gd name="connsiteX2" fmla="*/ 3313375 w 3811655"/>
                <a:gd name="connsiteY2" fmla="*/ 10945 h 485440"/>
                <a:gd name="connsiteX3" fmla="*/ 3300973 w 3811655"/>
                <a:gd name="connsiteY3" fmla="*/ 21363 h 485440"/>
                <a:gd name="connsiteX4" fmla="*/ 3289068 w 3811655"/>
                <a:gd name="connsiteY4" fmla="*/ 32276 h 485440"/>
                <a:gd name="connsiteX5" fmla="*/ 3277658 w 3811655"/>
                <a:gd name="connsiteY5" fmla="*/ 43686 h 485440"/>
                <a:gd name="connsiteX6" fmla="*/ 3266248 w 3811655"/>
                <a:gd name="connsiteY6" fmla="*/ 55592 h 485440"/>
                <a:gd name="connsiteX7" fmla="*/ 3255830 w 3811655"/>
                <a:gd name="connsiteY7" fmla="*/ 68490 h 485440"/>
                <a:gd name="connsiteX8" fmla="*/ 3243924 w 3811655"/>
                <a:gd name="connsiteY8" fmla="*/ 79900 h 485440"/>
                <a:gd name="connsiteX9" fmla="*/ 3231522 w 3811655"/>
                <a:gd name="connsiteY9" fmla="*/ 90814 h 485440"/>
                <a:gd name="connsiteX10" fmla="*/ 3220609 w 3811655"/>
                <a:gd name="connsiteY10" fmla="*/ 102720 h 485440"/>
                <a:gd name="connsiteX11" fmla="*/ 3208207 w 3811655"/>
                <a:gd name="connsiteY11" fmla="*/ 113137 h 485440"/>
                <a:gd name="connsiteX12" fmla="*/ 3197293 w 3811655"/>
                <a:gd name="connsiteY12" fmla="*/ 125043 h 485440"/>
                <a:gd name="connsiteX13" fmla="*/ 3185387 w 3811655"/>
                <a:gd name="connsiteY13" fmla="*/ 136453 h 485440"/>
                <a:gd name="connsiteX14" fmla="*/ 3174970 w 3811655"/>
                <a:gd name="connsiteY14" fmla="*/ 148855 h 485440"/>
                <a:gd name="connsiteX15" fmla="*/ 3162071 w 3811655"/>
                <a:gd name="connsiteY15" fmla="*/ 159272 h 485440"/>
                <a:gd name="connsiteX16" fmla="*/ 3151158 w 3811655"/>
                <a:gd name="connsiteY16" fmla="*/ 171674 h 485440"/>
                <a:gd name="connsiteX17" fmla="*/ 3139252 w 3811655"/>
                <a:gd name="connsiteY17" fmla="*/ 182588 h 485440"/>
                <a:gd name="connsiteX18" fmla="*/ 3127843 w 3811655"/>
                <a:gd name="connsiteY18" fmla="*/ 194494 h 485440"/>
                <a:gd name="connsiteX19" fmla="*/ 3116432 w 3811655"/>
                <a:gd name="connsiteY19" fmla="*/ 205904 h 485440"/>
                <a:gd name="connsiteX20" fmla="*/ 3105022 w 3811655"/>
                <a:gd name="connsiteY20" fmla="*/ 217810 h 485440"/>
                <a:gd name="connsiteX21" fmla="*/ 3093117 w 3811655"/>
                <a:gd name="connsiteY21" fmla="*/ 229219 h 485440"/>
                <a:gd name="connsiteX22" fmla="*/ 3081707 w 3811655"/>
                <a:gd name="connsiteY22" fmla="*/ 240629 h 485440"/>
                <a:gd name="connsiteX23" fmla="*/ 3069305 w 3811655"/>
                <a:gd name="connsiteY23" fmla="*/ 251543 h 485440"/>
                <a:gd name="connsiteX24" fmla="*/ 3057895 w 3811655"/>
                <a:gd name="connsiteY24" fmla="*/ 263449 h 485440"/>
                <a:gd name="connsiteX25" fmla="*/ 3046486 w 3811655"/>
                <a:gd name="connsiteY25" fmla="*/ 275355 h 485440"/>
                <a:gd name="connsiteX26" fmla="*/ 3035572 w 3811655"/>
                <a:gd name="connsiteY26" fmla="*/ 287260 h 485440"/>
                <a:gd name="connsiteX27" fmla="*/ 3024658 w 3811655"/>
                <a:gd name="connsiteY27" fmla="*/ 299166 h 485440"/>
                <a:gd name="connsiteX28" fmla="*/ 3013248 w 3811655"/>
                <a:gd name="connsiteY28" fmla="*/ 311072 h 485440"/>
                <a:gd name="connsiteX29" fmla="*/ 3000350 w 3811655"/>
                <a:gd name="connsiteY29" fmla="*/ 321490 h 485440"/>
                <a:gd name="connsiteX30" fmla="*/ 2988941 w 3811655"/>
                <a:gd name="connsiteY30" fmla="*/ 333396 h 485440"/>
                <a:gd name="connsiteX31" fmla="*/ 2976539 w 3811655"/>
                <a:gd name="connsiteY31" fmla="*/ 344309 h 485440"/>
                <a:gd name="connsiteX32" fmla="*/ 2965129 w 3811655"/>
                <a:gd name="connsiteY32" fmla="*/ 356215 h 485440"/>
                <a:gd name="connsiteX33" fmla="*/ 2953223 w 3811655"/>
                <a:gd name="connsiteY33" fmla="*/ 367625 h 485440"/>
                <a:gd name="connsiteX34" fmla="*/ 2941813 w 3811655"/>
                <a:gd name="connsiteY34" fmla="*/ 379531 h 485440"/>
                <a:gd name="connsiteX35" fmla="*/ 2931395 w 3811655"/>
                <a:gd name="connsiteY35" fmla="*/ 392429 h 485440"/>
                <a:gd name="connsiteX36" fmla="*/ 2918497 w 3811655"/>
                <a:gd name="connsiteY36" fmla="*/ 402847 h 485440"/>
                <a:gd name="connsiteX37" fmla="*/ 2907584 w 3811655"/>
                <a:gd name="connsiteY37" fmla="*/ 415249 h 485440"/>
                <a:gd name="connsiteX38" fmla="*/ 2896174 w 3811655"/>
                <a:gd name="connsiteY38" fmla="*/ 426658 h 485440"/>
                <a:gd name="connsiteX39" fmla="*/ 2884268 w 3811655"/>
                <a:gd name="connsiteY39" fmla="*/ 438068 h 485440"/>
                <a:gd name="connsiteX40" fmla="*/ 2873354 w 3811655"/>
                <a:gd name="connsiteY40" fmla="*/ 450470 h 485440"/>
                <a:gd name="connsiteX41" fmla="*/ 2860952 w 3811655"/>
                <a:gd name="connsiteY41" fmla="*/ 461384 h 485440"/>
                <a:gd name="connsiteX42" fmla="*/ 2850039 w 3811655"/>
                <a:gd name="connsiteY42" fmla="*/ 473786 h 485440"/>
                <a:gd name="connsiteX43" fmla="*/ 2833668 w 3811655"/>
                <a:gd name="connsiteY43" fmla="*/ 473786 h 485440"/>
                <a:gd name="connsiteX44" fmla="*/ 2817297 w 3811655"/>
                <a:gd name="connsiteY44" fmla="*/ 473290 h 485440"/>
                <a:gd name="connsiteX45" fmla="*/ 2800927 w 3811655"/>
                <a:gd name="connsiteY45" fmla="*/ 473290 h 485440"/>
                <a:gd name="connsiteX46" fmla="*/ 2784556 w 3811655"/>
                <a:gd name="connsiteY46" fmla="*/ 473786 h 485440"/>
                <a:gd name="connsiteX47" fmla="*/ 2768186 w 3811655"/>
                <a:gd name="connsiteY47" fmla="*/ 474282 h 485440"/>
                <a:gd name="connsiteX48" fmla="*/ 2751815 w 3811655"/>
                <a:gd name="connsiteY48" fmla="*/ 474282 h 485440"/>
                <a:gd name="connsiteX49" fmla="*/ 2735444 w 3811655"/>
                <a:gd name="connsiteY49" fmla="*/ 473290 h 485440"/>
                <a:gd name="connsiteX50" fmla="*/ 2719074 w 3811655"/>
                <a:gd name="connsiteY50" fmla="*/ 474282 h 485440"/>
                <a:gd name="connsiteX51" fmla="*/ 2702703 w 3811655"/>
                <a:gd name="connsiteY51" fmla="*/ 472298 h 485440"/>
                <a:gd name="connsiteX52" fmla="*/ 2686333 w 3811655"/>
                <a:gd name="connsiteY52" fmla="*/ 472794 h 485440"/>
                <a:gd name="connsiteX53" fmla="*/ 2669962 w 3811655"/>
                <a:gd name="connsiteY53" fmla="*/ 474282 h 485440"/>
                <a:gd name="connsiteX54" fmla="*/ 2653592 w 3811655"/>
                <a:gd name="connsiteY54" fmla="*/ 472298 h 485440"/>
                <a:gd name="connsiteX55" fmla="*/ 2637221 w 3811655"/>
                <a:gd name="connsiteY55" fmla="*/ 474282 h 485440"/>
                <a:gd name="connsiteX56" fmla="*/ 2620851 w 3811655"/>
                <a:gd name="connsiteY56" fmla="*/ 474282 h 485440"/>
                <a:gd name="connsiteX57" fmla="*/ 2604480 w 3811655"/>
                <a:gd name="connsiteY57" fmla="*/ 472298 h 485440"/>
                <a:gd name="connsiteX58" fmla="*/ 2588109 w 3811655"/>
                <a:gd name="connsiteY58" fmla="*/ 473786 h 485440"/>
                <a:gd name="connsiteX59" fmla="*/ 2571739 w 3811655"/>
                <a:gd name="connsiteY59" fmla="*/ 472298 h 485440"/>
                <a:gd name="connsiteX60" fmla="*/ 2555368 w 3811655"/>
                <a:gd name="connsiteY60" fmla="*/ 473290 h 485440"/>
                <a:gd name="connsiteX61" fmla="*/ 2538998 w 3811655"/>
                <a:gd name="connsiteY61" fmla="*/ 474282 h 485440"/>
                <a:gd name="connsiteX62" fmla="*/ 2522627 w 3811655"/>
                <a:gd name="connsiteY62" fmla="*/ 473290 h 485440"/>
                <a:gd name="connsiteX63" fmla="*/ 2506257 w 3811655"/>
                <a:gd name="connsiteY63" fmla="*/ 474282 h 485440"/>
                <a:gd name="connsiteX64" fmla="*/ 2489886 w 3811655"/>
                <a:gd name="connsiteY64" fmla="*/ 473786 h 485440"/>
                <a:gd name="connsiteX65" fmla="*/ 2473516 w 3811655"/>
                <a:gd name="connsiteY65" fmla="*/ 474282 h 485440"/>
                <a:gd name="connsiteX66" fmla="*/ 2457145 w 3811655"/>
                <a:gd name="connsiteY66" fmla="*/ 472794 h 485440"/>
                <a:gd name="connsiteX67" fmla="*/ 2440775 w 3811655"/>
                <a:gd name="connsiteY67" fmla="*/ 472298 h 485440"/>
                <a:gd name="connsiteX68" fmla="*/ 2424404 w 3811655"/>
                <a:gd name="connsiteY68" fmla="*/ 473786 h 485440"/>
                <a:gd name="connsiteX69" fmla="*/ 2408033 w 3811655"/>
                <a:gd name="connsiteY69" fmla="*/ 472794 h 485440"/>
                <a:gd name="connsiteX70" fmla="*/ 2391663 w 3811655"/>
                <a:gd name="connsiteY70" fmla="*/ 473290 h 485440"/>
                <a:gd name="connsiteX71" fmla="*/ 2375292 w 3811655"/>
                <a:gd name="connsiteY71" fmla="*/ 473290 h 485440"/>
                <a:gd name="connsiteX72" fmla="*/ 2358922 w 3811655"/>
                <a:gd name="connsiteY72" fmla="*/ 472794 h 485440"/>
                <a:gd name="connsiteX73" fmla="*/ 2342551 w 3811655"/>
                <a:gd name="connsiteY73" fmla="*/ 472298 h 485440"/>
                <a:gd name="connsiteX74" fmla="*/ 2326180 w 3811655"/>
                <a:gd name="connsiteY74" fmla="*/ 473786 h 485440"/>
                <a:gd name="connsiteX75" fmla="*/ 2309810 w 3811655"/>
                <a:gd name="connsiteY75" fmla="*/ 473786 h 485440"/>
                <a:gd name="connsiteX76" fmla="*/ 2293439 w 3811655"/>
                <a:gd name="connsiteY76" fmla="*/ 473786 h 485440"/>
                <a:gd name="connsiteX77" fmla="*/ 2277069 w 3811655"/>
                <a:gd name="connsiteY77" fmla="*/ 472794 h 485440"/>
                <a:gd name="connsiteX78" fmla="*/ 2260698 w 3811655"/>
                <a:gd name="connsiteY78" fmla="*/ 474282 h 485440"/>
                <a:gd name="connsiteX79" fmla="*/ 2244327 w 3811655"/>
                <a:gd name="connsiteY79" fmla="*/ 472298 h 485440"/>
                <a:gd name="connsiteX80" fmla="*/ 2227957 w 3811655"/>
                <a:gd name="connsiteY80" fmla="*/ 474282 h 485440"/>
                <a:gd name="connsiteX81" fmla="*/ 2211586 w 3811655"/>
                <a:gd name="connsiteY81" fmla="*/ 473290 h 485440"/>
                <a:gd name="connsiteX82" fmla="*/ 2195216 w 3811655"/>
                <a:gd name="connsiteY82" fmla="*/ 474282 h 485440"/>
                <a:gd name="connsiteX83" fmla="*/ 2178845 w 3811655"/>
                <a:gd name="connsiteY83" fmla="*/ 472794 h 485440"/>
                <a:gd name="connsiteX84" fmla="*/ 2162474 w 3811655"/>
                <a:gd name="connsiteY84" fmla="*/ 474778 h 485440"/>
                <a:gd name="connsiteX85" fmla="*/ 2146104 w 3811655"/>
                <a:gd name="connsiteY85" fmla="*/ 473290 h 485440"/>
                <a:gd name="connsiteX86" fmla="*/ 2129733 w 3811655"/>
                <a:gd name="connsiteY86" fmla="*/ 474778 h 485440"/>
                <a:gd name="connsiteX87" fmla="*/ 2113363 w 3811655"/>
                <a:gd name="connsiteY87" fmla="*/ 474778 h 485440"/>
                <a:gd name="connsiteX88" fmla="*/ 2096992 w 3811655"/>
                <a:gd name="connsiteY88" fmla="*/ 474778 h 485440"/>
                <a:gd name="connsiteX89" fmla="*/ 2080621 w 3811655"/>
                <a:gd name="connsiteY89" fmla="*/ 474282 h 485440"/>
                <a:gd name="connsiteX90" fmla="*/ 2064251 w 3811655"/>
                <a:gd name="connsiteY90" fmla="*/ 472794 h 485440"/>
                <a:gd name="connsiteX91" fmla="*/ 2047880 w 3811655"/>
                <a:gd name="connsiteY91" fmla="*/ 474778 h 485440"/>
                <a:gd name="connsiteX92" fmla="*/ 2031510 w 3811655"/>
                <a:gd name="connsiteY92" fmla="*/ 474778 h 485440"/>
                <a:gd name="connsiteX93" fmla="*/ 2015139 w 3811655"/>
                <a:gd name="connsiteY93" fmla="*/ 474778 h 485440"/>
                <a:gd name="connsiteX94" fmla="*/ 1998769 w 3811655"/>
                <a:gd name="connsiteY94" fmla="*/ 474282 h 485440"/>
                <a:gd name="connsiteX95" fmla="*/ 1982398 w 3811655"/>
                <a:gd name="connsiteY95" fmla="*/ 473786 h 485440"/>
                <a:gd name="connsiteX96" fmla="*/ 1966028 w 3811655"/>
                <a:gd name="connsiteY96" fmla="*/ 473786 h 485440"/>
                <a:gd name="connsiteX97" fmla="*/ 1949657 w 3811655"/>
                <a:gd name="connsiteY97" fmla="*/ 472794 h 485440"/>
                <a:gd name="connsiteX98" fmla="*/ 1933287 w 3811655"/>
                <a:gd name="connsiteY98" fmla="*/ 473290 h 485440"/>
                <a:gd name="connsiteX99" fmla="*/ 1916916 w 3811655"/>
                <a:gd name="connsiteY99" fmla="*/ 474778 h 485440"/>
                <a:gd name="connsiteX100" fmla="*/ 1900546 w 3811655"/>
                <a:gd name="connsiteY100" fmla="*/ 472794 h 485440"/>
                <a:gd name="connsiteX101" fmla="*/ 1884175 w 3811655"/>
                <a:gd name="connsiteY101" fmla="*/ 473786 h 485440"/>
                <a:gd name="connsiteX102" fmla="*/ 1867804 w 3811655"/>
                <a:gd name="connsiteY102" fmla="*/ 474778 h 485440"/>
                <a:gd name="connsiteX103" fmla="*/ 1851434 w 3811655"/>
                <a:gd name="connsiteY103" fmla="*/ 474778 h 485440"/>
                <a:gd name="connsiteX104" fmla="*/ 1835063 w 3811655"/>
                <a:gd name="connsiteY104" fmla="*/ 474778 h 485440"/>
                <a:gd name="connsiteX105" fmla="*/ 1818693 w 3811655"/>
                <a:gd name="connsiteY105" fmla="*/ 474282 h 485440"/>
                <a:gd name="connsiteX106" fmla="*/ 1802322 w 3811655"/>
                <a:gd name="connsiteY106" fmla="*/ 472794 h 485440"/>
                <a:gd name="connsiteX107" fmla="*/ 1785951 w 3811655"/>
                <a:gd name="connsiteY107" fmla="*/ 473786 h 485440"/>
                <a:gd name="connsiteX108" fmla="*/ 1769581 w 3811655"/>
                <a:gd name="connsiteY108" fmla="*/ 473290 h 485440"/>
                <a:gd name="connsiteX109" fmla="*/ 1753210 w 3811655"/>
                <a:gd name="connsiteY109" fmla="*/ 472298 h 485440"/>
                <a:gd name="connsiteX110" fmla="*/ 1736840 w 3811655"/>
                <a:gd name="connsiteY110" fmla="*/ 473290 h 485440"/>
                <a:gd name="connsiteX111" fmla="*/ 1720469 w 3811655"/>
                <a:gd name="connsiteY111" fmla="*/ 474778 h 485440"/>
                <a:gd name="connsiteX112" fmla="*/ 1704098 w 3811655"/>
                <a:gd name="connsiteY112" fmla="*/ 472794 h 485440"/>
                <a:gd name="connsiteX113" fmla="*/ 1687728 w 3811655"/>
                <a:gd name="connsiteY113" fmla="*/ 474778 h 485440"/>
                <a:gd name="connsiteX114" fmla="*/ 1671357 w 3811655"/>
                <a:gd name="connsiteY114" fmla="*/ 474778 h 485440"/>
                <a:gd name="connsiteX115" fmla="*/ 1654987 w 3811655"/>
                <a:gd name="connsiteY115" fmla="*/ 472298 h 485440"/>
                <a:gd name="connsiteX116" fmla="*/ 1638616 w 3811655"/>
                <a:gd name="connsiteY116" fmla="*/ 472794 h 485440"/>
                <a:gd name="connsiteX117" fmla="*/ 1622246 w 3811655"/>
                <a:gd name="connsiteY117" fmla="*/ 473786 h 485440"/>
                <a:gd name="connsiteX118" fmla="*/ 1605875 w 3811655"/>
                <a:gd name="connsiteY118" fmla="*/ 474778 h 485440"/>
                <a:gd name="connsiteX119" fmla="*/ 1589505 w 3811655"/>
                <a:gd name="connsiteY119" fmla="*/ 473290 h 485440"/>
                <a:gd name="connsiteX120" fmla="*/ 1573134 w 3811655"/>
                <a:gd name="connsiteY120" fmla="*/ 474778 h 485440"/>
                <a:gd name="connsiteX121" fmla="*/ 1556763 w 3811655"/>
                <a:gd name="connsiteY121" fmla="*/ 472794 h 485440"/>
                <a:gd name="connsiteX122" fmla="*/ 1540393 w 3811655"/>
                <a:gd name="connsiteY122" fmla="*/ 472794 h 485440"/>
                <a:gd name="connsiteX123" fmla="*/ 1524022 w 3811655"/>
                <a:gd name="connsiteY123" fmla="*/ 474282 h 485440"/>
                <a:gd name="connsiteX124" fmla="*/ 1507652 w 3811655"/>
                <a:gd name="connsiteY124" fmla="*/ 472794 h 485440"/>
                <a:gd name="connsiteX125" fmla="*/ 1491281 w 3811655"/>
                <a:gd name="connsiteY125" fmla="*/ 474282 h 485440"/>
                <a:gd name="connsiteX126" fmla="*/ 1474910 w 3811655"/>
                <a:gd name="connsiteY126" fmla="*/ 474282 h 485440"/>
                <a:gd name="connsiteX127" fmla="*/ 1458540 w 3811655"/>
                <a:gd name="connsiteY127" fmla="*/ 472794 h 485440"/>
                <a:gd name="connsiteX128" fmla="*/ 1442169 w 3811655"/>
                <a:gd name="connsiteY128" fmla="*/ 471802 h 485440"/>
                <a:gd name="connsiteX129" fmla="*/ 1425799 w 3811655"/>
                <a:gd name="connsiteY129" fmla="*/ 472298 h 485440"/>
                <a:gd name="connsiteX130" fmla="*/ 1409428 w 3811655"/>
                <a:gd name="connsiteY130" fmla="*/ 472794 h 485440"/>
                <a:gd name="connsiteX131" fmla="*/ 1393058 w 3811655"/>
                <a:gd name="connsiteY131" fmla="*/ 473786 h 485440"/>
                <a:gd name="connsiteX132" fmla="*/ 1376687 w 3811655"/>
                <a:gd name="connsiteY132" fmla="*/ 471802 h 485440"/>
                <a:gd name="connsiteX133" fmla="*/ 1360317 w 3811655"/>
                <a:gd name="connsiteY133" fmla="*/ 473786 h 485440"/>
                <a:gd name="connsiteX134" fmla="*/ 1343946 w 3811655"/>
                <a:gd name="connsiteY134" fmla="*/ 473786 h 485440"/>
                <a:gd name="connsiteX135" fmla="*/ 1327576 w 3811655"/>
                <a:gd name="connsiteY135" fmla="*/ 472794 h 485440"/>
                <a:gd name="connsiteX136" fmla="*/ 1311205 w 3811655"/>
                <a:gd name="connsiteY136" fmla="*/ 473786 h 485440"/>
                <a:gd name="connsiteX137" fmla="*/ 1294834 w 3811655"/>
                <a:gd name="connsiteY137" fmla="*/ 473786 h 485440"/>
                <a:gd name="connsiteX138" fmla="*/ 1278464 w 3811655"/>
                <a:gd name="connsiteY138" fmla="*/ 473786 h 485440"/>
                <a:gd name="connsiteX139" fmla="*/ 1262093 w 3811655"/>
                <a:gd name="connsiteY139" fmla="*/ 473786 h 485440"/>
                <a:gd name="connsiteX140" fmla="*/ 1245723 w 3811655"/>
                <a:gd name="connsiteY140" fmla="*/ 473290 h 485440"/>
                <a:gd name="connsiteX141" fmla="*/ 1229352 w 3811655"/>
                <a:gd name="connsiteY141" fmla="*/ 472794 h 485440"/>
                <a:gd name="connsiteX142" fmla="*/ 1212981 w 3811655"/>
                <a:gd name="connsiteY142" fmla="*/ 473786 h 485440"/>
                <a:gd name="connsiteX143" fmla="*/ 1196611 w 3811655"/>
                <a:gd name="connsiteY143" fmla="*/ 472298 h 485440"/>
                <a:gd name="connsiteX144" fmla="*/ 1180240 w 3811655"/>
                <a:gd name="connsiteY144" fmla="*/ 472794 h 485440"/>
                <a:gd name="connsiteX145" fmla="*/ 1163870 w 3811655"/>
                <a:gd name="connsiteY145" fmla="*/ 472794 h 485440"/>
                <a:gd name="connsiteX146" fmla="*/ 1147499 w 3811655"/>
                <a:gd name="connsiteY146" fmla="*/ 473786 h 485440"/>
                <a:gd name="connsiteX147" fmla="*/ 1131128 w 3811655"/>
                <a:gd name="connsiteY147" fmla="*/ 473786 h 485440"/>
                <a:gd name="connsiteX148" fmla="*/ 1114758 w 3811655"/>
                <a:gd name="connsiteY148" fmla="*/ 472794 h 485440"/>
                <a:gd name="connsiteX149" fmla="*/ 1098387 w 3811655"/>
                <a:gd name="connsiteY149" fmla="*/ 473786 h 485440"/>
                <a:gd name="connsiteX150" fmla="*/ 1082017 w 3811655"/>
                <a:gd name="connsiteY150" fmla="*/ 474778 h 485440"/>
                <a:gd name="connsiteX151" fmla="*/ 1065646 w 3811655"/>
                <a:gd name="connsiteY151" fmla="*/ 474778 h 485440"/>
                <a:gd name="connsiteX152" fmla="*/ 1049276 w 3811655"/>
                <a:gd name="connsiteY152" fmla="*/ 474282 h 485440"/>
                <a:gd name="connsiteX153" fmla="*/ 1032905 w 3811655"/>
                <a:gd name="connsiteY153" fmla="*/ 473290 h 485440"/>
                <a:gd name="connsiteX154" fmla="*/ 1016535 w 3811655"/>
                <a:gd name="connsiteY154" fmla="*/ 474282 h 485440"/>
                <a:gd name="connsiteX155" fmla="*/ 1000164 w 3811655"/>
                <a:gd name="connsiteY155" fmla="*/ 474282 h 485440"/>
                <a:gd name="connsiteX156" fmla="*/ 983793 w 3811655"/>
                <a:gd name="connsiteY156" fmla="*/ 472794 h 485440"/>
                <a:gd name="connsiteX157" fmla="*/ 967423 w 3811655"/>
                <a:gd name="connsiteY157" fmla="*/ 472794 h 485440"/>
                <a:gd name="connsiteX158" fmla="*/ 951052 w 3811655"/>
                <a:gd name="connsiteY158" fmla="*/ 473786 h 485440"/>
                <a:gd name="connsiteX159" fmla="*/ 934682 w 3811655"/>
                <a:gd name="connsiteY159" fmla="*/ 474282 h 485440"/>
                <a:gd name="connsiteX160" fmla="*/ 918311 w 3811655"/>
                <a:gd name="connsiteY160" fmla="*/ 474778 h 485440"/>
                <a:gd name="connsiteX161" fmla="*/ 901940 w 3811655"/>
                <a:gd name="connsiteY161" fmla="*/ 473290 h 485440"/>
                <a:gd name="connsiteX162" fmla="*/ 885570 w 3811655"/>
                <a:gd name="connsiteY162" fmla="*/ 474778 h 485440"/>
                <a:gd name="connsiteX163" fmla="*/ 869199 w 3811655"/>
                <a:gd name="connsiteY163" fmla="*/ 474282 h 485440"/>
                <a:gd name="connsiteX164" fmla="*/ 852829 w 3811655"/>
                <a:gd name="connsiteY164" fmla="*/ 473786 h 485440"/>
                <a:gd name="connsiteX165" fmla="*/ 836458 w 3811655"/>
                <a:gd name="connsiteY165" fmla="*/ 474778 h 485440"/>
                <a:gd name="connsiteX166" fmla="*/ 820088 w 3811655"/>
                <a:gd name="connsiteY166" fmla="*/ 475274 h 485440"/>
                <a:gd name="connsiteX167" fmla="*/ 803717 w 3811655"/>
                <a:gd name="connsiteY167" fmla="*/ 473786 h 485440"/>
                <a:gd name="connsiteX168" fmla="*/ 787347 w 3811655"/>
                <a:gd name="connsiteY168" fmla="*/ 475770 h 485440"/>
                <a:gd name="connsiteX169" fmla="*/ 770976 w 3811655"/>
                <a:gd name="connsiteY169" fmla="*/ 474778 h 485440"/>
                <a:gd name="connsiteX170" fmla="*/ 754605 w 3811655"/>
                <a:gd name="connsiteY170" fmla="*/ 475274 h 485440"/>
                <a:gd name="connsiteX171" fmla="*/ 738235 w 3811655"/>
                <a:gd name="connsiteY171" fmla="*/ 473786 h 485440"/>
                <a:gd name="connsiteX172" fmla="*/ 721864 w 3811655"/>
                <a:gd name="connsiteY172" fmla="*/ 475274 h 485440"/>
                <a:gd name="connsiteX173" fmla="*/ 705494 w 3811655"/>
                <a:gd name="connsiteY173" fmla="*/ 475770 h 485440"/>
                <a:gd name="connsiteX174" fmla="*/ 689123 w 3811655"/>
                <a:gd name="connsiteY174" fmla="*/ 474282 h 485440"/>
                <a:gd name="connsiteX175" fmla="*/ 672753 w 3811655"/>
                <a:gd name="connsiteY175" fmla="*/ 475274 h 485440"/>
                <a:gd name="connsiteX176" fmla="*/ 656382 w 3811655"/>
                <a:gd name="connsiteY176" fmla="*/ 474778 h 485440"/>
                <a:gd name="connsiteX177" fmla="*/ 640011 w 3811655"/>
                <a:gd name="connsiteY177" fmla="*/ 475770 h 485440"/>
                <a:gd name="connsiteX178" fmla="*/ 623641 w 3811655"/>
                <a:gd name="connsiteY178" fmla="*/ 473786 h 485440"/>
                <a:gd name="connsiteX179" fmla="*/ 607270 w 3811655"/>
                <a:gd name="connsiteY179" fmla="*/ 474778 h 485440"/>
                <a:gd name="connsiteX180" fmla="*/ 590900 w 3811655"/>
                <a:gd name="connsiteY180" fmla="*/ 475274 h 485440"/>
                <a:gd name="connsiteX181" fmla="*/ 574529 w 3811655"/>
                <a:gd name="connsiteY181" fmla="*/ 474282 h 485440"/>
                <a:gd name="connsiteX182" fmla="*/ 558158 w 3811655"/>
                <a:gd name="connsiteY182" fmla="*/ 475274 h 485440"/>
                <a:gd name="connsiteX183" fmla="*/ 541788 w 3811655"/>
                <a:gd name="connsiteY183" fmla="*/ 475770 h 485440"/>
                <a:gd name="connsiteX184" fmla="*/ 525417 w 3811655"/>
                <a:gd name="connsiteY184" fmla="*/ 474282 h 485440"/>
                <a:gd name="connsiteX185" fmla="*/ 509047 w 3811655"/>
                <a:gd name="connsiteY185" fmla="*/ 473786 h 485440"/>
                <a:gd name="connsiteX186" fmla="*/ 492676 w 3811655"/>
                <a:gd name="connsiteY186" fmla="*/ 473786 h 485440"/>
                <a:gd name="connsiteX187" fmla="*/ 476306 w 3811655"/>
                <a:gd name="connsiteY187" fmla="*/ 474778 h 485440"/>
                <a:gd name="connsiteX188" fmla="*/ 459935 w 3811655"/>
                <a:gd name="connsiteY188" fmla="*/ 473786 h 485440"/>
                <a:gd name="connsiteX189" fmla="*/ 443565 w 3811655"/>
                <a:gd name="connsiteY189" fmla="*/ 474778 h 485440"/>
                <a:gd name="connsiteX190" fmla="*/ 427194 w 3811655"/>
                <a:gd name="connsiteY190" fmla="*/ 474282 h 485440"/>
                <a:gd name="connsiteX191" fmla="*/ 410823 w 3811655"/>
                <a:gd name="connsiteY191" fmla="*/ 473290 h 485440"/>
                <a:gd name="connsiteX192" fmla="*/ 394453 w 3811655"/>
                <a:gd name="connsiteY192" fmla="*/ 475770 h 485440"/>
                <a:gd name="connsiteX193" fmla="*/ 378082 w 3811655"/>
                <a:gd name="connsiteY193" fmla="*/ 475274 h 485440"/>
                <a:gd name="connsiteX194" fmla="*/ 361712 w 3811655"/>
                <a:gd name="connsiteY194" fmla="*/ 474778 h 485440"/>
                <a:gd name="connsiteX195" fmla="*/ 345341 w 3811655"/>
                <a:gd name="connsiteY195" fmla="*/ 476266 h 485440"/>
                <a:gd name="connsiteX196" fmla="*/ 328970 w 3811655"/>
                <a:gd name="connsiteY196" fmla="*/ 474282 h 485440"/>
                <a:gd name="connsiteX197" fmla="*/ 312600 w 3811655"/>
                <a:gd name="connsiteY197" fmla="*/ 475274 h 485440"/>
                <a:gd name="connsiteX198" fmla="*/ 296229 w 3811655"/>
                <a:gd name="connsiteY198" fmla="*/ 474282 h 485440"/>
                <a:gd name="connsiteX199" fmla="*/ 279859 w 3811655"/>
                <a:gd name="connsiteY199" fmla="*/ 475770 h 485440"/>
                <a:gd name="connsiteX200" fmla="*/ 263488 w 3811655"/>
                <a:gd name="connsiteY200" fmla="*/ 476266 h 485440"/>
                <a:gd name="connsiteX201" fmla="*/ 247118 w 3811655"/>
                <a:gd name="connsiteY201" fmla="*/ 476266 h 485440"/>
                <a:gd name="connsiteX202" fmla="*/ 230747 w 3811655"/>
                <a:gd name="connsiteY202" fmla="*/ 474778 h 485440"/>
                <a:gd name="connsiteX203" fmla="*/ 214376 w 3811655"/>
                <a:gd name="connsiteY203" fmla="*/ 474778 h 485440"/>
                <a:gd name="connsiteX204" fmla="*/ 198006 w 3811655"/>
                <a:gd name="connsiteY204" fmla="*/ 476762 h 485440"/>
                <a:gd name="connsiteX205" fmla="*/ 181635 w 3811655"/>
                <a:gd name="connsiteY205" fmla="*/ 476266 h 485440"/>
                <a:gd name="connsiteX206" fmla="*/ 165265 w 3811655"/>
                <a:gd name="connsiteY206" fmla="*/ 474778 h 485440"/>
                <a:gd name="connsiteX207" fmla="*/ 148894 w 3811655"/>
                <a:gd name="connsiteY207" fmla="*/ 476762 h 485440"/>
                <a:gd name="connsiteX208" fmla="*/ 132524 w 3811655"/>
                <a:gd name="connsiteY208" fmla="*/ 476266 h 485440"/>
                <a:gd name="connsiteX209" fmla="*/ 116153 w 3811655"/>
                <a:gd name="connsiteY209" fmla="*/ 475274 h 485440"/>
                <a:gd name="connsiteX210" fmla="*/ 99783 w 3811655"/>
                <a:gd name="connsiteY210" fmla="*/ 475274 h 485440"/>
                <a:gd name="connsiteX211" fmla="*/ 83412 w 3811655"/>
                <a:gd name="connsiteY211" fmla="*/ 475274 h 485440"/>
                <a:gd name="connsiteX212" fmla="*/ 67041 w 3811655"/>
                <a:gd name="connsiteY212" fmla="*/ 474778 h 485440"/>
                <a:gd name="connsiteX213" fmla="*/ 50671 w 3811655"/>
                <a:gd name="connsiteY213" fmla="*/ 475274 h 485440"/>
                <a:gd name="connsiteX214" fmla="*/ 34300 w 3811655"/>
                <a:gd name="connsiteY214" fmla="*/ 475274 h 485440"/>
                <a:gd name="connsiteX215" fmla="*/ 17930 w 3811655"/>
                <a:gd name="connsiteY215" fmla="*/ 475770 h 485440"/>
                <a:gd name="connsiteX216" fmla="*/ 567 w 3811655"/>
                <a:gd name="connsiteY216" fmla="*/ 475770 h 485440"/>
                <a:gd name="connsiteX217" fmla="*/ 12969 w 3811655"/>
                <a:gd name="connsiteY217" fmla="*/ 463368 h 485440"/>
                <a:gd name="connsiteX218" fmla="*/ 24379 w 3811655"/>
                <a:gd name="connsiteY218" fmla="*/ 451958 h 485440"/>
                <a:gd name="connsiteX219" fmla="*/ 35788 w 3811655"/>
                <a:gd name="connsiteY219" fmla="*/ 440053 h 485440"/>
                <a:gd name="connsiteX220" fmla="*/ 48686 w 3811655"/>
                <a:gd name="connsiteY220" fmla="*/ 430131 h 485440"/>
                <a:gd name="connsiteX221" fmla="*/ 59600 w 3811655"/>
                <a:gd name="connsiteY221" fmla="*/ 418225 h 485440"/>
                <a:gd name="connsiteX222" fmla="*/ 70514 w 3811655"/>
                <a:gd name="connsiteY222" fmla="*/ 405823 h 485440"/>
                <a:gd name="connsiteX223" fmla="*/ 83412 w 3811655"/>
                <a:gd name="connsiteY223" fmla="*/ 395406 h 485440"/>
                <a:gd name="connsiteX224" fmla="*/ 94822 w 3811655"/>
                <a:gd name="connsiteY224" fmla="*/ 383500 h 485440"/>
                <a:gd name="connsiteX225" fmla="*/ 106728 w 3811655"/>
                <a:gd name="connsiteY225" fmla="*/ 372090 h 485440"/>
                <a:gd name="connsiteX226" fmla="*/ 117145 w 3811655"/>
                <a:gd name="connsiteY226" fmla="*/ 359688 h 485440"/>
                <a:gd name="connsiteX227" fmla="*/ 128555 w 3811655"/>
                <a:gd name="connsiteY227" fmla="*/ 348278 h 485440"/>
                <a:gd name="connsiteX228" fmla="*/ 140461 w 3811655"/>
                <a:gd name="connsiteY228" fmla="*/ 336868 h 485440"/>
                <a:gd name="connsiteX229" fmla="*/ 152863 w 3811655"/>
                <a:gd name="connsiteY229" fmla="*/ 326451 h 485440"/>
                <a:gd name="connsiteX230" fmla="*/ 164769 w 3811655"/>
                <a:gd name="connsiteY230" fmla="*/ 315041 h 485440"/>
                <a:gd name="connsiteX231" fmla="*/ 176178 w 3811655"/>
                <a:gd name="connsiteY231" fmla="*/ 303135 h 485440"/>
                <a:gd name="connsiteX232" fmla="*/ 188084 w 3811655"/>
                <a:gd name="connsiteY232" fmla="*/ 291725 h 485440"/>
                <a:gd name="connsiteX233" fmla="*/ 199494 w 3811655"/>
                <a:gd name="connsiteY233" fmla="*/ 280315 h 485440"/>
                <a:gd name="connsiteX234" fmla="*/ 210904 w 3811655"/>
                <a:gd name="connsiteY234" fmla="*/ 268906 h 485440"/>
                <a:gd name="connsiteX235" fmla="*/ 221818 w 3811655"/>
                <a:gd name="connsiteY235" fmla="*/ 256504 h 485440"/>
                <a:gd name="connsiteX236" fmla="*/ 233724 w 3811655"/>
                <a:gd name="connsiteY236" fmla="*/ 245094 h 485440"/>
                <a:gd name="connsiteX237" fmla="*/ 244141 w 3811655"/>
                <a:gd name="connsiteY237" fmla="*/ 232692 h 485440"/>
                <a:gd name="connsiteX238" fmla="*/ 257039 w 3811655"/>
                <a:gd name="connsiteY238" fmla="*/ 222770 h 485440"/>
                <a:gd name="connsiteX239" fmla="*/ 266961 w 3811655"/>
                <a:gd name="connsiteY239" fmla="*/ 209376 h 485440"/>
                <a:gd name="connsiteX240" fmla="*/ 278371 w 3811655"/>
                <a:gd name="connsiteY240" fmla="*/ 197966 h 485440"/>
                <a:gd name="connsiteX241" fmla="*/ 291269 w 3811655"/>
                <a:gd name="connsiteY241" fmla="*/ 188045 h 485440"/>
                <a:gd name="connsiteX242" fmla="*/ 301686 w 3811655"/>
                <a:gd name="connsiteY242" fmla="*/ 175147 h 485440"/>
                <a:gd name="connsiteX243" fmla="*/ 313592 w 3811655"/>
                <a:gd name="connsiteY243" fmla="*/ 163737 h 485440"/>
                <a:gd name="connsiteX244" fmla="*/ 325994 w 3811655"/>
                <a:gd name="connsiteY244" fmla="*/ 153319 h 485440"/>
                <a:gd name="connsiteX245" fmla="*/ 337404 w 3811655"/>
                <a:gd name="connsiteY245" fmla="*/ 141910 h 485440"/>
                <a:gd name="connsiteX246" fmla="*/ 347325 w 3811655"/>
                <a:gd name="connsiteY246" fmla="*/ 129012 h 485440"/>
                <a:gd name="connsiteX247" fmla="*/ 360224 w 3811655"/>
                <a:gd name="connsiteY247" fmla="*/ 118594 h 485440"/>
                <a:gd name="connsiteX248" fmla="*/ 371137 w 3811655"/>
                <a:gd name="connsiteY248" fmla="*/ 106192 h 485440"/>
                <a:gd name="connsiteX249" fmla="*/ 382051 w 3811655"/>
                <a:gd name="connsiteY249" fmla="*/ 93790 h 485440"/>
                <a:gd name="connsiteX250" fmla="*/ 393957 w 3811655"/>
                <a:gd name="connsiteY250" fmla="*/ 82380 h 485440"/>
                <a:gd name="connsiteX251" fmla="*/ 405366 w 3811655"/>
                <a:gd name="connsiteY251" fmla="*/ 70475 h 485440"/>
                <a:gd name="connsiteX252" fmla="*/ 417272 w 3811655"/>
                <a:gd name="connsiteY252" fmla="*/ 59561 h 485440"/>
                <a:gd name="connsiteX253" fmla="*/ 429674 w 3811655"/>
                <a:gd name="connsiteY253" fmla="*/ 48647 h 485440"/>
                <a:gd name="connsiteX254" fmla="*/ 440092 w 3811655"/>
                <a:gd name="connsiteY254" fmla="*/ 35749 h 485440"/>
                <a:gd name="connsiteX255" fmla="*/ 452494 w 3811655"/>
                <a:gd name="connsiteY255" fmla="*/ 24835 h 485440"/>
                <a:gd name="connsiteX256" fmla="*/ 463904 w 3811655"/>
                <a:gd name="connsiteY256" fmla="*/ 12929 h 485440"/>
                <a:gd name="connsiteX257" fmla="*/ 475313 w 3811655"/>
                <a:gd name="connsiteY257" fmla="*/ 1024 h 485440"/>
                <a:gd name="connsiteX258" fmla="*/ 491684 w 3811655"/>
                <a:gd name="connsiteY258" fmla="*/ 2512 h 485440"/>
                <a:gd name="connsiteX259" fmla="*/ 508055 w 3811655"/>
                <a:gd name="connsiteY259" fmla="*/ 2512 h 485440"/>
                <a:gd name="connsiteX260" fmla="*/ 524425 w 3811655"/>
                <a:gd name="connsiteY260" fmla="*/ 2512 h 485440"/>
                <a:gd name="connsiteX261" fmla="*/ 540796 w 3811655"/>
                <a:gd name="connsiteY261" fmla="*/ 1024 h 485440"/>
                <a:gd name="connsiteX262" fmla="*/ 557166 w 3811655"/>
                <a:gd name="connsiteY262" fmla="*/ 2512 h 485440"/>
                <a:gd name="connsiteX263" fmla="*/ 573537 w 3811655"/>
                <a:gd name="connsiteY263" fmla="*/ 1024 h 485440"/>
                <a:gd name="connsiteX264" fmla="*/ 589908 w 3811655"/>
                <a:gd name="connsiteY264" fmla="*/ 527 h 485440"/>
                <a:gd name="connsiteX265" fmla="*/ 606278 w 3811655"/>
                <a:gd name="connsiteY265" fmla="*/ 1520 h 485440"/>
                <a:gd name="connsiteX266" fmla="*/ 622649 w 3811655"/>
                <a:gd name="connsiteY266" fmla="*/ 1520 h 485440"/>
                <a:gd name="connsiteX267" fmla="*/ 639019 w 3811655"/>
                <a:gd name="connsiteY267" fmla="*/ 2016 h 485440"/>
                <a:gd name="connsiteX268" fmla="*/ 655390 w 3811655"/>
                <a:gd name="connsiteY268" fmla="*/ 527 h 485440"/>
                <a:gd name="connsiteX269" fmla="*/ 671760 w 3811655"/>
                <a:gd name="connsiteY269" fmla="*/ 1520 h 485440"/>
                <a:gd name="connsiteX270" fmla="*/ 688131 w 3811655"/>
                <a:gd name="connsiteY270" fmla="*/ 2512 h 485440"/>
                <a:gd name="connsiteX271" fmla="*/ 704501 w 3811655"/>
                <a:gd name="connsiteY271" fmla="*/ 1024 h 485440"/>
                <a:gd name="connsiteX272" fmla="*/ 720872 w 3811655"/>
                <a:gd name="connsiteY272" fmla="*/ 1520 h 485440"/>
                <a:gd name="connsiteX273" fmla="*/ 737243 w 3811655"/>
                <a:gd name="connsiteY273" fmla="*/ 2016 h 485440"/>
                <a:gd name="connsiteX274" fmla="*/ 753613 w 3811655"/>
                <a:gd name="connsiteY274" fmla="*/ 1024 h 485440"/>
                <a:gd name="connsiteX275" fmla="*/ 769984 w 3811655"/>
                <a:gd name="connsiteY275" fmla="*/ 527 h 485440"/>
                <a:gd name="connsiteX276" fmla="*/ 786354 w 3811655"/>
                <a:gd name="connsiteY276" fmla="*/ 1520 h 485440"/>
                <a:gd name="connsiteX277" fmla="*/ 802725 w 3811655"/>
                <a:gd name="connsiteY277" fmla="*/ 527 h 485440"/>
                <a:gd name="connsiteX278" fmla="*/ 819096 w 3811655"/>
                <a:gd name="connsiteY278" fmla="*/ 2512 h 485440"/>
                <a:gd name="connsiteX279" fmla="*/ 835466 w 3811655"/>
                <a:gd name="connsiteY279" fmla="*/ 527 h 485440"/>
                <a:gd name="connsiteX280" fmla="*/ 851837 w 3811655"/>
                <a:gd name="connsiteY280" fmla="*/ 1520 h 485440"/>
                <a:gd name="connsiteX281" fmla="*/ 868207 w 3811655"/>
                <a:gd name="connsiteY281" fmla="*/ 2016 h 485440"/>
                <a:gd name="connsiteX282" fmla="*/ 884578 w 3811655"/>
                <a:gd name="connsiteY282" fmla="*/ 2512 h 485440"/>
                <a:gd name="connsiteX283" fmla="*/ 900948 w 3811655"/>
                <a:gd name="connsiteY283" fmla="*/ 1520 h 485440"/>
                <a:gd name="connsiteX284" fmla="*/ 917319 w 3811655"/>
                <a:gd name="connsiteY284" fmla="*/ 1024 h 485440"/>
                <a:gd name="connsiteX285" fmla="*/ 933689 w 3811655"/>
                <a:gd name="connsiteY285" fmla="*/ 2512 h 485440"/>
                <a:gd name="connsiteX286" fmla="*/ 950060 w 3811655"/>
                <a:gd name="connsiteY286" fmla="*/ 1520 h 485440"/>
                <a:gd name="connsiteX287" fmla="*/ 966431 w 3811655"/>
                <a:gd name="connsiteY287" fmla="*/ 2016 h 485440"/>
                <a:gd name="connsiteX288" fmla="*/ 982801 w 3811655"/>
                <a:gd name="connsiteY288" fmla="*/ 2512 h 485440"/>
                <a:gd name="connsiteX289" fmla="*/ 999172 w 3811655"/>
                <a:gd name="connsiteY289" fmla="*/ 1520 h 485440"/>
                <a:gd name="connsiteX290" fmla="*/ 1015542 w 3811655"/>
                <a:gd name="connsiteY290" fmla="*/ 2512 h 485440"/>
                <a:gd name="connsiteX291" fmla="*/ 1031913 w 3811655"/>
                <a:gd name="connsiteY291" fmla="*/ 1520 h 485440"/>
                <a:gd name="connsiteX292" fmla="*/ 1048283 w 3811655"/>
                <a:gd name="connsiteY292" fmla="*/ 2016 h 485440"/>
                <a:gd name="connsiteX293" fmla="*/ 1064654 w 3811655"/>
                <a:gd name="connsiteY293" fmla="*/ 3504 h 485440"/>
                <a:gd name="connsiteX294" fmla="*/ 1081025 w 3811655"/>
                <a:gd name="connsiteY294" fmla="*/ 2016 h 485440"/>
                <a:gd name="connsiteX295" fmla="*/ 1097395 w 3811655"/>
                <a:gd name="connsiteY295" fmla="*/ 2512 h 485440"/>
                <a:gd name="connsiteX296" fmla="*/ 1113766 w 3811655"/>
                <a:gd name="connsiteY296" fmla="*/ 2512 h 485440"/>
                <a:gd name="connsiteX297" fmla="*/ 1130136 w 3811655"/>
                <a:gd name="connsiteY297" fmla="*/ 3504 h 485440"/>
                <a:gd name="connsiteX298" fmla="*/ 1146507 w 3811655"/>
                <a:gd name="connsiteY298" fmla="*/ 1520 h 485440"/>
                <a:gd name="connsiteX299" fmla="*/ 1162878 w 3811655"/>
                <a:gd name="connsiteY299" fmla="*/ 3008 h 485440"/>
                <a:gd name="connsiteX300" fmla="*/ 1179248 w 3811655"/>
                <a:gd name="connsiteY300" fmla="*/ 4000 h 485440"/>
                <a:gd name="connsiteX301" fmla="*/ 1195619 w 3811655"/>
                <a:gd name="connsiteY301" fmla="*/ 3504 h 485440"/>
                <a:gd name="connsiteX302" fmla="*/ 1211989 w 3811655"/>
                <a:gd name="connsiteY302" fmla="*/ 1520 h 485440"/>
                <a:gd name="connsiteX303" fmla="*/ 1228360 w 3811655"/>
                <a:gd name="connsiteY303" fmla="*/ 3504 h 485440"/>
                <a:gd name="connsiteX304" fmla="*/ 1244730 w 3811655"/>
                <a:gd name="connsiteY304" fmla="*/ 1520 h 485440"/>
                <a:gd name="connsiteX305" fmla="*/ 1261101 w 3811655"/>
                <a:gd name="connsiteY305" fmla="*/ 2512 h 485440"/>
                <a:gd name="connsiteX306" fmla="*/ 1277471 w 3811655"/>
                <a:gd name="connsiteY306" fmla="*/ 3504 h 485440"/>
                <a:gd name="connsiteX307" fmla="*/ 1293842 w 3811655"/>
                <a:gd name="connsiteY307" fmla="*/ 4000 h 485440"/>
                <a:gd name="connsiteX308" fmla="*/ 1310213 w 3811655"/>
                <a:gd name="connsiteY308" fmla="*/ 1520 h 485440"/>
                <a:gd name="connsiteX309" fmla="*/ 1326583 w 3811655"/>
                <a:gd name="connsiteY309" fmla="*/ 2016 h 485440"/>
                <a:gd name="connsiteX310" fmla="*/ 1342954 w 3811655"/>
                <a:gd name="connsiteY310" fmla="*/ 3008 h 485440"/>
                <a:gd name="connsiteX311" fmla="*/ 1359324 w 3811655"/>
                <a:gd name="connsiteY311" fmla="*/ 3008 h 485440"/>
                <a:gd name="connsiteX312" fmla="*/ 1375695 w 3811655"/>
                <a:gd name="connsiteY312" fmla="*/ 2512 h 485440"/>
                <a:gd name="connsiteX313" fmla="*/ 1392066 w 3811655"/>
                <a:gd name="connsiteY313" fmla="*/ 2512 h 485440"/>
                <a:gd name="connsiteX314" fmla="*/ 1408436 w 3811655"/>
                <a:gd name="connsiteY314" fmla="*/ 3504 h 485440"/>
                <a:gd name="connsiteX315" fmla="*/ 1424807 w 3811655"/>
                <a:gd name="connsiteY315" fmla="*/ 3504 h 485440"/>
                <a:gd name="connsiteX316" fmla="*/ 1441177 w 3811655"/>
                <a:gd name="connsiteY316" fmla="*/ 1520 h 485440"/>
                <a:gd name="connsiteX317" fmla="*/ 1457548 w 3811655"/>
                <a:gd name="connsiteY317" fmla="*/ 2512 h 485440"/>
                <a:gd name="connsiteX318" fmla="*/ 1473919 w 3811655"/>
                <a:gd name="connsiteY318" fmla="*/ 2016 h 485440"/>
                <a:gd name="connsiteX319" fmla="*/ 1490289 w 3811655"/>
                <a:gd name="connsiteY319" fmla="*/ 2016 h 485440"/>
                <a:gd name="connsiteX320" fmla="*/ 1506660 w 3811655"/>
                <a:gd name="connsiteY320" fmla="*/ 1520 h 485440"/>
                <a:gd name="connsiteX321" fmla="*/ 1523030 w 3811655"/>
                <a:gd name="connsiteY321" fmla="*/ 3504 h 485440"/>
                <a:gd name="connsiteX322" fmla="*/ 1539401 w 3811655"/>
                <a:gd name="connsiteY322" fmla="*/ 3008 h 485440"/>
                <a:gd name="connsiteX323" fmla="*/ 1555771 w 3811655"/>
                <a:gd name="connsiteY323" fmla="*/ 3008 h 485440"/>
                <a:gd name="connsiteX324" fmla="*/ 1572142 w 3811655"/>
                <a:gd name="connsiteY324" fmla="*/ 2512 h 485440"/>
                <a:gd name="connsiteX325" fmla="*/ 1588512 w 3811655"/>
                <a:gd name="connsiteY325" fmla="*/ 2016 h 485440"/>
                <a:gd name="connsiteX326" fmla="*/ 1604883 w 3811655"/>
                <a:gd name="connsiteY326" fmla="*/ 3008 h 485440"/>
                <a:gd name="connsiteX327" fmla="*/ 1621253 w 3811655"/>
                <a:gd name="connsiteY327" fmla="*/ 3008 h 485440"/>
                <a:gd name="connsiteX328" fmla="*/ 1637624 w 3811655"/>
                <a:gd name="connsiteY328" fmla="*/ 2512 h 485440"/>
                <a:gd name="connsiteX0" fmla="*/ 3785642 w 3785642"/>
                <a:gd name="connsiteY0" fmla="*/ 462376 h 479077"/>
                <a:gd name="connsiteX1" fmla="*/ 3313375 w 3785642"/>
                <a:gd name="connsiteY1" fmla="*/ 10945 h 479077"/>
                <a:gd name="connsiteX2" fmla="*/ 3300973 w 3785642"/>
                <a:gd name="connsiteY2" fmla="*/ 21363 h 479077"/>
                <a:gd name="connsiteX3" fmla="*/ 3289068 w 3785642"/>
                <a:gd name="connsiteY3" fmla="*/ 32276 h 479077"/>
                <a:gd name="connsiteX4" fmla="*/ 3277658 w 3785642"/>
                <a:gd name="connsiteY4" fmla="*/ 43686 h 479077"/>
                <a:gd name="connsiteX5" fmla="*/ 3266248 w 3785642"/>
                <a:gd name="connsiteY5" fmla="*/ 55592 h 479077"/>
                <a:gd name="connsiteX6" fmla="*/ 3255830 w 3785642"/>
                <a:gd name="connsiteY6" fmla="*/ 68490 h 479077"/>
                <a:gd name="connsiteX7" fmla="*/ 3243924 w 3785642"/>
                <a:gd name="connsiteY7" fmla="*/ 79900 h 479077"/>
                <a:gd name="connsiteX8" fmla="*/ 3231522 w 3785642"/>
                <a:gd name="connsiteY8" fmla="*/ 90814 h 479077"/>
                <a:gd name="connsiteX9" fmla="*/ 3220609 w 3785642"/>
                <a:gd name="connsiteY9" fmla="*/ 102720 h 479077"/>
                <a:gd name="connsiteX10" fmla="*/ 3208207 w 3785642"/>
                <a:gd name="connsiteY10" fmla="*/ 113137 h 479077"/>
                <a:gd name="connsiteX11" fmla="*/ 3197293 w 3785642"/>
                <a:gd name="connsiteY11" fmla="*/ 125043 h 479077"/>
                <a:gd name="connsiteX12" fmla="*/ 3185387 w 3785642"/>
                <a:gd name="connsiteY12" fmla="*/ 136453 h 479077"/>
                <a:gd name="connsiteX13" fmla="*/ 3174970 w 3785642"/>
                <a:gd name="connsiteY13" fmla="*/ 148855 h 479077"/>
                <a:gd name="connsiteX14" fmla="*/ 3162071 w 3785642"/>
                <a:gd name="connsiteY14" fmla="*/ 159272 h 479077"/>
                <a:gd name="connsiteX15" fmla="*/ 3151158 w 3785642"/>
                <a:gd name="connsiteY15" fmla="*/ 171674 h 479077"/>
                <a:gd name="connsiteX16" fmla="*/ 3139252 w 3785642"/>
                <a:gd name="connsiteY16" fmla="*/ 182588 h 479077"/>
                <a:gd name="connsiteX17" fmla="*/ 3127843 w 3785642"/>
                <a:gd name="connsiteY17" fmla="*/ 194494 h 479077"/>
                <a:gd name="connsiteX18" fmla="*/ 3116432 w 3785642"/>
                <a:gd name="connsiteY18" fmla="*/ 205904 h 479077"/>
                <a:gd name="connsiteX19" fmla="*/ 3105022 w 3785642"/>
                <a:gd name="connsiteY19" fmla="*/ 217810 h 479077"/>
                <a:gd name="connsiteX20" fmla="*/ 3093117 w 3785642"/>
                <a:gd name="connsiteY20" fmla="*/ 229219 h 479077"/>
                <a:gd name="connsiteX21" fmla="*/ 3081707 w 3785642"/>
                <a:gd name="connsiteY21" fmla="*/ 240629 h 479077"/>
                <a:gd name="connsiteX22" fmla="*/ 3069305 w 3785642"/>
                <a:gd name="connsiteY22" fmla="*/ 251543 h 479077"/>
                <a:gd name="connsiteX23" fmla="*/ 3057895 w 3785642"/>
                <a:gd name="connsiteY23" fmla="*/ 263449 h 479077"/>
                <a:gd name="connsiteX24" fmla="*/ 3046486 w 3785642"/>
                <a:gd name="connsiteY24" fmla="*/ 275355 h 479077"/>
                <a:gd name="connsiteX25" fmla="*/ 3035572 w 3785642"/>
                <a:gd name="connsiteY25" fmla="*/ 287260 h 479077"/>
                <a:gd name="connsiteX26" fmla="*/ 3024658 w 3785642"/>
                <a:gd name="connsiteY26" fmla="*/ 299166 h 479077"/>
                <a:gd name="connsiteX27" fmla="*/ 3013248 w 3785642"/>
                <a:gd name="connsiteY27" fmla="*/ 311072 h 479077"/>
                <a:gd name="connsiteX28" fmla="*/ 3000350 w 3785642"/>
                <a:gd name="connsiteY28" fmla="*/ 321490 h 479077"/>
                <a:gd name="connsiteX29" fmla="*/ 2988941 w 3785642"/>
                <a:gd name="connsiteY29" fmla="*/ 333396 h 479077"/>
                <a:gd name="connsiteX30" fmla="*/ 2976539 w 3785642"/>
                <a:gd name="connsiteY30" fmla="*/ 344309 h 479077"/>
                <a:gd name="connsiteX31" fmla="*/ 2965129 w 3785642"/>
                <a:gd name="connsiteY31" fmla="*/ 356215 h 479077"/>
                <a:gd name="connsiteX32" fmla="*/ 2953223 w 3785642"/>
                <a:gd name="connsiteY32" fmla="*/ 367625 h 479077"/>
                <a:gd name="connsiteX33" fmla="*/ 2941813 w 3785642"/>
                <a:gd name="connsiteY33" fmla="*/ 379531 h 479077"/>
                <a:gd name="connsiteX34" fmla="*/ 2931395 w 3785642"/>
                <a:gd name="connsiteY34" fmla="*/ 392429 h 479077"/>
                <a:gd name="connsiteX35" fmla="*/ 2918497 w 3785642"/>
                <a:gd name="connsiteY35" fmla="*/ 402847 h 479077"/>
                <a:gd name="connsiteX36" fmla="*/ 2907584 w 3785642"/>
                <a:gd name="connsiteY36" fmla="*/ 415249 h 479077"/>
                <a:gd name="connsiteX37" fmla="*/ 2896174 w 3785642"/>
                <a:gd name="connsiteY37" fmla="*/ 426658 h 479077"/>
                <a:gd name="connsiteX38" fmla="*/ 2884268 w 3785642"/>
                <a:gd name="connsiteY38" fmla="*/ 438068 h 479077"/>
                <a:gd name="connsiteX39" fmla="*/ 2873354 w 3785642"/>
                <a:gd name="connsiteY39" fmla="*/ 450470 h 479077"/>
                <a:gd name="connsiteX40" fmla="*/ 2860952 w 3785642"/>
                <a:gd name="connsiteY40" fmla="*/ 461384 h 479077"/>
                <a:gd name="connsiteX41" fmla="*/ 2850039 w 3785642"/>
                <a:gd name="connsiteY41" fmla="*/ 473786 h 479077"/>
                <a:gd name="connsiteX42" fmla="*/ 2833668 w 3785642"/>
                <a:gd name="connsiteY42" fmla="*/ 473786 h 479077"/>
                <a:gd name="connsiteX43" fmla="*/ 2817297 w 3785642"/>
                <a:gd name="connsiteY43" fmla="*/ 473290 h 479077"/>
                <a:gd name="connsiteX44" fmla="*/ 2800927 w 3785642"/>
                <a:gd name="connsiteY44" fmla="*/ 473290 h 479077"/>
                <a:gd name="connsiteX45" fmla="*/ 2784556 w 3785642"/>
                <a:gd name="connsiteY45" fmla="*/ 473786 h 479077"/>
                <a:gd name="connsiteX46" fmla="*/ 2768186 w 3785642"/>
                <a:gd name="connsiteY46" fmla="*/ 474282 h 479077"/>
                <a:gd name="connsiteX47" fmla="*/ 2751815 w 3785642"/>
                <a:gd name="connsiteY47" fmla="*/ 474282 h 479077"/>
                <a:gd name="connsiteX48" fmla="*/ 2735444 w 3785642"/>
                <a:gd name="connsiteY48" fmla="*/ 473290 h 479077"/>
                <a:gd name="connsiteX49" fmla="*/ 2719074 w 3785642"/>
                <a:gd name="connsiteY49" fmla="*/ 474282 h 479077"/>
                <a:gd name="connsiteX50" fmla="*/ 2702703 w 3785642"/>
                <a:gd name="connsiteY50" fmla="*/ 472298 h 479077"/>
                <a:gd name="connsiteX51" fmla="*/ 2686333 w 3785642"/>
                <a:gd name="connsiteY51" fmla="*/ 472794 h 479077"/>
                <a:gd name="connsiteX52" fmla="*/ 2669962 w 3785642"/>
                <a:gd name="connsiteY52" fmla="*/ 474282 h 479077"/>
                <a:gd name="connsiteX53" fmla="*/ 2653592 w 3785642"/>
                <a:gd name="connsiteY53" fmla="*/ 472298 h 479077"/>
                <a:gd name="connsiteX54" fmla="*/ 2637221 w 3785642"/>
                <a:gd name="connsiteY54" fmla="*/ 474282 h 479077"/>
                <a:gd name="connsiteX55" fmla="*/ 2620851 w 3785642"/>
                <a:gd name="connsiteY55" fmla="*/ 474282 h 479077"/>
                <a:gd name="connsiteX56" fmla="*/ 2604480 w 3785642"/>
                <a:gd name="connsiteY56" fmla="*/ 472298 h 479077"/>
                <a:gd name="connsiteX57" fmla="*/ 2588109 w 3785642"/>
                <a:gd name="connsiteY57" fmla="*/ 473786 h 479077"/>
                <a:gd name="connsiteX58" fmla="*/ 2571739 w 3785642"/>
                <a:gd name="connsiteY58" fmla="*/ 472298 h 479077"/>
                <a:gd name="connsiteX59" fmla="*/ 2555368 w 3785642"/>
                <a:gd name="connsiteY59" fmla="*/ 473290 h 479077"/>
                <a:gd name="connsiteX60" fmla="*/ 2538998 w 3785642"/>
                <a:gd name="connsiteY60" fmla="*/ 474282 h 479077"/>
                <a:gd name="connsiteX61" fmla="*/ 2522627 w 3785642"/>
                <a:gd name="connsiteY61" fmla="*/ 473290 h 479077"/>
                <a:gd name="connsiteX62" fmla="*/ 2506257 w 3785642"/>
                <a:gd name="connsiteY62" fmla="*/ 474282 h 479077"/>
                <a:gd name="connsiteX63" fmla="*/ 2489886 w 3785642"/>
                <a:gd name="connsiteY63" fmla="*/ 473786 h 479077"/>
                <a:gd name="connsiteX64" fmla="*/ 2473516 w 3785642"/>
                <a:gd name="connsiteY64" fmla="*/ 474282 h 479077"/>
                <a:gd name="connsiteX65" fmla="*/ 2457145 w 3785642"/>
                <a:gd name="connsiteY65" fmla="*/ 472794 h 479077"/>
                <a:gd name="connsiteX66" fmla="*/ 2440775 w 3785642"/>
                <a:gd name="connsiteY66" fmla="*/ 472298 h 479077"/>
                <a:gd name="connsiteX67" fmla="*/ 2424404 w 3785642"/>
                <a:gd name="connsiteY67" fmla="*/ 473786 h 479077"/>
                <a:gd name="connsiteX68" fmla="*/ 2408033 w 3785642"/>
                <a:gd name="connsiteY68" fmla="*/ 472794 h 479077"/>
                <a:gd name="connsiteX69" fmla="*/ 2391663 w 3785642"/>
                <a:gd name="connsiteY69" fmla="*/ 473290 h 479077"/>
                <a:gd name="connsiteX70" fmla="*/ 2375292 w 3785642"/>
                <a:gd name="connsiteY70" fmla="*/ 473290 h 479077"/>
                <a:gd name="connsiteX71" fmla="*/ 2358922 w 3785642"/>
                <a:gd name="connsiteY71" fmla="*/ 472794 h 479077"/>
                <a:gd name="connsiteX72" fmla="*/ 2342551 w 3785642"/>
                <a:gd name="connsiteY72" fmla="*/ 472298 h 479077"/>
                <a:gd name="connsiteX73" fmla="*/ 2326180 w 3785642"/>
                <a:gd name="connsiteY73" fmla="*/ 473786 h 479077"/>
                <a:gd name="connsiteX74" fmla="*/ 2309810 w 3785642"/>
                <a:gd name="connsiteY74" fmla="*/ 473786 h 479077"/>
                <a:gd name="connsiteX75" fmla="*/ 2293439 w 3785642"/>
                <a:gd name="connsiteY75" fmla="*/ 473786 h 479077"/>
                <a:gd name="connsiteX76" fmla="*/ 2277069 w 3785642"/>
                <a:gd name="connsiteY76" fmla="*/ 472794 h 479077"/>
                <a:gd name="connsiteX77" fmla="*/ 2260698 w 3785642"/>
                <a:gd name="connsiteY77" fmla="*/ 474282 h 479077"/>
                <a:gd name="connsiteX78" fmla="*/ 2244327 w 3785642"/>
                <a:gd name="connsiteY78" fmla="*/ 472298 h 479077"/>
                <a:gd name="connsiteX79" fmla="*/ 2227957 w 3785642"/>
                <a:gd name="connsiteY79" fmla="*/ 474282 h 479077"/>
                <a:gd name="connsiteX80" fmla="*/ 2211586 w 3785642"/>
                <a:gd name="connsiteY80" fmla="*/ 473290 h 479077"/>
                <a:gd name="connsiteX81" fmla="*/ 2195216 w 3785642"/>
                <a:gd name="connsiteY81" fmla="*/ 474282 h 479077"/>
                <a:gd name="connsiteX82" fmla="*/ 2178845 w 3785642"/>
                <a:gd name="connsiteY82" fmla="*/ 472794 h 479077"/>
                <a:gd name="connsiteX83" fmla="*/ 2162474 w 3785642"/>
                <a:gd name="connsiteY83" fmla="*/ 474778 h 479077"/>
                <a:gd name="connsiteX84" fmla="*/ 2146104 w 3785642"/>
                <a:gd name="connsiteY84" fmla="*/ 473290 h 479077"/>
                <a:gd name="connsiteX85" fmla="*/ 2129733 w 3785642"/>
                <a:gd name="connsiteY85" fmla="*/ 474778 h 479077"/>
                <a:gd name="connsiteX86" fmla="*/ 2113363 w 3785642"/>
                <a:gd name="connsiteY86" fmla="*/ 474778 h 479077"/>
                <a:gd name="connsiteX87" fmla="*/ 2096992 w 3785642"/>
                <a:gd name="connsiteY87" fmla="*/ 474778 h 479077"/>
                <a:gd name="connsiteX88" fmla="*/ 2080621 w 3785642"/>
                <a:gd name="connsiteY88" fmla="*/ 474282 h 479077"/>
                <a:gd name="connsiteX89" fmla="*/ 2064251 w 3785642"/>
                <a:gd name="connsiteY89" fmla="*/ 472794 h 479077"/>
                <a:gd name="connsiteX90" fmla="*/ 2047880 w 3785642"/>
                <a:gd name="connsiteY90" fmla="*/ 474778 h 479077"/>
                <a:gd name="connsiteX91" fmla="*/ 2031510 w 3785642"/>
                <a:gd name="connsiteY91" fmla="*/ 474778 h 479077"/>
                <a:gd name="connsiteX92" fmla="*/ 2015139 w 3785642"/>
                <a:gd name="connsiteY92" fmla="*/ 474778 h 479077"/>
                <a:gd name="connsiteX93" fmla="*/ 1998769 w 3785642"/>
                <a:gd name="connsiteY93" fmla="*/ 474282 h 479077"/>
                <a:gd name="connsiteX94" fmla="*/ 1982398 w 3785642"/>
                <a:gd name="connsiteY94" fmla="*/ 473786 h 479077"/>
                <a:gd name="connsiteX95" fmla="*/ 1966028 w 3785642"/>
                <a:gd name="connsiteY95" fmla="*/ 473786 h 479077"/>
                <a:gd name="connsiteX96" fmla="*/ 1949657 w 3785642"/>
                <a:gd name="connsiteY96" fmla="*/ 472794 h 479077"/>
                <a:gd name="connsiteX97" fmla="*/ 1933287 w 3785642"/>
                <a:gd name="connsiteY97" fmla="*/ 473290 h 479077"/>
                <a:gd name="connsiteX98" fmla="*/ 1916916 w 3785642"/>
                <a:gd name="connsiteY98" fmla="*/ 474778 h 479077"/>
                <a:gd name="connsiteX99" fmla="*/ 1900546 w 3785642"/>
                <a:gd name="connsiteY99" fmla="*/ 472794 h 479077"/>
                <a:gd name="connsiteX100" fmla="*/ 1884175 w 3785642"/>
                <a:gd name="connsiteY100" fmla="*/ 473786 h 479077"/>
                <a:gd name="connsiteX101" fmla="*/ 1867804 w 3785642"/>
                <a:gd name="connsiteY101" fmla="*/ 474778 h 479077"/>
                <a:gd name="connsiteX102" fmla="*/ 1851434 w 3785642"/>
                <a:gd name="connsiteY102" fmla="*/ 474778 h 479077"/>
                <a:gd name="connsiteX103" fmla="*/ 1835063 w 3785642"/>
                <a:gd name="connsiteY103" fmla="*/ 474778 h 479077"/>
                <a:gd name="connsiteX104" fmla="*/ 1818693 w 3785642"/>
                <a:gd name="connsiteY104" fmla="*/ 474282 h 479077"/>
                <a:gd name="connsiteX105" fmla="*/ 1802322 w 3785642"/>
                <a:gd name="connsiteY105" fmla="*/ 472794 h 479077"/>
                <a:gd name="connsiteX106" fmla="*/ 1785951 w 3785642"/>
                <a:gd name="connsiteY106" fmla="*/ 473786 h 479077"/>
                <a:gd name="connsiteX107" fmla="*/ 1769581 w 3785642"/>
                <a:gd name="connsiteY107" fmla="*/ 473290 h 479077"/>
                <a:gd name="connsiteX108" fmla="*/ 1753210 w 3785642"/>
                <a:gd name="connsiteY108" fmla="*/ 472298 h 479077"/>
                <a:gd name="connsiteX109" fmla="*/ 1736840 w 3785642"/>
                <a:gd name="connsiteY109" fmla="*/ 473290 h 479077"/>
                <a:gd name="connsiteX110" fmla="*/ 1720469 w 3785642"/>
                <a:gd name="connsiteY110" fmla="*/ 474778 h 479077"/>
                <a:gd name="connsiteX111" fmla="*/ 1704098 w 3785642"/>
                <a:gd name="connsiteY111" fmla="*/ 472794 h 479077"/>
                <a:gd name="connsiteX112" fmla="*/ 1687728 w 3785642"/>
                <a:gd name="connsiteY112" fmla="*/ 474778 h 479077"/>
                <a:gd name="connsiteX113" fmla="*/ 1671357 w 3785642"/>
                <a:gd name="connsiteY113" fmla="*/ 474778 h 479077"/>
                <a:gd name="connsiteX114" fmla="*/ 1654987 w 3785642"/>
                <a:gd name="connsiteY114" fmla="*/ 472298 h 479077"/>
                <a:gd name="connsiteX115" fmla="*/ 1638616 w 3785642"/>
                <a:gd name="connsiteY115" fmla="*/ 472794 h 479077"/>
                <a:gd name="connsiteX116" fmla="*/ 1622246 w 3785642"/>
                <a:gd name="connsiteY116" fmla="*/ 473786 h 479077"/>
                <a:gd name="connsiteX117" fmla="*/ 1605875 w 3785642"/>
                <a:gd name="connsiteY117" fmla="*/ 474778 h 479077"/>
                <a:gd name="connsiteX118" fmla="*/ 1589505 w 3785642"/>
                <a:gd name="connsiteY118" fmla="*/ 473290 h 479077"/>
                <a:gd name="connsiteX119" fmla="*/ 1573134 w 3785642"/>
                <a:gd name="connsiteY119" fmla="*/ 474778 h 479077"/>
                <a:gd name="connsiteX120" fmla="*/ 1556763 w 3785642"/>
                <a:gd name="connsiteY120" fmla="*/ 472794 h 479077"/>
                <a:gd name="connsiteX121" fmla="*/ 1540393 w 3785642"/>
                <a:gd name="connsiteY121" fmla="*/ 472794 h 479077"/>
                <a:gd name="connsiteX122" fmla="*/ 1524022 w 3785642"/>
                <a:gd name="connsiteY122" fmla="*/ 474282 h 479077"/>
                <a:gd name="connsiteX123" fmla="*/ 1507652 w 3785642"/>
                <a:gd name="connsiteY123" fmla="*/ 472794 h 479077"/>
                <a:gd name="connsiteX124" fmla="*/ 1491281 w 3785642"/>
                <a:gd name="connsiteY124" fmla="*/ 474282 h 479077"/>
                <a:gd name="connsiteX125" fmla="*/ 1474910 w 3785642"/>
                <a:gd name="connsiteY125" fmla="*/ 474282 h 479077"/>
                <a:gd name="connsiteX126" fmla="*/ 1458540 w 3785642"/>
                <a:gd name="connsiteY126" fmla="*/ 472794 h 479077"/>
                <a:gd name="connsiteX127" fmla="*/ 1442169 w 3785642"/>
                <a:gd name="connsiteY127" fmla="*/ 471802 h 479077"/>
                <a:gd name="connsiteX128" fmla="*/ 1425799 w 3785642"/>
                <a:gd name="connsiteY128" fmla="*/ 472298 h 479077"/>
                <a:gd name="connsiteX129" fmla="*/ 1409428 w 3785642"/>
                <a:gd name="connsiteY129" fmla="*/ 472794 h 479077"/>
                <a:gd name="connsiteX130" fmla="*/ 1393058 w 3785642"/>
                <a:gd name="connsiteY130" fmla="*/ 473786 h 479077"/>
                <a:gd name="connsiteX131" fmla="*/ 1376687 w 3785642"/>
                <a:gd name="connsiteY131" fmla="*/ 471802 h 479077"/>
                <a:gd name="connsiteX132" fmla="*/ 1360317 w 3785642"/>
                <a:gd name="connsiteY132" fmla="*/ 473786 h 479077"/>
                <a:gd name="connsiteX133" fmla="*/ 1343946 w 3785642"/>
                <a:gd name="connsiteY133" fmla="*/ 473786 h 479077"/>
                <a:gd name="connsiteX134" fmla="*/ 1327576 w 3785642"/>
                <a:gd name="connsiteY134" fmla="*/ 472794 h 479077"/>
                <a:gd name="connsiteX135" fmla="*/ 1311205 w 3785642"/>
                <a:gd name="connsiteY135" fmla="*/ 473786 h 479077"/>
                <a:gd name="connsiteX136" fmla="*/ 1294834 w 3785642"/>
                <a:gd name="connsiteY136" fmla="*/ 473786 h 479077"/>
                <a:gd name="connsiteX137" fmla="*/ 1278464 w 3785642"/>
                <a:gd name="connsiteY137" fmla="*/ 473786 h 479077"/>
                <a:gd name="connsiteX138" fmla="*/ 1262093 w 3785642"/>
                <a:gd name="connsiteY138" fmla="*/ 473786 h 479077"/>
                <a:gd name="connsiteX139" fmla="*/ 1245723 w 3785642"/>
                <a:gd name="connsiteY139" fmla="*/ 473290 h 479077"/>
                <a:gd name="connsiteX140" fmla="*/ 1229352 w 3785642"/>
                <a:gd name="connsiteY140" fmla="*/ 472794 h 479077"/>
                <a:gd name="connsiteX141" fmla="*/ 1212981 w 3785642"/>
                <a:gd name="connsiteY141" fmla="*/ 473786 h 479077"/>
                <a:gd name="connsiteX142" fmla="*/ 1196611 w 3785642"/>
                <a:gd name="connsiteY142" fmla="*/ 472298 h 479077"/>
                <a:gd name="connsiteX143" fmla="*/ 1180240 w 3785642"/>
                <a:gd name="connsiteY143" fmla="*/ 472794 h 479077"/>
                <a:gd name="connsiteX144" fmla="*/ 1163870 w 3785642"/>
                <a:gd name="connsiteY144" fmla="*/ 472794 h 479077"/>
                <a:gd name="connsiteX145" fmla="*/ 1147499 w 3785642"/>
                <a:gd name="connsiteY145" fmla="*/ 473786 h 479077"/>
                <a:gd name="connsiteX146" fmla="*/ 1131128 w 3785642"/>
                <a:gd name="connsiteY146" fmla="*/ 473786 h 479077"/>
                <a:gd name="connsiteX147" fmla="*/ 1114758 w 3785642"/>
                <a:gd name="connsiteY147" fmla="*/ 472794 h 479077"/>
                <a:gd name="connsiteX148" fmla="*/ 1098387 w 3785642"/>
                <a:gd name="connsiteY148" fmla="*/ 473786 h 479077"/>
                <a:gd name="connsiteX149" fmla="*/ 1082017 w 3785642"/>
                <a:gd name="connsiteY149" fmla="*/ 474778 h 479077"/>
                <a:gd name="connsiteX150" fmla="*/ 1065646 w 3785642"/>
                <a:gd name="connsiteY150" fmla="*/ 474778 h 479077"/>
                <a:gd name="connsiteX151" fmla="*/ 1049276 w 3785642"/>
                <a:gd name="connsiteY151" fmla="*/ 474282 h 479077"/>
                <a:gd name="connsiteX152" fmla="*/ 1032905 w 3785642"/>
                <a:gd name="connsiteY152" fmla="*/ 473290 h 479077"/>
                <a:gd name="connsiteX153" fmla="*/ 1016535 w 3785642"/>
                <a:gd name="connsiteY153" fmla="*/ 474282 h 479077"/>
                <a:gd name="connsiteX154" fmla="*/ 1000164 w 3785642"/>
                <a:gd name="connsiteY154" fmla="*/ 474282 h 479077"/>
                <a:gd name="connsiteX155" fmla="*/ 983793 w 3785642"/>
                <a:gd name="connsiteY155" fmla="*/ 472794 h 479077"/>
                <a:gd name="connsiteX156" fmla="*/ 967423 w 3785642"/>
                <a:gd name="connsiteY156" fmla="*/ 472794 h 479077"/>
                <a:gd name="connsiteX157" fmla="*/ 951052 w 3785642"/>
                <a:gd name="connsiteY157" fmla="*/ 473786 h 479077"/>
                <a:gd name="connsiteX158" fmla="*/ 934682 w 3785642"/>
                <a:gd name="connsiteY158" fmla="*/ 474282 h 479077"/>
                <a:gd name="connsiteX159" fmla="*/ 918311 w 3785642"/>
                <a:gd name="connsiteY159" fmla="*/ 474778 h 479077"/>
                <a:gd name="connsiteX160" fmla="*/ 901940 w 3785642"/>
                <a:gd name="connsiteY160" fmla="*/ 473290 h 479077"/>
                <a:gd name="connsiteX161" fmla="*/ 885570 w 3785642"/>
                <a:gd name="connsiteY161" fmla="*/ 474778 h 479077"/>
                <a:gd name="connsiteX162" fmla="*/ 869199 w 3785642"/>
                <a:gd name="connsiteY162" fmla="*/ 474282 h 479077"/>
                <a:gd name="connsiteX163" fmla="*/ 852829 w 3785642"/>
                <a:gd name="connsiteY163" fmla="*/ 473786 h 479077"/>
                <a:gd name="connsiteX164" fmla="*/ 836458 w 3785642"/>
                <a:gd name="connsiteY164" fmla="*/ 474778 h 479077"/>
                <a:gd name="connsiteX165" fmla="*/ 820088 w 3785642"/>
                <a:gd name="connsiteY165" fmla="*/ 475274 h 479077"/>
                <a:gd name="connsiteX166" fmla="*/ 803717 w 3785642"/>
                <a:gd name="connsiteY166" fmla="*/ 473786 h 479077"/>
                <a:gd name="connsiteX167" fmla="*/ 787347 w 3785642"/>
                <a:gd name="connsiteY167" fmla="*/ 475770 h 479077"/>
                <a:gd name="connsiteX168" fmla="*/ 770976 w 3785642"/>
                <a:gd name="connsiteY168" fmla="*/ 474778 h 479077"/>
                <a:gd name="connsiteX169" fmla="*/ 754605 w 3785642"/>
                <a:gd name="connsiteY169" fmla="*/ 475274 h 479077"/>
                <a:gd name="connsiteX170" fmla="*/ 738235 w 3785642"/>
                <a:gd name="connsiteY170" fmla="*/ 473786 h 479077"/>
                <a:gd name="connsiteX171" fmla="*/ 721864 w 3785642"/>
                <a:gd name="connsiteY171" fmla="*/ 475274 h 479077"/>
                <a:gd name="connsiteX172" fmla="*/ 705494 w 3785642"/>
                <a:gd name="connsiteY172" fmla="*/ 475770 h 479077"/>
                <a:gd name="connsiteX173" fmla="*/ 689123 w 3785642"/>
                <a:gd name="connsiteY173" fmla="*/ 474282 h 479077"/>
                <a:gd name="connsiteX174" fmla="*/ 672753 w 3785642"/>
                <a:gd name="connsiteY174" fmla="*/ 475274 h 479077"/>
                <a:gd name="connsiteX175" fmla="*/ 656382 w 3785642"/>
                <a:gd name="connsiteY175" fmla="*/ 474778 h 479077"/>
                <a:gd name="connsiteX176" fmla="*/ 640011 w 3785642"/>
                <a:gd name="connsiteY176" fmla="*/ 475770 h 479077"/>
                <a:gd name="connsiteX177" fmla="*/ 623641 w 3785642"/>
                <a:gd name="connsiteY177" fmla="*/ 473786 h 479077"/>
                <a:gd name="connsiteX178" fmla="*/ 607270 w 3785642"/>
                <a:gd name="connsiteY178" fmla="*/ 474778 h 479077"/>
                <a:gd name="connsiteX179" fmla="*/ 590900 w 3785642"/>
                <a:gd name="connsiteY179" fmla="*/ 475274 h 479077"/>
                <a:gd name="connsiteX180" fmla="*/ 574529 w 3785642"/>
                <a:gd name="connsiteY180" fmla="*/ 474282 h 479077"/>
                <a:gd name="connsiteX181" fmla="*/ 558158 w 3785642"/>
                <a:gd name="connsiteY181" fmla="*/ 475274 h 479077"/>
                <a:gd name="connsiteX182" fmla="*/ 541788 w 3785642"/>
                <a:gd name="connsiteY182" fmla="*/ 475770 h 479077"/>
                <a:gd name="connsiteX183" fmla="*/ 525417 w 3785642"/>
                <a:gd name="connsiteY183" fmla="*/ 474282 h 479077"/>
                <a:gd name="connsiteX184" fmla="*/ 509047 w 3785642"/>
                <a:gd name="connsiteY184" fmla="*/ 473786 h 479077"/>
                <a:gd name="connsiteX185" fmla="*/ 492676 w 3785642"/>
                <a:gd name="connsiteY185" fmla="*/ 473786 h 479077"/>
                <a:gd name="connsiteX186" fmla="*/ 476306 w 3785642"/>
                <a:gd name="connsiteY186" fmla="*/ 474778 h 479077"/>
                <a:gd name="connsiteX187" fmla="*/ 459935 w 3785642"/>
                <a:gd name="connsiteY187" fmla="*/ 473786 h 479077"/>
                <a:gd name="connsiteX188" fmla="*/ 443565 w 3785642"/>
                <a:gd name="connsiteY188" fmla="*/ 474778 h 479077"/>
                <a:gd name="connsiteX189" fmla="*/ 427194 w 3785642"/>
                <a:gd name="connsiteY189" fmla="*/ 474282 h 479077"/>
                <a:gd name="connsiteX190" fmla="*/ 410823 w 3785642"/>
                <a:gd name="connsiteY190" fmla="*/ 473290 h 479077"/>
                <a:gd name="connsiteX191" fmla="*/ 394453 w 3785642"/>
                <a:gd name="connsiteY191" fmla="*/ 475770 h 479077"/>
                <a:gd name="connsiteX192" fmla="*/ 378082 w 3785642"/>
                <a:gd name="connsiteY192" fmla="*/ 475274 h 479077"/>
                <a:gd name="connsiteX193" fmla="*/ 361712 w 3785642"/>
                <a:gd name="connsiteY193" fmla="*/ 474778 h 479077"/>
                <a:gd name="connsiteX194" fmla="*/ 345341 w 3785642"/>
                <a:gd name="connsiteY194" fmla="*/ 476266 h 479077"/>
                <a:gd name="connsiteX195" fmla="*/ 328970 w 3785642"/>
                <a:gd name="connsiteY195" fmla="*/ 474282 h 479077"/>
                <a:gd name="connsiteX196" fmla="*/ 312600 w 3785642"/>
                <a:gd name="connsiteY196" fmla="*/ 475274 h 479077"/>
                <a:gd name="connsiteX197" fmla="*/ 296229 w 3785642"/>
                <a:gd name="connsiteY197" fmla="*/ 474282 h 479077"/>
                <a:gd name="connsiteX198" fmla="*/ 279859 w 3785642"/>
                <a:gd name="connsiteY198" fmla="*/ 475770 h 479077"/>
                <a:gd name="connsiteX199" fmla="*/ 263488 w 3785642"/>
                <a:gd name="connsiteY199" fmla="*/ 476266 h 479077"/>
                <a:gd name="connsiteX200" fmla="*/ 247118 w 3785642"/>
                <a:gd name="connsiteY200" fmla="*/ 476266 h 479077"/>
                <a:gd name="connsiteX201" fmla="*/ 230747 w 3785642"/>
                <a:gd name="connsiteY201" fmla="*/ 474778 h 479077"/>
                <a:gd name="connsiteX202" fmla="*/ 214376 w 3785642"/>
                <a:gd name="connsiteY202" fmla="*/ 474778 h 479077"/>
                <a:gd name="connsiteX203" fmla="*/ 198006 w 3785642"/>
                <a:gd name="connsiteY203" fmla="*/ 476762 h 479077"/>
                <a:gd name="connsiteX204" fmla="*/ 181635 w 3785642"/>
                <a:gd name="connsiteY204" fmla="*/ 476266 h 479077"/>
                <a:gd name="connsiteX205" fmla="*/ 165265 w 3785642"/>
                <a:gd name="connsiteY205" fmla="*/ 474778 h 479077"/>
                <a:gd name="connsiteX206" fmla="*/ 148894 w 3785642"/>
                <a:gd name="connsiteY206" fmla="*/ 476762 h 479077"/>
                <a:gd name="connsiteX207" fmla="*/ 132524 w 3785642"/>
                <a:gd name="connsiteY207" fmla="*/ 476266 h 479077"/>
                <a:gd name="connsiteX208" fmla="*/ 116153 w 3785642"/>
                <a:gd name="connsiteY208" fmla="*/ 475274 h 479077"/>
                <a:gd name="connsiteX209" fmla="*/ 99783 w 3785642"/>
                <a:gd name="connsiteY209" fmla="*/ 475274 h 479077"/>
                <a:gd name="connsiteX210" fmla="*/ 83412 w 3785642"/>
                <a:gd name="connsiteY210" fmla="*/ 475274 h 479077"/>
                <a:gd name="connsiteX211" fmla="*/ 67041 w 3785642"/>
                <a:gd name="connsiteY211" fmla="*/ 474778 h 479077"/>
                <a:gd name="connsiteX212" fmla="*/ 50671 w 3785642"/>
                <a:gd name="connsiteY212" fmla="*/ 475274 h 479077"/>
                <a:gd name="connsiteX213" fmla="*/ 34300 w 3785642"/>
                <a:gd name="connsiteY213" fmla="*/ 475274 h 479077"/>
                <a:gd name="connsiteX214" fmla="*/ 17930 w 3785642"/>
                <a:gd name="connsiteY214" fmla="*/ 475770 h 479077"/>
                <a:gd name="connsiteX215" fmla="*/ 567 w 3785642"/>
                <a:gd name="connsiteY215" fmla="*/ 475770 h 479077"/>
                <a:gd name="connsiteX216" fmla="*/ 12969 w 3785642"/>
                <a:gd name="connsiteY216" fmla="*/ 463368 h 479077"/>
                <a:gd name="connsiteX217" fmla="*/ 24379 w 3785642"/>
                <a:gd name="connsiteY217" fmla="*/ 451958 h 479077"/>
                <a:gd name="connsiteX218" fmla="*/ 35788 w 3785642"/>
                <a:gd name="connsiteY218" fmla="*/ 440053 h 479077"/>
                <a:gd name="connsiteX219" fmla="*/ 48686 w 3785642"/>
                <a:gd name="connsiteY219" fmla="*/ 430131 h 479077"/>
                <a:gd name="connsiteX220" fmla="*/ 59600 w 3785642"/>
                <a:gd name="connsiteY220" fmla="*/ 418225 h 479077"/>
                <a:gd name="connsiteX221" fmla="*/ 70514 w 3785642"/>
                <a:gd name="connsiteY221" fmla="*/ 405823 h 479077"/>
                <a:gd name="connsiteX222" fmla="*/ 83412 w 3785642"/>
                <a:gd name="connsiteY222" fmla="*/ 395406 h 479077"/>
                <a:gd name="connsiteX223" fmla="*/ 94822 w 3785642"/>
                <a:gd name="connsiteY223" fmla="*/ 383500 h 479077"/>
                <a:gd name="connsiteX224" fmla="*/ 106728 w 3785642"/>
                <a:gd name="connsiteY224" fmla="*/ 372090 h 479077"/>
                <a:gd name="connsiteX225" fmla="*/ 117145 w 3785642"/>
                <a:gd name="connsiteY225" fmla="*/ 359688 h 479077"/>
                <a:gd name="connsiteX226" fmla="*/ 128555 w 3785642"/>
                <a:gd name="connsiteY226" fmla="*/ 348278 h 479077"/>
                <a:gd name="connsiteX227" fmla="*/ 140461 w 3785642"/>
                <a:gd name="connsiteY227" fmla="*/ 336868 h 479077"/>
                <a:gd name="connsiteX228" fmla="*/ 152863 w 3785642"/>
                <a:gd name="connsiteY228" fmla="*/ 326451 h 479077"/>
                <a:gd name="connsiteX229" fmla="*/ 164769 w 3785642"/>
                <a:gd name="connsiteY229" fmla="*/ 315041 h 479077"/>
                <a:gd name="connsiteX230" fmla="*/ 176178 w 3785642"/>
                <a:gd name="connsiteY230" fmla="*/ 303135 h 479077"/>
                <a:gd name="connsiteX231" fmla="*/ 188084 w 3785642"/>
                <a:gd name="connsiteY231" fmla="*/ 291725 h 479077"/>
                <a:gd name="connsiteX232" fmla="*/ 199494 w 3785642"/>
                <a:gd name="connsiteY232" fmla="*/ 280315 h 479077"/>
                <a:gd name="connsiteX233" fmla="*/ 210904 w 3785642"/>
                <a:gd name="connsiteY233" fmla="*/ 268906 h 479077"/>
                <a:gd name="connsiteX234" fmla="*/ 221818 w 3785642"/>
                <a:gd name="connsiteY234" fmla="*/ 256504 h 479077"/>
                <a:gd name="connsiteX235" fmla="*/ 233724 w 3785642"/>
                <a:gd name="connsiteY235" fmla="*/ 245094 h 479077"/>
                <a:gd name="connsiteX236" fmla="*/ 244141 w 3785642"/>
                <a:gd name="connsiteY236" fmla="*/ 232692 h 479077"/>
                <a:gd name="connsiteX237" fmla="*/ 257039 w 3785642"/>
                <a:gd name="connsiteY237" fmla="*/ 222770 h 479077"/>
                <a:gd name="connsiteX238" fmla="*/ 266961 w 3785642"/>
                <a:gd name="connsiteY238" fmla="*/ 209376 h 479077"/>
                <a:gd name="connsiteX239" fmla="*/ 278371 w 3785642"/>
                <a:gd name="connsiteY239" fmla="*/ 197966 h 479077"/>
                <a:gd name="connsiteX240" fmla="*/ 291269 w 3785642"/>
                <a:gd name="connsiteY240" fmla="*/ 188045 h 479077"/>
                <a:gd name="connsiteX241" fmla="*/ 301686 w 3785642"/>
                <a:gd name="connsiteY241" fmla="*/ 175147 h 479077"/>
                <a:gd name="connsiteX242" fmla="*/ 313592 w 3785642"/>
                <a:gd name="connsiteY242" fmla="*/ 163737 h 479077"/>
                <a:gd name="connsiteX243" fmla="*/ 325994 w 3785642"/>
                <a:gd name="connsiteY243" fmla="*/ 153319 h 479077"/>
                <a:gd name="connsiteX244" fmla="*/ 337404 w 3785642"/>
                <a:gd name="connsiteY244" fmla="*/ 141910 h 479077"/>
                <a:gd name="connsiteX245" fmla="*/ 347325 w 3785642"/>
                <a:gd name="connsiteY245" fmla="*/ 129012 h 479077"/>
                <a:gd name="connsiteX246" fmla="*/ 360224 w 3785642"/>
                <a:gd name="connsiteY246" fmla="*/ 118594 h 479077"/>
                <a:gd name="connsiteX247" fmla="*/ 371137 w 3785642"/>
                <a:gd name="connsiteY247" fmla="*/ 106192 h 479077"/>
                <a:gd name="connsiteX248" fmla="*/ 382051 w 3785642"/>
                <a:gd name="connsiteY248" fmla="*/ 93790 h 479077"/>
                <a:gd name="connsiteX249" fmla="*/ 393957 w 3785642"/>
                <a:gd name="connsiteY249" fmla="*/ 82380 h 479077"/>
                <a:gd name="connsiteX250" fmla="*/ 405366 w 3785642"/>
                <a:gd name="connsiteY250" fmla="*/ 70475 h 479077"/>
                <a:gd name="connsiteX251" fmla="*/ 417272 w 3785642"/>
                <a:gd name="connsiteY251" fmla="*/ 59561 h 479077"/>
                <a:gd name="connsiteX252" fmla="*/ 429674 w 3785642"/>
                <a:gd name="connsiteY252" fmla="*/ 48647 h 479077"/>
                <a:gd name="connsiteX253" fmla="*/ 440092 w 3785642"/>
                <a:gd name="connsiteY253" fmla="*/ 35749 h 479077"/>
                <a:gd name="connsiteX254" fmla="*/ 452494 w 3785642"/>
                <a:gd name="connsiteY254" fmla="*/ 24835 h 479077"/>
                <a:gd name="connsiteX255" fmla="*/ 463904 w 3785642"/>
                <a:gd name="connsiteY255" fmla="*/ 12929 h 479077"/>
                <a:gd name="connsiteX256" fmla="*/ 475313 w 3785642"/>
                <a:gd name="connsiteY256" fmla="*/ 1024 h 479077"/>
                <a:gd name="connsiteX257" fmla="*/ 491684 w 3785642"/>
                <a:gd name="connsiteY257" fmla="*/ 2512 h 479077"/>
                <a:gd name="connsiteX258" fmla="*/ 508055 w 3785642"/>
                <a:gd name="connsiteY258" fmla="*/ 2512 h 479077"/>
                <a:gd name="connsiteX259" fmla="*/ 524425 w 3785642"/>
                <a:gd name="connsiteY259" fmla="*/ 2512 h 479077"/>
                <a:gd name="connsiteX260" fmla="*/ 540796 w 3785642"/>
                <a:gd name="connsiteY260" fmla="*/ 1024 h 479077"/>
                <a:gd name="connsiteX261" fmla="*/ 557166 w 3785642"/>
                <a:gd name="connsiteY261" fmla="*/ 2512 h 479077"/>
                <a:gd name="connsiteX262" fmla="*/ 573537 w 3785642"/>
                <a:gd name="connsiteY262" fmla="*/ 1024 h 479077"/>
                <a:gd name="connsiteX263" fmla="*/ 589908 w 3785642"/>
                <a:gd name="connsiteY263" fmla="*/ 527 h 479077"/>
                <a:gd name="connsiteX264" fmla="*/ 606278 w 3785642"/>
                <a:gd name="connsiteY264" fmla="*/ 1520 h 479077"/>
                <a:gd name="connsiteX265" fmla="*/ 622649 w 3785642"/>
                <a:gd name="connsiteY265" fmla="*/ 1520 h 479077"/>
                <a:gd name="connsiteX266" fmla="*/ 639019 w 3785642"/>
                <a:gd name="connsiteY266" fmla="*/ 2016 h 479077"/>
                <a:gd name="connsiteX267" fmla="*/ 655390 w 3785642"/>
                <a:gd name="connsiteY267" fmla="*/ 527 h 479077"/>
                <a:gd name="connsiteX268" fmla="*/ 671760 w 3785642"/>
                <a:gd name="connsiteY268" fmla="*/ 1520 h 479077"/>
                <a:gd name="connsiteX269" fmla="*/ 688131 w 3785642"/>
                <a:gd name="connsiteY269" fmla="*/ 2512 h 479077"/>
                <a:gd name="connsiteX270" fmla="*/ 704501 w 3785642"/>
                <a:gd name="connsiteY270" fmla="*/ 1024 h 479077"/>
                <a:gd name="connsiteX271" fmla="*/ 720872 w 3785642"/>
                <a:gd name="connsiteY271" fmla="*/ 1520 h 479077"/>
                <a:gd name="connsiteX272" fmla="*/ 737243 w 3785642"/>
                <a:gd name="connsiteY272" fmla="*/ 2016 h 479077"/>
                <a:gd name="connsiteX273" fmla="*/ 753613 w 3785642"/>
                <a:gd name="connsiteY273" fmla="*/ 1024 h 479077"/>
                <a:gd name="connsiteX274" fmla="*/ 769984 w 3785642"/>
                <a:gd name="connsiteY274" fmla="*/ 527 h 479077"/>
                <a:gd name="connsiteX275" fmla="*/ 786354 w 3785642"/>
                <a:gd name="connsiteY275" fmla="*/ 1520 h 479077"/>
                <a:gd name="connsiteX276" fmla="*/ 802725 w 3785642"/>
                <a:gd name="connsiteY276" fmla="*/ 527 h 479077"/>
                <a:gd name="connsiteX277" fmla="*/ 819096 w 3785642"/>
                <a:gd name="connsiteY277" fmla="*/ 2512 h 479077"/>
                <a:gd name="connsiteX278" fmla="*/ 835466 w 3785642"/>
                <a:gd name="connsiteY278" fmla="*/ 527 h 479077"/>
                <a:gd name="connsiteX279" fmla="*/ 851837 w 3785642"/>
                <a:gd name="connsiteY279" fmla="*/ 1520 h 479077"/>
                <a:gd name="connsiteX280" fmla="*/ 868207 w 3785642"/>
                <a:gd name="connsiteY280" fmla="*/ 2016 h 479077"/>
                <a:gd name="connsiteX281" fmla="*/ 884578 w 3785642"/>
                <a:gd name="connsiteY281" fmla="*/ 2512 h 479077"/>
                <a:gd name="connsiteX282" fmla="*/ 900948 w 3785642"/>
                <a:gd name="connsiteY282" fmla="*/ 1520 h 479077"/>
                <a:gd name="connsiteX283" fmla="*/ 917319 w 3785642"/>
                <a:gd name="connsiteY283" fmla="*/ 1024 h 479077"/>
                <a:gd name="connsiteX284" fmla="*/ 933689 w 3785642"/>
                <a:gd name="connsiteY284" fmla="*/ 2512 h 479077"/>
                <a:gd name="connsiteX285" fmla="*/ 950060 w 3785642"/>
                <a:gd name="connsiteY285" fmla="*/ 1520 h 479077"/>
                <a:gd name="connsiteX286" fmla="*/ 966431 w 3785642"/>
                <a:gd name="connsiteY286" fmla="*/ 2016 h 479077"/>
                <a:gd name="connsiteX287" fmla="*/ 982801 w 3785642"/>
                <a:gd name="connsiteY287" fmla="*/ 2512 h 479077"/>
                <a:gd name="connsiteX288" fmla="*/ 999172 w 3785642"/>
                <a:gd name="connsiteY288" fmla="*/ 1520 h 479077"/>
                <a:gd name="connsiteX289" fmla="*/ 1015542 w 3785642"/>
                <a:gd name="connsiteY289" fmla="*/ 2512 h 479077"/>
                <a:gd name="connsiteX290" fmla="*/ 1031913 w 3785642"/>
                <a:gd name="connsiteY290" fmla="*/ 1520 h 479077"/>
                <a:gd name="connsiteX291" fmla="*/ 1048283 w 3785642"/>
                <a:gd name="connsiteY291" fmla="*/ 2016 h 479077"/>
                <a:gd name="connsiteX292" fmla="*/ 1064654 w 3785642"/>
                <a:gd name="connsiteY292" fmla="*/ 3504 h 479077"/>
                <a:gd name="connsiteX293" fmla="*/ 1081025 w 3785642"/>
                <a:gd name="connsiteY293" fmla="*/ 2016 h 479077"/>
                <a:gd name="connsiteX294" fmla="*/ 1097395 w 3785642"/>
                <a:gd name="connsiteY294" fmla="*/ 2512 h 479077"/>
                <a:gd name="connsiteX295" fmla="*/ 1113766 w 3785642"/>
                <a:gd name="connsiteY295" fmla="*/ 2512 h 479077"/>
                <a:gd name="connsiteX296" fmla="*/ 1130136 w 3785642"/>
                <a:gd name="connsiteY296" fmla="*/ 3504 h 479077"/>
                <a:gd name="connsiteX297" fmla="*/ 1146507 w 3785642"/>
                <a:gd name="connsiteY297" fmla="*/ 1520 h 479077"/>
                <a:gd name="connsiteX298" fmla="*/ 1162878 w 3785642"/>
                <a:gd name="connsiteY298" fmla="*/ 3008 h 479077"/>
                <a:gd name="connsiteX299" fmla="*/ 1179248 w 3785642"/>
                <a:gd name="connsiteY299" fmla="*/ 4000 h 479077"/>
                <a:gd name="connsiteX300" fmla="*/ 1195619 w 3785642"/>
                <a:gd name="connsiteY300" fmla="*/ 3504 h 479077"/>
                <a:gd name="connsiteX301" fmla="*/ 1211989 w 3785642"/>
                <a:gd name="connsiteY301" fmla="*/ 1520 h 479077"/>
                <a:gd name="connsiteX302" fmla="*/ 1228360 w 3785642"/>
                <a:gd name="connsiteY302" fmla="*/ 3504 h 479077"/>
                <a:gd name="connsiteX303" fmla="*/ 1244730 w 3785642"/>
                <a:gd name="connsiteY303" fmla="*/ 1520 h 479077"/>
                <a:gd name="connsiteX304" fmla="*/ 1261101 w 3785642"/>
                <a:gd name="connsiteY304" fmla="*/ 2512 h 479077"/>
                <a:gd name="connsiteX305" fmla="*/ 1277471 w 3785642"/>
                <a:gd name="connsiteY305" fmla="*/ 3504 h 479077"/>
                <a:gd name="connsiteX306" fmla="*/ 1293842 w 3785642"/>
                <a:gd name="connsiteY306" fmla="*/ 4000 h 479077"/>
                <a:gd name="connsiteX307" fmla="*/ 1310213 w 3785642"/>
                <a:gd name="connsiteY307" fmla="*/ 1520 h 479077"/>
                <a:gd name="connsiteX308" fmla="*/ 1326583 w 3785642"/>
                <a:gd name="connsiteY308" fmla="*/ 2016 h 479077"/>
                <a:gd name="connsiteX309" fmla="*/ 1342954 w 3785642"/>
                <a:gd name="connsiteY309" fmla="*/ 3008 h 479077"/>
                <a:gd name="connsiteX310" fmla="*/ 1359324 w 3785642"/>
                <a:gd name="connsiteY310" fmla="*/ 3008 h 479077"/>
                <a:gd name="connsiteX311" fmla="*/ 1375695 w 3785642"/>
                <a:gd name="connsiteY311" fmla="*/ 2512 h 479077"/>
                <a:gd name="connsiteX312" fmla="*/ 1392066 w 3785642"/>
                <a:gd name="connsiteY312" fmla="*/ 2512 h 479077"/>
                <a:gd name="connsiteX313" fmla="*/ 1408436 w 3785642"/>
                <a:gd name="connsiteY313" fmla="*/ 3504 h 479077"/>
                <a:gd name="connsiteX314" fmla="*/ 1424807 w 3785642"/>
                <a:gd name="connsiteY314" fmla="*/ 3504 h 479077"/>
                <a:gd name="connsiteX315" fmla="*/ 1441177 w 3785642"/>
                <a:gd name="connsiteY315" fmla="*/ 1520 h 479077"/>
                <a:gd name="connsiteX316" fmla="*/ 1457548 w 3785642"/>
                <a:gd name="connsiteY316" fmla="*/ 2512 h 479077"/>
                <a:gd name="connsiteX317" fmla="*/ 1473919 w 3785642"/>
                <a:gd name="connsiteY317" fmla="*/ 2016 h 479077"/>
                <a:gd name="connsiteX318" fmla="*/ 1490289 w 3785642"/>
                <a:gd name="connsiteY318" fmla="*/ 2016 h 479077"/>
                <a:gd name="connsiteX319" fmla="*/ 1506660 w 3785642"/>
                <a:gd name="connsiteY319" fmla="*/ 1520 h 479077"/>
                <a:gd name="connsiteX320" fmla="*/ 1523030 w 3785642"/>
                <a:gd name="connsiteY320" fmla="*/ 3504 h 479077"/>
                <a:gd name="connsiteX321" fmla="*/ 1539401 w 3785642"/>
                <a:gd name="connsiteY321" fmla="*/ 3008 h 479077"/>
                <a:gd name="connsiteX322" fmla="*/ 1555771 w 3785642"/>
                <a:gd name="connsiteY322" fmla="*/ 3008 h 479077"/>
                <a:gd name="connsiteX323" fmla="*/ 1572142 w 3785642"/>
                <a:gd name="connsiteY323" fmla="*/ 2512 h 479077"/>
                <a:gd name="connsiteX324" fmla="*/ 1588512 w 3785642"/>
                <a:gd name="connsiteY324" fmla="*/ 2016 h 479077"/>
                <a:gd name="connsiteX325" fmla="*/ 1604883 w 3785642"/>
                <a:gd name="connsiteY325" fmla="*/ 3008 h 479077"/>
                <a:gd name="connsiteX326" fmla="*/ 1621253 w 3785642"/>
                <a:gd name="connsiteY326" fmla="*/ 3008 h 479077"/>
                <a:gd name="connsiteX327" fmla="*/ 1637624 w 3785642"/>
                <a:gd name="connsiteY327" fmla="*/ 2512 h 479077"/>
                <a:gd name="connsiteX0" fmla="*/ 3313375 w 3313375"/>
                <a:gd name="connsiteY0" fmla="*/ 10945 h 479077"/>
                <a:gd name="connsiteX1" fmla="*/ 3300973 w 3313375"/>
                <a:gd name="connsiteY1" fmla="*/ 21363 h 479077"/>
                <a:gd name="connsiteX2" fmla="*/ 3289068 w 3313375"/>
                <a:gd name="connsiteY2" fmla="*/ 32276 h 479077"/>
                <a:gd name="connsiteX3" fmla="*/ 3277658 w 3313375"/>
                <a:gd name="connsiteY3" fmla="*/ 43686 h 479077"/>
                <a:gd name="connsiteX4" fmla="*/ 3266248 w 3313375"/>
                <a:gd name="connsiteY4" fmla="*/ 55592 h 479077"/>
                <a:gd name="connsiteX5" fmla="*/ 3255830 w 3313375"/>
                <a:gd name="connsiteY5" fmla="*/ 68490 h 479077"/>
                <a:gd name="connsiteX6" fmla="*/ 3243924 w 3313375"/>
                <a:gd name="connsiteY6" fmla="*/ 79900 h 479077"/>
                <a:gd name="connsiteX7" fmla="*/ 3231522 w 3313375"/>
                <a:gd name="connsiteY7" fmla="*/ 90814 h 479077"/>
                <a:gd name="connsiteX8" fmla="*/ 3220609 w 3313375"/>
                <a:gd name="connsiteY8" fmla="*/ 102720 h 479077"/>
                <a:gd name="connsiteX9" fmla="*/ 3208207 w 3313375"/>
                <a:gd name="connsiteY9" fmla="*/ 113137 h 479077"/>
                <a:gd name="connsiteX10" fmla="*/ 3197293 w 3313375"/>
                <a:gd name="connsiteY10" fmla="*/ 125043 h 479077"/>
                <a:gd name="connsiteX11" fmla="*/ 3185387 w 3313375"/>
                <a:gd name="connsiteY11" fmla="*/ 136453 h 479077"/>
                <a:gd name="connsiteX12" fmla="*/ 3174970 w 3313375"/>
                <a:gd name="connsiteY12" fmla="*/ 148855 h 479077"/>
                <a:gd name="connsiteX13" fmla="*/ 3162071 w 3313375"/>
                <a:gd name="connsiteY13" fmla="*/ 159272 h 479077"/>
                <a:gd name="connsiteX14" fmla="*/ 3151158 w 3313375"/>
                <a:gd name="connsiteY14" fmla="*/ 171674 h 479077"/>
                <a:gd name="connsiteX15" fmla="*/ 3139252 w 3313375"/>
                <a:gd name="connsiteY15" fmla="*/ 182588 h 479077"/>
                <a:gd name="connsiteX16" fmla="*/ 3127843 w 3313375"/>
                <a:gd name="connsiteY16" fmla="*/ 194494 h 479077"/>
                <a:gd name="connsiteX17" fmla="*/ 3116432 w 3313375"/>
                <a:gd name="connsiteY17" fmla="*/ 205904 h 479077"/>
                <a:gd name="connsiteX18" fmla="*/ 3105022 w 3313375"/>
                <a:gd name="connsiteY18" fmla="*/ 217810 h 479077"/>
                <a:gd name="connsiteX19" fmla="*/ 3093117 w 3313375"/>
                <a:gd name="connsiteY19" fmla="*/ 229219 h 479077"/>
                <a:gd name="connsiteX20" fmla="*/ 3081707 w 3313375"/>
                <a:gd name="connsiteY20" fmla="*/ 240629 h 479077"/>
                <a:gd name="connsiteX21" fmla="*/ 3069305 w 3313375"/>
                <a:gd name="connsiteY21" fmla="*/ 251543 h 479077"/>
                <a:gd name="connsiteX22" fmla="*/ 3057895 w 3313375"/>
                <a:gd name="connsiteY22" fmla="*/ 263449 h 479077"/>
                <a:gd name="connsiteX23" fmla="*/ 3046486 w 3313375"/>
                <a:gd name="connsiteY23" fmla="*/ 275355 h 479077"/>
                <a:gd name="connsiteX24" fmla="*/ 3035572 w 3313375"/>
                <a:gd name="connsiteY24" fmla="*/ 287260 h 479077"/>
                <a:gd name="connsiteX25" fmla="*/ 3024658 w 3313375"/>
                <a:gd name="connsiteY25" fmla="*/ 299166 h 479077"/>
                <a:gd name="connsiteX26" fmla="*/ 3013248 w 3313375"/>
                <a:gd name="connsiteY26" fmla="*/ 311072 h 479077"/>
                <a:gd name="connsiteX27" fmla="*/ 3000350 w 3313375"/>
                <a:gd name="connsiteY27" fmla="*/ 321490 h 479077"/>
                <a:gd name="connsiteX28" fmla="*/ 2988941 w 3313375"/>
                <a:gd name="connsiteY28" fmla="*/ 333396 h 479077"/>
                <a:gd name="connsiteX29" fmla="*/ 2976539 w 3313375"/>
                <a:gd name="connsiteY29" fmla="*/ 344309 h 479077"/>
                <a:gd name="connsiteX30" fmla="*/ 2965129 w 3313375"/>
                <a:gd name="connsiteY30" fmla="*/ 356215 h 479077"/>
                <a:gd name="connsiteX31" fmla="*/ 2953223 w 3313375"/>
                <a:gd name="connsiteY31" fmla="*/ 367625 h 479077"/>
                <a:gd name="connsiteX32" fmla="*/ 2941813 w 3313375"/>
                <a:gd name="connsiteY32" fmla="*/ 379531 h 479077"/>
                <a:gd name="connsiteX33" fmla="*/ 2931395 w 3313375"/>
                <a:gd name="connsiteY33" fmla="*/ 392429 h 479077"/>
                <a:gd name="connsiteX34" fmla="*/ 2918497 w 3313375"/>
                <a:gd name="connsiteY34" fmla="*/ 402847 h 479077"/>
                <a:gd name="connsiteX35" fmla="*/ 2907584 w 3313375"/>
                <a:gd name="connsiteY35" fmla="*/ 415249 h 479077"/>
                <a:gd name="connsiteX36" fmla="*/ 2896174 w 3313375"/>
                <a:gd name="connsiteY36" fmla="*/ 426658 h 479077"/>
                <a:gd name="connsiteX37" fmla="*/ 2884268 w 3313375"/>
                <a:gd name="connsiteY37" fmla="*/ 438068 h 479077"/>
                <a:gd name="connsiteX38" fmla="*/ 2873354 w 3313375"/>
                <a:gd name="connsiteY38" fmla="*/ 450470 h 479077"/>
                <a:gd name="connsiteX39" fmla="*/ 2860952 w 3313375"/>
                <a:gd name="connsiteY39" fmla="*/ 461384 h 479077"/>
                <a:gd name="connsiteX40" fmla="*/ 2850039 w 3313375"/>
                <a:gd name="connsiteY40" fmla="*/ 473786 h 479077"/>
                <a:gd name="connsiteX41" fmla="*/ 2833668 w 3313375"/>
                <a:gd name="connsiteY41" fmla="*/ 473786 h 479077"/>
                <a:gd name="connsiteX42" fmla="*/ 2817297 w 3313375"/>
                <a:gd name="connsiteY42" fmla="*/ 473290 h 479077"/>
                <a:gd name="connsiteX43" fmla="*/ 2800927 w 3313375"/>
                <a:gd name="connsiteY43" fmla="*/ 473290 h 479077"/>
                <a:gd name="connsiteX44" fmla="*/ 2784556 w 3313375"/>
                <a:gd name="connsiteY44" fmla="*/ 473786 h 479077"/>
                <a:gd name="connsiteX45" fmla="*/ 2768186 w 3313375"/>
                <a:gd name="connsiteY45" fmla="*/ 474282 h 479077"/>
                <a:gd name="connsiteX46" fmla="*/ 2751815 w 3313375"/>
                <a:gd name="connsiteY46" fmla="*/ 474282 h 479077"/>
                <a:gd name="connsiteX47" fmla="*/ 2735444 w 3313375"/>
                <a:gd name="connsiteY47" fmla="*/ 473290 h 479077"/>
                <a:gd name="connsiteX48" fmla="*/ 2719074 w 3313375"/>
                <a:gd name="connsiteY48" fmla="*/ 474282 h 479077"/>
                <a:gd name="connsiteX49" fmla="*/ 2702703 w 3313375"/>
                <a:gd name="connsiteY49" fmla="*/ 472298 h 479077"/>
                <a:gd name="connsiteX50" fmla="*/ 2686333 w 3313375"/>
                <a:gd name="connsiteY50" fmla="*/ 472794 h 479077"/>
                <a:gd name="connsiteX51" fmla="*/ 2669962 w 3313375"/>
                <a:gd name="connsiteY51" fmla="*/ 474282 h 479077"/>
                <a:gd name="connsiteX52" fmla="*/ 2653592 w 3313375"/>
                <a:gd name="connsiteY52" fmla="*/ 472298 h 479077"/>
                <a:gd name="connsiteX53" fmla="*/ 2637221 w 3313375"/>
                <a:gd name="connsiteY53" fmla="*/ 474282 h 479077"/>
                <a:gd name="connsiteX54" fmla="*/ 2620851 w 3313375"/>
                <a:gd name="connsiteY54" fmla="*/ 474282 h 479077"/>
                <a:gd name="connsiteX55" fmla="*/ 2604480 w 3313375"/>
                <a:gd name="connsiteY55" fmla="*/ 472298 h 479077"/>
                <a:gd name="connsiteX56" fmla="*/ 2588109 w 3313375"/>
                <a:gd name="connsiteY56" fmla="*/ 473786 h 479077"/>
                <a:gd name="connsiteX57" fmla="*/ 2571739 w 3313375"/>
                <a:gd name="connsiteY57" fmla="*/ 472298 h 479077"/>
                <a:gd name="connsiteX58" fmla="*/ 2555368 w 3313375"/>
                <a:gd name="connsiteY58" fmla="*/ 473290 h 479077"/>
                <a:gd name="connsiteX59" fmla="*/ 2538998 w 3313375"/>
                <a:gd name="connsiteY59" fmla="*/ 474282 h 479077"/>
                <a:gd name="connsiteX60" fmla="*/ 2522627 w 3313375"/>
                <a:gd name="connsiteY60" fmla="*/ 473290 h 479077"/>
                <a:gd name="connsiteX61" fmla="*/ 2506257 w 3313375"/>
                <a:gd name="connsiteY61" fmla="*/ 474282 h 479077"/>
                <a:gd name="connsiteX62" fmla="*/ 2489886 w 3313375"/>
                <a:gd name="connsiteY62" fmla="*/ 473786 h 479077"/>
                <a:gd name="connsiteX63" fmla="*/ 2473516 w 3313375"/>
                <a:gd name="connsiteY63" fmla="*/ 474282 h 479077"/>
                <a:gd name="connsiteX64" fmla="*/ 2457145 w 3313375"/>
                <a:gd name="connsiteY64" fmla="*/ 472794 h 479077"/>
                <a:gd name="connsiteX65" fmla="*/ 2440775 w 3313375"/>
                <a:gd name="connsiteY65" fmla="*/ 472298 h 479077"/>
                <a:gd name="connsiteX66" fmla="*/ 2424404 w 3313375"/>
                <a:gd name="connsiteY66" fmla="*/ 473786 h 479077"/>
                <a:gd name="connsiteX67" fmla="*/ 2408033 w 3313375"/>
                <a:gd name="connsiteY67" fmla="*/ 472794 h 479077"/>
                <a:gd name="connsiteX68" fmla="*/ 2391663 w 3313375"/>
                <a:gd name="connsiteY68" fmla="*/ 473290 h 479077"/>
                <a:gd name="connsiteX69" fmla="*/ 2375292 w 3313375"/>
                <a:gd name="connsiteY69" fmla="*/ 473290 h 479077"/>
                <a:gd name="connsiteX70" fmla="*/ 2358922 w 3313375"/>
                <a:gd name="connsiteY70" fmla="*/ 472794 h 479077"/>
                <a:gd name="connsiteX71" fmla="*/ 2342551 w 3313375"/>
                <a:gd name="connsiteY71" fmla="*/ 472298 h 479077"/>
                <a:gd name="connsiteX72" fmla="*/ 2326180 w 3313375"/>
                <a:gd name="connsiteY72" fmla="*/ 473786 h 479077"/>
                <a:gd name="connsiteX73" fmla="*/ 2309810 w 3313375"/>
                <a:gd name="connsiteY73" fmla="*/ 473786 h 479077"/>
                <a:gd name="connsiteX74" fmla="*/ 2293439 w 3313375"/>
                <a:gd name="connsiteY74" fmla="*/ 473786 h 479077"/>
                <a:gd name="connsiteX75" fmla="*/ 2277069 w 3313375"/>
                <a:gd name="connsiteY75" fmla="*/ 472794 h 479077"/>
                <a:gd name="connsiteX76" fmla="*/ 2260698 w 3313375"/>
                <a:gd name="connsiteY76" fmla="*/ 474282 h 479077"/>
                <a:gd name="connsiteX77" fmla="*/ 2244327 w 3313375"/>
                <a:gd name="connsiteY77" fmla="*/ 472298 h 479077"/>
                <a:gd name="connsiteX78" fmla="*/ 2227957 w 3313375"/>
                <a:gd name="connsiteY78" fmla="*/ 474282 h 479077"/>
                <a:gd name="connsiteX79" fmla="*/ 2211586 w 3313375"/>
                <a:gd name="connsiteY79" fmla="*/ 473290 h 479077"/>
                <a:gd name="connsiteX80" fmla="*/ 2195216 w 3313375"/>
                <a:gd name="connsiteY80" fmla="*/ 474282 h 479077"/>
                <a:gd name="connsiteX81" fmla="*/ 2178845 w 3313375"/>
                <a:gd name="connsiteY81" fmla="*/ 472794 h 479077"/>
                <a:gd name="connsiteX82" fmla="*/ 2162474 w 3313375"/>
                <a:gd name="connsiteY82" fmla="*/ 474778 h 479077"/>
                <a:gd name="connsiteX83" fmla="*/ 2146104 w 3313375"/>
                <a:gd name="connsiteY83" fmla="*/ 473290 h 479077"/>
                <a:gd name="connsiteX84" fmla="*/ 2129733 w 3313375"/>
                <a:gd name="connsiteY84" fmla="*/ 474778 h 479077"/>
                <a:gd name="connsiteX85" fmla="*/ 2113363 w 3313375"/>
                <a:gd name="connsiteY85" fmla="*/ 474778 h 479077"/>
                <a:gd name="connsiteX86" fmla="*/ 2096992 w 3313375"/>
                <a:gd name="connsiteY86" fmla="*/ 474778 h 479077"/>
                <a:gd name="connsiteX87" fmla="*/ 2080621 w 3313375"/>
                <a:gd name="connsiteY87" fmla="*/ 474282 h 479077"/>
                <a:gd name="connsiteX88" fmla="*/ 2064251 w 3313375"/>
                <a:gd name="connsiteY88" fmla="*/ 472794 h 479077"/>
                <a:gd name="connsiteX89" fmla="*/ 2047880 w 3313375"/>
                <a:gd name="connsiteY89" fmla="*/ 474778 h 479077"/>
                <a:gd name="connsiteX90" fmla="*/ 2031510 w 3313375"/>
                <a:gd name="connsiteY90" fmla="*/ 474778 h 479077"/>
                <a:gd name="connsiteX91" fmla="*/ 2015139 w 3313375"/>
                <a:gd name="connsiteY91" fmla="*/ 474778 h 479077"/>
                <a:gd name="connsiteX92" fmla="*/ 1998769 w 3313375"/>
                <a:gd name="connsiteY92" fmla="*/ 474282 h 479077"/>
                <a:gd name="connsiteX93" fmla="*/ 1982398 w 3313375"/>
                <a:gd name="connsiteY93" fmla="*/ 473786 h 479077"/>
                <a:gd name="connsiteX94" fmla="*/ 1966028 w 3313375"/>
                <a:gd name="connsiteY94" fmla="*/ 473786 h 479077"/>
                <a:gd name="connsiteX95" fmla="*/ 1949657 w 3313375"/>
                <a:gd name="connsiteY95" fmla="*/ 472794 h 479077"/>
                <a:gd name="connsiteX96" fmla="*/ 1933287 w 3313375"/>
                <a:gd name="connsiteY96" fmla="*/ 473290 h 479077"/>
                <a:gd name="connsiteX97" fmla="*/ 1916916 w 3313375"/>
                <a:gd name="connsiteY97" fmla="*/ 474778 h 479077"/>
                <a:gd name="connsiteX98" fmla="*/ 1900546 w 3313375"/>
                <a:gd name="connsiteY98" fmla="*/ 472794 h 479077"/>
                <a:gd name="connsiteX99" fmla="*/ 1884175 w 3313375"/>
                <a:gd name="connsiteY99" fmla="*/ 473786 h 479077"/>
                <a:gd name="connsiteX100" fmla="*/ 1867804 w 3313375"/>
                <a:gd name="connsiteY100" fmla="*/ 474778 h 479077"/>
                <a:gd name="connsiteX101" fmla="*/ 1851434 w 3313375"/>
                <a:gd name="connsiteY101" fmla="*/ 474778 h 479077"/>
                <a:gd name="connsiteX102" fmla="*/ 1835063 w 3313375"/>
                <a:gd name="connsiteY102" fmla="*/ 474778 h 479077"/>
                <a:gd name="connsiteX103" fmla="*/ 1818693 w 3313375"/>
                <a:gd name="connsiteY103" fmla="*/ 474282 h 479077"/>
                <a:gd name="connsiteX104" fmla="*/ 1802322 w 3313375"/>
                <a:gd name="connsiteY104" fmla="*/ 472794 h 479077"/>
                <a:gd name="connsiteX105" fmla="*/ 1785951 w 3313375"/>
                <a:gd name="connsiteY105" fmla="*/ 473786 h 479077"/>
                <a:gd name="connsiteX106" fmla="*/ 1769581 w 3313375"/>
                <a:gd name="connsiteY106" fmla="*/ 473290 h 479077"/>
                <a:gd name="connsiteX107" fmla="*/ 1753210 w 3313375"/>
                <a:gd name="connsiteY107" fmla="*/ 472298 h 479077"/>
                <a:gd name="connsiteX108" fmla="*/ 1736840 w 3313375"/>
                <a:gd name="connsiteY108" fmla="*/ 473290 h 479077"/>
                <a:gd name="connsiteX109" fmla="*/ 1720469 w 3313375"/>
                <a:gd name="connsiteY109" fmla="*/ 474778 h 479077"/>
                <a:gd name="connsiteX110" fmla="*/ 1704098 w 3313375"/>
                <a:gd name="connsiteY110" fmla="*/ 472794 h 479077"/>
                <a:gd name="connsiteX111" fmla="*/ 1687728 w 3313375"/>
                <a:gd name="connsiteY111" fmla="*/ 474778 h 479077"/>
                <a:gd name="connsiteX112" fmla="*/ 1671357 w 3313375"/>
                <a:gd name="connsiteY112" fmla="*/ 474778 h 479077"/>
                <a:gd name="connsiteX113" fmla="*/ 1654987 w 3313375"/>
                <a:gd name="connsiteY113" fmla="*/ 472298 h 479077"/>
                <a:gd name="connsiteX114" fmla="*/ 1638616 w 3313375"/>
                <a:gd name="connsiteY114" fmla="*/ 472794 h 479077"/>
                <a:gd name="connsiteX115" fmla="*/ 1622246 w 3313375"/>
                <a:gd name="connsiteY115" fmla="*/ 473786 h 479077"/>
                <a:gd name="connsiteX116" fmla="*/ 1605875 w 3313375"/>
                <a:gd name="connsiteY116" fmla="*/ 474778 h 479077"/>
                <a:gd name="connsiteX117" fmla="*/ 1589505 w 3313375"/>
                <a:gd name="connsiteY117" fmla="*/ 473290 h 479077"/>
                <a:gd name="connsiteX118" fmla="*/ 1573134 w 3313375"/>
                <a:gd name="connsiteY118" fmla="*/ 474778 h 479077"/>
                <a:gd name="connsiteX119" fmla="*/ 1556763 w 3313375"/>
                <a:gd name="connsiteY119" fmla="*/ 472794 h 479077"/>
                <a:gd name="connsiteX120" fmla="*/ 1540393 w 3313375"/>
                <a:gd name="connsiteY120" fmla="*/ 472794 h 479077"/>
                <a:gd name="connsiteX121" fmla="*/ 1524022 w 3313375"/>
                <a:gd name="connsiteY121" fmla="*/ 474282 h 479077"/>
                <a:gd name="connsiteX122" fmla="*/ 1507652 w 3313375"/>
                <a:gd name="connsiteY122" fmla="*/ 472794 h 479077"/>
                <a:gd name="connsiteX123" fmla="*/ 1491281 w 3313375"/>
                <a:gd name="connsiteY123" fmla="*/ 474282 h 479077"/>
                <a:gd name="connsiteX124" fmla="*/ 1474910 w 3313375"/>
                <a:gd name="connsiteY124" fmla="*/ 474282 h 479077"/>
                <a:gd name="connsiteX125" fmla="*/ 1458540 w 3313375"/>
                <a:gd name="connsiteY125" fmla="*/ 472794 h 479077"/>
                <a:gd name="connsiteX126" fmla="*/ 1442169 w 3313375"/>
                <a:gd name="connsiteY126" fmla="*/ 471802 h 479077"/>
                <a:gd name="connsiteX127" fmla="*/ 1425799 w 3313375"/>
                <a:gd name="connsiteY127" fmla="*/ 472298 h 479077"/>
                <a:gd name="connsiteX128" fmla="*/ 1409428 w 3313375"/>
                <a:gd name="connsiteY128" fmla="*/ 472794 h 479077"/>
                <a:gd name="connsiteX129" fmla="*/ 1393058 w 3313375"/>
                <a:gd name="connsiteY129" fmla="*/ 473786 h 479077"/>
                <a:gd name="connsiteX130" fmla="*/ 1376687 w 3313375"/>
                <a:gd name="connsiteY130" fmla="*/ 471802 h 479077"/>
                <a:gd name="connsiteX131" fmla="*/ 1360317 w 3313375"/>
                <a:gd name="connsiteY131" fmla="*/ 473786 h 479077"/>
                <a:gd name="connsiteX132" fmla="*/ 1343946 w 3313375"/>
                <a:gd name="connsiteY132" fmla="*/ 473786 h 479077"/>
                <a:gd name="connsiteX133" fmla="*/ 1327576 w 3313375"/>
                <a:gd name="connsiteY133" fmla="*/ 472794 h 479077"/>
                <a:gd name="connsiteX134" fmla="*/ 1311205 w 3313375"/>
                <a:gd name="connsiteY134" fmla="*/ 473786 h 479077"/>
                <a:gd name="connsiteX135" fmla="*/ 1294834 w 3313375"/>
                <a:gd name="connsiteY135" fmla="*/ 473786 h 479077"/>
                <a:gd name="connsiteX136" fmla="*/ 1278464 w 3313375"/>
                <a:gd name="connsiteY136" fmla="*/ 473786 h 479077"/>
                <a:gd name="connsiteX137" fmla="*/ 1262093 w 3313375"/>
                <a:gd name="connsiteY137" fmla="*/ 473786 h 479077"/>
                <a:gd name="connsiteX138" fmla="*/ 1245723 w 3313375"/>
                <a:gd name="connsiteY138" fmla="*/ 473290 h 479077"/>
                <a:gd name="connsiteX139" fmla="*/ 1229352 w 3313375"/>
                <a:gd name="connsiteY139" fmla="*/ 472794 h 479077"/>
                <a:gd name="connsiteX140" fmla="*/ 1212981 w 3313375"/>
                <a:gd name="connsiteY140" fmla="*/ 473786 h 479077"/>
                <a:gd name="connsiteX141" fmla="*/ 1196611 w 3313375"/>
                <a:gd name="connsiteY141" fmla="*/ 472298 h 479077"/>
                <a:gd name="connsiteX142" fmla="*/ 1180240 w 3313375"/>
                <a:gd name="connsiteY142" fmla="*/ 472794 h 479077"/>
                <a:gd name="connsiteX143" fmla="*/ 1163870 w 3313375"/>
                <a:gd name="connsiteY143" fmla="*/ 472794 h 479077"/>
                <a:gd name="connsiteX144" fmla="*/ 1147499 w 3313375"/>
                <a:gd name="connsiteY144" fmla="*/ 473786 h 479077"/>
                <a:gd name="connsiteX145" fmla="*/ 1131128 w 3313375"/>
                <a:gd name="connsiteY145" fmla="*/ 473786 h 479077"/>
                <a:gd name="connsiteX146" fmla="*/ 1114758 w 3313375"/>
                <a:gd name="connsiteY146" fmla="*/ 472794 h 479077"/>
                <a:gd name="connsiteX147" fmla="*/ 1098387 w 3313375"/>
                <a:gd name="connsiteY147" fmla="*/ 473786 h 479077"/>
                <a:gd name="connsiteX148" fmla="*/ 1082017 w 3313375"/>
                <a:gd name="connsiteY148" fmla="*/ 474778 h 479077"/>
                <a:gd name="connsiteX149" fmla="*/ 1065646 w 3313375"/>
                <a:gd name="connsiteY149" fmla="*/ 474778 h 479077"/>
                <a:gd name="connsiteX150" fmla="*/ 1049276 w 3313375"/>
                <a:gd name="connsiteY150" fmla="*/ 474282 h 479077"/>
                <a:gd name="connsiteX151" fmla="*/ 1032905 w 3313375"/>
                <a:gd name="connsiteY151" fmla="*/ 473290 h 479077"/>
                <a:gd name="connsiteX152" fmla="*/ 1016535 w 3313375"/>
                <a:gd name="connsiteY152" fmla="*/ 474282 h 479077"/>
                <a:gd name="connsiteX153" fmla="*/ 1000164 w 3313375"/>
                <a:gd name="connsiteY153" fmla="*/ 474282 h 479077"/>
                <a:gd name="connsiteX154" fmla="*/ 983793 w 3313375"/>
                <a:gd name="connsiteY154" fmla="*/ 472794 h 479077"/>
                <a:gd name="connsiteX155" fmla="*/ 967423 w 3313375"/>
                <a:gd name="connsiteY155" fmla="*/ 472794 h 479077"/>
                <a:gd name="connsiteX156" fmla="*/ 951052 w 3313375"/>
                <a:gd name="connsiteY156" fmla="*/ 473786 h 479077"/>
                <a:gd name="connsiteX157" fmla="*/ 934682 w 3313375"/>
                <a:gd name="connsiteY157" fmla="*/ 474282 h 479077"/>
                <a:gd name="connsiteX158" fmla="*/ 918311 w 3313375"/>
                <a:gd name="connsiteY158" fmla="*/ 474778 h 479077"/>
                <a:gd name="connsiteX159" fmla="*/ 901940 w 3313375"/>
                <a:gd name="connsiteY159" fmla="*/ 473290 h 479077"/>
                <a:gd name="connsiteX160" fmla="*/ 885570 w 3313375"/>
                <a:gd name="connsiteY160" fmla="*/ 474778 h 479077"/>
                <a:gd name="connsiteX161" fmla="*/ 869199 w 3313375"/>
                <a:gd name="connsiteY161" fmla="*/ 474282 h 479077"/>
                <a:gd name="connsiteX162" fmla="*/ 852829 w 3313375"/>
                <a:gd name="connsiteY162" fmla="*/ 473786 h 479077"/>
                <a:gd name="connsiteX163" fmla="*/ 836458 w 3313375"/>
                <a:gd name="connsiteY163" fmla="*/ 474778 h 479077"/>
                <a:gd name="connsiteX164" fmla="*/ 820088 w 3313375"/>
                <a:gd name="connsiteY164" fmla="*/ 475274 h 479077"/>
                <a:gd name="connsiteX165" fmla="*/ 803717 w 3313375"/>
                <a:gd name="connsiteY165" fmla="*/ 473786 h 479077"/>
                <a:gd name="connsiteX166" fmla="*/ 787347 w 3313375"/>
                <a:gd name="connsiteY166" fmla="*/ 475770 h 479077"/>
                <a:gd name="connsiteX167" fmla="*/ 770976 w 3313375"/>
                <a:gd name="connsiteY167" fmla="*/ 474778 h 479077"/>
                <a:gd name="connsiteX168" fmla="*/ 754605 w 3313375"/>
                <a:gd name="connsiteY168" fmla="*/ 475274 h 479077"/>
                <a:gd name="connsiteX169" fmla="*/ 738235 w 3313375"/>
                <a:gd name="connsiteY169" fmla="*/ 473786 h 479077"/>
                <a:gd name="connsiteX170" fmla="*/ 721864 w 3313375"/>
                <a:gd name="connsiteY170" fmla="*/ 475274 h 479077"/>
                <a:gd name="connsiteX171" fmla="*/ 705494 w 3313375"/>
                <a:gd name="connsiteY171" fmla="*/ 475770 h 479077"/>
                <a:gd name="connsiteX172" fmla="*/ 689123 w 3313375"/>
                <a:gd name="connsiteY172" fmla="*/ 474282 h 479077"/>
                <a:gd name="connsiteX173" fmla="*/ 672753 w 3313375"/>
                <a:gd name="connsiteY173" fmla="*/ 475274 h 479077"/>
                <a:gd name="connsiteX174" fmla="*/ 656382 w 3313375"/>
                <a:gd name="connsiteY174" fmla="*/ 474778 h 479077"/>
                <a:gd name="connsiteX175" fmla="*/ 640011 w 3313375"/>
                <a:gd name="connsiteY175" fmla="*/ 475770 h 479077"/>
                <a:gd name="connsiteX176" fmla="*/ 623641 w 3313375"/>
                <a:gd name="connsiteY176" fmla="*/ 473786 h 479077"/>
                <a:gd name="connsiteX177" fmla="*/ 607270 w 3313375"/>
                <a:gd name="connsiteY177" fmla="*/ 474778 h 479077"/>
                <a:gd name="connsiteX178" fmla="*/ 590900 w 3313375"/>
                <a:gd name="connsiteY178" fmla="*/ 475274 h 479077"/>
                <a:gd name="connsiteX179" fmla="*/ 574529 w 3313375"/>
                <a:gd name="connsiteY179" fmla="*/ 474282 h 479077"/>
                <a:gd name="connsiteX180" fmla="*/ 558158 w 3313375"/>
                <a:gd name="connsiteY180" fmla="*/ 475274 h 479077"/>
                <a:gd name="connsiteX181" fmla="*/ 541788 w 3313375"/>
                <a:gd name="connsiteY181" fmla="*/ 475770 h 479077"/>
                <a:gd name="connsiteX182" fmla="*/ 525417 w 3313375"/>
                <a:gd name="connsiteY182" fmla="*/ 474282 h 479077"/>
                <a:gd name="connsiteX183" fmla="*/ 509047 w 3313375"/>
                <a:gd name="connsiteY183" fmla="*/ 473786 h 479077"/>
                <a:gd name="connsiteX184" fmla="*/ 492676 w 3313375"/>
                <a:gd name="connsiteY184" fmla="*/ 473786 h 479077"/>
                <a:gd name="connsiteX185" fmla="*/ 476306 w 3313375"/>
                <a:gd name="connsiteY185" fmla="*/ 474778 h 479077"/>
                <a:gd name="connsiteX186" fmla="*/ 459935 w 3313375"/>
                <a:gd name="connsiteY186" fmla="*/ 473786 h 479077"/>
                <a:gd name="connsiteX187" fmla="*/ 443565 w 3313375"/>
                <a:gd name="connsiteY187" fmla="*/ 474778 h 479077"/>
                <a:gd name="connsiteX188" fmla="*/ 427194 w 3313375"/>
                <a:gd name="connsiteY188" fmla="*/ 474282 h 479077"/>
                <a:gd name="connsiteX189" fmla="*/ 410823 w 3313375"/>
                <a:gd name="connsiteY189" fmla="*/ 473290 h 479077"/>
                <a:gd name="connsiteX190" fmla="*/ 394453 w 3313375"/>
                <a:gd name="connsiteY190" fmla="*/ 475770 h 479077"/>
                <a:gd name="connsiteX191" fmla="*/ 378082 w 3313375"/>
                <a:gd name="connsiteY191" fmla="*/ 475274 h 479077"/>
                <a:gd name="connsiteX192" fmla="*/ 361712 w 3313375"/>
                <a:gd name="connsiteY192" fmla="*/ 474778 h 479077"/>
                <a:gd name="connsiteX193" fmla="*/ 345341 w 3313375"/>
                <a:gd name="connsiteY193" fmla="*/ 476266 h 479077"/>
                <a:gd name="connsiteX194" fmla="*/ 328970 w 3313375"/>
                <a:gd name="connsiteY194" fmla="*/ 474282 h 479077"/>
                <a:gd name="connsiteX195" fmla="*/ 312600 w 3313375"/>
                <a:gd name="connsiteY195" fmla="*/ 475274 h 479077"/>
                <a:gd name="connsiteX196" fmla="*/ 296229 w 3313375"/>
                <a:gd name="connsiteY196" fmla="*/ 474282 h 479077"/>
                <a:gd name="connsiteX197" fmla="*/ 279859 w 3313375"/>
                <a:gd name="connsiteY197" fmla="*/ 475770 h 479077"/>
                <a:gd name="connsiteX198" fmla="*/ 263488 w 3313375"/>
                <a:gd name="connsiteY198" fmla="*/ 476266 h 479077"/>
                <a:gd name="connsiteX199" fmla="*/ 247118 w 3313375"/>
                <a:gd name="connsiteY199" fmla="*/ 476266 h 479077"/>
                <a:gd name="connsiteX200" fmla="*/ 230747 w 3313375"/>
                <a:gd name="connsiteY200" fmla="*/ 474778 h 479077"/>
                <a:gd name="connsiteX201" fmla="*/ 214376 w 3313375"/>
                <a:gd name="connsiteY201" fmla="*/ 474778 h 479077"/>
                <a:gd name="connsiteX202" fmla="*/ 198006 w 3313375"/>
                <a:gd name="connsiteY202" fmla="*/ 476762 h 479077"/>
                <a:gd name="connsiteX203" fmla="*/ 181635 w 3313375"/>
                <a:gd name="connsiteY203" fmla="*/ 476266 h 479077"/>
                <a:gd name="connsiteX204" fmla="*/ 165265 w 3313375"/>
                <a:gd name="connsiteY204" fmla="*/ 474778 h 479077"/>
                <a:gd name="connsiteX205" fmla="*/ 148894 w 3313375"/>
                <a:gd name="connsiteY205" fmla="*/ 476762 h 479077"/>
                <a:gd name="connsiteX206" fmla="*/ 132524 w 3313375"/>
                <a:gd name="connsiteY206" fmla="*/ 476266 h 479077"/>
                <a:gd name="connsiteX207" fmla="*/ 116153 w 3313375"/>
                <a:gd name="connsiteY207" fmla="*/ 475274 h 479077"/>
                <a:gd name="connsiteX208" fmla="*/ 99783 w 3313375"/>
                <a:gd name="connsiteY208" fmla="*/ 475274 h 479077"/>
                <a:gd name="connsiteX209" fmla="*/ 83412 w 3313375"/>
                <a:gd name="connsiteY209" fmla="*/ 475274 h 479077"/>
                <a:gd name="connsiteX210" fmla="*/ 67041 w 3313375"/>
                <a:gd name="connsiteY210" fmla="*/ 474778 h 479077"/>
                <a:gd name="connsiteX211" fmla="*/ 50671 w 3313375"/>
                <a:gd name="connsiteY211" fmla="*/ 475274 h 479077"/>
                <a:gd name="connsiteX212" fmla="*/ 34300 w 3313375"/>
                <a:gd name="connsiteY212" fmla="*/ 475274 h 479077"/>
                <a:gd name="connsiteX213" fmla="*/ 17930 w 3313375"/>
                <a:gd name="connsiteY213" fmla="*/ 475770 h 479077"/>
                <a:gd name="connsiteX214" fmla="*/ 567 w 3313375"/>
                <a:gd name="connsiteY214" fmla="*/ 475770 h 479077"/>
                <a:gd name="connsiteX215" fmla="*/ 12969 w 3313375"/>
                <a:gd name="connsiteY215" fmla="*/ 463368 h 479077"/>
                <a:gd name="connsiteX216" fmla="*/ 24379 w 3313375"/>
                <a:gd name="connsiteY216" fmla="*/ 451958 h 479077"/>
                <a:gd name="connsiteX217" fmla="*/ 35788 w 3313375"/>
                <a:gd name="connsiteY217" fmla="*/ 440053 h 479077"/>
                <a:gd name="connsiteX218" fmla="*/ 48686 w 3313375"/>
                <a:gd name="connsiteY218" fmla="*/ 430131 h 479077"/>
                <a:gd name="connsiteX219" fmla="*/ 59600 w 3313375"/>
                <a:gd name="connsiteY219" fmla="*/ 418225 h 479077"/>
                <a:gd name="connsiteX220" fmla="*/ 70514 w 3313375"/>
                <a:gd name="connsiteY220" fmla="*/ 405823 h 479077"/>
                <a:gd name="connsiteX221" fmla="*/ 83412 w 3313375"/>
                <a:gd name="connsiteY221" fmla="*/ 395406 h 479077"/>
                <a:gd name="connsiteX222" fmla="*/ 94822 w 3313375"/>
                <a:gd name="connsiteY222" fmla="*/ 383500 h 479077"/>
                <a:gd name="connsiteX223" fmla="*/ 106728 w 3313375"/>
                <a:gd name="connsiteY223" fmla="*/ 372090 h 479077"/>
                <a:gd name="connsiteX224" fmla="*/ 117145 w 3313375"/>
                <a:gd name="connsiteY224" fmla="*/ 359688 h 479077"/>
                <a:gd name="connsiteX225" fmla="*/ 128555 w 3313375"/>
                <a:gd name="connsiteY225" fmla="*/ 348278 h 479077"/>
                <a:gd name="connsiteX226" fmla="*/ 140461 w 3313375"/>
                <a:gd name="connsiteY226" fmla="*/ 336868 h 479077"/>
                <a:gd name="connsiteX227" fmla="*/ 152863 w 3313375"/>
                <a:gd name="connsiteY227" fmla="*/ 326451 h 479077"/>
                <a:gd name="connsiteX228" fmla="*/ 164769 w 3313375"/>
                <a:gd name="connsiteY228" fmla="*/ 315041 h 479077"/>
                <a:gd name="connsiteX229" fmla="*/ 176178 w 3313375"/>
                <a:gd name="connsiteY229" fmla="*/ 303135 h 479077"/>
                <a:gd name="connsiteX230" fmla="*/ 188084 w 3313375"/>
                <a:gd name="connsiteY230" fmla="*/ 291725 h 479077"/>
                <a:gd name="connsiteX231" fmla="*/ 199494 w 3313375"/>
                <a:gd name="connsiteY231" fmla="*/ 280315 h 479077"/>
                <a:gd name="connsiteX232" fmla="*/ 210904 w 3313375"/>
                <a:gd name="connsiteY232" fmla="*/ 268906 h 479077"/>
                <a:gd name="connsiteX233" fmla="*/ 221818 w 3313375"/>
                <a:gd name="connsiteY233" fmla="*/ 256504 h 479077"/>
                <a:gd name="connsiteX234" fmla="*/ 233724 w 3313375"/>
                <a:gd name="connsiteY234" fmla="*/ 245094 h 479077"/>
                <a:gd name="connsiteX235" fmla="*/ 244141 w 3313375"/>
                <a:gd name="connsiteY235" fmla="*/ 232692 h 479077"/>
                <a:gd name="connsiteX236" fmla="*/ 257039 w 3313375"/>
                <a:gd name="connsiteY236" fmla="*/ 222770 h 479077"/>
                <a:gd name="connsiteX237" fmla="*/ 266961 w 3313375"/>
                <a:gd name="connsiteY237" fmla="*/ 209376 h 479077"/>
                <a:gd name="connsiteX238" fmla="*/ 278371 w 3313375"/>
                <a:gd name="connsiteY238" fmla="*/ 197966 h 479077"/>
                <a:gd name="connsiteX239" fmla="*/ 291269 w 3313375"/>
                <a:gd name="connsiteY239" fmla="*/ 188045 h 479077"/>
                <a:gd name="connsiteX240" fmla="*/ 301686 w 3313375"/>
                <a:gd name="connsiteY240" fmla="*/ 175147 h 479077"/>
                <a:gd name="connsiteX241" fmla="*/ 313592 w 3313375"/>
                <a:gd name="connsiteY241" fmla="*/ 163737 h 479077"/>
                <a:gd name="connsiteX242" fmla="*/ 325994 w 3313375"/>
                <a:gd name="connsiteY242" fmla="*/ 153319 h 479077"/>
                <a:gd name="connsiteX243" fmla="*/ 337404 w 3313375"/>
                <a:gd name="connsiteY243" fmla="*/ 141910 h 479077"/>
                <a:gd name="connsiteX244" fmla="*/ 347325 w 3313375"/>
                <a:gd name="connsiteY244" fmla="*/ 129012 h 479077"/>
                <a:gd name="connsiteX245" fmla="*/ 360224 w 3313375"/>
                <a:gd name="connsiteY245" fmla="*/ 118594 h 479077"/>
                <a:gd name="connsiteX246" fmla="*/ 371137 w 3313375"/>
                <a:gd name="connsiteY246" fmla="*/ 106192 h 479077"/>
                <a:gd name="connsiteX247" fmla="*/ 382051 w 3313375"/>
                <a:gd name="connsiteY247" fmla="*/ 93790 h 479077"/>
                <a:gd name="connsiteX248" fmla="*/ 393957 w 3313375"/>
                <a:gd name="connsiteY248" fmla="*/ 82380 h 479077"/>
                <a:gd name="connsiteX249" fmla="*/ 405366 w 3313375"/>
                <a:gd name="connsiteY249" fmla="*/ 70475 h 479077"/>
                <a:gd name="connsiteX250" fmla="*/ 417272 w 3313375"/>
                <a:gd name="connsiteY250" fmla="*/ 59561 h 479077"/>
                <a:gd name="connsiteX251" fmla="*/ 429674 w 3313375"/>
                <a:gd name="connsiteY251" fmla="*/ 48647 h 479077"/>
                <a:gd name="connsiteX252" fmla="*/ 440092 w 3313375"/>
                <a:gd name="connsiteY252" fmla="*/ 35749 h 479077"/>
                <a:gd name="connsiteX253" fmla="*/ 452494 w 3313375"/>
                <a:gd name="connsiteY253" fmla="*/ 24835 h 479077"/>
                <a:gd name="connsiteX254" fmla="*/ 463904 w 3313375"/>
                <a:gd name="connsiteY254" fmla="*/ 12929 h 479077"/>
                <a:gd name="connsiteX255" fmla="*/ 475313 w 3313375"/>
                <a:gd name="connsiteY255" fmla="*/ 1024 h 479077"/>
                <a:gd name="connsiteX256" fmla="*/ 491684 w 3313375"/>
                <a:gd name="connsiteY256" fmla="*/ 2512 h 479077"/>
                <a:gd name="connsiteX257" fmla="*/ 508055 w 3313375"/>
                <a:gd name="connsiteY257" fmla="*/ 2512 h 479077"/>
                <a:gd name="connsiteX258" fmla="*/ 524425 w 3313375"/>
                <a:gd name="connsiteY258" fmla="*/ 2512 h 479077"/>
                <a:gd name="connsiteX259" fmla="*/ 540796 w 3313375"/>
                <a:gd name="connsiteY259" fmla="*/ 1024 h 479077"/>
                <a:gd name="connsiteX260" fmla="*/ 557166 w 3313375"/>
                <a:gd name="connsiteY260" fmla="*/ 2512 h 479077"/>
                <a:gd name="connsiteX261" fmla="*/ 573537 w 3313375"/>
                <a:gd name="connsiteY261" fmla="*/ 1024 h 479077"/>
                <a:gd name="connsiteX262" fmla="*/ 589908 w 3313375"/>
                <a:gd name="connsiteY262" fmla="*/ 527 h 479077"/>
                <a:gd name="connsiteX263" fmla="*/ 606278 w 3313375"/>
                <a:gd name="connsiteY263" fmla="*/ 1520 h 479077"/>
                <a:gd name="connsiteX264" fmla="*/ 622649 w 3313375"/>
                <a:gd name="connsiteY264" fmla="*/ 1520 h 479077"/>
                <a:gd name="connsiteX265" fmla="*/ 639019 w 3313375"/>
                <a:gd name="connsiteY265" fmla="*/ 2016 h 479077"/>
                <a:gd name="connsiteX266" fmla="*/ 655390 w 3313375"/>
                <a:gd name="connsiteY266" fmla="*/ 527 h 479077"/>
                <a:gd name="connsiteX267" fmla="*/ 671760 w 3313375"/>
                <a:gd name="connsiteY267" fmla="*/ 1520 h 479077"/>
                <a:gd name="connsiteX268" fmla="*/ 688131 w 3313375"/>
                <a:gd name="connsiteY268" fmla="*/ 2512 h 479077"/>
                <a:gd name="connsiteX269" fmla="*/ 704501 w 3313375"/>
                <a:gd name="connsiteY269" fmla="*/ 1024 h 479077"/>
                <a:gd name="connsiteX270" fmla="*/ 720872 w 3313375"/>
                <a:gd name="connsiteY270" fmla="*/ 1520 h 479077"/>
                <a:gd name="connsiteX271" fmla="*/ 737243 w 3313375"/>
                <a:gd name="connsiteY271" fmla="*/ 2016 h 479077"/>
                <a:gd name="connsiteX272" fmla="*/ 753613 w 3313375"/>
                <a:gd name="connsiteY272" fmla="*/ 1024 h 479077"/>
                <a:gd name="connsiteX273" fmla="*/ 769984 w 3313375"/>
                <a:gd name="connsiteY273" fmla="*/ 527 h 479077"/>
                <a:gd name="connsiteX274" fmla="*/ 786354 w 3313375"/>
                <a:gd name="connsiteY274" fmla="*/ 1520 h 479077"/>
                <a:gd name="connsiteX275" fmla="*/ 802725 w 3313375"/>
                <a:gd name="connsiteY275" fmla="*/ 527 h 479077"/>
                <a:gd name="connsiteX276" fmla="*/ 819096 w 3313375"/>
                <a:gd name="connsiteY276" fmla="*/ 2512 h 479077"/>
                <a:gd name="connsiteX277" fmla="*/ 835466 w 3313375"/>
                <a:gd name="connsiteY277" fmla="*/ 527 h 479077"/>
                <a:gd name="connsiteX278" fmla="*/ 851837 w 3313375"/>
                <a:gd name="connsiteY278" fmla="*/ 1520 h 479077"/>
                <a:gd name="connsiteX279" fmla="*/ 868207 w 3313375"/>
                <a:gd name="connsiteY279" fmla="*/ 2016 h 479077"/>
                <a:gd name="connsiteX280" fmla="*/ 884578 w 3313375"/>
                <a:gd name="connsiteY280" fmla="*/ 2512 h 479077"/>
                <a:gd name="connsiteX281" fmla="*/ 900948 w 3313375"/>
                <a:gd name="connsiteY281" fmla="*/ 1520 h 479077"/>
                <a:gd name="connsiteX282" fmla="*/ 917319 w 3313375"/>
                <a:gd name="connsiteY282" fmla="*/ 1024 h 479077"/>
                <a:gd name="connsiteX283" fmla="*/ 933689 w 3313375"/>
                <a:gd name="connsiteY283" fmla="*/ 2512 h 479077"/>
                <a:gd name="connsiteX284" fmla="*/ 950060 w 3313375"/>
                <a:gd name="connsiteY284" fmla="*/ 1520 h 479077"/>
                <a:gd name="connsiteX285" fmla="*/ 966431 w 3313375"/>
                <a:gd name="connsiteY285" fmla="*/ 2016 h 479077"/>
                <a:gd name="connsiteX286" fmla="*/ 982801 w 3313375"/>
                <a:gd name="connsiteY286" fmla="*/ 2512 h 479077"/>
                <a:gd name="connsiteX287" fmla="*/ 999172 w 3313375"/>
                <a:gd name="connsiteY287" fmla="*/ 1520 h 479077"/>
                <a:gd name="connsiteX288" fmla="*/ 1015542 w 3313375"/>
                <a:gd name="connsiteY288" fmla="*/ 2512 h 479077"/>
                <a:gd name="connsiteX289" fmla="*/ 1031913 w 3313375"/>
                <a:gd name="connsiteY289" fmla="*/ 1520 h 479077"/>
                <a:gd name="connsiteX290" fmla="*/ 1048283 w 3313375"/>
                <a:gd name="connsiteY290" fmla="*/ 2016 h 479077"/>
                <a:gd name="connsiteX291" fmla="*/ 1064654 w 3313375"/>
                <a:gd name="connsiteY291" fmla="*/ 3504 h 479077"/>
                <a:gd name="connsiteX292" fmla="*/ 1081025 w 3313375"/>
                <a:gd name="connsiteY292" fmla="*/ 2016 h 479077"/>
                <a:gd name="connsiteX293" fmla="*/ 1097395 w 3313375"/>
                <a:gd name="connsiteY293" fmla="*/ 2512 h 479077"/>
                <a:gd name="connsiteX294" fmla="*/ 1113766 w 3313375"/>
                <a:gd name="connsiteY294" fmla="*/ 2512 h 479077"/>
                <a:gd name="connsiteX295" fmla="*/ 1130136 w 3313375"/>
                <a:gd name="connsiteY295" fmla="*/ 3504 h 479077"/>
                <a:gd name="connsiteX296" fmla="*/ 1146507 w 3313375"/>
                <a:gd name="connsiteY296" fmla="*/ 1520 h 479077"/>
                <a:gd name="connsiteX297" fmla="*/ 1162878 w 3313375"/>
                <a:gd name="connsiteY297" fmla="*/ 3008 h 479077"/>
                <a:gd name="connsiteX298" fmla="*/ 1179248 w 3313375"/>
                <a:gd name="connsiteY298" fmla="*/ 4000 h 479077"/>
                <a:gd name="connsiteX299" fmla="*/ 1195619 w 3313375"/>
                <a:gd name="connsiteY299" fmla="*/ 3504 h 479077"/>
                <a:gd name="connsiteX300" fmla="*/ 1211989 w 3313375"/>
                <a:gd name="connsiteY300" fmla="*/ 1520 h 479077"/>
                <a:gd name="connsiteX301" fmla="*/ 1228360 w 3313375"/>
                <a:gd name="connsiteY301" fmla="*/ 3504 h 479077"/>
                <a:gd name="connsiteX302" fmla="*/ 1244730 w 3313375"/>
                <a:gd name="connsiteY302" fmla="*/ 1520 h 479077"/>
                <a:gd name="connsiteX303" fmla="*/ 1261101 w 3313375"/>
                <a:gd name="connsiteY303" fmla="*/ 2512 h 479077"/>
                <a:gd name="connsiteX304" fmla="*/ 1277471 w 3313375"/>
                <a:gd name="connsiteY304" fmla="*/ 3504 h 479077"/>
                <a:gd name="connsiteX305" fmla="*/ 1293842 w 3313375"/>
                <a:gd name="connsiteY305" fmla="*/ 4000 h 479077"/>
                <a:gd name="connsiteX306" fmla="*/ 1310213 w 3313375"/>
                <a:gd name="connsiteY306" fmla="*/ 1520 h 479077"/>
                <a:gd name="connsiteX307" fmla="*/ 1326583 w 3313375"/>
                <a:gd name="connsiteY307" fmla="*/ 2016 h 479077"/>
                <a:gd name="connsiteX308" fmla="*/ 1342954 w 3313375"/>
                <a:gd name="connsiteY308" fmla="*/ 3008 h 479077"/>
                <a:gd name="connsiteX309" fmla="*/ 1359324 w 3313375"/>
                <a:gd name="connsiteY309" fmla="*/ 3008 h 479077"/>
                <a:gd name="connsiteX310" fmla="*/ 1375695 w 3313375"/>
                <a:gd name="connsiteY310" fmla="*/ 2512 h 479077"/>
                <a:gd name="connsiteX311" fmla="*/ 1392066 w 3313375"/>
                <a:gd name="connsiteY311" fmla="*/ 2512 h 479077"/>
                <a:gd name="connsiteX312" fmla="*/ 1408436 w 3313375"/>
                <a:gd name="connsiteY312" fmla="*/ 3504 h 479077"/>
                <a:gd name="connsiteX313" fmla="*/ 1424807 w 3313375"/>
                <a:gd name="connsiteY313" fmla="*/ 3504 h 479077"/>
                <a:gd name="connsiteX314" fmla="*/ 1441177 w 3313375"/>
                <a:gd name="connsiteY314" fmla="*/ 1520 h 479077"/>
                <a:gd name="connsiteX315" fmla="*/ 1457548 w 3313375"/>
                <a:gd name="connsiteY315" fmla="*/ 2512 h 479077"/>
                <a:gd name="connsiteX316" fmla="*/ 1473919 w 3313375"/>
                <a:gd name="connsiteY316" fmla="*/ 2016 h 479077"/>
                <a:gd name="connsiteX317" fmla="*/ 1490289 w 3313375"/>
                <a:gd name="connsiteY317" fmla="*/ 2016 h 479077"/>
                <a:gd name="connsiteX318" fmla="*/ 1506660 w 3313375"/>
                <a:gd name="connsiteY318" fmla="*/ 1520 h 479077"/>
                <a:gd name="connsiteX319" fmla="*/ 1523030 w 3313375"/>
                <a:gd name="connsiteY319" fmla="*/ 3504 h 479077"/>
                <a:gd name="connsiteX320" fmla="*/ 1539401 w 3313375"/>
                <a:gd name="connsiteY320" fmla="*/ 3008 h 479077"/>
                <a:gd name="connsiteX321" fmla="*/ 1555771 w 3313375"/>
                <a:gd name="connsiteY321" fmla="*/ 3008 h 479077"/>
                <a:gd name="connsiteX322" fmla="*/ 1572142 w 3313375"/>
                <a:gd name="connsiteY322" fmla="*/ 2512 h 479077"/>
                <a:gd name="connsiteX323" fmla="*/ 1588512 w 3313375"/>
                <a:gd name="connsiteY323" fmla="*/ 2016 h 479077"/>
                <a:gd name="connsiteX324" fmla="*/ 1604883 w 3313375"/>
                <a:gd name="connsiteY324" fmla="*/ 3008 h 479077"/>
                <a:gd name="connsiteX325" fmla="*/ 1621253 w 3313375"/>
                <a:gd name="connsiteY325" fmla="*/ 3008 h 479077"/>
                <a:gd name="connsiteX326" fmla="*/ 1637624 w 3313375"/>
                <a:gd name="connsiteY326" fmla="*/ 2512 h 479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</a:cxnLst>
              <a:rect l="l" t="t" r="r" b="b"/>
              <a:pathLst>
                <a:path w="3313375" h="479077">
                  <a:moveTo>
                    <a:pt x="3313375" y="10945"/>
                  </a:moveTo>
                  <a:cubicBezTo>
                    <a:pt x="3307422" y="16898"/>
                    <a:pt x="3306431" y="15906"/>
                    <a:pt x="3300973" y="21363"/>
                  </a:cubicBezTo>
                  <a:cubicBezTo>
                    <a:pt x="3295021" y="27316"/>
                    <a:pt x="3294525" y="26820"/>
                    <a:pt x="3289068" y="32276"/>
                  </a:cubicBezTo>
                  <a:cubicBezTo>
                    <a:pt x="3283115" y="38229"/>
                    <a:pt x="3283610" y="38229"/>
                    <a:pt x="3277658" y="43686"/>
                  </a:cubicBezTo>
                  <a:cubicBezTo>
                    <a:pt x="3271705" y="49639"/>
                    <a:pt x="3272201" y="49639"/>
                    <a:pt x="3266248" y="55592"/>
                  </a:cubicBezTo>
                  <a:cubicBezTo>
                    <a:pt x="3260295" y="61545"/>
                    <a:pt x="3261784" y="62537"/>
                    <a:pt x="3255830" y="68490"/>
                  </a:cubicBezTo>
                  <a:cubicBezTo>
                    <a:pt x="3249878" y="74443"/>
                    <a:pt x="3249878" y="73947"/>
                    <a:pt x="3243924" y="79900"/>
                  </a:cubicBezTo>
                  <a:cubicBezTo>
                    <a:pt x="3237972" y="85853"/>
                    <a:pt x="3237476" y="84861"/>
                    <a:pt x="3231522" y="90814"/>
                  </a:cubicBezTo>
                  <a:cubicBezTo>
                    <a:pt x="3225570" y="96767"/>
                    <a:pt x="3226066" y="97263"/>
                    <a:pt x="3220609" y="102720"/>
                  </a:cubicBezTo>
                  <a:cubicBezTo>
                    <a:pt x="3214656" y="108672"/>
                    <a:pt x="3213664" y="107184"/>
                    <a:pt x="3208207" y="113137"/>
                  </a:cubicBezTo>
                  <a:cubicBezTo>
                    <a:pt x="3202254" y="119090"/>
                    <a:pt x="3202750" y="119586"/>
                    <a:pt x="3197293" y="125043"/>
                  </a:cubicBezTo>
                  <a:cubicBezTo>
                    <a:pt x="3191340" y="130996"/>
                    <a:pt x="3191340" y="130500"/>
                    <a:pt x="3185387" y="136453"/>
                  </a:cubicBezTo>
                  <a:cubicBezTo>
                    <a:pt x="3179434" y="142406"/>
                    <a:pt x="3180923" y="143398"/>
                    <a:pt x="3174970" y="148855"/>
                  </a:cubicBezTo>
                  <a:cubicBezTo>
                    <a:pt x="3169017" y="154808"/>
                    <a:pt x="3168025" y="153319"/>
                    <a:pt x="3162071" y="159272"/>
                  </a:cubicBezTo>
                  <a:cubicBezTo>
                    <a:pt x="3156119" y="165225"/>
                    <a:pt x="3157111" y="165721"/>
                    <a:pt x="3151158" y="171674"/>
                  </a:cubicBezTo>
                  <a:cubicBezTo>
                    <a:pt x="3145205" y="177627"/>
                    <a:pt x="3144709" y="177131"/>
                    <a:pt x="3139252" y="182588"/>
                  </a:cubicBezTo>
                  <a:cubicBezTo>
                    <a:pt x="3133299" y="188541"/>
                    <a:pt x="3133795" y="188541"/>
                    <a:pt x="3127843" y="194494"/>
                  </a:cubicBezTo>
                  <a:lnTo>
                    <a:pt x="3116432" y="205904"/>
                  </a:lnTo>
                  <a:cubicBezTo>
                    <a:pt x="3110480" y="211857"/>
                    <a:pt x="3110976" y="211857"/>
                    <a:pt x="3105022" y="217810"/>
                  </a:cubicBezTo>
                  <a:cubicBezTo>
                    <a:pt x="3099070" y="223763"/>
                    <a:pt x="3099070" y="223266"/>
                    <a:pt x="3093117" y="229219"/>
                  </a:cubicBezTo>
                  <a:lnTo>
                    <a:pt x="3081707" y="240629"/>
                  </a:lnTo>
                  <a:cubicBezTo>
                    <a:pt x="3075754" y="246582"/>
                    <a:pt x="3075258" y="245590"/>
                    <a:pt x="3069305" y="251543"/>
                  </a:cubicBezTo>
                  <a:cubicBezTo>
                    <a:pt x="3063352" y="257496"/>
                    <a:pt x="3063848" y="257496"/>
                    <a:pt x="3057895" y="263449"/>
                  </a:cubicBezTo>
                  <a:cubicBezTo>
                    <a:pt x="3051942" y="269402"/>
                    <a:pt x="3052438" y="269402"/>
                    <a:pt x="3046486" y="275355"/>
                  </a:cubicBezTo>
                  <a:cubicBezTo>
                    <a:pt x="3040532" y="281308"/>
                    <a:pt x="3041029" y="281308"/>
                    <a:pt x="3035572" y="287260"/>
                  </a:cubicBezTo>
                  <a:cubicBezTo>
                    <a:pt x="3029619" y="293213"/>
                    <a:pt x="3030115" y="293710"/>
                    <a:pt x="3024658" y="299166"/>
                  </a:cubicBezTo>
                  <a:cubicBezTo>
                    <a:pt x="3018705" y="305119"/>
                    <a:pt x="3019201" y="305119"/>
                    <a:pt x="3013248" y="311072"/>
                  </a:cubicBezTo>
                  <a:cubicBezTo>
                    <a:pt x="3007295" y="317025"/>
                    <a:pt x="3006303" y="315537"/>
                    <a:pt x="3000350" y="321490"/>
                  </a:cubicBezTo>
                  <a:cubicBezTo>
                    <a:pt x="2994397" y="327443"/>
                    <a:pt x="2994893" y="327443"/>
                    <a:pt x="2988941" y="333396"/>
                  </a:cubicBezTo>
                  <a:cubicBezTo>
                    <a:pt x="2982987" y="339349"/>
                    <a:pt x="2982491" y="338357"/>
                    <a:pt x="2976539" y="344309"/>
                  </a:cubicBezTo>
                  <a:cubicBezTo>
                    <a:pt x="2970585" y="350262"/>
                    <a:pt x="2971081" y="350262"/>
                    <a:pt x="2965129" y="356215"/>
                  </a:cubicBezTo>
                  <a:cubicBezTo>
                    <a:pt x="2959176" y="362168"/>
                    <a:pt x="2959176" y="361672"/>
                    <a:pt x="2953223" y="367625"/>
                  </a:cubicBezTo>
                  <a:cubicBezTo>
                    <a:pt x="2947270" y="373578"/>
                    <a:pt x="2947766" y="373578"/>
                    <a:pt x="2941813" y="379531"/>
                  </a:cubicBezTo>
                  <a:cubicBezTo>
                    <a:pt x="2935860" y="385484"/>
                    <a:pt x="2937348" y="386476"/>
                    <a:pt x="2931395" y="392429"/>
                  </a:cubicBezTo>
                  <a:cubicBezTo>
                    <a:pt x="2925442" y="398382"/>
                    <a:pt x="2924451" y="396894"/>
                    <a:pt x="2918497" y="402847"/>
                  </a:cubicBezTo>
                  <a:cubicBezTo>
                    <a:pt x="2912545" y="408800"/>
                    <a:pt x="2913536" y="409296"/>
                    <a:pt x="2907584" y="415249"/>
                  </a:cubicBezTo>
                  <a:lnTo>
                    <a:pt x="2896174" y="426658"/>
                  </a:lnTo>
                  <a:cubicBezTo>
                    <a:pt x="2890221" y="432611"/>
                    <a:pt x="2890221" y="432115"/>
                    <a:pt x="2884268" y="438068"/>
                  </a:cubicBezTo>
                  <a:cubicBezTo>
                    <a:pt x="2878315" y="444021"/>
                    <a:pt x="2879307" y="444517"/>
                    <a:pt x="2873354" y="450470"/>
                  </a:cubicBezTo>
                  <a:cubicBezTo>
                    <a:pt x="2867402" y="456423"/>
                    <a:pt x="2866905" y="455431"/>
                    <a:pt x="2860952" y="461384"/>
                  </a:cubicBezTo>
                  <a:cubicBezTo>
                    <a:pt x="2855000" y="467337"/>
                    <a:pt x="2857480" y="470313"/>
                    <a:pt x="2850039" y="473786"/>
                  </a:cubicBezTo>
                  <a:cubicBezTo>
                    <a:pt x="2842598" y="476762"/>
                    <a:pt x="2841605" y="473786"/>
                    <a:pt x="2833668" y="473786"/>
                  </a:cubicBezTo>
                  <a:cubicBezTo>
                    <a:pt x="2825731" y="473786"/>
                    <a:pt x="2825731" y="473290"/>
                    <a:pt x="2817297" y="473290"/>
                  </a:cubicBezTo>
                  <a:lnTo>
                    <a:pt x="2800927" y="473290"/>
                  </a:lnTo>
                  <a:cubicBezTo>
                    <a:pt x="2792493" y="473290"/>
                    <a:pt x="2792990" y="473786"/>
                    <a:pt x="2784556" y="473786"/>
                  </a:cubicBezTo>
                  <a:cubicBezTo>
                    <a:pt x="2776619" y="473786"/>
                    <a:pt x="2776619" y="474282"/>
                    <a:pt x="2768186" y="474282"/>
                  </a:cubicBezTo>
                  <a:lnTo>
                    <a:pt x="2751815" y="474282"/>
                  </a:lnTo>
                  <a:cubicBezTo>
                    <a:pt x="2743878" y="474282"/>
                    <a:pt x="2743878" y="473290"/>
                    <a:pt x="2735444" y="473290"/>
                  </a:cubicBezTo>
                  <a:cubicBezTo>
                    <a:pt x="2727507" y="473290"/>
                    <a:pt x="2727507" y="474282"/>
                    <a:pt x="2719074" y="474282"/>
                  </a:cubicBezTo>
                  <a:cubicBezTo>
                    <a:pt x="2711137" y="474282"/>
                    <a:pt x="2711137" y="472298"/>
                    <a:pt x="2702703" y="472298"/>
                  </a:cubicBezTo>
                  <a:cubicBezTo>
                    <a:pt x="2694766" y="472298"/>
                    <a:pt x="2694766" y="472794"/>
                    <a:pt x="2686333" y="472794"/>
                  </a:cubicBezTo>
                  <a:cubicBezTo>
                    <a:pt x="2678395" y="472794"/>
                    <a:pt x="2678395" y="474282"/>
                    <a:pt x="2669962" y="474282"/>
                  </a:cubicBezTo>
                  <a:cubicBezTo>
                    <a:pt x="2662025" y="474282"/>
                    <a:pt x="2662025" y="472298"/>
                    <a:pt x="2653592" y="472298"/>
                  </a:cubicBezTo>
                  <a:cubicBezTo>
                    <a:pt x="2645654" y="472298"/>
                    <a:pt x="2645654" y="474282"/>
                    <a:pt x="2637221" y="474282"/>
                  </a:cubicBezTo>
                  <a:lnTo>
                    <a:pt x="2620851" y="474282"/>
                  </a:lnTo>
                  <a:cubicBezTo>
                    <a:pt x="2612913" y="474282"/>
                    <a:pt x="2612913" y="472298"/>
                    <a:pt x="2604480" y="472298"/>
                  </a:cubicBezTo>
                  <a:cubicBezTo>
                    <a:pt x="2596543" y="472298"/>
                    <a:pt x="2596543" y="473786"/>
                    <a:pt x="2588109" y="473786"/>
                  </a:cubicBezTo>
                  <a:cubicBezTo>
                    <a:pt x="2580172" y="473786"/>
                    <a:pt x="2580172" y="472298"/>
                    <a:pt x="2571739" y="472298"/>
                  </a:cubicBezTo>
                  <a:cubicBezTo>
                    <a:pt x="2563802" y="472298"/>
                    <a:pt x="2563802" y="473290"/>
                    <a:pt x="2555368" y="473290"/>
                  </a:cubicBezTo>
                  <a:cubicBezTo>
                    <a:pt x="2547431" y="473290"/>
                    <a:pt x="2547431" y="474282"/>
                    <a:pt x="2538998" y="474282"/>
                  </a:cubicBezTo>
                  <a:cubicBezTo>
                    <a:pt x="2531061" y="474282"/>
                    <a:pt x="2531061" y="473290"/>
                    <a:pt x="2522627" y="473290"/>
                  </a:cubicBezTo>
                  <a:cubicBezTo>
                    <a:pt x="2514690" y="473290"/>
                    <a:pt x="2514690" y="474282"/>
                    <a:pt x="2506257" y="474282"/>
                  </a:cubicBezTo>
                  <a:cubicBezTo>
                    <a:pt x="2498319" y="474282"/>
                    <a:pt x="2498319" y="473786"/>
                    <a:pt x="2489886" y="473786"/>
                  </a:cubicBezTo>
                  <a:cubicBezTo>
                    <a:pt x="2481949" y="473786"/>
                    <a:pt x="2481949" y="474282"/>
                    <a:pt x="2473516" y="474282"/>
                  </a:cubicBezTo>
                  <a:cubicBezTo>
                    <a:pt x="2465578" y="474282"/>
                    <a:pt x="2465578" y="472794"/>
                    <a:pt x="2457145" y="472794"/>
                  </a:cubicBezTo>
                  <a:cubicBezTo>
                    <a:pt x="2449208" y="472794"/>
                    <a:pt x="2449208" y="472298"/>
                    <a:pt x="2440775" y="472298"/>
                  </a:cubicBezTo>
                  <a:cubicBezTo>
                    <a:pt x="2432341" y="472298"/>
                    <a:pt x="2432837" y="473786"/>
                    <a:pt x="2424404" y="473786"/>
                  </a:cubicBezTo>
                  <a:cubicBezTo>
                    <a:pt x="2416467" y="473786"/>
                    <a:pt x="2416467" y="472794"/>
                    <a:pt x="2408033" y="472794"/>
                  </a:cubicBezTo>
                  <a:cubicBezTo>
                    <a:pt x="2399600" y="472794"/>
                    <a:pt x="2400096" y="473290"/>
                    <a:pt x="2391663" y="473290"/>
                  </a:cubicBezTo>
                  <a:lnTo>
                    <a:pt x="2375292" y="473290"/>
                  </a:lnTo>
                  <a:cubicBezTo>
                    <a:pt x="2366859" y="473290"/>
                    <a:pt x="2367355" y="472794"/>
                    <a:pt x="2358922" y="472794"/>
                  </a:cubicBezTo>
                  <a:cubicBezTo>
                    <a:pt x="2350488" y="472794"/>
                    <a:pt x="2350984" y="472298"/>
                    <a:pt x="2342551" y="472298"/>
                  </a:cubicBezTo>
                  <a:cubicBezTo>
                    <a:pt x="2334118" y="472298"/>
                    <a:pt x="2334614" y="473786"/>
                    <a:pt x="2326180" y="473786"/>
                  </a:cubicBezTo>
                  <a:lnTo>
                    <a:pt x="2309810" y="473786"/>
                  </a:lnTo>
                  <a:lnTo>
                    <a:pt x="2293439" y="473786"/>
                  </a:lnTo>
                  <a:cubicBezTo>
                    <a:pt x="2285502" y="473786"/>
                    <a:pt x="2285502" y="472794"/>
                    <a:pt x="2277069" y="472794"/>
                  </a:cubicBezTo>
                  <a:cubicBezTo>
                    <a:pt x="2269131" y="472794"/>
                    <a:pt x="2269131" y="474282"/>
                    <a:pt x="2260698" y="474282"/>
                  </a:cubicBezTo>
                  <a:cubicBezTo>
                    <a:pt x="2252761" y="474282"/>
                    <a:pt x="2252761" y="472298"/>
                    <a:pt x="2244327" y="472298"/>
                  </a:cubicBezTo>
                  <a:cubicBezTo>
                    <a:pt x="2236390" y="472298"/>
                    <a:pt x="2236390" y="474282"/>
                    <a:pt x="2227957" y="474282"/>
                  </a:cubicBezTo>
                  <a:cubicBezTo>
                    <a:pt x="2220020" y="474282"/>
                    <a:pt x="2220020" y="473290"/>
                    <a:pt x="2211586" y="473290"/>
                  </a:cubicBezTo>
                  <a:cubicBezTo>
                    <a:pt x="2203649" y="473290"/>
                    <a:pt x="2203649" y="474282"/>
                    <a:pt x="2195216" y="474282"/>
                  </a:cubicBezTo>
                  <a:cubicBezTo>
                    <a:pt x="2187278" y="474282"/>
                    <a:pt x="2187278" y="472794"/>
                    <a:pt x="2178845" y="472794"/>
                  </a:cubicBezTo>
                  <a:cubicBezTo>
                    <a:pt x="2170908" y="472794"/>
                    <a:pt x="2170908" y="474778"/>
                    <a:pt x="2162474" y="474778"/>
                  </a:cubicBezTo>
                  <a:cubicBezTo>
                    <a:pt x="2154537" y="474778"/>
                    <a:pt x="2154537" y="473290"/>
                    <a:pt x="2146104" y="473290"/>
                  </a:cubicBezTo>
                  <a:cubicBezTo>
                    <a:pt x="2138167" y="473290"/>
                    <a:pt x="2138167" y="474778"/>
                    <a:pt x="2129733" y="474778"/>
                  </a:cubicBezTo>
                  <a:lnTo>
                    <a:pt x="2113363" y="474778"/>
                  </a:lnTo>
                  <a:lnTo>
                    <a:pt x="2096992" y="474778"/>
                  </a:lnTo>
                  <a:cubicBezTo>
                    <a:pt x="2089055" y="474778"/>
                    <a:pt x="2089055" y="474282"/>
                    <a:pt x="2080621" y="474282"/>
                  </a:cubicBezTo>
                  <a:cubicBezTo>
                    <a:pt x="2072684" y="474282"/>
                    <a:pt x="2072684" y="472794"/>
                    <a:pt x="2064251" y="472794"/>
                  </a:cubicBezTo>
                  <a:cubicBezTo>
                    <a:pt x="2055818" y="472794"/>
                    <a:pt x="2056314" y="474778"/>
                    <a:pt x="2047880" y="474778"/>
                  </a:cubicBezTo>
                  <a:lnTo>
                    <a:pt x="2031510" y="474778"/>
                  </a:lnTo>
                  <a:lnTo>
                    <a:pt x="2015139" y="474778"/>
                  </a:lnTo>
                  <a:cubicBezTo>
                    <a:pt x="2007202" y="474778"/>
                    <a:pt x="2007202" y="474282"/>
                    <a:pt x="1998769" y="474282"/>
                  </a:cubicBezTo>
                  <a:cubicBezTo>
                    <a:pt x="1990831" y="474282"/>
                    <a:pt x="1990831" y="473786"/>
                    <a:pt x="1982398" y="473786"/>
                  </a:cubicBezTo>
                  <a:lnTo>
                    <a:pt x="1966028" y="473786"/>
                  </a:lnTo>
                  <a:cubicBezTo>
                    <a:pt x="1958090" y="473786"/>
                    <a:pt x="1958090" y="472794"/>
                    <a:pt x="1949657" y="472794"/>
                  </a:cubicBezTo>
                  <a:cubicBezTo>
                    <a:pt x="1941720" y="472794"/>
                    <a:pt x="1941720" y="473290"/>
                    <a:pt x="1933287" y="473290"/>
                  </a:cubicBezTo>
                  <a:cubicBezTo>
                    <a:pt x="1925349" y="473290"/>
                    <a:pt x="1925349" y="474778"/>
                    <a:pt x="1916916" y="474778"/>
                  </a:cubicBezTo>
                  <a:cubicBezTo>
                    <a:pt x="1908979" y="474778"/>
                    <a:pt x="1908979" y="472794"/>
                    <a:pt x="1900546" y="472794"/>
                  </a:cubicBezTo>
                  <a:cubicBezTo>
                    <a:pt x="1892608" y="472794"/>
                    <a:pt x="1892608" y="473786"/>
                    <a:pt x="1884175" y="473786"/>
                  </a:cubicBezTo>
                  <a:cubicBezTo>
                    <a:pt x="1876238" y="473786"/>
                    <a:pt x="1876238" y="474778"/>
                    <a:pt x="1867804" y="474778"/>
                  </a:cubicBezTo>
                  <a:lnTo>
                    <a:pt x="1851434" y="474778"/>
                  </a:lnTo>
                  <a:lnTo>
                    <a:pt x="1835063" y="474778"/>
                  </a:lnTo>
                  <a:cubicBezTo>
                    <a:pt x="1827126" y="474778"/>
                    <a:pt x="1827126" y="474282"/>
                    <a:pt x="1818693" y="474282"/>
                  </a:cubicBezTo>
                  <a:cubicBezTo>
                    <a:pt x="1810755" y="474282"/>
                    <a:pt x="1810755" y="472794"/>
                    <a:pt x="1802322" y="472794"/>
                  </a:cubicBezTo>
                  <a:cubicBezTo>
                    <a:pt x="1794385" y="472794"/>
                    <a:pt x="1794385" y="473786"/>
                    <a:pt x="1785951" y="473786"/>
                  </a:cubicBezTo>
                  <a:cubicBezTo>
                    <a:pt x="1778014" y="473786"/>
                    <a:pt x="1778014" y="473290"/>
                    <a:pt x="1769581" y="473290"/>
                  </a:cubicBezTo>
                  <a:cubicBezTo>
                    <a:pt x="1761644" y="473290"/>
                    <a:pt x="1761644" y="472298"/>
                    <a:pt x="1753210" y="472298"/>
                  </a:cubicBezTo>
                  <a:cubicBezTo>
                    <a:pt x="1745273" y="472298"/>
                    <a:pt x="1745273" y="473290"/>
                    <a:pt x="1736840" y="473290"/>
                  </a:cubicBezTo>
                  <a:cubicBezTo>
                    <a:pt x="1728902" y="473290"/>
                    <a:pt x="1728902" y="474778"/>
                    <a:pt x="1720469" y="474778"/>
                  </a:cubicBezTo>
                  <a:cubicBezTo>
                    <a:pt x="1712532" y="474778"/>
                    <a:pt x="1712532" y="472794"/>
                    <a:pt x="1704098" y="472794"/>
                  </a:cubicBezTo>
                  <a:cubicBezTo>
                    <a:pt x="1696161" y="472794"/>
                    <a:pt x="1696161" y="474778"/>
                    <a:pt x="1687728" y="474778"/>
                  </a:cubicBezTo>
                  <a:lnTo>
                    <a:pt x="1671357" y="474778"/>
                  </a:lnTo>
                  <a:cubicBezTo>
                    <a:pt x="1663420" y="474778"/>
                    <a:pt x="1663420" y="472298"/>
                    <a:pt x="1654987" y="472298"/>
                  </a:cubicBezTo>
                  <a:cubicBezTo>
                    <a:pt x="1647050" y="472298"/>
                    <a:pt x="1647050" y="472794"/>
                    <a:pt x="1638616" y="472794"/>
                  </a:cubicBezTo>
                  <a:cubicBezTo>
                    <a:pt x="1630679" y="472794"/>
                    <a:pt x="1630679" y="473786"/>
                    <a:pt x="1622246" y="473786"/>
                  </a:cubicBezTo>
                  <a:cubicBezTo>
                    <a:pt x="1614309" y="473786"/>
                    <a:pt x="1614309" y="474778"/>
                    <a:pt x="1605875" y="474778"/>
                  </a:cubicBezTo>
                  <a:cubicBezTo>
                    <a:pt x="1597938" y="474778"/>
                    <a:pt x="1597938" y="473290"/>
                    <a:pt x="1589505" y="473290"/>
                  </a:cubicBezTo>
                  <a:cubicBezTo>
                    <a:pt x="1581567" y="473290"/>
                    <a:pt x="1581567" y="474778"/>
                    <a:pt x="1573134" y="474778"/>
                  </a:cubicBezTo>
                  <a:cubicBezTo>
                    <a:pt x="1565197" y="474778"/>
                    <a:pt x="1565197" y="472794"/>
                    <a:pt x="1556763" y="472794"/>
                  </a:cubicBezTo>
                  <a:lnTo>
                    <a:pt x="1540393" y="472794"/>
                  </a:lnTo>
                  <a:cubicBezTo>
                    <a:pt x="1532456" y="472794"/>
                    <a:pt x="1532456" y="474282"/>
                    <a:pt x="1524022" y="474282"/>
                  </a:cubicBezTo>
                  <a:cubicBezTo>
                    <a:pt x="1516085" y="474282"/>
                    <a:pt x="1516085" y="472794"/>
                    <a:pt x="1507652" y="472794"/>
                  </a:cubicBezTo>
                  <a:cubicBezTo>
                    <a:pt x="1499714" y="472794"/>
                    <a:pt x="1499714" y="474282"/>
                    <a:pt x="1491281" y="474282"/>
                  </a:cubicBezTo>
                  <a:lnTo>
                    <a:pt x="1474910" y="474282"/>
                  </a:lnTo>
                  <a:cubicBezTo>
                    <a:pt x="1466973" y="474282"/>
                    <a:pt x="1466973" y="472794"/>
                    <a:pt x="1458540" y="472794"/>
                  </a:cubicBezTo>
                  <a:cubicBezTo>
                    <a:pt x="1450603" y="472794"/>
                    <a:pt x="1450603" y="471802"/>
                    <a:pt x="1442169" y="471802"/>
                  </a:cubicBezTo>
                  <a:cubicBezTo>
                    <a:pt x="1434232" y="471802"/>
                    <a:pt x="1434232" y="472298"/>
                    <a:pt x="1425799" y="472298"/>
                  </a:cubicBezTo>
                  <a:cubicBezTo>
                    <a:pt x="1417861" y="472298"/>
                    <a:pt x="1417861" y="472794"/>
                    <a:pt x="1409428" y="472794"/>
                  </a:cubicBezTo>
                  <a:cubicBezTo>
                    <a:pt x="1401491" y="472794"/>
                    <a:pt x="1401491" y="473786"/>
                    <a:pt x="1393058" y="473786"/>
                  </a:cubicBezTo>
                  <a:cubicBezTo>
                    <a:pt x="1385120" y="473786"/>
                    <a:pt x="1385120" y="471802"/>
                    <a:pt x="1376687" y="471802"/>
                  </a:cubicBezTo>
                  <a:cubicBezTo>
                    <a:pt x="1368750" y="471802"/>
                    <a:pt x="1368750" y="473786"/>
                    <a:pt x="1360317" y="473786"/>
                  </a:cubicBezTo>
                  <a:lnTo>
                    <a:pt x="1343946" y="473786"/>
                  </a:lnTo>
                  <a:cubicBezTo>
                    <a:pt x="1336009" y="473786"/>
                    <a:pt x="1336009" y="472794"/>
                    <a:pt x="1327576" y="472794"/>
                  </a:cubicBezTo>
                  <a:cubicBezTo>
                    <a:pt x="1319638" y="472794"/>
                    <a:pt x="1319638" y="473786"/>
                    <a:pt x="1311205" y="473786"/>
                  </a:cubicBezTo>
                  <a:lnTo>
                    <a:pt x="1294834" y="473786"/>
                  </a:lnTo>
                  <a:lnTo>
                    <a:pt x="1278464" y="473786"/>
                  </a:lnTo>
                  <a:lnTo>
                    <a:pt x="1262093" y="473786"/>
                  </a:lnTo>
                  <a:cubicBezTo>
                    <a:pt x="1254156" y="473786"/>
                    <a:pt x="1254156" y="473290"/>
                    <a:pt x="1245723" y="473290"/>
                  </a:cubicBezTo>
                  <a:cubicBezTo>
                    <a:pt x="1237785" y="473290"/>
                    <a:pt x="1237785" y="472794"/>
                    <a:pt x="1229352" y="472794"/>
                  </a:cubicBezTo>
                  <a:cubicBezTo>
                    <a:pt x="1221415" y="472794"/>
                    <a:pt x="1221415" y="473786"/>
                    <a:pt x="1212981" y="473786"/>
                  </a:cubicBezTo>
                  <a:cubicBezTo>
                    <a:pt x="1205044" y="473786"/>
                    <a:pt x="1205044" y="472298"/>
                    <a:pt x="1196611" y="472298"/>
                  </a:cubicBezTo>
                  <a:cubicBezTo>
                    <a:pt x="1188674" y="472298"/>
                    <a:pt x="1188674" y="472794"/>
                    <a:pt x="1180240" y="472794"/>
                  </a:cubicBezTo>
                  <a:lnTo>
                    <a:pt x="1163870" y="472794"/>
                  </a:lnTo>
                  <a:cubicBezTo>
                    <a:pt x="1155932" y="472794"/>
                    <a:pt x="1155932" y="473786"/>
                    <a:pt x="1147499" y="473786"/>
                  </a:cubicBezTo>
                  <a:lnTo>
                    <a:pt x="1131128" y="473786"/>
                  </a:lnTo>
                  <a:cubicBezTo>
                    <a:pt x="1123191" y="473786"/>
                    <a:pt x="1123191" y="472794"/>
                    <a:pt x="1114758" y="472794"/>
                  </a:cubicBezTo>
                  <a:cubicBezTo>
                    <a:pt x="1106821" y="472794"/>
                    <a:pt x="1106821" y="473786"/>
                    <a:pt x="1098387" y="473786"/>
                  </a:cubicBezTo>
                  <a:cubicBezTo>
                    <a:pt x="1090450" y="473786"/>
                    <a:pt x="1090450" y="474778"/>
                    <a:pt x="1082017" y="474778"/>
                  </a:cubicBezTo>
                  <a:lnTo>
                    <a:pt x="1065646" y="474778"/>
                  </a:lnTo>
                  <a:cubicBezTo>
                    <a:pt x="1057709" y="474778"/>
                    <a:pt x="1057709" y="474282"/>
                    <a:pt x="1049276" y="474282"/>
                  </a:cubicBezTo>
                  <a:cubicBezTo>
                    <a:pt x="1041338" y="474282"/>
                    <a:pt x="1041338" y="473290"/>
                    <a:pt x="1032905" y="473290"/>
                  </a:cubicBezTo>
                  <a:cubicBezTo>
                    <a:pt x="1024968" y="473290"/>
                    <a:pt x="1024968" y="474282"/>
                    <a:pt x="1016535" y="474282"/>
                  </a:cubicBezTo>
                  <a:lnTo>
                    <a:pt x="1000164" y="474282"/>
                  </a:lnTo>
                  <a:cubicBezTo>
                    <a:pt x="992227" y="474282"/>
                    <a:pt x="992227" y="472794"/>
                    <a:pt x="983793" y="472794"/>
                  </a:cubicBezTo>
                  <a:lnTo>
                    <a:pt x="967423" y="472794"/>
                  </a:lnTo>
                  <a:cubicBezTo>
                    <a:pt x="959486" y="472794"/>
                    <a:pt x="959486" y="473786"/>
                    <a:pt x="951052" y="473786"/>
                  </a:cubicBezTo>
                  <a:cubicBezTo>
                    <a:pt x="943115" y="473786"/>
                    <a:pt x="943115" y="474282"/>
                    <a:pt x="934682" y="474282"/>
                  </a:cubicBezTo>
                  <a:cubicBezTo>
                    <a:pt x="926744" y="474282"/>
                    <a:pt x="926744" y="474778"/>
                    <a:pt x="918311" y="474778"/>
                  </a:cubicBezTo>
                  <a:cubicBezTo>
                    <a:pt x="910374" y="474778"/>
                    <a:pt x="910374" y="473290"/>
                    <a:pt x="901940" y="473290"/>
                  </a:cubicBezTo>
                  <a:cubicBezTo>
                    <a:pt x="894003" y="473290"/>
                    <a:pt x="894003" y="474778"/>
                    <a:pt x="885570" y="474778"/>
                  </a:cubicBezTo>
                  <a:cubicBezTo>
                    <a:pt x="877633" y="474778"/>
                    <a:pt x="877633" y="474282"/>
                    <a:pt x="869199" y="474282"/>
                  </a:cubicBezTo>
                  <a:cubicBezTo>
                    <a:pt x="861262" y="474282"/>
                    <a:pt x="861262" y="473786"/>
                    <a:pt x="852829" y="473786"/>
                  </a:cubicBezTo>
                  <a:cubicBezTo>
                    <a:pt x="844891" y="473786"/>
                    <a:pt x="844891" y="474778"/>
                    <a:pt x="836458" y="474778"/>
                  </a:cubicBezTo>
                  <a:cubicBezTo>
                    <a:pt x="828521" y="474778"/>
                    <a:pt x="828521" y="475274"/>
                    <a:pt x="820088" y="475274"/>
                  </a:cubicBezTo>
                  <a:cubicBezTo>
                    <a:pt x="812150" y="475274"/>
                    <a:pt x="812150" y="473786"/>
                    <a:pt x="803717" y="473786"/>
                  </a:cubicBezTo>
                  <a:cubicBezTo>
                    <a:pt x="795780" y="473786"/>
                    <a:pt x="795780" y="475770"/>
                    <a:pt x="787347" y="475770"/>
                  </a:cubicBezTo>
                  <a:cubicBezTo>
                    <a:pt x="779409" y="475770"/>
                    <a:pt x="779409" y="474778"/>
                    <a:pt x="770976" y="474778"/>
                  </a:cubicBezTo>
                  <a:cubicBezTo>
                    <a:pt x="763039" y="474778"/>
                    <a:pt x="763039" y="475274"/>
                    <a:pt x="754605" y="475274"/>
                  </a:cubicBezTo>
                  <a:cubicBezTo>
                    <a:pt x="746668" y="475274"/>
                    <a:pt x="746668" y="473786"/>
                    <a:pt x="738235" y="473786"/>
                  </a:cubicBezTo>
                  <a:cubicBezTo>
                    <a:pt x="730298" y="473786"/>
                    <a:pt x="730298" y="475274"/>
                    <a:pt x="721864" y="475274"/>
                  </a:cubicBezTo>
                  <a:cubicBezTo>
                    <a:pt x="713927" y="475274"/>
                    <a:pt x="713927" y="475770"/>
                    <a:pt x="705494" y="475770"/>
                  </a:cubicBezTo>
                  <a:cubicBezTo>
                    <a:pt x="697557" y="475770"/>
                    <a:pt x="697557" y="474282"/>
                    <a:pt x="689123" y="474282"/>
                  </a:cubicBezTo>
                  <a:cubicBezTo>
                    <a:pt x="681186" y="474282"/>
                    <a:pt x="681186" y="475274"/>
                    <a:pt x="672753" y="475274"/>
                  </a:cubicBezTo>
                  <a:cubicBezTo>
                    <a:pt x="664815" y="475274"/>
                    <a:pt x="664815" y="474778"/>
                    <a:pt x="656382" y="474778"/>
                  </a:cubicBezTo>
                  <a:cubicBezTo>
                    <a:pt x="648445" y="474778"/>
                    <a:pt x="648445" y="475770"/>
                    <a:pt x="640011" y="475770"/>
                  </a:cubicBezTo>
                  <a:cubicBezTo>
                    <a:pt x="632074" y="475770"/>
                    <a:pt x="632074" y="473786"/>
                    <a:pt x="623641" y="473786"/>
                  </a:cubicBezTo>
                  <a:cubicBezTo>
                    <a:pt x="615704" y="473786"/>
                    <a:pt x="615704" y="474778"/>
                    <a:pt x="607270" y="474778"/>
                  </a:cubicBezTo>
                  <a:cubicBezTo>
                    <a:pt x="598837" y="474778"/>
                    <a:pt x="599333" y="475274"/>
                    <a:pt x="590900" y="475274"/>
                  </a:cubicBezTo>
                  <a:cubicBezTo>
                    <a:pt x="582962" y="475274"/>
                    <a:pt x="582962" y="474282"/>
                    <a:pt x="574529" y="474282"/>
                  </a:cubicBezTo>
                  <a:cubicBezTo>
                    <a:pt x="566592" y="474282"/>
                    <a:pt x="566592" y="475274"/>
                    <a:pt x="558158" y="475274"/>
                  </a:cubicBezTo>
                  <a:cubicBezTo>
                    <a:pt x="550221" y="475274"/>
                    <a:pt x="550221" y="475770"/>
                    <a:pt x="541788" y="475770"/>
                  </a:cubicBezTo>
                  <a:cubicBezTo>
                    <a:pt x="533851" y="475770"/>
                    <a:pt x="533851" y="474282"/>
                    <a:pt x="525417" y="474282"/>
                  </a:cubicBezTo>
                  <a:cubicBezTo>
                    <a:pt x="517480" y="474282"/>
                    <a:pt x="517480" y="473786"/>
                    <a:pt x="509047" y="473786"/>
                  </a:cubicBezTo>
                  <a:lnTo>
                    <a:pt x="492676" y="473786"/>
                  </a:lnTo>
                  <a:cubicBezTo>
                    <a:pt x="484739" y="473786"/>
                    <a:pt x="484739" y="474778"/>
                    <a:pt x="476306" y="474778"/>
                  </a:cubicBezTo>
                  <a:cubicBezTo>
                    <a:pt x="468368" y="474778"/>
                    <a:pt x="468368" y="473786"/>
                    <a:pt x="459935" y="473786"/>
                  </a:cubicBezTo>
                  <a:cubicBezTo>
                    <a:pt x="451998" y="473786"/>
                    <a:pt x="451998" y="474778"/>
                    <a:pt x="443565" y="474778"/>
                  </a:cubicBezTo>
                  <a:cubicBezTo>
                    <a:pt x="435627" y="474778"/>
                    <a:pt x="435627" y="474282"/>
                    <a:pt x="427194" y="474282"/>
                  </a:cubicBezTo>
                  <a:cubicBezTo>
                    <a:pt x="419257" y="474282"/>
                    <a:pt x="419257" y="473290"/>
                    <a:pt x="410823" y="473290"/>
                  </a:cubicBezTo>
                  <a:cubicBezTo>
                    <a:pt x="402886" y="473290"/>
                    <a:pt x="402886" y="475770"/>
                    <a:pt x="394453" y="475770"/>
                  </a:cubicBezTo>
                  <a:cubicBezTo>
                    <a:pt x="386516" y="475770"/>
                    <a:pt x="386516" y="475274"/>
                    <a:pt x="378082" y="475274"/>
                  </a:cubicBezTo>
                  <a:cubicBezTo>
                    <a:pt x="370145" y="475274"/>
                    <a:pt x="370145" y="474778"/>
                    <a:pt x="361712" y="474778"/>
                  </a:cubicBezTo>
                  <a:cubicBezTo>
                    <a:pt x="353774" y="474778"/>
                    <a:pt x="353774" y="476266"/>
                    <a:pt x="345341" y="476266"/>
                  </a:cubicBezTo>
                  <a:cubicBezTo>
                    <a:pt x="337404" y="476266"/>
                    <a:pt x="337404" y="474282"/>
                    <a:pt x="328970" y="474282"/>
                  </a:cubicBezTo>
                  <a:cubicBezTo>
                    <a:pt x="321033" y="474282"/>
                    <a:pt x="321033" y="475274"/>
                    <a:pt x="312600" y="475274"/>
                  </a:cubicBezTo>
                  <a:cubicBezTo>
                    <a:pt x="304663" y="475274"/>
                    <a:pt x="304663" y="474282"/>
                    <a:pt x="296229" y="474282"/>
                  </a:cubicBezTo>
                  <a:cubicBezTo>
                    <a:pt x="288292" y="474282"/>
                    <a:pt x="288292" y="475770"/>
                    <a:pt x="279859" y="475770"/>
                  </a:cubicBezTo>
                  <a:cubicBezTo>
                    <a:pt x="271921" y="475770"/>
                    <a:pt x="271921" y="476266"/>
                    <a:pt x="263488" y="476266"/>
                  </a:cubicBezTo>
                  <a:lnTo>
                    <a:pt x="247118" y="476266"/>
                  </a:lnTo>
                  <a:cubicBezTo>
                    <a:pt x="239180" y="476266"/>
                    <a:pt x="239180" y="474778"/>
                    <a:pt x="230747" y="474778"/>
                  </a:cubicBezTo>
                  <a:lnTo>
                    <a:pt x="214376" y="474778"/>
                  </a:lnTo>
                  <a:cubicBezTo>
                    <a:pt x="206439" y="474778"/>
                    <a:pt x="206439" y="476762"/>
                    <a:pt x="198006" y="476762"/>
                  </a:cubicBezTo>
                  <a:cubicBezTo>
                    <a:pt x="190069" y="476762"/>
                    <a:pt x="190069" y="476266"/>
                    <a:pt x="181635" y="476266"/>
                  </a:cubicBezTo>
                  <a:cubicBezTo>
                    <a:pt x="173698" y="476266"/>
                    <a:pt x="173698" y="474778"/>
                    <a:pt x="165265" y="474778"/>
                  </a:cubicBezTo>
                  <a:cubicBezTo>
                    <a:pt x="157328" y="474778"/>
                    <a:pt x="157328" y="476762"/>
                    <a:pt x="148894" y="476762"/>
                  </a:cubicBezTo>
                  <a:cubicBezTo>
                    <a:pt x="140957" y="476762"/>
                    <a:pt x="140957" y="476266"/>
                    <a:pt x="132524" y="476266"/>
                  </a:cubicBezTo>
                  <a:cubicBezTo>
                    <a:pt x="124586" y="476266"/>
                    <a:pt x="124586" y="475274"/>
                    <a:pt x="116153" y="475274"/>
                  </a:cubicBezTo>
                  <a:lnTo>
                    <a:pt x="99783" y="475274"/>
                  </a:lnTo>
                  <a:lnTo>
                    <a:pt x="83412" y="475274"/>
                  </a:lnTo>
                  <a:cubicBezTo>
                    <a:pt x="75475" y="475274"/>
                    <a:pt x="75475" y="474778"/>
                    <a:pt x="67041" y="474778"/>
                  </a:cubicBezTo>
                  <a:cubicBezTo>
                    <a:pt x="59104" y="474778"/>
                    <a:pt x="59104" y="475274"/>
                    <a:pt x="50671" y="475274"/>
                  </a:cubicBezTo>
                  <a:lnTo>
                    <a:pt x="34300" y="475274"/>
                  </a:lnTo>
                  <a:cubicBezTo>
                    <a:pt x="26363" y="475274"/>
                    <a:pt x="26363" y="475770"/>
                    <a:pt x="17930" y="475770"/>
                  </a:cubicBezTo>
                  <a:cubicBezTo>
                    <a:pt x="9992" y="475770"/>
                    <a:pt x="3543" y="483211"/>
                    <a:pt x="567" y="475770"/>
                  </a:cubicBezTo>
                  <a:cubicBezTo>
                    <a:pt x="-2410" y="468329"/>
                    <a:pt x="7016" y="469321"/>
                    <a:pt x="12969" y="463368"/>
                  </a:cubicBezTo>
                  <a:lnTo>
                    <a:pt x="24379" y="451958"/>
                  </a:lnTo>
                  <a:cubicBezTo>
                    <a:pt x="30332" y="446005"/>
                    <a:pt x="29835" y="446005"/>
                    <a:pt x="35788" y="440053"/>
                  </a:cubicBezTo>
                  <a:cubicBezTo>
                    <a:pt x="41741" y="434100"/>
                    <a:pt x="43230" y="435588"/>
                    <a:pt x="48686" y="430131"/>
                  </a:cubicBezTo>
                  <a:cubicBezTo>
                    <a:pt x="54639" y="424178"/>
                    <a:pt x="54143" y="423682"/>
                    <a:pt x="59600" y="418225"/>
                  </a:cubicBezTo>
                  <a:cubicBezTo>
                    <a:pt x="65553" y="412272"/>
                    <a:pt x="64561" y="411776"/>
                    <a:pt x="70514" y="405823"/>
                  </a:cubicBezTo>
                  <a:cubicBezTo>
                    <a:pt x="76467" y="399870"/>
                    <a:pt x="77459" y="401358"/>
                    <a:pt x="83412" y="395406"/>
                  </a:cubicBezTo>
                  <a:cubicBezTo>
                    <a:pt x="89365" y="389453"/>
                    <a:pt x="88869" y="389453"/>
                    <a:pt x="94822" y="383500"/>
                  </a:cubicBezTo>
                  <a:cubicBezTo>
                    <a:pt x="100775" y="377547"/>
                    <a:pt x="100775" y="378043"/>
                    <a:pt x="106728" y="372090"/>
                  </a:cubicBezTo>
                  <a:cubicBezTo>
                    <a:pt x="112681" y="366137"/>
                    <a:pt x="111192" y="365145"/>
                    <a:pt x="117145" y="359688"/>
                  </a:cubicBezTo>
                  <a:lnTo>
                    <a:pt x="128555" y="348278"/>
                  </a:lnTo>
                  <a:cubicBezTo>
                    <a:pt x="134508" y="342325"/>
                    <a:pt x="134508" y="342821"/>
                    <a:pt x="140461" y="336868"/>
                  </a:cubicBezTo>
                  <a:cubicBezTo>
                    <a:pt x="146414" y="330915"/>
                    <a:pt x="146910" y="331908"/>
                    <a:pt x="152863" y="326451"/>
                  </a:cubicBezTo>
                  <a:cubicBezTo>
                    <a:pt x="158816" y="320498"/>
                    <a:pt x="158816" y="320994"/>
                    <a:pt x="164769" y="315041"/>
                  </a:cubicBezTo>
                  <a:cubicBezTo>
                    <a:pt x="170722" y="309088"/>
                    <a:pt x="170225" y="309088"/>
                    <a:pt x="176178" y="303135"/>
                  </a:cubicBezTo>
                  <a:cubicBezTo>
                    <a:pt x="182131" y="297182"/>
                    <a:pt x="182131" y="297678"/>
                    <a:pt x="188084" y="291725"/>
                  </a:cubicBezTo>
                  <a:cubicBezTo>
                    <a:pt x="194037" y="285772"/>
                    <a:pt x="194037" y="286268"/>
                    <a:pt x="199494" y="280315"/>
                  </a:cubicBezTo>
                  <a:lnTo>
                    <a:pt x="210904" y="268906"/>
                  </a:lnTo>
                  <a:cubicBezTo>
                    <a:pt x="216857" y="262953"/>
                    <a:pt x="215865" y="262457"/>
                    <a:pt x="221818" y="256504"/>
                  </a:cubicBezTo>
                  <a:cubicBezTo>
                    <a:pt x="227771" y="250551"/>
                    <a:pt x="227771" y="251047"/>
                    <a:pt x="233724" y="245094"/>
                  </a:cubicBezTo>
                  <a:cubicBezTo>
                    <a:pt x="239676" y="239141"/>
                    <a:pt x="238684" y="238149"/>
                    <a:pt x="244141" y="232692"/>
                  </a:cubicBezTo>
                  <a:cubicBezTo>
                    <a:pt x="250094" y="226739"/>
                    <a:pt x="251582" y="228227"/>
                    <a:pt x="257039" y="222770"/>
                  </a:cubicBezTo>
                  <a:cubicBezTo>
                    <a:pt x="262992" y="216818"/>
                    <a:pt x="261008" y="215329"/>
                    <a:pt x="266961" y="209376"/>
                  </a:cubicBezTo>
                  <a:lnTo>
                    <a:pt x="278371" y="197966"/>
                  </a:lnTo>
                  <a:cubicBezTo>
                    <a:pt x="284323" y="192014"/>
                    <a:pt x="285812" y="193502"/>
                    <a:pt x="291269" y="188045"/>
                  </a:cubicBezTo>
                  <a:cubicBezTo>
                    <a:pt x="297222" y="182092"/>
                    <a:pt x="295733" y="181100"/>
                    <a:pt x="301686" y="175147"/>
                  </a:cubicBezTo>
                  <a:cubicBezTo>
                    <a:pt x="307639" y="169194"/>
                    <a:pt x="307639" y="169690"/>
                    <a:pt x="313592" y="163737"/>
                  </a:cubicBezTo>
                  <a:cubicBezTo>
                    <a:pt x="319545" y="157784"/>
                    <a:pt x="320537" y="158776"/>
                    <a:pt x="325994" y="153319"/>
                  </a:cubicBezTo>
                  <a:lnTo>
                    <a:pt x="337404" y="141910"/>
                  </a:lnTo>
                  <a:cubicBezTo>
                    <a:pt x="343357" y="135957"/>
                    <a:pt x="341869" y="134469"/>
                    <a:pt x="347325" y="129012"/>
                  </a:cubicBezTo>
                  <a:cubicBezTo>
                    <a:pt x="353278" y="123059"/>
                    <a:pt x="354271" y="124547"/>
                    <a:pt x="360224" y="118594"/>
                  </a:cubicBezTo>
                  <a:cubicBezTo>
                    <a:pt x="366176" y="112641"/>
                    <a:pt x="365184" y="112145"/>
                    <a:pt x="371137" y="106192"/>
                  </a:cubicBezTo>
                  <a:cubicBezTo>
                    <a:pt x="377090" y="100239"/>
                    <a:pt x="376098" y="99743"/>
                    <a:pt x="382051" y="93790"/>
                  </a:cubicBezTo>
                  <a:cubicBezTo>
                    <a:pt x="388004" y="87837"/>
                    <a:pt x="388004" y="88333"/>
                    <a:pt x="393957" y="82380"/>
                  </a:cubicBezTo>
                  <a:cubicBezTo>
                    <a:pt x="399910" y="76427"/>
                    <a:pt x="399413" y="76427"/>
                    <a:pt x="405366" y="70475"/>
                  </a:cubicBezTo>
                  <a:cubicBezTo>
                    <a:pt x="411319" y="64522"/>
                    <a:pt x="411815" y="65018"/>
                    <a:pt x="417272" y="59561"/>
                  </a:cubicBezTo>
                  <a:cubicBezTo>
                    <a:pt x="423225" y="53608"/>
                    <a:pt x="423721" y="54600"/>
                    <a:pt x="429674" y="48647"/>
                  </a:cubicBezTo>
                  <a:cubicBezTo>
                    <a:pt x="435627" y="42694"/>
                    <a:pt x="434139" y="41702"/>
                    <a:pt x="440092" y="35749"/>
                  </a:cubicBezTo>
                  <a:cubicBezTo>
                    <a:pt x="446045" y="29796"/>
                    <a:pt x="446541" y="30788"/>
                    <a:pt x="452494" y="24835"/>
                  </a:cubicBezTo>
                  <a:cubicBezTo>
                    <a:pt x="458447" y="18882"/>
                    <a:pt x="457951" y="18882"/>
                    <a:pt x="463904" y="12929"/>
                  </a:cubicBezTo>
                  <a:cubicBezTo>
                    <a:pt x="469857" y="6976"/>
                    <a:pt x="467872" y="4000"/>
                    <a:pt x="475313" y="1024"/>
                  </a:cubicBezTo>
                  <a:cubicBezTo>
                    <a:pt x="482755" y="-1953"/>
                    <a:pt x="483747" y="2512"/>
                    <a:pt x="491684" y="2512"/>
                  </a:cubicBezTo>
                  <a:lnTo>
                    <a:pt x="508055" y="2512"/>
                  </a:lnTo>
                  <a:lnTo>
                    <a:pt x="524425" y="2512"/>
                  </a:lnTo>
                  <a:cubicBezTo>
                    <a:pt x="532362" y="2512"/>
                    <a:pt x="532362" y="1024"/>
                    <a:pt x="540796" y="1024"/>
                  </a:cubicBezTo>
                  <a:cubicBezTo>
                    <a:pt x="548733" y="1024"/>
                    <a:pt x="548733" y="2512"/>
                    <a:pt x="557166" y="2512"/>
                  </a:cubicBezTo>
                  <a:cubicBezTo>
                    <a:pt x="565104" y="2512"/>
                    <a:pt x="565104" y="1024"/>
                    <a:pt x="573537" y="1024"/>
                  </a:cubicBezTo>
                  <a:cubicBezTo>
                    <a:pt x="581474" y="1024"/>
                    <a:pt x="581474" y="527"/>
                    <a:pt x="589908" y="527"/>
                  </a:cubicBezTo>
                  <a:cubicBezTo>
                    <a:pt x="597845" y="527"/>
                    <a:pt x="597845" y="1520"/>
                    <a:pt x="606278" y="1520"/>
                  </a:cubicBezTo>
                  <a:lnTo>
                    <a:pt x="622649" y="1520"/>
                  </a:lnTo>
                  <a:cubicBezTo>
                    <a:pt x="630586" y="1520"/>
                    <a:pt x="630586" y="2016"/>
                    <a:pt x="639019" y="2016"/>
                  </a:cubicBezTo>
                  <a:cubicBezTo>
                    <a:pt x="646957" y="2016"/>
                    <a:pt x="646957" y="527"/>
                    <a:pt x="655390" y="527"/>
                  </a:cubicBezTo>
                  <a:cubicBezTo>
                    <a:pt x="663823" y="527"/>
                    <a:pt x="663327" y="1520"/>
                    <a:pt x="671760" y="1520"/>
                  </a:cubicBezTo>
                  <a:cubicBezTo>
                    <a:pt x="679698" y="1520"/>
                    <a:pt x="679698" y="2512"/>
                    <a:pt x="688131" y="2512"/>
                  </a:cubicBezTo>
                  <a:cubicBezTo>
                    <a:pt x="696068" y="2512"/>
                    <a:pt x="696068" y="1024"/>
                    <a:pt x="704501" y="1024"/>
                  </a:cubicBezTo>
                  <a:cubicBezTo>
                    <a:pt x="712439" y="1024"/>
                    <a:pt x="712439" y="1520"/>
                    <a:pt x="720872" y="1520"/>
                  </a:cubicBezTo>
                  <a:cubicBezTo>
                    <a:pt x="728809" y="1520"/>
                    <a:pt x="728809" y="2016"/>
                    <a:pt x="737243" y="2016"/>
                  </a:cubicBezTo>
                  <a:cubicBezTo>
                    <a:pt x="745180" y="2016"/>
                    <a:pt x="745180" y="1024"/>
                    <a:pt x="753613" y="1024"/>
                  </a:cubicBezTo>
                  <a:cubicBezTo>
                    <a:pt x="761550" y="1024"/>
                    <a:pt x="761550" y="527"/>
                    <a:pt x="769984" y="527"/>
                  </a:cubicBezTo>
                  <a:cubicBezTo>
                    <a:pt x="777921" y="527"/>
                    <a:pt x="777921" y="1520"/>
                    <a:pt x="786354" y="1520"/>
                  </a:cubicBezTo>
                  <a:cubicBezTo>
                    <a:pt x="794292" y="1520"/>
                    <a:pt x="794292" y="527"/>
                    <a:pt x="802725" y="527"/>
                  </a:cubicBezTo>
                  <a:cubicBezTo>
                    <a:pt x="810662" y="527"/>
                    <a:pt x="810662" y="2512"/>
                    <a:pt x="819096" y="2512"/>
                  </a:cubicBezTo>
                  <a:cubicBezTo>
                    <a:pt x="827033" y="2512"/>
                    <a:pt x="827033" y="527"/>
                    <a:pt x="835466" y="527"/>
                  </a:cubicBezTo>
                  <a:cubicBezTo>
                    <a:pt x="843403" y="527"/>
                    <a:pt x="843403" y="1520"/>
                    <a:pt x="851837" y="1520"/>
                  </a:cubicBezTo>
                  <a:cubicBezTo>
                    <a:pt x="859774" y="1520"/>
                    <a:pt x="859774" y="2016"/>
                    <a:pt x="868207" y="2016"/>
                  </a:cubicBezTo>
                  <a:cubicBezTo>
                    <a:pt x="876145" y="2016"/>
                    <a:pt x="876145" y="2512"/>
                    <a:pt x="884578" y="2512"/>
                  </a:cubicBezTo>
                  <a:cubicBezTo>
                    <a:pt x="892515" y="2512"/>
                    <a:pt x="892515" y="1520"/>
                    <a:pt x="900948" y="1520"/>
                  </a:cubicBezTo>
                  <a:cubicBezTo>
                    <a:pt x="908886" y="1520"/>
                    <a:pt x="908886" y="1024"/>
                    <a:pt x="917319" y="1024"/>
                  </a:cubicBezTo>
                  <a:cubicBezTo>
                    <a:pt x="925256" y="1024"/>
                    <a:pt x="925256" y="2512"/>
                    <a:pt x="933689" y="2512"/>
                  </a:cubicBezTo>
                  <a:cubicBezTo>
                    <a:pt x="941627" y="2512"/>
                    <a:pt x="941627" y="1520"/>
                    <a:pt x="950060" y="1520"/>
                  </a:cubicBezTo>
                  <a:cubicBezTo>
                    <a:pt x="957997" y="1520"/>
                    <a:pt x="957997" y="2016"/>
                    <a:pt x="966431" y="2016"/>
                  </a:cubicBezTo>
                  <a:cubicBezTo>
                    <a:pt x="974368" y="2016"/>
                    <a:pt x="974368" y="2512"/>
                    <a:pt x="982801" y="2512"/>
                  </a:cubicBezTo>
                  <a:cubicBezTo>
                    <a:pt x="990738" y="2512"/>
                    <a:pt x="990738" y="1520"/>
                    <a:pt x="999172" y="1520"/>
                  </a:cubicBezTo>
                  <a:cubicBezTo>
                    <a:pt x="1007109" y="1520"/>
                    <a:pt x="1007109" y="2512"/>
                    <a:pt x="1015542" y="2512"/>
                  </a:cubicBezTo>
                  <a:cubicBezTo>
                    <a:pt x="1023479" y="2512"/>
                    <a:pt x="1023479" y="1520"/>
                    <a:pt x="1031913" y="1520"/>
                  </a:cubicBezTo>
                  <a:cubicBezTo>
                    <a:pt x="1039850" y="1520"/>
                    <a:pt x="1039850" y="2016"/>
                    <a:pt x="1048283" y="2016"/>
                  </a:cubicBezTo>
                  <a:cubicBezTo>
                    <a:pt x="1056221" y="2016"/>
                    <a:pt x="1056221" y="3504"/>
                    <a:pt x="1064654" y="3504"/>
                  </a:cubicBezTo>
                  <a:cubicBezTo>
                    <a:pt x="1072591" y="3504"/>
                    <a:pt x="1072591" y="2016"/>
                    <a:pt x="1081025" y="2016"/>
                  </a:cubicBezTo>
                  <a:cubicBezTo>
                    <a:pt x="1088962" y="2016"/>
                    <a:pt x="1088962" y="2512"/>
                    <a:pt x="1097395" y="2512"/>
                  </a:cubicBezTo>
                  <a:lnTo>
                    <a:pt x="1113766" y="2512"/>
                  </a:lnTo>
                  <a:cubicBezTo>
                    <a:pt x="1121703" y="2512"/>
                    <a:pt x="1121703" y="3504"/>
                    <a:pt x="1130136" y="3504"/>
                  </a:cubicBezTo>
                  <a:cubicBezTo>
                    <a:pt x="1138074" y="3504"/>
                    <a:pt x="1138074" y="1520"/>
                    <a:pt x="1146507" y="1520"/>
                  </a:cubicBezTo>
                  <a:cubicBezTo>
                    <a:pt x="1154444" y="1520"/>
                    <a:pt x="1154444" y="3008"/>
                    <a:pt x="1162878" y="3008"/>
                  </a:cubicBezTo>
                  <a:cubicBezTo>
                    <a:pt x="1170815" y="3008"/>
                    <a:pt x="1170815" y="4000"/>
                    <a:pt x="1179248" y="4000"/>
                  </a:cubicBezTo>
                  <a:cubicBezTo>
                    <a:pt x="1187185" y="4000"/>
                    <a:pt x="1187185" y="3504"/>
                    <a:pt x="1195619" y="3504"/>
                  </a:cubicBezTo>
                  <a:cubicBezTo>
                    <a:pt x="1203556" y="3504"/>
                    <a:pt x="1203556" y="1520"/>
                    <a:pt x="1211989" y="1520"/>
                  </a:cubicBezTo>
                  <a:cubicBezTo>
                    <a:pt x="1219927" y="1520"/>
                    <a:pt x="1219927" y="3504"/>
                    <a:pt x="1228360" y="3504"/>
                  </a:cubicBezTo>
                  <a:cubicBezTo>
                    <a:pt x="1236297" y="3504"/>
                    <a:pt x="1236297" y="1520"/>
                    <a:pt x="1244730" y="1520"/>
                  </a:cubicBezTo>
                  <a:cubicBezTo>
                    <a:pt x="1252668" y="1520"/>
                    <a:pt x="1252668" y="2512"/>
                    <a:pt x="1261101" y="2512"/>
                  </a:cubicBezTo>
                  <a:cubicBezTo>
                    <a:pt x="1269038" y="2512"/>
                    <a:pt x="1269038" y="3504"/>
                    <a:pt x="1277471" y="3504"/>
                  </a:cubicBezTo>
                  <a:cubicBezTo>
                    <a:pt x="1285409" y="3504"/>
                    <a:pt x="1285409" y="4000"/>
                    <a:pt x="1293842" y="4000"/>
                  </a:cubicBezTo>
                  <a:cubicBezTo>
                    <a:pt x="1301779" y="4000"/>
                    <a:pt x="1301779" y="1520"/>
                    <a:pt x="1310213" y="1520"/>
                  </a:cubicBezTo>
                  <a:cubicBezTo>
                    <a:pt x="1318150" y="1520"/>
                    <a:pt x="1318150" y="2016"/>
                    <a:pt x="1326583" y="2016"/>
                  </a:cubicBezTo>
                  <a:cubicBezTo>
                    <a:pt x="1334520" y="2016"/>
                    <a:pt x="1334520" y="3008"/>
                    <a:pt x="1342954" y="3008"/>
                  </a:cubicBezTo>
                  <a:lnTo>
                    <a:pt x="1359324" y="3008"/>
                  </a:lnTo>
                  <a:cubicBezTo>
                    <a:pt x="1367262" y="3008"/>
                    <a:pt x="1367262" y="2512"/>
                    <a:pt x="1375695" y="2512"/>
                  </a:cubicBezTo>
                  <a:lnTo>
                    <a:pt x="1392066" y="2512"/>
                  </a:lnTo>
                  <a:cubicBezTo>
                    <a:pt x="1400003" y="2512"/>
                    <a:pt x="1400003" y="3504"/>
                    <a:pt x="1408436" y="3504"/>
                  </a:cubicBezTo>
                  <a:lnTo>
                    <a:pt x="1424807" y="3504"/>
                  </a:lnTo>
                  <a:cubicBezTo>
                    <a:pt x="1432744" y="3504"/>
                    <a:pt x="1432744" y="1520"/>
                    <a:pt x="1441177" y="1520"/>
                  </a:cubicBezTo>
                  <a:cubicBezTo>
                    <a:pt x="1449115" y="1520"/>
                    <a:pt x="1449115" y="2512"/>
                    <a:pt x="1457548" y="2512"/>
                  </a:cubicBezTo>
                  <a:cubicBezTo>
                    <a:pt x="1465485" y="2512"/>
                    <a:pt x="1465485" y="2016"/>
                    <a:pt x="1473919" y="2016"/>
                  </a:cubicBezTo>
                  <a:lnTo>
                    <a:pt x="1490289" y="2016"/>
                  </a:lnTo>
                  <a:cubicBezTo>
                    <a:pt x="1498226" y="2016"/>
                    <a:pt x="1498226" y="1520"/>
                    <a:pt x="1506660" y="1520"/>
                  </a:cubicBezTo>
                  <a:cubicBezTo>
                    <a:pt x="1514597" y="1520"/>
                    <a:pt x="1514597" y="3504"/>
                    <a:pt x="1523030" y="3504"/>
                  </a:cubicBezTo>
                  <a:cubicBezTo>
                    <a:pt x="1531463" y="3504"/>
                    <a:pt x="1530967" y="3008"/>
                    <a:pt x="1539401" y="3008"/>
                  </a:cubicBezTo>
                  <a:lnTo>
                    <a:pt x="1555771" y="3008"/>
                  </a:lnTo>
                  <a:cubicBezTo>
                    <a:pt x="1563708" y="3008"/>
                    <a:pt x="1563708" y="2512"/>
                    <a:pt x="1572142" y="2512"/>
                  </a:cubicBezTo>
                  <a:cubicBezTo>
                    <a:pt x="1580079" y="2512"/>
                    <a:pt x="1580079" y="2016"/>
                    <a:pt x="1588512" y="2016"/>
                  </a:cubicBezTo>
                  <a:cubicBezTo>
                    <a:pt x="1596450" y="2016"/>
                    <a:pt x="1596450" y="3008"/>
                    <a:pt x="1604883" y="3008"/>
                  </a:cubicBezTo>
                  <a:lnTo>
                    <a:pt x="1621253" y="3008"/>
                  </a:lnTo>
                  <a:cubicBezTo>
                    <a:pt x="1629191" y="3008"/>
                    <a:pt x="1629191" y="2512"/>
                    <a:pt x="1637624" y="251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040F8A66-FF79-8AC6-B5F1-EC2CD8F4540E}"/>
                </a:ext>
              </a:extLst>
            </p:cNvPr>
            <p:cNvSpPr/>
            <p:nvPr/>
          </p:nvSpPr>
          <p:spPr>
            <a:xfrm>
              <a:off x="5338429" y="1713129"/>
              <a:ext cx="230577" cy="244409"/>
            </a:xfrm>
            <a:custGeom>
              <a:avLst/>
              <a:gdLst>
                <a:gd name="connsiteX0" fmla="*/ 130700 w 230577"/>
                <a:gd name="connsiteY0" fmla="*/ 3797 h 244409"/>
                <a:gd name="connsiteX1" fmla="*/ 114826 w 230577"/>
                <a:gd name="connsiteY1" fmla="*/ 3797 h 244409"/>
                <a:gd name="connsiteX2" fmla="*/ 98951 w 230577"/>
                <a:gd name="connsiteY2" fmla="*/ 3797 h 244409"/>
                <a:gd name="connsiteX3" fmla="*/ 83077 w 230577"/>
                <a:gd name="connsiteY3" fmla="*/ 2308 h 244409"/>
                <a:gd name="connsiteX4" fmla="*/ 67202 w 230577"/>
                <a:gd name="connsiteY4" fmla="*/ 3797 h 244409"/>
                <a:gd name="connsiteX5" fmla="*/ 51328 w 230577"/>
                <a:gd name="connsiteY5" fmla="*/ 4293 h 244409"/>
                <a:gd name="connsiteX6" fmla="*/ 35453 w 230577"/>
                <a:gd name="connsiteY6" fmla="*/ 4293 h 244409"/>
                <a:gd name="connsiteX7" fmla="*/ 19579 w 230577"/>
                <a:gd name="connsiteY7" fmla="*/ 3300 h 244409"/>
                <a:gd name="connsiteX8" fmla="*/ 3208 w 230577"/>
                <a:gd name="connsiteY8" fmla="*/ 3300 h 244409"/>
                <a:gd name="connsiteX9" fmla="*/ 2712 w 230577"/>
                <a:gd name="connsiteY9" fmla="*/ 19671 h 244409"/>
                <a:gd name="connsiteX10" fmla="*/ 3704 w 230577"/>
                <a:gd name="connsiteY10" fmla="*/ 35546 h 244409"/>
                <a:gd name="connsiteX11" fmla="*/ 2712 w 230577"/>
                <a:gd name="connsiteY11" fmla="*/ 51420 h 244409"/>
                <a:gd name="connsiteX12" fmla="*/ 2216 w 230577"/>
                <a:gd name="connsiteY12" fmla="*/ 67294 h 244409"/>
                <a:gd name="connsiteX13" fmla="*/ 2216 w 230577"/>
                <a:gd name="connsiteY13" fmla="*/ 83169 h 244409"/>
                <a:gd name="connsiteX14" fmla="*/ 3208 w 230577"/>
                <a:gd name="connsiteY14" fmla="*/ 99043 h 244409"/>
                <a:gd name="connsiteX15" fmla="*/ 2216 w 230577"/>
                <a:gd name="connsiteY15" fmla="*/ 114918 h 244409"/>
                <a:gd name="connsiteX16" fmla="*/ 2712 w 230577"/>
                <a:gd name="connsiteY16" fmla="*/ 130793 h 244409"/>
                <a:gd name="connsiteX17" fmla="*/ 3704 w 230577"/>
                <a:gd name="connsiteY17" fmla="*/ 146667 h 244409"/>
                <a:gd name="connsiteX18" fmla="*/ 3704 w 230577"/>
                <a:gd name="connsiteY18" fmla="*/ 162541 h 244409"/>
                <a:gd name="connsiteX19" fmla="*/ 3704 w 230577"/>
                <a:gd name="connsiteY19" fmla="*/ 178416 h 244409"/>
                <a:gd name="connsiteX20" fmla="*/ 3208 w 230577"/>
                <a:gd name="connsiteY20" fmla="*/ 194290 h 244409"/>
                <a:gd name="connsiteX21" fmla="*/ 3704 w 230577"/>
                <a:gd name="connsiteY21" fmla="*/ 210165 h 244409"/>
                <a:gd name="connsiteX22" fmla="*/ 1720 w 230577"/>
                <a:gd name="connsiteY22" fmla="*/ 226039 h 244409"/>
                <a:gd name="connsiteX23" fmla="*/ 2712 w 230577"/>
                <a:gd name="connsiteY23" fmla="*/ 241914 h 244409"/>
                <a:gd name="connsiteX24" fmla="*/ 18587 w 230577"/>
                <a:gd name="connsiteY24" fmla="*/ 241418 h 244409"/>
                <a:gd name="connsiteX25" fmla="*/ 34461 w 230577"/>
                <a:gd name="connsiteY25" fmla="*/ 240922 h 244409"/>
                <a:gd name="connsiteX26" fmla="*/ 50336 w 230577"/>
                <a:gd name="connsiteY26" fmla="*/ 242906 h 244409"/>
                <a:gd name="connsiteX27" fmla="*/ 66210 w 230577"/>
                <a:gd name="connsiteY27" fmla="*/ 242410 h 244409"/>
                <a:gd name="connsiteX28" fmla="*/ 82085 w 230577"/>
                <a:gd name="connsiteY28" fmla="*/ 240922 h 244409"/>
                <a:gd name="connsiteX29" fmla="*/ 97959 w 230577"/>
                <a:gd name="connsiteY29" fmla="*/ 240922 h 244409"/>
                <a:gd name="connsiteX30" fmla="*/ 113834 w 230577"/>
                <a:gd name="connsiteY30" fmla="*/ 240426 h 244409"/>
                <a:gd name="connsiteX31" fmla="*/ 130700 w 230577"/>
                <a:gd name="connsiteY31" fmla="*/ 242410 h 244409"/>
                <a:gd name="connsiteX32" fmla="*/ 129708 w 230577"/>
                <a:gd name="connsiteY32" fmla="*/ 225543 h 244409"/>
                <a:gd name="connsiteX33" fmla="*/ 128716 w 230577"/>
                <a:gd name="connsiteY33" fmla="*/ 209669 h 244409"/>
                <a:gd name="connsiteX34" fmla="*/ 129708 w 230577"/>
                <a:gd name="connsiteY34" fmla="*/ 193794 h 244409"/>
                <a:gd name="connsiteX35" fmla="*/ 129212 w 230577"/>
                <a:gd name="connsiteY35" fmla="*/ 177920 h 244409"/>
                <a:gd name="connsiteX36" fmla="*/ 129212 w 230577"/>
                <a:gd name="connsiteY36" fmla="*/ 162045 h 244409"/>
                <a:gd name="connsiteX37" fmla="*/ 128716 w 230577"/>
                <a:gd name="connsiteY37" fmla="*/ 146171 h 244409"/>
                <a:gd name="connsiteX38" fmla="*/ 129708 w 230577"/>
                <a:gd name="connsiteY38" fmla="*/ 130296 h 244409"/>
                <a:gd name="connsiteX39" fmla="*/ 129708 w 230577"/>
                <a:gd name="connsiteY39" fmla="*/ 114422 h 244409"/>
                <a:gd name="connsiteX40" fmla="*/ 129708 w 230577"/>
                <a:gd name="connsiteY40" fmla="*/ 98547 h 244409"/>
                <a:gd name="connsiteX41" fmla="*/ 128220 w 230577"/>
                <a:gd name="connsiteY41" fmla="*/ 82673 h 244409"/>
                <a:gd name="connsiteX42" fmla="*/ 128220 w 230577"/>
                <a:gd name="connsiteY42" fmla="*/ 66798 h 244409"/>
                <a:gd name="connsiteX43" fmla="*/ 130700 w 230577"/>
                <a:gd name="connsiteY43" fmla="*/ 50924 h 244409"/>
                <a:gd name="connsiteX44" fmla="*/ 129212 w 230577"/>
                <a:gd name="connsiteY44" fmla="*/ 35049 h 244409"/>
                <a:gd name="connsiteX45" fmla="*/ 129708 w 230577"/>
                <a:gd name="connsiteY45" fmla="*/ 19175 h 244409"/>
                <a:gd name="connsiteX46" fmla="*/ 129212 w 230577"/>
                <a:gd name="connsiteY46" fmla="*/ 2804 h 244409"/>
                <a:gd name="connsiteX47" fmla="*/ 145583 w 230577"/>
                <a:gd name="connsiteY47" fmla="*/ 4293 h 244409"/>
                <a:gd name="connsiteX48" fmla="*/ 161953 w 230577"/>
                <a:gd name="connsiteY48" fmla="*/ 3797 h 244409"/>
                <a:gd name="connsiteX49" fmla="*/ 178324 w 230577"/>
                <a:gd name="connsiteY49" fmla="*/ 1812 h 244409"/>
                <a:gd name="connsiteX50" fmla="*/ 194694 w 230577"/>
                <a:gd name="connsiteY50" fmla="*/ 3797 h 244409"/>
                <a:gd name="connsiteX51" fmla="*/ 211065 w 230577"/>
                <a:gd name="connsiteY51" fmla="*/ 3797 h 244409"/>
                <a:gd name="connsiteX52" fmla="*/ 227932 w 230577"/>
                <a:gd name="connsiteY52" fmla="*/ 2308 h 244409"/>
                <a:gd name="connsiteX53" fmla="*/ 227932 w 230577"/>
                <a:gd name="connsiteY53" fmla="*/ 19175 h 244409"/>
                <a:gd name="connsiteX54" fmla="*/ 227932 w 230577"/>
                <a:gd name="connsiteY54" fmla="*/ 35049 h 244409"/>
                <a:gd name="connsiteX55" fmla="*/ 227435 w 230577"/>
                <a:gd name="connsiteY55" fmla="*/ 50924 h 244409"/>
                <a:gd name="connsiteX56" fmla="*/ 227435 w 230577"/>
                <a:gd name="connsiteY56" fmla="*/ 66798 h 244409"/>
                <a:gd name="connsiteX57" fmla="*/ 226939 w 230577"/>
                <a:gd name="connsiteY57" fmla="*/ 82673 h 244409"/>
                <a:gd name="connsiteX58" fmla="*/ 225947 w 230577"/>
                <a:gd name="connsiteY58" fmla="*/ 98547 h 244409"/>
                <a:gd name="connsiteX59" fmla="*/ 226443 w 230577"/>
                <a:gd name="connsiteY59" fmla="*/ 114422 h 2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0577" h="244409">
                  <a:moveTo>
                    <a:pt x="130700" y="3797"/>
                  </a:moveTo>
                  <a:cubicBezTo>
                    <a:pt x="122763" y="3797"/>
                    <a:pt x="122763" y="3797"/>
                    <a:pt x="114826" y="3797"/>
                  </a:cubicBezTo>
                  <a:cubicBezTo>
                    <a:pt x="106889" y="3797"/>
                    <a:pt x="106889" y="3797"/>
                    <a:pt x="98951" y="3797"/>
                  </a:cubicBezTo>
                  <a:cubicBezTo>
                    <a:pt x="91014" y="3797"/>
                    <a:pt x="91014" y="2308"/>
                    <a:pt x="83077" y="2308"/>
                  </a:cubicBezTo>
                  <a:cubicBezTo>
                    <a:pt x="75139" y="2308"/>
                    <a:pt x="75139" y="3797"/>
                    <a:pt x="67202" y="3797"/>
                  </a:cubicBezTo>
                  <a:cubicBezTo>
                    <a:pt x="59265" y="3797"/>
                    <a:pt x="59265" y="4293"/>
                    <a:pt x="51328" y="4293"/>
                  </a:cubicBezTo>
                  <a:cubicBezTo>
                    <a:pt x="43391" y="4293"/>
                    <a:pt x="43391" y="4293"/>
                    <a:pt x="35453" y="4293"/>
                  </a:cubicBezTo>
                  <a:cubicBezTo>
                    <a:pt x="27516" y="4293"/>
                    <a:pt x="27516" y="3300"/>
                    <a:pt x="19579" y="3300"/>
                  </a:cubicBezTo>
                  <a:cubicBezTo>
                    <a:pt x="11642" y="3300"/>
                    <a:pt x="8665" y="-2653"/>
                    <a:pt x="3208" y="3300"/>
                  </a:cubicBezTo>
                  <a:cubicBezTo>
                    <a:pt x="-2249" y="8757"/>
                    <a:pt x="2712" y="11734"/>
                    <a:pt x="2712" y="19671"/>
                  </a:cubicBezTo>
                  <a:cubicBezTo>
                    <a:pt x="2712" y="27608"/>
                    <a:pt x="3704" y="27608"/>
                    <a:pt x="3704" y="35546"/>
                  </a:cubicBezTo>
                  <a:cubicBezTo>
                    <a:pt x="3704" y="43483"/>
                    <a:pt x="2712" y="43483"/>
                    <a:pt x="2712" y="51420"/>
                  </a:cubicBezTo>
                  <a:cubicBezTo>
                    <a:pt x="2712" y="59357"/>
                    <a:pt x="2216" y="59357"/>
                    <a:pt x="2216" y="67294"/>
                  </a:cubicBezTo>
                  <a:cubicBezTo>
                    <a:pt x="2216" y="75232"/>
                    <a:pt x="2216" y="75232"/>
                    <a:pt x="2216" y="83169"/>
                  </a:cubicBezTo>
                  <a:cubicBezTo>
                    <a:pt x="2216" y="91106"/>
                    <a:pt x="3208" y="91106"/>
                    <a:pt x="3208" y="99043"/>
                  </a:cubicBezTo>
                  <a:cubicBezTo>
                    <a:pt x="3208" y="106981"/>
                    <a:pt x="2216" y="106981"/>
                    <a:pt x="2216" y="114918"/>
                  </a:cubicBezTo>
                  <a:cubicBezTo>
                    <a:pt x="2216" y="122855"/>
                    <a:pt x="2712" y="122855"/>
                    <a:pt x="2712" y="130793"/>
                  </a:cubicBezTo>
                  <a:cubicBezTo>
                    <a:pt x="2712" y="138730"/>
                    <a:pt x="3704" y="138730"/>
                    <a:pt x="3704" y="146667"/>
                  </a:cubicBezTo>
                  <a:cubicBezTo>
                    <a:pt x="3704" y="154604"/>
                    <a:pt x="3704" y="154604"/>
                    <a:pt x="3704" y="162541"/>
                  </a:cubicBezTo>
                  <a:cubicBezTo>
                    <a:pt x="3704" y="170479"/>
                    <a:pt x="3704" y="170479"/>
                    <a:pt x="3704" y="178416"/>
                  </a:cubicBezTo>
                  <a:cubicBezTo>
                    <a:pt x="3704" y="186353"/>
                    <a:pt x="3208" y="186353"/>
                    <a:pt x="3208" y="194290"/>
                  </a:cubicBezTo>
                  <a:cubicBezTo>
                    <a:pt x="3208" y="202228"/>
                    <a:pt x="3704" y="202228"/>
                    <a:pt x="3704" y="210165"/>
                  </a:cubicBezTo>
                  <a:cubicBezTo>
                    <a:pt x="3704" y="218102"/>
                    <a:pt x="1720" y="218102"/>
                    <a:pt x="1720" y="226039"/>
                  </a:cubicBezTo>
                  <a:cubicBezTo>
                    <a:pt x="1720" y="233977"/>
                    <a:pt x="-2745" y="236457"/>
                    <a:pt x="2712" y="241914"/>
                  </a:cubicBezTo>
                  <a:cubicBezTo>
                    <a:pt x="8169" y="247371"/>
                    <a:pt x="10649" y="241418"/>
                    <a:pt x="18587" y="241418"/>
                  </a:cubicBezTo>
                  <a:cubicBezTo>
                    <a:pt x="26524" y="241418"/>
                    <a:pt x="26524" y="240922"/>
                    <a:pt x="34461" y="240922"/>
                  </a:cubicBezTo>
                  <a:cubicBezTo>
                    <a:pt x="42398" y="240922"/>
                    <a:pt x="42398" y="242906"/>
                    <a:pt x="50336" y="242906"/>
                  </a:cubicBezTo>
                  <a:cubicBezTo>
                    <a:pt x="58273" y="242906"/>
                    <a:pt x="58273" y="242410"/>
                    <a:pt x="66210" y="242410"/>
                  </a:cubicBezTo>
                  <a:cubicBezTo>
                    <a:pt x="74148" y="242410"/>
                    <a:pt x="74148" y="240922"/>
                    <a:pt x="82085" y="240922"/>
                  </a:cubicBezTo>
                  <a:cubicBezTo>
                    <a:pt x="90022" y="240922"/>
                    <a:pt x="90022" y="240922"/>
                    <a:pt x="97959" y="240922"/>
                  </a:cubicBezTo>
                  <a:cubicBezTo>
                    <a:pt x="105896" y="240922"/>
                    <a:pt x="105896" y="240426"/>
                    <a:pt x="113834" y="240426"/>
                  </a:cubicBezTo>
                  <a:cubicBezTo>
                    <a:pt x="121771" y="240426"/>
                    <a:pt x="124747" y="247867"/>
                    <a:pt x="130700" y="242410"/>
                  </a:cubicBezTo>
                  <a:cubicBezTo>
                    <a:pt x="136157" y="236953"/>
                    <a:pt x="129708" y="233481"/>
                    <a:pt x="129708" y="225543"/>
                  </a:cubicBezTo>
                  <a:cubicBezTo>
                    <a:pt x="129708" y="217606"/>
                    <a:pt x="128716" y="217606"/>
                    <a:pt x="128716" y="209669"/>
                  </a:cubicBezTo>
                  <a:cubicBezTo>
                    <a:pt x="128716" y="201732"/>
                    <a:pt x="129708" y="201732"/>
                    <a:pt x="129708" y="193794"/>
                  </a:cubicBezTo>
                  <a:cubicBezTo>
                    <a:pt x="129708" y="185857"/>
                    <a:pt x="129212" y="185857"/>
                    <a:pt x="129212" y="177920"/>
                  </a:cubicBezTo>
                  <a:cubicBezTo>
                    <a:pt x="129212" y="169983"/>
                    <a:pt x="129212" y="169983"/>
                    <a:pt x="129212" y="162045"/>
                  </a:cubicBezTo>
                  <a:cubicBezTo>
                    <a:pt x="129212" y="154108"/>
                    <a:pt x="128716" y="154108"/>
                    <a:pt x="128716" y="146171"/>
                  </a:cubicBezTo>
                  <a:cubicBezTo>
                    <a:pt x="128716" y="138234"/>
                    <a:pt x="129708" y="138234"/>
                    <a:pt x="129708" y="130296"/>
                  </a:cubicBezTo>
                  <a:cubicBezTo>
                    <a:pt x="129708" y="122359"/>
                    <a:pt x="129708" y="122359"/>
                    <a:pt x="129708" y="114422"/>
                  </a:cubicBezTo>
                  <a:cubicBezTo>
                    <a:pt x="129708" y="106485"/>
                    <a:pt x="129708" y="106485"/>
                    <a:pt x="129708" y="98547"/>
                  </a:cubicBezTo>
                  <a:cubicBezTo>
                    <a:pt x="129708" y="90610"/>
                    <a:pt x="128220" y="90610"/>
                    <a:pt x="128220" y="82673"/>
                  </a:cubicBezTo>
                  <a:cubicBezTo>
                    <a:pt x="128220" y="74736"/>
                    <a:pt x="128220" y="74736"/>
                    <a:pt x="128220" y="66798"/>
                  </a:cubicBezTo>
                  <a:cubicBezTo>
                    <a:pt x="128220" y="58861"/>
                    <a:pt x="130700" y="58861"/>
                    <a:pt x="130700" y="50924"/>
                  </a:cubicBezTo>
                  <a:cubicBezTo>
                    <a:pt x="130700" y="42987"/>
                    <a:pt x="129212" y="42987"/>
                    <a:pt x="129212" y="35049"/>
                  </a:cubicBezTo>
                  <a:cubicBezTo>
                    <a:pt x="129212" y="27112"/>
                    <a:pt x="129708" y="27112"/>
                    <a:pt x="129708" y="19175"/>
                  </a:cubicBezTo>
                  <a:cubicBezTo>
                    <a:pt x="129708" y="11238"/>
                    <a:pt x="123259" y="8261"/>
                    <a:pt x="129212" y="2804"/>
                  </a:cubicBezTo>
                  <a:cubicBezTo>
                    <a:pt x="135165" y="-2653"/>
                    <a:pt x="137645" y="4293"/>
                    <a:pt x="145583" y="4293"/>
                  </a:cubicBezTo>
                  <a:cubicBezTo>
                    <a:pt x="153520" y="4293"/>
                    <a:pt x="153520" y="3797"/>
                    <a:pt x="161953" y="3797"/>
                  </a:cubicBezTo>
                  <a:cubicBezTo>
                    <a:pt x="169891" y="3797"/>
                    <a:pt x="169891" y="1812"/>
                    <a:pt x="178324" y="1812"/>
                  </a:cubicBezTo>
                  <a:cubicBezTo>
                    <a:pt x="186261" y="1812"/>
                    <a:pt x="186261" y="3797"/>
                    <a:pt x="194694" y="3797"/>
                  </a:cubicBezTo>
                  <a:cubicBezTo>
                    <a:pt x="203128" y="3797"/>
                    <a:pt x="203128" y="3797"/>
                    <a:pt x="211065" y="3797"/>
                  </a:cubicBezTo>
                  <a:cubicBezTo>
                    <a:pt x="219002" y="3797"/>
                    <a:pt x="222475" y="-3645"/>
                    <a:pt x="227932" y="2308"/>
                  </a:cubicBezTo>
                  <a:cubicBezTo>
                    <a:pt x="233884" y="7765"/>
                    <a:pt x="227932" y="11238"/>
                    <a:pt x="227932" y="19175"/>
                  </a:cubicBezTo>
                  <a:cubicBezTo>
                    <a:pt x="227932" y="27112"/>
                    <a:pt x="227932" y="27112"/>
                    <a:pt x="227932" y="35049"/>
                  </a:cubicBezTo>
                  <a:cubicBezTo>
                    <a:pt x="227932" y="42987"/>
                    <a:pt x="227435" y="42987"/>
                    <a:pt x="227435" y="50924"/>
                  </a:cubicBezTo>
                  <a:cubicBezTo>
                    <a:pt x="227435" y="58861"/>
                    <a:pt x="227435" y="58861"/>
                    <a:pt x="227435" y="66798"/>
                  </a:cubicBezTo>
                  <a:cubicBezTo>
                    <a:pt x="227435" y="74736"/>
                    <a:pt x="226939" y="74736"/>
                    <a:pt x="226939" y="82673"/>
                  </a:cubicBezTo>
                  <a:cubicBezTo>
                    <a:pt x="226939" y="90610"/>
                    <a:pt x="225947" y="90610"/>
                    <a:pt x="225947" y="98547"/>
                  </a:cubicBezTo>
                  <a:cubicBezTo>
                    <a:pt x="225947" y="106485"/>
                    <a:pt x="226443" y="106485"/>
                    <a:pt x="226443" y="1144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1EFFA824-3528-71EA-BEF0-3D751FD1E3AE}"/>
                </a:ext>
              </a:extLst>
            </p:cNvPr>
            <p:cNvSpPr/>
            <p:nvPr/>
          </p:nvSpPr>
          <p:spPr>
            <a:xfrm>
              <a:off x="6153717" y="1781911"/>
              <a:ext cx="473257" cy="472762"/>
            </a:xfrm>
            <a:custGeom>
              <a:avLst/>
              <a:gdLst>
                <a:gd name="connsiteX0" fmla="*/ 0 w 473257"/>
                <a:gd name="connsiteY0" fmla="*/ 472762 h 472762"/>
                <a:gd name="connsiteX1" fmla="*/ 10913 w 473257"/>
                <a:gd name="connsiteY1" fmla="*/ 460360 h 472762"/>
                <a:gd name="connsiteX2" fmla="*/ 22819 w 473257"/>
                <a:gd name="connsiteY2" fmla="*/ 449446 h 472762"/>
                <a:gd name="connsiteX3" fmla="*/ 34229 w 473257"/>
                <a:gd name="connsiteY3" fmla="*/ 438037 h 472762"/>
                <a:gd name="connsiteX4" fmla="*/ 44647 w 473257"/>
                <a:gd name="connsiteY4" fmla="*/ 425635 h 472762"/>
                <a:gd name="connsiteX5" fmla="*/ 57545 w 473257"/>
                <a:gd name="connsiteY5" fmla="*/ 415217 h 472762"/>
                <a:gd name="connsiteX6" fmla="*/ 68954 w 473257"/>
                <a:gd name="connsiteY6" fmla="*/ 403311 h 472762"/>
                <a:gd name="connsiteX7" fmla="*/ 79868 w 473257"/>
                <a:gd name="connsiteY7" fmla="*/ 391405 h 472762"/>
                <a:gd name="connsiteX8" fmla="*/ 91278 w 473257"/>
                <a:gd name="connsiteY8" fmla="*/ 379996 h 472762"/>
                <a:gd name="connsiteX9" fmla="*/ 102688 w 473257"/>
                <a:gd name="connsiteY9" fmla="*/ 368586 h 472762"/>
                <a:gd name="connsiteX10" fmla="*/ 115090 w 473257"/>
                <a:gd name="connsiteY10" fmla="*/ 358168 h 472762"/>
                <a:gd name="connsiteX11" fmla="*/ 126003 w 473257"/>
                <a:gd name="connsiteY11" fmla="*/ 345766 h 472762"/>
                <a:gd name="connsiteX12" fmla="*/ 136917 w 473257"/>
                <a:gd name="connsiteY12" fmla="*/ 333860 h 472762"/>
                <a:gd name="connsiteX13" fmla="*/ 149815 w 473257"/>
                <a:gd name="connsiteY13" fmla="*/ 323443 h 472762"/>
                <a:gd name="connsiteX14" fmla="*/ 160729 w 473257"/>
                <a:gd name="connsiteY14" fmla="*/ 311041 h 472762"/>
                <a:gd name="connsiteX15" fmla="*/ 171643 w 473257"/>
                <a:gd name="connsiteY15" fmla="*/ 299135 h 472762"/>
                <a:gd name="connsiteX16" fmla="*/ 183549 w 473257"/>
                <a:gd name="connsiteY16" fmla="*/ 287725 h 472762"/>
                <a:gd name="connsiteX17" fmla="*/ 194958 w 473257"/>
                <a:gd name="connsiteY17" fmla="*/ 276315 h 472762"/>
                <a:gd name="connsiteX18" fmla="*/ 206864 w 473257"/>
                <a:gd name="connsiteY18" fmla="*/ 265402 h 472762"/>
                <a:gd name="connsiteX19" fmla="*/ 218274 w 473257"/>
                <a:gd name="connsiteY19" fmla="*/ 253496 h 472762"/>
                <a:gd name="connsiteX20" fmla="*/ 230180 w 473257"/>
                <a:gd name="connsiteY20" fmla="*/ 242086 h 472762"/>
                <a:gd name="connsiteX21" fmla="*/ 241590 w 473257"/>
                <a:gd name="connsiteY21" fmla="*/ 230676 h 472762"/>
                <a:gd name="connsiteX22" fmla="*/ 253496 w 473257"/>
                <a:gd name="connsiteY22" fmla="*/ 219266 h 472762"/>
                <a:gd name="connsiteX23" fmla="*/ 264905 w 473257"/>
                <a:gd name="connsiteY23" fmla="*/ 207857 h 472762"/>
                <a:gd name="connsiteX24" fmla="*/ 276811 w 473257"/>
                <a:gd name="connsiteY24" fmla="*/ 196447 h 472762"/>
                <a:gd name="connsiteX25" fmla="*/ 288717 w 473257"/>
                <a:gd name="connsiteY25" fmla="*/ 185037 h 472762"/>
                <a:gd name="connsiteX26" fmla="*/ 299135 w 473257"/>
                <a:gd name="connsiteY26" fmla="*/ 172635 h 472762"/>
                <a:gd name="connsiteX27" fmla="*/ 310545 w 473257"/>
                <a:gd name="connsiteY27" fmla="*/ 160729 h 472762"/>
                <a:gd name="connsiteX28" fmla="*/ 321954 w 473257"/>
                <a:gd name="connsiteY28" fmla="*/ 149319 h 472762"/>
                <a:gd name="connsiteX29" fmla="*/ 333364 w 473257"/>
                <a:gd name="connsiteY29" fmla="*/ 137910 h 472762"/>
                <a:gd name="connsiteX30" fmla="*/ 344774 w 473257"/>
                <a:gd name="connsiteY30" fmla="*/ 126004 h 472762"/>
                <a:gd name="connsiteX31" fmla="*/ 356680 w 473257"/>
                <a:gd name="connsiteY31" fmla="*/ 114594 h 472762"/>
                <a:gd name="connsiteX32" fmla="*/ 369578 w 473257"/>
                <a:gd name="connsiteY32" fmla="*/ 104672 h 472762"/>
                <a:gd name="connsiteX33" fmla="*/ 379500 w 473257"/>
                <a:gd name="connsiteY33" fmla="*/ 91774 h 472762"/>
                <a:gd name="connsiteX34" fmla="*/ 391405 w 473257"/>
                <a:gd name="connsiteY34" fmla="*/ 80365 h 472762"/>
                <a:gd name="connsiteX35" fmla="*/ 403807 w 473257"/>
                <a:gd name="connsiteY35" fmla="*/ 69947 h 472762"/>
                <a:gd name="connsiteX36" fmla="*/ 414721 w 473257"/>
                <a:gd name="connsiteY36" fmla="*/ 57545 h 472762"/>
                <a:gd name="connsiteX37" fmla="*/ 425635 w 473257"/>
                <a:gd name="connsiteY37" fmla="*/ 45639 h 472762"/>
                <a:gd name="connsiteX38" fmla="*/ 439029 w 473257"/>
                <a:gd name="connsiteY38" fmla="*/ 35718 h 472762"/>
                <a:gd name="connsiteX39" fmla="*/ 449942 w 473257"/>
                <a:gd name="connsiteY39" fmla="*/ 23316 h 472762"/>
                <a:gd name="connsiteX40" fmla="*/ 461352 w 473257"/>
                <a:gd name="connsiteY40" fmla="*/ 11410 h 472762"/>
                <a:gd name="connsiteX41" fmla="*/ 473258 w 473257"/>
                <a:gd name="connsiteY41" fmla="*/ 0 h 47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257" h="472762">
                  <a:moveTo>
                    <a:pt x="0" y="472762"/>
                  </a:moveTo>
                  <a:cubicBezTo>
                    <a:pt x="5953" y="466809"/>
                    <a:pt x="4961" y="466313"/>
                    <a:pt x="10913" y="460360"/>
                  </a:cubicBezTo>
                  <a:cubicBezTo>
                    <a:pt x="16866" y="454407"/>
                    <a:pt x="17363" y="454903"/>
                    <a:pt x="22819" y="449446"/>
                  </a:cubicBezTo>
                  <a:cubicBezTo>
                    <a:pt x="28772" y="443494"/>
                    <a:pt x="28772" y="443494"/>
                    <a:pt x="34229" y="438037"/>
                  </a:cubicBezTo>
                  <a:cubicBezTo>
                    <a:pt x="40182" y="432084"/>
                    <a:pt x="39190" y="431092"/>
                    <a:pt x="44647" y="425635"/>
                  </a:cubicBezTo>
                  <a:cubicBezTo>
                    <a:pt x="50600" y="419682"/>
                    <a:pt x="51592" y="421170"/>
                    <a:pt x="57545" y="415217"/>
                  </a:cubicBezTo>
                  <a:cubicBezTo>
                    <a:pt x="63498" y="409264"/>
                    <a:pt x="63002" y="409264"/>
                    <a:pt x="68954" y="403311"/>
                  </a:cubicBezTo>
                  <a:cubicBezTo>
                    <a:pt x="74908" y="397358"/>
                    <a:pt x="74412" y="396862"/>
                    <a:pt x="79868" y="391405"/>
                  </a:cubicBezTo>
                  <a:cubicBezTo>
                    <a:pt x="85821" y="385452"/>
                    <a:pt x="85821" y="385452"/>
                    <a:pt x="91278" y="379996"/>
                  </a:cubicBezTo>
                  <a:cubicBezTo>
                    <a:pt x="97231" y="374043"/>
                    <a:pt x="97231" y="374043"/>
                    <a:pt x="102688" y="368586"/>
                  </a:cubicBezTo>
                  <a:cubicBezTo>
                    <a:pt x="108641" y="362633"/>
                    <a:pt x="109633" y="363625"/>
                    <a:pt x="115090" y="358168"/>
                  </a:cubicBezTo>
                  <a:cubicBezTo>
                    <a:pt x="121043" y="352215"/>
                    <a:pt x="120051" y="351719"/>
                    <a:pt x="126003" y="345766"/>
                  </a:cubicBezTo>
                  <a:cubicBezTo>
                    <a:pt x="131957" y="339813"/>
                    <a:pt x="131461" y="339317"/>
                    <a:pt x="136917" y="333860"/>
                  </a:cubicBezTo>
                  <a:cubicBezTo>
                    <a:pt x="142870" y="327907"/>
                    <a:pt x="143863" y="329396"/>
                    <a:pt x="149815" y="323443"/>
                  </a:cubicBezTo>
                  <a:cubicBezTo>
                    <a:pt x="155768" y="317490"/>
                    <a:pt x="154776" y="316994"/>
                    <a:pt x="160729" y="311041"/>
                  </a:cubicBezTo>
                  <a:cubicBezTo>
                    <a:pt x="166682" y="305088"/>
                    <a:pt x="166186" y="304592"/>
                    <a:pt x="171643" y="299135"/>
                  </a:cubicBezTo>
                  <a:cubicBezTo>
                    <a:pt x="177596" y="293182"/>
                    <a:pt x="177596" y="293678"/>
                    <a:pt x="183549" y="287725"/>
                  </a:cubicBezTo>
                  <a:cubicBezTo>
                    <a:pt x="189502" y="281772"/>
                    <a:pt x="189006" y="281772"/>
                    <a:pt x="194958" y="276315"/>
                  </a:cubicBezTo>
                  <a:cubicBezTo>
                    <a:pt x="200912" y="270362"/>
                    <a:pt x="201408" y="270858"/>
                    <a:pt x="206864" y="265402"/>
                  </a:cubicBezTo>
                  <a:cubicBezTo>
                    <a:pt x="212817" y="259449"/>
                    <a:pt x="212321" y="259449"/>
                    <a:pt x="218274" y="253496"/>
                  </a:cubicBezTo>
                  <a:cubicBezTo>
                    <a:pt x="224227" y="247543"/>
                    <a:pt x="224227" y="248039"/>
                    <a:pt x="230180" y="242086"/>
                  </a:cubicBezTo>
                  <a:cubicBezTo>
                    <a:pt x="236133" y="236133"/>
                    <a:pt x="236133" y="236133"/>
                    <a:pt x="241590" y="230676"/>
                  </a:cubicBezTo>
                  <a:cubicBezTo>
                    <a:pt x="247542" y="224723"/>
                    <a:pt x="247542" y="225219"/>
                    <a:pt x="253496" y="219266"/>
                  </a:cubicBezTo>
                  <a:cubicBezTo>
                    <a:pt x="259448" y="213314"/>
                    <a:pt x="259448" y="213314"/>
                    <a:pt x="264905" y="207857"/>
                  </a:cubicBezTo>
                  <a:cubicBezTo>
                    <a:pt x="270858" y="201904"/>
                    <a:pt x="270858" y="202400"/>
                    <a:pt x="276811" y="196447"/>
                  </a:cubicBezTo>
                  <a:cubicBezTo>
                    <a:pt x="282764" y="190494"/>
                    <a:pt x="282764" y="190990"/>
                    <a:pt x="288717" y="185037"/>
                  </a:cubicBezTo>
                  <a:cubicBezTo>
                    <a:pt x="294670" y="179084"/>
                    <a:pt x="293678" y="178092"/>
                    <a:pt x="299135" y="172635"/>
                  </a:cubicBezTo>
                  <a:cubicBezTo>
                    <a:pt x="305088" y="166682"/>
                    <a:pt x="304591" y="166682"/>
                    <a:pt x="310545" y="160729"/>
                  </a:cubicBezTo>
                  <a:cubicBezTo>
                    <a:pt x="316497" y="154776"/>
                    <a:pt x="316497" y="154776"/>
                    <a:pt x="321954" y="149319"/>
                  </a:cubicBezTo>
                  <a:cubicBezTo>
                    <a:pt x="327907" y="143366"/>
                    <a:pt x="327907" y="143366"/>
                    <a:pt x="333364" y="137910"/>
                  </a:cubicBezTo>
                  <a:cubicBezTo>
                    <a:pt x="339317" y="131957"/>
                    <a:pt x="338821" y="131957"/>
                    <a:pt x="344774" y="126004"/>
                  </a:cubicBezTo>
                  <a:cubicBezTo>
                    <a:pt x="350727" y="120051"/>
                    <a:pt x="350727" y="120547"/>
                    <a:pt x="356680" y="114594"/>
                  </a:cubicBezTo>
                  <a:cubicBezTo>
                    <a:pt x="362633" y="108641"/>
                    <a:pt x="364121" y="110129"/>
                    <a:pt x="369578" y="104672"/>
                  </a:cubicBezTo>
                  <a:cubicBezTo>
                    <a:pt x="375531" y="98719"/>
                    <a:pt x="374042" y="97231"/>
                    <a:pt x="379500" y="91774"/>
                  </a:cubicBezTo>
                  <a:cubicBezTo>
                    <a:pt x="385452" y="85821"/>
                    <a:pt x="385452" y="86318"/>
                    <a:pt x="391405" y="80365"/>
                  </a:cubicBezTo>
                  <a:cubicBezTo>
                    <a:pt x="397358" y="74412"/>
                    <a:pt x="398350" y="75404"/>
                    <a:pt x="403807" y="69947"/>
                  </a:cubicBezTo>
                  <a:cubicBezTo>
                    <a:pt x="409760" y="63994"/>
                    <a:pt x="408768" y="63498"/>
                    <a:pt x="414721" y="57545"/>
                  </a:cubicBezTo>
                  <a:cubicBezTo>
                    <a:pt x="420674" y="51592"/>
                    <a:pt x="420178" y="51096"/>
                    <a:pt x="425635" y="45639"/>
                  </a:cubicBezTo>
                  <a:cubicBezTo>
                    <a:pt x="431588" y="39686"/>
                    <a:pt x="433076" y="41671"/>
                    <a:pt x="439029" y="35718"/>
                  </a:cubicBezTo>
                  <a:cubicBezTo>
                    <a:pt x="444982" y="29765"/>
                    <a:pt x="443990" y="29269"/>
                    <a:pt x="449942" y="23316"/>
                  </a:cubicBezTo>
                  <a:cubicBezTo>
                    <a:pt x="455895" y="17363"/>
                    <a:pt x="455399" y="17363"/>
                    <a:pt x="461352" y="11410"/>
                  </a:cubicBezTo>
                  <a:cubicBezTo>
                    <a:pt x="467305" y="5457"/>
                    <a:pt x="467305" y="5953"/>
                    <a:pt x="47325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CAD6374C-90BF-396C-E210-61AB6E0A370B}"/>
                </a:ext>
              </a:extLst>
            </p:cNvPr>
            <p:cNvSpPr/>
            <p:nvPr/>
          </p:nvSpPr>
          <p:spPr>
            <a:xfrm>
              <a:off x="5758838" y="1781415"/>
              <a:ext cx="473754" cy="473258"/>
            </a:xfrm>
            <a:custGeom>
              <a:avLst/>
              <a:gdLst>
                <a:gd name="connsiteX0" fmla="*/ 0 w 473754"/>
                <a:gd name="connsiteY0" fmla="*/ 473258 h 473258"/>
                <a:gd name="connsiteX1" fmla="*/ 9922 w 473754"/>
                <a:gd name="connsiteY1" fmla="*/ 460360 h 473258"/>
                <a:gd name="connsiteX2" fmla="*/ 22323 w 473754"/>
                <a:gd name="connsiteY2" fmla="*/ 449943 h 473258"/>
                <a:gd name="connsiteX3" fmla="*/ 34725 w 473754"/>
                <a:gd name="connsiteY3" fmla="*/ 439029 h 473258"/>
                <a:gd name="connsiteX4" fmla="*/ 45143 w 473754"/>
                <a:gd name="connsiteY4" fmla="*/ 426131 h 473258"/>
                <a:gd name="connsiteX5" fmla="*/ 57545 w 473754"/>
                <a:gd name="connsiteY5" fmla="*/ 415713 h 473258"/>
                <a:gd name="connsiteX6" fmla="*/ 67963 w 473754"/>
                <a:gd name="connsiteY6" fmla="*/ 403311 h 473258"/>
                <a:gd name="connsiteX7" fmla="*/ 80365 w 473754"/>
                <a:gd name="connsiteY7" fmla="*/ 392398 h 473258"/>
                <a:gd name="connsiteX8" fmla="*/ 91278 w 473754"/>
                <a:gd name="connsiteY8" fmla="*/ 380492 h 473258"/>
                <a:gd name="connsiteX9" fmla="*/ 102688 w 473754"/>
                <a:gd name="connsiteY9" fmla="*/ 369082 h 473258"/>
                <a:gd name="connsiteX10" fmla="*/ 114594 w 473754"/>
                <a:gd name="connsiteY10" fmla="*/ 358168 h 473258"/>
                <a:gd name="connsiteX11" fmla="*/ 126004 w 473754"/>
                <a:gd name="connsiteY11" fmla="*/ 346758 h 473258"/>
                <a:gd name="connsiteX12" fmla="*/ 136421 w 473754"/>
                <a:gd name="connsiteY12" fmla="*/ 334357 h 473258"/>
                <a:gd name="connsiteX13" fmla="*/ 147831 w 473754"/>
                <a:gd name="connsiteY13" fmla="*/ 322947 h 473258"/>
                <a:gd name="connsiteX14" fmla="*/ 159737 w 473754"/>
                <a:gd name="connsiteY14" fmla="*/ 311537 h 473258"/>
                <a:gd name="connsiteX15" fmla="*/ 172139 w 473754"/>
                <a:gd name="connsiteY15" fmla="*/ 300623 h 473258"/>
                <a:gd name="connsiteX16" fmla="*/ 184045 w 473754"/>
                <a:gd name="connsiteY16" fmla="*/ 289213 h 473258"/>
                <a:gd name="connsiteX17" fmla="*/ 194959 w 473754"/>
                <a:gd name="connsiteY17" fmla="*/ 277308 h 473258"/>
                <a:gd name="connsiteX18" fmla="*/ 206369 w 473754"/>
                <a:gd name="connsiteY18" fmla="*/ 265402 h 473258"/>
                <a:gd name="connsiteX19" fmla="*/ 218274 w 473754"/>
                <a:gd name="connsiteY19" fmla="*/ 253992 h 473258"/>
                <a:gd name="connsiteX20" fmla="*/ 230676 w 473754"/>
                <a:gd name="connsiteY20" fmla="*/ 243078 h 473258"/>
                <a:gd name="connsiteX21" fmla="*/ 241094 w 473754"/>
                <a:gd name="connsiteY21" fmla="*/ 230676 h 473258"/>
                <a:gd name="connsiteX22" fmla="*/ 252503 w 473754"/>
                <a:gd name="connsiteY22" fmla="*/ 218770 h 473258"/>
                <a:gd name="connsiteX23" fmla="*/ 265401 w 473754"/>
                <a:gd name="connsiteY23" fmla="*/ 208353 h 473258"/>
                <a:gd name="connsiteX24" fmla="*/ 277307 w 473754"/>
                <a:gd name="connsiteY24" fmla="*/ 196943 h 473258"/>
                <a:gd name="connsiteX25" fmla="*/ 287725 w 473754"/>
                <a:gd name="connsiteY25" fmla="*/ 184541 h 473258"/>
                <a:gd name="connsiteX26" fmla="*/ 298639 w 473754"/>
                <a:gd name="connsiteY26" fmla="*/ 172635 h 473258"/>
                <a:gd name="connsiteX27" fmla="*/ 311041 w 473754"/>
                <a:gd name="connsiteY27" fmla="*/ 161721 h 473258"/>
                <a:gd name="connsiteX28" fmla="*/ 321954 w 473754"/>
                <a:gd name="connsiteY28" fmla="*/ 149319 h 473258"/>
                <a:gd name="connsiteX29" fmla="*/ 333860 w 473754"/>
                <a:gd name="connsiteY29" fmla="*/ 138406 h 473258"/>
                <a:gd name="connsiteX30" fmla="*/ 345270 w 473754"/>
                <a:gd name="connsiteY30" fmla="*/ 126500 h 473258"/>
                <a:gd name="connsiteX31" fmla="*/ 357176 w 473754"/>
                <a:gd name="connsiteY31" fmla="*/ 115586 h 473258"/>
                <a:gd name="connsiteX32" fmla="*/ 369578 w 473754"/>
                <a:gd name="connsiteY32" fmla="*/ 104672 h 473258"/>
                <a:gd name="connsiteX33" fmla="*/ 379996 w 473754"/>
                <a:gd name="connsiteY33" fmla="*/ 91774 h 473258"/>
                <a:gd name="connsiteX34" fmla="*/ 392398 w 473754"/>
                <a:gd name="connsiteY34" fmla="*/ 80861 h 473258"/>
                <a:gd name="connsiteX35" fmla="*/ 404303 w 473754"/>
                <a:gd name="connsiteY35" fmla="*/ 69947 h 473258"/>
                <a:gd name="connsiteX36" fmla="*/ 414721 w 473754"/>
                <a:gd name="connsiteY36" fmla="*/ 57049 h 473258"/>
                <a:gd name="connsiteX37" fmla="*/ 427123 w 473754"/>
                <a:gd name="connsiteY37" fmla="*/ 46135 h 473258"/>
                <a:gd name="connsiteX38" fmla="*/ 438533 w 473754"/>
                <a:gd name="connsiteY38" fmla="*/ 34229 h 473258"/>
                <a:gd name="connsiteX39" fmla="*/ 450439 w 473754"/>
                <a:gd name="connsiteY39" fmla="*/ 23316 h 473258"/>
                <a:gd name="connsiteX40" fmla="*/ 462345 w 473754"/>
                <a:gd name="connsiteY40" fmla="*/ 11906 h 473258"/>
                <a:gd name="connsiteX41" fmla="*/ 473754 w 473754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754" h="473258">
                  <a:moveTo>
                    <a:pt x="0" y="473258"/>
                  </a:moveTo>
                  <a:cubicBezTo>
                    <a:pt x="5953" y="467305"/>
                    <a:pt x="3969" y="465817"/>
                    <a:pt x="9922" y="460360"/>
                  </a:cubicBezTo>
                  <a:cubicBezTo>
                    <a:pt x="15875" y="454407"/>
                    <a:pt x="16866" y="455399"/>
                    <a:pt x="22323" y="449943"/>
                  </a:cubicBezTo>
                  <a:cubicBezTo>
                    <a:pt x="28277" y="443990"/>
                    <a:pt x="28772" y="444982"/>
                    <a:pt x="34725" y="439029"/>
                  </a:cubicBezTo>
                  <a:cubicBezTo>
                    <a:pt x="40678" y="433076"/>
                    <a:pt x="39190" y="432084"/>
                    <a:pt x="45143" y="426131"/>
                  </a:cubicBezTo>
                  <a:cubicBezTo>
                    <a:pt x="51096" y="420178"/>
                    <a:pt x="52088" y="421170"/>
                    <a:pt x="57545" y="415713"/>
                  </a:cubicBezTo>
                  <a:cubicBezTo>
                    <a:pt x="63498" y="409760"/>
                    <a:pt x="62506" y="408768"/>
                    <a:pt x="67963" y="403311"/>
                  </a:cubicBezTo>
                  <a:cubicBezTo>
                    <a:pt x="73915" y="397358"/>
                    <a:pt x="74411" y="398351"/>
                    <a:pt x="80365" y="392398"/>
                  </a:cubicBezTo>
                  <a:cubicBezTo>
                    <a:pt x="86317" y="386445"/>
                    <a:pt x="85821" y="385949"/>
                    <a:pt x="91278" y="380492"/>
                  </a:cubicBezTo>
                  <a:cubicBezTo>
                    <a:pt x="97231" y="374539"/>
                    <a:pt x="97231" y="374539"/>
                    <a:pt x="102688" y="369082"/>
                  </a:cubicBezTo>
                  <a:cubicBezTo>
                    <a:pt x="108641" y="363129"/>
                    <a:pt x="108641" y="363625"/>
                    <a:pt x="114594" y="358168"/>
                  </a:cubicBezTo>
                  <a:cubicBezTo>
                    <a:pt x="120547" y="352215"/>
                    <a:pt x="120547" y="352215"/>
                    <a:pt x="126004" y="346758"/>
                  </a:cubicBezTo>
                  <a:cubicBezTo>
                    <a:pt x="131957" y="340805"/>
                    <a:pt x="130964" y="339813"/>
                    <a:pt x="136421" y="334357"/>
                  </a:cubicBezTo>
                  <a:cubicBezTo>
                    <a:pt x="142374" y="328404"/>
                    <a:pt x="142374" y="328404"/>
                    <a:pt x="147831" y="322947"/>
                  </a:cubicBezTo>
                  <a:cubicBezTo>
                    <a:pt x="153784" y="316994"/>
                    <a:pt x="153784" y="317490"/>
                    <a:pt x="159737" y="311537"/>
                  </a:cubicBezTo>
                  <a:cubicBezTo>
                    <a:pt x="165690" y="305584"/>
                    <a:pt x="166186" y="306576"/>
                    <a:pt x="172139" y="300623"/>
                  </a:cubicBezTo>
                  <a:cubicBezTo>
                    <a:pt x="178092" y="294670"/>
                    <a:pt x="178092" y="295166"/>
                    <a:pt x="184045" y="289213"/>
                  </a:cubicBezTo>
                  <a:cubicBezTo>
                    <a:pt x="189998" y="283261"/>
                    <a:pt x="189006" y="282764"/>
                    <a:pt x="194959" y="277308"/>
                  </a:cubicBezTo>
                  <a:cubicBezTo>
                    <a:pt x="200911" y="271355"/>
                    <a:pt x="200415" y="271355"/>
                    <a:pt x="206369" y="265402"/>
                  </a:cubicBezTo>
                  <a:cubicBezTo>
                    <a:pt x="212321" y="259449"/>
                    <a:pt x="212321" y="259945"/>
                    <a:pt x="218274" y="253992"/>
                  </a:cubicBezTo>
                  <a:cubicBezTo>
                    <a:pt x="224227" y="248039"/>
                    <a:pt x="224723" y="249031"/>
                    <a:pt x="230676" y="243078"/>
                  </a:cubicBezTo>
                  <a:cubicBezTo>
                    <a:pt x="236629" y="237125"/>
                    <a:pt x="235637" y="236133"/>
                    <a:pt x="241094" y="230676"/>
                  </a:cubicBezTo>
                  <a:cubicBezTo>
                    <a:pt x="247047" y="224723"/>
                    <a:pt x="246551" y="224723"/>
                    <a:pt x="252503" y="218770"/>
                  </a:cubicBezTo>
                  <a:cubicBezTo>
                    <a:pt x="258457" y="212817"/>
                    <a:pt x="259449" y="214306"/>
                    <a:pt x="265401" y="208353"/>
                  </a:cubicBezTo>
                  <a:cubicBezTo>
                    <a:pt x="271355" y="202400"/>
                    <a:pt x="271355" y="202896"/>
                    <a:pt x="277307" y="196943"/>
                  </a:cubicBezTo>
                  <a:cubicBezTo>
                    <a:pt x="283261" y="190990"/>
                    <a:pt x="282268" y="190494"/>
                    <a:pt x="287725" y="184541"/>
                  </a:cubicBezTo>
                  <a:cubicBezTo>
                    <a:pt x="293678" y="178588"/>
                    <a:pt x="293182" y="178588"/>
                    <a:pt x="298639" y="172635"/>
                  </a:cubicBezTo>
                  <a:cubicBezTo>
                    <a:pt x="304592" y="166682"/>
                    <a:pt x="305088" y="167674"/>
                    <a:pt x="311041" y="161721"/>
                  </a:cubicBezTo>
                  <a:cubicBezTo>
                    <a:pt x="316994" y="155768"/>
                    <a:pt x="316002" y="155272"/>
                    <a:pt x="321954" y="149319"/>
                  </a:cubicBezTo>
                  <a:cubicBezTo>
                    <a:pt x="327908" y="143366"/>
                    <a:pt x="328404" y="143863"/>
                    <a:pt x="333860" y="138406"/>
                  </a:cubicBezTo>
                  <a:cubicBezTo>
                    <a:pt x="339813" y="132453"/>
                    <a:pt x="339317" y="132453"/>
                    <a:pt x="345270" y="126500"/>
                  </a:cubicBezTo>
                  <a:cubicBezTo>
                    <a:pt x="351223" y="120547"/>
                    <a:pt x="351719" y="121043"/>
                    <a:pt x="357176" y="115586"/>
                  </a:cubicBezTo>
                  <a:cubicBezTo>
                    <a:pt x="363129" y="109633"/>
                    <a:pt x="363625" y="110625"/>
                    <a:pt x="369578" y="104672"/>
                  </a:cubicBezTo>
                  <a:cubicBezTo>
                    <a:pt x="375531" y="98719"/>
                    <a:pt x="374043" y="97727"/>
                    <a:pt x="379996" y="91774"/>
                  </a:cubicBezTo>
                  <a:cubicBezTo>
                    <a:pt x="385949" y="85821"/>
                    <a:pt x="386445" y="86814"/>
                    <a:pt x="392398" y="80861"/>
                  </a:cubicBezTo>
                  <a:cubicBezTo>
                    <a:pt x="398351" y="74908"/>
                    <a:pt x="398846" y="75404"/>
                    <a:pt x="404303" y="69947"/>
                  </a:cubicBezTo>
                  <a:cubicBezTo>
                    <a:pt x="410257" y="63994"/>
                    <a:pt x="408768" y="63002"/>
                    <a:pt x="414721" y="57049"/>
                  </a:cubicBezTo>
                  <a:cubicBezTo>
                    <a:pt x="420674" y="51096"/>
                    <a:pt x="421170" y="52088"/>
                    <a:pt x="427123" y="46135"/>
                  </a:cubicBezTo>
                  <a:cubicBezTo>
                    <a:pt x="433076" y="40182"/>
                    <a:pt x="432580" y="40182"/>
                    <a:pt x="438533" y="34229"/>
                  </a:cubicBezTo>
                  <a:cubicBezTo>
                    <a:pt x="444486" y="28276"/>
                    <a:pt x="444982" y="28772"/>
                    <a:pt x="450439" y="23316"/>
                  </a:cubicBezTo>
                  <a:cubicBezTo>
                    <a:pt x="456391" y="17363"/>
                    <a:pt x="456391" y="17859"/>
                    <a:pt x="462345" y="11906"/>
                  </a:cubicBezTo>
                  <a:cubicBezTo>
                    <a:pt x="468297" y="5953"/>
                    <a:pt x="468297" y="5953"/>
                    <a:pt x="47375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FFDD0913-ADF1-29F7-9634-71CEEAF0ABD7}"/>
                </a:ext>
              </a:extLst>
            </p:cNvPr>
            <p:cNvSpPr/>
            <p:nvPr/>
          </p:nvSpPr>
          <p:spPr>
            <a:xfrm>
              <a:off x="5374378" y="1781415"/>
              <a:ext cx="471770" cy="473258"/>
            </a:xfrm>
            <a:custGeom>
              <a:avLst/>
              <a:gdLst>
                <a:gd name="connsiteX0" fmla="*/ 0 w 471770"/>
                <a:gd name="connsiteY0" fmla="*/ 473258 h 473258"/>
                <a:gd name="connsiteX1" fmla="*/ 10418 w 471770"/>
                <a:gd name="connsiteY1" fmla="*/ 460360 h 473258"/>
                <a:gd name="connsiteX2" fmla="*/ 22819 w 471770"/>
                <a:gd name="connsiteY2" fmla="*/ 449447 h 473258"/>
                <a:gd name="connsiteX3" fmla="*/ 34725 w 471770"/>
                <a:gd name="connsiteY3" fmla="*/ 438533 h 473258"/>
                <a:gd name="connsiteX4" fmla="*/ 45143 w 471770"/>
                <a:gd name="connsiteY4" fmla="*/ 426131 h 473258"/>
                <a:gd name="connsiteX5" fmla="*/ 56057 w 471770"/>
                <a:gd name="connsiteY5" fmla="*/ 414225 h 473258"/>
                <a:gd name="connsiteX6" fmla="*/ 67466 w 471770"/>
                <a:gd name="connsiteY6" fmla="*/ 402815 h 473258"/>
                <a:gd name="connsiteX7" fmla="*/ 80365 w 471770"/>
                <a:gd name="connsiteY7" fmla="*/ 392894 h 473258"/>
                <a:gd name="connsiteX8" fmla="*/ 90782 w 471770"/>
                <a:gd name="connsiteY8" fmla="*/ 380492 h 473258"/>
                <a:gd name="connsiteX9" fmla="*/ 102192 w 471770"/>
                <a:gd name="connsiteY9" fmla="*/ 368586 h 473258"/>
                <a:gd name="connsiteX10" fmla="*/ 114594 w 471770"/>
                <a:gd name="connsiteY10" fmla="*/ 357672 h 473258"/>
                <a:gd name="connsiteX11" fmla="*/ 125012 w 471770"/>
                <a:gd name="connsiteY11" fmla="*/ 345270 h 473258"/>
                <a:gd name="connsiteX12" fmla="*/ 136421 w 471770"/>
                <a:gd name="connsiteY12" fmla="*/ 333364 h 473258"/>
                <a:gd name="connsiteX13" fmla="*/ 148823 w 471770"/>
                <a:gd name="connsiteY13" fmla="*/ 322451 h 473258"/>
                <a:gd name="connsiteX14" fmla="*/ 160233 w 471770"/>
                <a:gd name="connsiteY14" fmla="*/ 310545 h 473258"/>
                <a:gd name="connsiteX15" fmla="*/ 172139 w 471770"/>
                <a:gd name="connsiteY15" fmla="*/ 299135 h 473258"/>
                <a:gd name="connsiteX16" fmla="*/ 183549 w 471770"/>
                <a:gd name="connsiteY16" fmla="*/ 287725 h 473258"/>
                <a:gd name="connsiteX17" fmla="*/ 194959 w 471770"/>
                <a:gd name="connsiteY17" fmla="*/ 275819 h 473258"/>
                <a:gd name="connsiteX18" fmla="*/ 206368 w 471770"/>
                <a:gd name="connsiteY18" fmla="*/ 263913 h 473258"/>
                <a:gd name="connsiteX19" fmla="*/ 218274 w 471770"/>
                <a:gd name="connsiteY19" fmla="*/ 252504 h 473258"/>
                <a:gd name="connsiteX20" fmla="*/ 229188 w 471770"/>
                <a:gd name="connsiteY20" fmla="*/ 240102 h 473258"/>
                <a:gd name="connsiteX21" fmla="*/ 241590 w 471770"/>
                <a:gd name="connsiteY21" fmla="*/ 229684 h 473258"/>
                <a:gd name="connsiteX22" fmla="*/ 253496 w 471770"/>
                <a:gd name="connsiteY22" fmla="*/ 218770 h 473258"/>
                <a:gd name="connsiteX23" fmla="*/ 263914 w 471770"/>
                <a:gd name="connsiteY23" fmla="*/ 206368 h 473258"/>
                <a:gd name="connsiteX24" fmla="*/ 276315 w 471770"/>
                <a:gd name="connsiteY24" fmla="*/ 195951 h 473258"/>
                <a:gd name="connsiteX25" fmla="*/ 286733 w 471770"/>
                <a:gd name="connsiteY25" fmla="*/ 183053 h 473258"/>
                <a:gd name="connsiteX26" fmla="*/ 298143 w 471770"/>
                <a:gd name="connsiteY26" fmla="*/ 171643 h 473258"/>
                <a:gd name="connsiteX27" fmla="*/ 310049 w 471770"/>
                <a:gd name="connsiteY27" fmla="*/ 160729 h 473258"/>
                <a:gd name="connsiteX28" fmla="*/ 321458 w 471770"/>
                <a:gd name="connsiteY28" fmla="*/ 148823 h 473258"/>
                <a:gd name="connsiteX29" fmla="*/ 332868 w 471770"/>
                <a:gd name="connsiteY29" fmla="*/ 137414 h 473258"/>
                <a:gd name="connsiteX30" fmla="*/ 344278 w 471770"/>
                <a:gd name="connsiteY30" fmla="*/ 125508 h 473258"/>
                <a:gd name="connsiteX31" fmla="*/ 357176 w 471770"/>
                <a:gd name="connsiteY31" fmla="*/ 115586 h 473258"/>
                <a:gd name="connsiteX32" fmla="*/ 367594 w 471770"/>
                <a:gd name="connsiteY32" fmla="*/ 103184 h 473258"/>
                <a:gd name="connsiteX33" fmla="*/ 379003 w 471770"/>
                <a:gd name="connsiteY33" fmla="*/ 91774 h 473258"/>
                <a:gd name="connsiteX34" fmla="*/ 390413 w 471770"/>
                <a:gd name="connsiteY34" fmla="*/ 79869 h 473258"/>
                <a:gd name="connsiteX35" fmla="*/ 402815 w 471770"/>
                <a:gd name="connsiteY35" fmla="*/ 69451 h 473258"/>
                <a:gd name="connsiteX36" fmla="*/ 413233 w 471770"/>
                <a:gd name="connsiteY36" fmla="*/ 57049 h 473258"/>
                <a:gd name="connsiteX37" fmla="*/ 424643 w 471770"/>
                <a:gd name="connsiteY37" fmla="*/ 45143 h 473258"/>
                <a:gd name="connsiteX38" fmla="*/ 436052 w 471770"/>
                <a:gd name="connsiteY38" fmla="*/ 33733 h 473258"/>
                <a:gd name="connsiteX39" fmla="*/ 448454 w 471770"/>
                <a:gd name="connsiteY39" fmla="*/ 22820 h 473258"/>
                <a:gd name="connsiteX40" fmla="*/ 460856 w 471770"/>
                <a:gd name="connsiteY40" fmla="*/ 11906 h 473258"/>
                <a:gd name="connsiteX41" fmla="*/ 471770 w 471770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770" h="473258">
                  <a:moveTo>
                    <a:pt x="0" y="473258"/>
                  </a:moveTo>
                  <a:cubicBezTo>
                    <a:pt x="5953" y="467305"/>
                    <a:pt x="4465" y="466313"/>
                    <a:pt x="10418" y="460360"/>
                  </a:cubicBezTo>
                  <a:cubicBezTo>
                    <a:pt x="16371" y="454407"/>
                    <a:pt x="16866" y="455399"/>
                    <a:pt x="22819" y="449447"/>
                  </a:cubicBezTo>
                  <a:cubicBezTo>
                    <a:pt x="28772" y="443494"/>
                    <a:pt x="29268" y="443990"/>
                    <a:pt x="34725" y="438533"/>
                  </a:cubicBezTo>
                  <a:cubicBezTo>
                    <a:pt x="40678" y="432580"/>
                    <a:pt x="39686" y="431588"/>
                    <a:pt x="45143" y="426131"/>
                  </a:cubicBezTo>
                  <a:cubicBezTo>
                    <a:pt x="50600" y="420674"/>
                    <a:pt x="50600" y="419682"/>
                    <a:pt x="56057" y="414225"/>
                  </a:cubicBezTo>
                  <a:cubicBezTo>
                    <a:pt x="62010" y="408272"/>
                    <a:pt x="62010" y="408272"/>
                    <a:pt x="67466" y="402815"/>
                  </a:cubicBezTo>
                  <a:cubicBezTo>
                    <a:pt x="73419" y="396862"/>
                    <a:pt x="74908" y="398351"/>
                    <a:pt x="80365" y="392894"/>
                  </a:cubicBezTo>
                  <a:cubicBezTo>
                    <a:pt x="86317" y="386941"/>
                    <a:pt x="85325" y="385949"/>
                    <a:pt x="90782" y="380492"/>
                  </a:cubicBezTo>
                  <a:cubicBezTo>
                    <a:pt x="96735" y="374539"/>
                    <a:pt x="96239" y="374539"/>
                    <a:pt x="102192" y="368586"/>
                  </a:cubicBezTo>
                  <a:cubicBezTo>
                    <a:pt x="108145" y="362633"/>
                    <a:pt x="108641" y="363625"/>
                    <a:pt x="114594" y="357672"/>
                  </a:cubicBezTo>
                  <a:cubicBezTo>
                    <a:pt x="120547" y="351719"/>
                    <a:pt x="119555" y="350727"/>
                    <a:pt x="125012" y="345270"/>
                  </a:cubicBezTo>
                  <a:cubicBezTo>
                    <a:pt x="130964" y="339317"/>
                    <a:pt x="130468" y="339317"/>
                    <a:pt x="136421" y="333364"/>
                  </a:cubicBezTo>
                  <a:cubicBezTo>
                    <a:pt x="142374" y="327411"/>
                    <a:pt x="142870" y="328404"/>
                    <a:pt x="148823" y="322451"/>
                  </a:cubicBezTo>
                  <a:cubicBezTo>
                    <a:pt x="154776" y="316498"/>
                    <a:pt x="154280" y="316498"/>
                    <a:pt x="160233" y="310545"/>
                  </a:cubicBezTo>
                  <a:cubicBezTo>
                    <a:pt x="166186" y="304592"/>
                    <a:pt x="166186" y="305088"/>
                    <a:pt x="172139" y="299135"/>
                  </a:cubicBezTo>
                  <a:cubicBezTo>
                    <a:pt x="178092" y="293182"/>
                    <a:pt x="178092" y="293182"/>
                    <a:pt x="183549" y="287725"/>
                  </a:cubicBezTo>
                  <a:cubicBezTo>
                    <a:pt x="189502" y="281772"/>
                    <a:pt x="189006" y="281772"/>
                    <a:pt x="194959" y="275819"/>
                  </a:cubicBezTo>
                  <a:cubicBezTo>
                    <a:pt x="200912" y="269866"/>
                    <a:pt x="200415" y="269866"/>
                    <a:pt x="206368" y="263913"/>
                  </a:cubicBezTo>
                  <a:cubicBezTo>
                    <a:pt x="212321" y="257961"/>
                    <a:pt x="212321" y="258457"/>
                    <a:pt x="218274" y="252504"/>
                  </a:cubicBezTo>
                  <a:cubicBezTo>
                    <a:pt x="224227" y="246551"/>
                    <a:pt x="223235" y="246055"/>
                    <a:pt x="229188" y="240102"/>
                  </a:cubicBezTo>
                  <a:cubicBezTo>
                    <a:pt x="235141" y="234149"/>
                    <a:pt x="236133" y="235637"/>
                    <a:pt x="241590" y="229684"/>
                  </a:cubicBezTo>
                  <a:cubicBezTo>
                    <a:pt x="247543" y="223731"/>
                    <a:pt x="248039" y="224227"/>
                    <a:pt x="253496" y="218770"/>
                  </a:cubicBezTo>
                  <a:cubicBezTo>
                    <a:pt x="259449" y="212817"/>
                    <a:pt x="258456" y="211825"/>
                    <a:pt x="263914" y="206368"/>
                  </a:cubicBezTo>
                  <a:cubicBezTo>
                    <a:pt x="269866" y="200415"/>
                    <a:pt x="270858" y="201408"/>
                    <a:pt x="276315" y="195951"/>
                  </a:cubicBezTo>
                  <a:cubicBezTo>
                    <a:pt x="282268" y="189998"/>
                    <a:pt x="280780" y="189006"/>
                    <a:pt x="286733" y="183053"/>
                  </a:cubicBezTo>
                  <a:cubicBezTo>
                    <a:pt x="292686" y="177100"/>
                    <a:pt x="292686" y="177100"/>
                    <a:pt x="298143" y="171643"/>
                  </a:cubicBezTo>
                  <a:cubicBezTo>
                    <a:pt x="304096" y="165690"/>
                    <a:pt x="304592" y="166186"/>
                    <a:pt x="310049" y="160729"/>
                  </a:cubicBezTo>
                  <a:cubicBezTo>
                    <a:pt x="316002" y="154776"/>
                    <a:pt x="315505" y="154776"/>
                    <a:pt x="321458" y="148823"/>
                  </a:cubicBezTo>
                  <a:cubicBezTo>
                    <a:pt x="327411" y="142870"/>
                    <a:pt x="327411" y="142870"/>
                    <a:pt x="332868" y="137414"/>
                  </a:cubicBezTo>
                  <a:cubicBezTo>
                    <a:pt x="338821" y="131461"/>
                    <a:pt x="338325" y="131461"/>
                    <a:pt x="344278" y="125508"/>
                  </a:cubicBezTo>
                  <a:cubicBezTo>
                    <a:pt x="350231" y="119555"/>
                    <a:pt x="351719" y="121043"/>
                    <a:pt x="357176" y="115586"/>
                  </a:cubicBezTo>
                  <a:cubicBezTo>
                    <a:pt x="363129" y="109633"/>
                    <a:pt x="362137" y="108641"/>
                    <a:pt x="367594" y="103184"/>
                  </a:cubicBezTo>
                  <a:cubicBezTo>
                    <a:pt x="373547" y="97231"/>
                    <a:pt x="373547" y="97231"/>
                    <a:pt x="379003" y="91774"/>
                  </a:cubicBezTo>
                  <a:cubicBezTo>
                    <a:pt x="384460" y="86318"/>
                    <a:pt x="384460" y="85821"/>
                    <a:pt x="390413" y="79869"/>
                  </a:cubicBezTo>
                  <a:cubicBezTo>
                    <a:pt x="396366" y="73916"/>
                    <a:pt x="396862" y="74908"/>
                    <a:pt x="402815" y="69451"/>
                  </a:cubicBezTo>
                  <a:cubicBezTo>
                    <a:pt x="408768" y="63498"/>
                    <a:pt x="407776" y="62506"/>
                    <a:pt x="413233" y="57049"/>
                  </a:cubicBezTo>
                  <a:cubicBezTo>
                    <a:pt x="419186" y="51096"/>
                    <a:pt x="418690" y="51096"/>
                    <a:pt x="424643" y="45143"/>
                  </a:cubicBezTo>
                  <a:cubicBezTo>
                    <a:pt x="430596" y="39190"/>
                    <a:pt x="430596" y="39190"/>
                    <a:pt x="436052" y="33733"/>
                  </a:cubicBezTo>
                  <a:cubicBezTo>
                    <a:pt x="442006" y="27780"/>
                    <a:pt x="442502" y="28772"/>
                    <a:pt x="448454" y="22820"/>
                  </a:cubicBezTo>
                  <a:cubicBezTo>
                    <a:pt x="454408" y="16867"/>
                    <a:pt x="454904" y="17859"/>
                    <a:pt x="460856" y="11906"/>
                  </a:cubicBezTo>
                  <a:cubicBezTo>
                    <a:pt x="466810" y="5953"/>
                    <a:pt x="466313" y="5457"/>
                    <a:pt x="47177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35D6272E-C730-F05F-C4AC-ADB64AECE2B9}"/>
                </a:ext>
              </a:extLst>
            </p:cNvPr>
            <p:cNvSpPr/>
            <p:nvPr/>
          </p:nvSpPr>
          <p:spPr>
            <a:xfrm>
              <a:off x="5468633" y="1864756"/>
              <a:ext cx="90286" cy="89790"/>
            </a:xfrm>
            <a:custGeom>
              <a:avLst/>
              <a:gdLst>
                <a:gd name="connsiteX0" fmla="*/ 90286 w 90286"/>
                <a:gd name="connsiteY0" fmla="*/ 0 h 89790"/>
                <a:gd name="connsiteX1" fmla="*/ 79372 w 90286"/>
                <a:gd name="connsiteY1" fmla="*/ 11906 h 89790"/>
                <a:gd name="connsiteX2" fmla="*/ 67963 w 90286"/>
                <a:gd name="connsiteY2" fmla="*/ 23316 h 89790"/>
                <a:gd name="connsiteX3" fmla="*/ 55561 w 90286"/>
                <a:gd name="connsiteY3" fmla="*/ 33237 h 89790"/>
                <a:gd name="connsiteX4" fmla="*/ 45639 w 90286"/>
                <a:gd name="connsiteY4" fmla="*/ 45639 h 89790"/>
                <a:gd name="connsiteX5" fmla="*/ 33733 w 90286"/>
                <a:gd name="connsiteY5" fmla="*/ 56057 h 89790"/>
                <a:gd name="connsiteX6" fmla="*/ 23316 w 90286"/>
                <a:gd name="connsiteY6" fmla="*/ 67963 h 89790"/>
                <a:gd name="connsiteX7" fmla="*/ 11410 w 90286"/>
                <a:gd name="connsiteY7" fmla="*/ 78380 h 89790"/>
                <a:gd name="connsiteX8" fmla="*/ 0 w 90286"/>
                <a:gd name="connsiteY8" fmla="*/ 89790 h 8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86" h="89790">
                  <a:moveTo>
                    <a:pt x="90286" y="0"/>
                  </a:moveTo>
                  <a:cubicBezTo>
                    <a:pt x="84829" y="5457"/>
                    <a:pt x="85325" y="5953"/>
                    <a:pt x="79372" y="11906"/>
                  </a:cubicBezTo>
                  <a:cubicBezTo>
                    <a:pt x="73915" y="17363"/>
                    <a:pt x="73915" y="17363"/>
                    <a:pt x="67963" y="23316"/>
                  </a:cubicBezTo>
                  <a:cubicBezTo>
                    <a:pt x="62506" y="28773"/>
                    <a:pt x="61018" y="27780"/>
                    <a:pt x="55561" y="33237"/>
                  </a:cubicBezTo>
                  <a:cubicBezTo>
                    <a:pt x="50104" y="38694"/>
                    <a:pt x="51096" y="40182"/>
                    <a:pt x="45639" y="45639"/>
                  </a:cubicBezTo>
                  <a:cubicBezTo>
                    <a:pt x="40182" y="51096"/>
                    <a:pt x="39190" y="50600"/>
                    <a:pt x="33733" y="56057"/>
                  </a:cubicBezTo>
                  <a:cubicBezTo>
                    <a:pt x="28277" y="61514"/>
                    <a:pt x="28772" y="62506"/>
                    <a:pt x="23316" y="67963"/>
                  </a:cubicBezTo>
                  <a:cubicBezTo>
                    <a:pt x="17859" y="73420"/>
                    <a:pt x="16866" y="72924"/>
                    <a:pt x="11410" y="78380"/>
                  </a:cubicBezTo>
                  <a:cubicBezTo>
                    <a:pt x="5953" y="83837"/>
                    <a:pt x="5953" y="84333"/>
                    <a:pt x="0" y="897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F1590AD0-6656-BECE-F6E3-1BD7360F80CA}"/>
                </a:ext>
              </a:extLst>
            </p:cNvPr>
            <p:cNvSpPr/>
            <p:nvPr/>
          </p:nvSpPr>
          <p:spPr>
            <a:xfrm>
              <a:off x="4258203" y="1277896"/>
              <a:ext cx="793724" cy="416209"/>
            </a:xfrm>
            <a:custGeom>
              <a:avLst/>
              <a:gdLst>
                <a:gd name="connsiteX0" fmla="*/ 0 w 793724"/>
                <a:gd name="connsiteY0" fmla="*/ 416209 h 416209"/>
                <a:gd name="connsiteX1" fmla="*/ 1488 w 793724"/>
                <a:gd name="connsiteY1" fmla="*/ 399839 h 416209"/>
                <a:gd name="connsiteX2" fmla="*/ 1488 w 793724"/>
                <a:gd name="connsiteY2" fmla="*/ 383468 h 416209"/>
                <a:gd name="connsiteX3" fmla="*/ 4465 w 793724"/>
                <a:gd name="connsiteY3" fmla="*/ 367594 h 416209"/>
                <a:gd name="connsiteX4" fmla="*/ 6449 w 793724"/>
                <a:gd name="connsiteY4" fmla="*/ 351223 h 416209"/>
                <a:gd name="connsiteX5" fmla="*/ 10914 w 793724"/>
                <a:gd name="connsiteY5" fmla="*/ 335349 h 416209"/>
                <a:gd name="connsiteX6" fmla="*/ 14882 w 793724"/>
                <a:gd name="connsiteY6" fmla="*/ 319474 h 416209"/>
                <a:gd name="connsiteX7" fmla="*/ 19843 w 793724"/>
                <a:gd name="connsiteY7" fmla="*/ 304096 h 416209"/>
                <a:gd name="connsiteX8" fmla="*/ 26292 w 793724"/>
                <a:gd name="connsiteY8" fmla="*/ 289213 h 416209"/>
                <a:gd name="connsiteX9" fmla="*/ 30261 w 793724"/>
                <a:gd name="connsiteY9" fmla="*/ 273339 h 416209"/>
                <a:gd name="connsiteX10" fmla="*/ 38198 w 793724"/>
                <a:gd name="connsiteY10" fmla="*/ 258953 h 416209"/>
                <a:gd name="connsiteX11" fmla="*/ 45143 w 793724"/>
                <a:gd name="connsiteY11" fmla="*/ 244070 h 416209"/>
                <a:gd name="connsiteX12" fmla="*/ 52088 w 793724"/>
                <a:gd name="connsiteY12" fmla="*/ 229188 h 416209"/>
                <a:gd name="connsiteX13" fmla="*/ 59529 w 793724"/>
                <a:gd name="connsiteY13" fmla="*/ 214306 h 416209"/>
                <a:gd name="connsiteX14" fmla="*/ 69451 w 793724"/>
                <a:gd name="connsiteY14" fmla="*/ 201408 h 416209"/>
                <a:gd name="connsiteX15" fmla="*/ 78380 w 793724"/>
                <a:gd name="connsiteY15" fmla="*/ 187517 h 416209"/>
                <a:gd name="connsiteX16" fmla="*/ 86814 w 793724"/>
                <a:gd name="connsiteY16" fmla="*/ 173627 h 416209"/>
                <a:gd name="connsiteX17" fmla="*/ 97231 w 793724"/>
                <a:gd name="connsiteY17" fmla="*/ 160729 h 416209"/>
                <a:gd name="connsiteX18" fmla="*/ 108145 w 793724"/>
                <a:gd name="connsiteY18" fmla="*/ 148327 h 416209"/>
                <a:gd name="connsiteX19" fmla="*/ 118562 w 793724"/>
                <a:gd name="connsiteY19" fmla="*/ 135429 h 416209"/>
                <a:gd name="connsiteX20" fmla="*/ 129972 w 793724"/>
                <a:gd name="connsiteY20" fmla="*/ 124019 h 416209"/>
                <a:gd name="connsiteX21" fmla="*/ 141878 w 793724"/>
                <a:gd name="connsiteY21" fmla="*/ 112610 h 416209"/>
                <a:gd name="connsiteX22" fmla="*/ 154280 w 793724"/>
                <a:gd name="connsiteY22" fmla="*/ 101696 h 416209"/>
                <a:gd name="connsiteX23" fmla="*/ 167178 w 793724"/>
                <a:gd name="connsiteY23" fmla="*/ 91278 h 416209"/>
                <a:gd name="connsiteX24" fmla="*/ 180076 w 793724"/>
                <a:gd name="connsiteY24" fmla="*/ 81357 h 416209"/>
                <a:gd name="connsiteX25" fmla="*/ 192974 w 793724"/>
                <a:gd name="connsiteY25" fmla="*/ 71435 h 416209"/>
                <a:gd name="connsiteX26" fmla="*/ 206368 w 793724"/>
                <a:gd name="connsiteY26" fmla="*/ 62506 h 416209"/>
                <a:gd name="connsiteX27" fmla="*/ 221251 w 793724"/>
                <a:gd name="connsiteY27" fmla="*/ 55065 h 416209"/>
                <a:gd name="connsiteX28" fmla="*/ 235637 w 793724"/>
                <a:gd name="connsiteY28" fmla="*/ 47127 h 416209"/>
                <a:gd name="connsiteX29" fmla="*/ 250519 w 793724"/>
                <a:gd name="connsiteY29" fmla="*/ 40182 h 416209"/>
                <a:gd name="connsiteX30" fmla="*/ 265402 w 793724"/>
                <a:gd name="connsiteY30" fmla="*/ 33237 h 416209"/>
                <a:gd name="connsiteX31" fmla="*/ 280780 w 793724"/>
                <a:gd name="connsiteY31" fmla="*/ 27780 h 416209"/>
                <a:gd name="connsiteX32" fmla="*/ 296655 w 793724"/>
                <a:gd name="connsiteY32" fmla="*/ 23316 h 416209"/>
                <a:gd name="connsiteX33" fmla="*/ 312033 w 793724"/>
                <a:gd name="connsiteY33" fmla="*/ 18355 h 416209"/>
                <a:gd name="connsiteX34" fmla="*/ 327907 w 793724"/>
                <a:gd name="connsiteY34" fmla="*/ 13890 h 416209"/>
                <a:gd name="connsiteX35" fmla="*/ 343782 w 793724"/>
                <a:gd name="connsiteY35" fmla="*/ 10418 h 416209"/>
                <a:gd name="connsiteX36" fmla="*/ 359657 w 793724"/>
                <a:gd name="connsiteY36" fmla="*/ 5953 h 416209"/>
                <a:gd name="connsiteX37" fmla="*/ 376027 w 793724"/>
                <a:gd name="connsiteY37" fmla="*/ 5457 h 416209"/>
                <a:gd name="connsiteX38" fmla="*/ 392398 w 793724"/>
                <a:gd name="connsiteY38" fmla="*/ 2976 h 416209"/>
                <a:gd name="connsiteX39" fmla="*/ 408768 w 793724"/>
                <a:gd name="connsiteY39" fmla="*/ 992 h 416209"/>
                <a:gd name="connsiteX40" fmla="*/ 425139 w 793724"/>
                <a:gd name="connsiteY40" fmla="*/ 0 h 416209"/>
                <a:gd name="connsiteX41" fmla="*/ 441509 w 793724"/>
                <a:gd name="connsiteY41" fmla="*/ 496 h 416209"/>
                <a:gd name="connsiteX42" fmla="*/ 457880 w 793724"/>
                <a:gd name="connsiteY42" fmla="*/ 992 h 416209"/>
                <a:gd name="connsiteX43" fmla="*/ 474250 w 793724"/>
                <a:gd name="connsiteY43" fmla="*/ 0 h 416209"/>
                <a:gd name="connsiteX44" fmla="*/ 490125 w 793724"/>
                <a:gd name="connsiteY44" fmla="*/ 1984 h 416209"/>
                <a:gd name="connsiteX45" fmla="*/ 506000 w 793724"/>
                <a:gd name="connsiteY45" fmla="*/ 2976 h 416209"/>
                <a:gd name="connsiteX46" fmla="*/ 521874 w 793724"/>
                <a:gd name="connsiteY46" fmla="*/ 5457 h 416209"/>
                <a:gd name="connsiteX47" fmla="*/ 537748 w 793724"/>
                <a:gd name="connsiteY47" fmla="*/ 7937 h 416209"/>
                <a:gd name="connsiteX48" fmla="*/ 554119 w 793724"/>
                <a:gd name="connsiteY48" fmla="*/ 8929 h 416209"/>
                <a:gd name="connsiteX49" fmla="*/ 569497 w 793724"/>
                <a:gd name="connsiteY49" fmla="*/ 13394 h 416209"/>
                <a:gd name="connsiteX50" fmla="*/ 585372 w 793724"/>
                <a:gd name="connsiteY50" fmla="*/ 16867 h 416209"/>
                <a:gd name="connsiteX51" fmla="*/ 600254 w 793724"/>
                <a:gd name="connsiteY51" fmla="*/ 22820 h 416209"/>
                <a:gd name="connsiteX52" fmla="*/ 615633 w 793724"/>
                <a:gd name="connsiteY52" fmla="*/ 27284 h 416209"/>
                <a:gd name="connsiteX53" fmla="*/ 630019 w 793724"/>
                <a:gd name="connsiteY53" fmla="*/ 33733 h 416209"/>
                <a:gd name="connsiteX54" fmla="*/ 644901 w 793724"/>
                <a:gd name="connsiteY54" fmla="*/ 40182 h 416209"/>
                <a:gd name="connsiteX55" fmla="*/ 658791 w 793724"/>
                <a:gd name="connsiteY55" fmla="*/ 48119 h 416209"/>
                <a:gd name="connsiteX56" fmla="*/ 672186 w 793724"/>
                <a:gd name="connsiteY56" fmla="*/ 56553 h 416209"/>
                <a:gd name="connsiteX57" fmla="*/ 686076 w 793724"/>
                <a:gd name="connsiteY57" fmla="*/ 64986 h 416209"/>
                <a:gd name="connsiteX58" fmla="*/ 698974 w 793724"/>
                <a:gd name="connsiteY58" fmla="*/ 74412 h 416209"/>
                <a:gd name="connsiteX59" fmla="*/ 709887 w 793724"/>
                <a:gd name="connsiteY59" fmla="*/ 86318 h 416209"/>
                <a:gd name="connsiteX60" fmla="*/ 721793 w 793724"/>
                <a:gd name="connsiteY60" fmla="*/ 97231 h 416209"/>
                <a:gd name="connsiteX61" fmla="*/ 732707 w 793724"/>
                <a:gd name="connsiteY61" fmla="*/ 109137 h 416209"/>
                <a:gd name="connsiteX62" fmla="*/ 743621 w 793724"/>
                <a:gd name="connsiteY62" fmla="*/ 121043 h 416209"/>
                <a:gd name="connsiteX63" fmla="*/ 752550 w 793724"/>
                <a:gd name="connsiteY63" fmla="*/ 134437 h 416209"/>
                <a:gd name="connsiteX64" fmla="*/ 759991 w 793724"/>
                <a:gd name="connsiteY64" fmla="*/ 148823 h 416209"/>
                <a:gd name="connsiteX65" fmla="*/ 766936 w 793724"/>
                <a:gd name="connsiteY65" fmla="*/ 163210 h 416209"/>
                <a:gd name="connsiteX66" fmla="*/ 774874 w 793724"/>
                <a:gd name="connsiteY66" fmla="*/ 177100 h 416209"/>
                <a:gd name="connsiteX67" fmla="*/ 779835 w 793724"/>
                <a:gd name="connsiteY67" fmla="*/ 192478 h 416209"/>
                <a:gd name="connsiteX68" fmla="*/ 785787 w 793724"/>
                <a:gd name="connsiteY68" fmla="*/ 207361 h 416209"/>
                <a:gd name="connsiteX69" fmla="*/ 790748 w 793724"/>
                <a:gd name="connsiteY69" fmla="*/ 222739 h 416209"/>
                <a:gd name="connsiteX70" fmla="*/ 793725 w 793724"/>
                <a:gd name="connsiteY70" fmla="*/ 238614 h 41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793724" h="416209">
                  <a:moveTo>
                    <a:pt x="0" y="416209"/>
                  </a:moveTo>
                  <a:cubicBezTo>
                    <a:pt x="0" y="410752"/>
                    <a:pt x="992" y="405296"/>
                    <a:pt x="1488" y="399839"/>
                  </a:cubicBezTo>
                  <a:cubicBezTo>
                    <a:pt x="1984" y="394382"/>
                    <a:pt x="992" y="388925"/>
                    <a:pt x="1488" y="383468"/>
                  </a:cubicBezTo>
                  <a:cubicBezTo>
                    <a:pt x="1984" y="378011"/>
                    <a:pt x="3969" y="373051"/>
                    <a:pt x="4465" y="367594"/>
                  </a:cubicBezTo>
                  <a:cubicBezTo>
                    <a:pt x="5457" y="362137"/>
                    <a:pt x="5457" y="356680"/>
                    <a:pt x="6449" y="351223"/>
                  </a:cubicBezTo>
                  <a:cubicBezTo>
                    <a:pt x="7441" y="345766"/>
                    <a:pt x="9922" y="340805"/>
                    <a:pt x="10914" y="335349"/>
                  </a:cubicBezTo>
                  <a:cubicBezTo>
                    <a:pt x="12402" y="329892"/>
                    <a:pt x="12898" y="324931"/>
                    <a:pt x="14882" y="319474"/>
                  </a:cubicBezTo>
                  <a:cubicBezTo>
                    <a:pt x="16371" y="314513"/>
                    <a:pt x="18355" y="309056"/>
                    <a:pt x="19843" y="304096"/>
                  </a:cubicBezTo>
                  <a:cubicBezTo>
                    <a:pt x="21331" y="299135"/>
                    <a:pt x="24308" y="294174"/>
                    <a:pt x="26292" y="289213"/>
                  </a:cubicBezTo>
                  <a:cubicBezTo>
                    <a:pt x="28277" y="284253"/>
                    <a:pt x="28277" y="278300"/>
                    <a:pt x="30261" y="273339"/>
                  </a:cubicBezTo>
                  <a:cubicBezTo>
                    <a:pt x="32245" y="268378"/>
                    <a:pt x="35718" y="263913"/>
                    <a:pt x="38198" y="258953"/>
                  </a:cubicBezTo>
                  <a:cubicBezTo>
                    <a:pt x="40182" y="253992"/>
                    <a:pt x="42663" y="249031"/>
                    <a:pt x="45143" y="244070"/>
                  </a:cubicBezTo>
                  <a:cubicBezTo>
                    <a:pt x="47623" y="239109"/>
                    <a:pt x="49112" y="234149"/>
                    <a:pt x="52088" y="229188"/>
                  </a:cubicBezTo>
                  <a:cubicBezTo>
                    <a:pt x="54569" y="224227"/>
                    <a:pt x="56553" y="219266"/>
                    <a:pt x="59529" y="214306"/>
                  </a:cubicBezTo>
                  <a:cubicBezTo>
                    <a:pt x="62010" y="209841"/>
                    <a:pt x="66474" y="205872"/>
                    <a:pt x="69451" y="201408"/>
                  </a:cubicBezTo>
                  <a:cubicBezTo>
                    <a:pt x="72427" y="196943"/>
                    <a:pt x="74908" y="191982"/>
                    <a:pt x="78380" y="187517"/>
                  </a:cubicBezTo>
                  <a:cubicBezTo>
                    <a:pt x="81357" y="183053"/>
                    <a:pt x="83837" y="178092"/>
                    <a:pt x="86814" y="173627"/>
                  </a:cubicBezTo>
                  <a:cubicBezTo>
                    <a:pt x="89790" y="169163"/>
                    <a:pt x="93759" y="165194"/>
                    <a:pt x="97231" y="160729"/>
                  </a:cubicBezTo>
                  <a:cubicBezTo>
                    <a:pt x="100704" y="156265"/>
                    <a:pt x="104672" y="152792"/>
                    <a:pt x="108145" y="148327"/>
                  </a:cubicBezTo>
                  <a:cubicBezTo>
                    <a:pt x="111618" y="144359"/>
                    <a:pt x="114594" y="139398"/>
                    <a:pt x="118562" y="135429"/>
                  </a:cubicBezTo>
                  <a:cubicBezTo>
                    <a:pt x="122035" y="131461"/>
                    <a:pt x="126500" y="127988"/>
                    <a:pt x="129972" y="124019"/>
                  </a:cubicBezTo>
                  <a:cubicBezTo>
                    <a:pt x="133941" y="120051"/>
                    <a:pt x="137910" y="116578"/>
                    <a:pt x="141878" y="112610"/>
                  </a:cubicBezTo>
                  <a:cubicBezTo>
                    <a:pt x="145847" y="109137"/>
                    <a:pt x="149816" y="105168"/>
                    <a:pt x="154280" y="101696"/>
                  </a:cubicBezTo>
                  <a:cubicBezTo>
                    <a:pt x="158249" y="98223"/>
                    <a:pt x="162714" y="94751"/>
                    <a:pt x="167178" y="91278"/>
                  </a:cubicBezTo>
                  <a:cubicBezTo>
                    <a:pt x="171643" y="87806"/>
                    <a:pt x="175611" y="84829"/>
                    <a:pt x="180076" y="81357"/>
                  </a:cubicBezTo>
                  <a:cubicBezTo>
                    <a:pt x="184541" y="78380"/>
                    <a:pt x="188510" y="74412"/>
                    <a:pt x="192974" y="71435"/>
                  </a:cubicBezTo>
                  <a:cubicBezTo>
                    <a:pt x="197439" y="68459"/>
                    <a:pt x="201904" y="64986"/>
                    <a:pt x="206368" y="62506"/>
                  </a:cubicBezTo>
                  <a:cubicBezTo>
                    <a:pt x="210833" y="59529"/>
                    <a:pt x="216290" y="57545"/>
                    <a:pt x="221251" y="55065"/>
                  </a:cubicBezTo>
                  <a:cubicBezTo>
                    <a:pt x="226211" y="52584"/>
                    <a:pt x="230676" y="49608"/>
                    <a:pt x="235637" y="47127"/>
                  </a:cubicBezTo>
                  <a:cubicBezTo>
                    <a:pt x="240598" y="44647"/>
                    <a:pt x="245559" y="42167"/>
                    <a:pt x="250519" y="40182"/>
                  </a:cubicBezTo>
                  <a:cubicBezTo>
                    <a:pt x="255480" y="37702"/>
                    <a:pt x="260441" y="35222"/>
                    <a:pt x="265402" y="33237"/>
                  </a:cubicBezTo>
                  <a:cubicBezTo>
                    <a:pt x="270362" y="31253"/>
                    <a:pt x="275819" y="29765"/>
                    <a:pt x="280780" y="27780"/>
                  </a:cubicBezTo>
                  <a:cubicBezTo>
                    <a:pt x="285741" y="25796"/>
                    <a:pt x="291198" y="24804"/>
                    <a:pt x="296655" y="23316"/>
                  </a:cubicBezTo>
                  <a:cubicBezTo>
                    <a:pt x="301615" y="21827"/>
                    <a:pt x="307072" y="19843"/>
                    <a:pt x="312033" y="18355"/>
                  </a:cubicBezTo>
                  <a:cubicBezTo>
                    <a:pt x="316994" y="16867"/>
                    <a:pt x="322451" y="15378"/>
                    <a:pt x="327907" y="13890"/>
                  </a:cubicBezTo>
                  <a:cubicBezTo>
                    <a:pt x="333364" y="12402"/>
                    <a:pt x="338325" y="11906"/>
                    <a:pt x="343782" y="10418"/>
                  </a:cubicBezTo>
                  <a:cubicBezTo>
                    <a:pt x="349239" y="9425"/>
                    <a:pt x="354199" y="6945"/>
                    <a:pt x="359657" y="5953"/>
                  </a:cubicBezTo>
                  <a:cubicBezTo>
                    <a:pt x="365113" y="4961"/>
                    <a:pt x="370570" y="5953"/>
                    <a:pt x="376027" y="5457"/>
                  </a:cubicBezTo>
                  <a:cubicBezTo>
                    <a:pt x="381484" y="4961"/>
                    <a:pt x="386445" y="3472"/>
                    <a:pt x="392398" y="2976"/>
                  </a:cubicBezTo>
                  <a:cubicBezTo>
                    <a:pt x="397855" y="2480"/>
                    <a:pt x="403311" y="1488"/>
                    <a:pt x="408768" y="992"/>
                  </a:cubicBezTo>
                  <a:cubicBezTo>
                    <a:pt x="414225" y="496"/>
                    <a:pt x="419682" y="496"/>
                    <a:pt x="425139" y="0"/>
                  </a:cubicBezTo>
                  <a:cubicBezTo>
                    <a:pt x="430596" y="0"/>
                    <a:pt x="436052" y="496"/>
                    <a:pt x="441509" y="496"/>
                  </a:cubicBezTo>
                  <a:cubicBezTo>
                    <a:pt x="446966" y="496"/>
                    <a:pt x="452423" y="992"/>
                    <a:pt x="457880" y="992"/>
                  </a:cubicBezTo>
                  <a:cubicBezTo>
                    <a:pt x="463337" y="992"/>
                    <a:pt x="468794" y="0"/>
                    <a:pt x="474250" y="0"/>
                  </a:cubicBezTo>
                  <a:cubicBezTo>
                    <a:pt x="479707" y="0"/>
                    <a:pt x="485164" y="1488"/>
                    <a:pt x="490125" y="1984"/>
                  </a:cubicBezTo>
                  <a:cubicBezTo>
                    <a:pt x="495582" y="2480"/>
                    <a:pt x="501039" y="2480"/>
                    <a:pt x="506000" y="2976"/>
                  </a:cubicBezTo>
                  <a:cubicBezTo>
                    <a:pt x="511456" y="3472"/>
                    <a:pt x="516417" y="4465"/>
                    <a:pt x="521874" y="5457"/>
                  </a:cubicBezTo>
                  <a:cubicBezTo>
                    <a:pt x="527331" y="5953"/>
                    <a:pt x="532292" y="7441"/>
                    <a:pt x="537748" y="7937"/>
                  </a:cubicBezTo>
                  <a:cubicBezTo>
                    <a:pt x="543205" y="8929"/>
                    <a:pt x="548662" y="7937"/>
                    <a:pt x="554119" y="8929"/>
                  </a:cubicBezTo>
                  <a:cubicBezTo>
                    <a:pt x="559576" y="9922"/>
                    <a:pt x="564537" y="12402"/>
                    <a:pt x="569497" y="13394"/>
                  </a:cubicBezTo>
                  <a:cubicBezTo>
                    <a:pt x="574954" y="14882"/>
                    <a:pt x="579915" y="15378"/>
                    <a:pt x="585372" y="16867"/>
                  </a:cubicBezTo>
                  <a:cubicBezTo>
                    <a:pt x="590829" y="18355"/>
                    <a:pt x="595294" y="20835"/>
                    <a:pt x="600254" y="22820"/>
                  </a:cubicBezTo>
                  <a:cubicBezTo>
                    <a:pt x="605215" y="24308"/>
                    <a:pt x="610672" y="25300"/>
                    <a:pt x="615633" y="27284"/>
                  </a:cubicBezTo>
                  <a:cubicBezTo>
                    <a:pt x="620593" y="29269"/>
                    <a:pt x="625554" y="31749"/>
                    <a:pt x="630019" y="33733"/>
                  </a:cubicBezTo>
                  <a:cubicBezTo>
                    <a:pt x="634980" y="35718"/>
                    <a:pt x="639941" y="37702"/>
                    <a:pt x="644901" y="40182"/>
                  </a:cubicBezTo>
                  <a:cubicBezTo>
                    <a:pt x="649862" y="42663"/>
                    <a:pt x="654327" y="45639"/>
                    <a:pt x="658791" y="48119"/>
                  </a:cubicBezTo>
                  <a:cubicBezTo>
                    <a:pt x="663752" y="50600"/>
                    <a:pt x="667721" y="53576"/>
                    <a:pt x="672186" y="56553"/>
                  </a:cubicBezTo>
                  <a:cubicBezTo>
                    <a:pt x="676650" y="59529"/>
                    <a:pt x="681611" y="61514"/>
                    <a:pt x="686076" y="64986"/>
                  </a:cubicBezTo>
                  <a:cubicBezTo>
                    <a:pt x="690541" y="67963"/>
                    <a:pt x="695005" y="71435"/>
                    <a:pt x="698974" y="74412"/>
                  </a:cubicBezTo>
                  <a:cubicBezTo>
                    <a:pt x="702943" y="77884"/>
                    <a:pt x="705919" y="82845"/>
                    <a:pt x="709887" y="86318"/>
                  </a:cubicBezTo>
                  <a:cubicBezTo>
                    <a:pt x="713856" y="89790"/>
                    <a:pt x="718321" y="93263"/>
                    <a:pt x="721793" y="97231"/>
                  </a:cubicBezTo>
                  <a:cubicBezTo>
                    <a:pt x="725762" y="101200"/>
                    <a:pt x="729235" y="105168"/>
                    <a:pt x="732707" y="109137"/>
                  </a:cubicBezTo>
                  <a:cubicBezTo>
                    <a:pt x="736179" y="113106"/>
                    <a:pt x="740644" y="116578"/>
                    <a:pt x="743621" y="121043"/>
                  </a:cubicBezTo>
                  <a:cubicBezTo>
                    <a:pt x="747093" y="125508"/>
                    <a:pt x="749574" y="129972"/>
                    <a:pt x="752550" y="134437"/>
                  </a:cubicBezTo>
                  <a:cubicBezTo>
                    <a:pt x="755527" y="138902"/>
                    <a:pt x="757511" y="144359"/>
                    <a:pt x="759991" y="148823"/>
                  </a:cubicBezTo>
                  <a:cubicBezTo>
                    <a:pt x="762968" y="153784"/>
                    <a:pt x="764456" y="158745"/>
                    <a:pt x="766936" y="163210"/>
                  </a:cubicBezTo>
                  <a:cubicBezTo>
                    <a:pt x="769417" y="168170"/>
                    <a:pt x="772889" y="172139"/>
                    <a:pt x="774874" y="177100"/>
                  </a:cubicBezTo>
                  <a:cubicBezTo>
                    <a:pt x="777354" y="182061"/>
                    <a:pt x="777850" y="187517"/>
                    <a:pt x="779835" y="192478"/>
                  </a:cubicBezTo>
                  <a:cubicBezTo>
                    <a:pt x="781819" y="197935"/>
                    <a:pt x="784299" y="202896"/>
                    <a:pt x="785787" y="207361"/>
                  </a:cubicBezTo>
                  <a:cubicBezTo>
                    <a:pt x="787276" y="213314"/>
                    <a:pt x="789260" y="218274"/>
                    <a:pt x="790748" y="222739"/>
                  </a:cubicBezTo>
                  <a:cubicBezTo>
                    <a:pt x="792237" y="229684"/>
                    <a:pt x="793228" y="235141"/>
                    <a:pt x="793725" y="2386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579C1736-1E8F-B250-25D9-46AF2DB76F78}"/>
                </a:ext>
              </a:extLst>
            </p:cNvPr>
            <p:cNvSpPr/>
            <p:nvPr/>
          </p:nvSpPr>
          <p:spPr>
            <a:xfrm>
              <a:off x="4949735" y="1338418"/>
              <a:ext cx="688161" cy="274827"/>
            </a:xfrm>
            <a:custGeom>
              <a:avLst/>
              <a:gdLst>
                <a:gd name="connsiteX0" fmla="*/ 669705 w 688161"/>
                <a:gd name="connsiteY0" fmla="*/ 253992 h 274827"/>
                <a:gd name="connsiteX1" fmla="*/ 675162 w 688161"/>
                <a:gd name="connsiteY1" fmla="*/ 238614 h 274827"/>
                <a:gd name="connsiteX2" fmla="*/ 678635 w 688161"/>
                <a:gd name="connsiteY2" fmla="*/ 222739 h 274827"/>
                <a:gd name="connsiteX3" fmla="*/ 682603 w 688161"/>
                <a:gd name="connsiteY3" fmla="*/ 206865 h 274827"/>
                <a:gd name="connsiteX4" fmla="*/ 685580 w 688161"/>
                <a:gd name="connsiteY4" fmla="*/ 190494 h 274827"/>
                <a:gd name="connsiteX5" fmla="*/ 688060 w 688161"/>
                <a:gd name="connsiteY5" fmla="*/ 174123 h 274827"/>
                <a:gd name="connsiteX6" fmla="*/ 687068 w 688161"/>
                <a:gd name="connsiteY6" fmla="*/ 157753 h 274827"/>
                <a:gd name="connsiteX7" fmla="*/ 687564 w 688161"/>
                <a:gd name="connsiteY7" fmla="*/ 141382 h 274827"/>
                <a:gd name="connsiteX8" fmla="*/ 685084 w 688161"/>
                <a:gd name="connsiteY8" fmla="*/ 125012 h 274827"/>
                <a:gd name="connsiteX9" fmla="*/ 681611 w 688161"/>
                <a:gd name="connsiteY9" fmla="*/ 109137 h 274827"/>
                <a:gd name="connsiteX10" fmla="*/ 676154 w 688161"/>
                <a:gd name="connsiteY10" fmla="*/ 93759 h 274827"/>
                <a:gd name="connsiteX11" fmla="*/ 670697 w 688161"/>
                <a:gd name="connsiteY11" fmla="*/ 77884 h 274827"/>
                <a:gd name="connsiteX12" fmla="*/ 661272 w 688161"/>
                <a:gd name="connsiteY12" fmla="*/ 63994 h 274827"/>
                <a:gd name="connsiteX13" fmla="*/ 650358 w 688161"/>
                <a:gd name="connsiteY13" fmla="*/ 51592 h 274827"/>
                <a:gd name="connsiteX14" fmla="*/ 637956 w 688161"/>
                <a:gd name="connsiteY14" fmla="*/ 41175 h 274827"/>
                <a:gd name="connsiteX15" fmla="*/ 624562 w 688161"/>
                <a:gd name="connsiteY15" fmla="*/ 31749 h 274827"/>
                <a:gd name="connsiteX16" fmla="*/ 610176 w 688161"/>
                <a:gd name="connsiteY16" fmla="*/ 24308 h 274827"/>
                <a:gd name="connsiteX17" fmla="*/ 596286 w 688161"/>
                <a:gd name="connsiteY17" fmla="*/ 15875 h 274827"/>
                <a:gd name="connsiteX18" fmla="*/ 580907 w 688161"/>
                <a:gd name="connsiteY18" fmla="*/ 10914 h 274827"/>
                <a:gd name="connsiteX19" fmla="*/ 564537 w 688161"/>
                <a:gd name="connsiteY19" fmla="*/ 8433 h 274827"/>
                <a:gd name="connsiteX20" fmla="*/ 549158 w 688161"/>
                <a:gd name="connsiteY20" fmla="*/ 2976 h 274827"/>
                <a:gd name="connsiteX21" fmla="*/ 532788 w 688161"/>
                <a:gd name="connsiteY21" fmla="*/ 1488 h 274827"/>
                <a:gd name="connsiteX22" fmla="*/ 516417 w 688161"/>
                <a:gd name="connsiteY22" fmla="*/ 992 h 274827"/>
                <a:gd name="connsiteX23" fmla="*/ 500047 w 688161"/>
                <a:gd name="connsiteY23" fmla="*/ 0 h 274827"/>
                <a:gd name="connsiteX24" fmla="*/ 483676 w 688161"/>
                <a:gd name="connsiteY24" fmla="*/ 992 h 274827"/>
                <a:gd name="connsiteX25" fmla="*/ 467802 w 688161"/>
                <a:gd name="connsiteY25" fmla="*/ 3473 h 274827"/>
                <a:gd name="connsiteX26" fmla="*/ 451927 w 688161"/>
                <a:gd name="connsiteY26" fmla="*/ 4961 h 274827"/>
                <a:gd name="connsiteX27" fmla="*/ 435557 w 688161"/>
                <a:gd name="connsiteY27" fmla="*/ 6945 h 274827"/>
                <a:gd name="connsiteX28" fmla="*/ 419682 w 688161"/>
                <a:gd name="connsiteY28" fmla="*/ 9922 h 274827"/>
                <a:gd name="connsiteX29" fmla="*/ 403808 w 688161"/>
                <a:gd name="connsiteY29" fmla="*/ 14386 h 274827"/>
                <a:gd name="connsiteX30" fmla="*/ 388429 w 688161"/>
                <a:gd name="connsiteY30" fmla="*/ 18851 h 274827"/>
                <a:gd name="connsiteX31" fmla="*/ 373051 w 688161"/>
                <a:gd name="connsiteY31" fmla="*/ 24308 h 274827"/>
                <a:gd name="connsiteX32" fmla="*/ 357672 w 688161"/>
                <a:gd name="connsiteY32" fmla="*/ 30261 h 274827"/>
                <a:gd name="connsiteX33" fmla="*/ 342294 w 688161"/>
                <a:gd name="connsiteY33" fmla="*/ 35222 h 274827"/>
                <a:gd name="connsiteX34" fmla="*/ 326915 w 688161"/>
                <a:gd name="connsiteY34" fmla="*/ 40182 h 274827"/>
                <a:gd name="connsiteX35" fmla="*/ 312033 w 688161"/>
                <a:gd name="connsiteY35" fmla="*/ 47127 h 274827"/>
                <a:gd name="connsiteX36" fmla="*/ 297647 w 688161"/>
                <a:gd name="connsiteY36" fmla="*/ 54569 h 274827"/>
                <a:gd name="connsiteX37" fmla="*/ 283261 w 688161"/>
                <a:gd name="connsiteY37" fmla="*/ 62010 h 274827"/>
                <a:gd name="connsiteX38" fmla="*/ 268874 w 688161"/>
                <a:gd name="connsiteY38" fmla="*/ 69451 h 274827"/>
                <a:gd name="connsiteX39" fmla="*/ 253496 w 688161"/>
                <a:gd name="connsiteY39" fmla="*/ 75404 h 274827"/>
                <a:gd name="connsiteX40" fmla="*/ 239110 w 688161"/>
                <a:gd name="connsiteY40" fmla="*/ 82845 h 274827"/>
                <a:gd name="connsiteX41" fmla="*/ 225715 w 688161"/>
                <a:gd name="connsiteY41" fmla="*/ 92271 h 274827"/>
                <a:gd name="connsiteX42" fmla="*/ 211329 w 688161"/>
                <a:gd name="connsiteY42" fmla="*/ 99712 h 274827"/>
                <a:gd name="connsiteX43" fmla="*/ 197439 w 688161"/>
                <a:gd name="connsiteY43" fmla="*/ 108641 h 274827"/>
                <a:gd name="connsiteX44" fmla="*/ 184045 w 688161"/>
                <a:gd name="connsiteY44" fmla="*/ 118067 h 274827"/>
                <a:gd name="connsiteX45" fmla="*/ 169659 w 688161"/>
                <a:gd name="connsiteY45" fmla="*/ 126004 h 274827"/>
                <a:gd name="connsiteX46" fmla="*/ 156761 w 688161"/>
                <a:gd name="connsiteY46" fmla="*/ 135925 h 274827"/>
                <a:gd name="connsiteX47" fmla="*/ 143863 w 688161"/>
                <a:gd name="connsiteY47" fmla="*/ 145351 h 274827"/>
                <a:gd name="connsiteX48" fmla="*/ 130469 w 688161"/>
                <a:gd name="connsiteY48" fmla="*/ 154280 h 274827"/>
                <a:gd name="connsiteX49" fmla="*/ 118067 w 688161"/>
                <a:gd name="connsiteY49" fmla="*/ 164698 h 274827"/>
                <a:gd name="connsiteX50" fmla="*/ 105169 w 688161"/>
                <a:gd name="connsiteY50" fmla="*/ 174619 h 274827"/>
                <a:gd name="connsiteX51" fmla="*/ 91774 w 688161"/>
                <a:gd name="connsiteY51" fmla="*/ 184045 h 274827"/>
                <a:gd name="connsiteX52" fmla="*/ 79869 w 688161"/>
                <a:gd name="connsiteY52" fmla="*/ 194959 h 274827"/>
                <a:gd name="connsiteX53" fmla="*/ 67467 w 688161"/>
                <a:gd name="connsiteY53" fmla="*/ 205376 h 274827"/>
                <a:gd name="connsiteX54" fmla="*/ 56057 w 688161"/>
                <a:gd name="connsiteY54" fmla="*/ 216786 h 274827"/>
                <a:gd name="connsiteX55" fmla="*/ 42663 w 688161"/>
                <a:gd name="connsiteY55" fmla="*/ 226212 h 274827"/>
                <a:gd name="connsiteX56" fmla="*/ 31749 w 688161"/>
                <a:gd name="connsiteY56" fmla="*/ 238614 h 274827"/>
                <a:gd name="connsiteX57" fmla="*/ 20835 w 688161"/>
                <a:gd name="connsiteY57" fmla="*/ 250519 h 274827"/>
                <a:gd name="connsiteX58" fmla="*/ 9426 w 688161"/>
                <a:gd name="connsiteY58" fmla="*/ 261929 h 274827"/>
                <a:gd name="connsiteX59" fmla="*/ 0 w 688161"/>
                <a:gd name="connsiteY59" fmla="*/ 274827 h 274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88161" h="274827">
                  <a:moveTo>
                    <a:pt x="669705" y="253992"/>
                  </a:moveTo>
                  <a:cubicBezTo>
                    <a:pt x="672682" y="246551"/>
                    <a:pt x="672186" y="248039"/>
                    <a:pt x="675162" y="238614"/>
                  </a:cubicBezTo>
                  <a:cubicBezTo>
                    <a:pt x="676650" y="234149"/>
                    <a:pt x="677146" y="228692"/>
                    <a:pt x="678635" y="222739"/>
                  </a:cubicBezTo>
                  <a:cubicBezTo>
                    <a:pt x="679627" y="217778"/>
                    <a:pt x="681611" y="212321"/>
                    <a:pt x="682603" y="206865"/>
                  </a:cubicBezTo>
                  <a:cubicBezTo>
                    <a:pt x="683596" y="201904"/>
                    <a:pt x="684588" y="196447"/>
                    <a:pt x="685580" y="190494"/>
                  </a:cubicBezTo>
                  <a:cubicBezTo>
                    <a:pt x="686076" y="185037"/>
                    <a:pt x="687564" y="179580"/>
                    <a:pt x="688060" y="174123"/>
                  </a:cubicBezTo>
                  <a:cubicBezTo>
                    <a:pt x="688556" y="168666"/>
                    <a:pt x="687068" y="163210"/>
                    <a:pt x="687068" y="157753"/>
                  </a:cubicBezTo>
                  <a:cubicBezTo>
                    <a:pt x="687068" y="152296"/>
                    <a:pt x="687564" y="146839"/>
                    <a:pt x="687564" y="141382"/>
                  </a:cubicBezTo>
                  <a:cubicBezTo>
                    <a:pt x="687068" y="135925"/>
                    <a:pt x="686076" y="130469"/>
                    <a:pt x="685084" y="125012"/>
                  </a:cubicBezTo>
                  <a:cubicBezTo>
                    <a:pt x="684092" y="119555"/>
                    <a:pt x="683099" y="114098"/>
                    <a:pt x="681611" y="109137"/>
                  </a:cubicBezTo>
                  <a:cubicBezTo>
                    <a:pt x="680123" y="103680"/>
                    <a:pt x="678139" y="98720"/>
                    <a:pt x="676154" y="93759"/>
                  </a:cubicBezTo>
                  <a:cubicBezTo>
                    <a:pt x="674170" y="88798"/>
                    <a:pt x="673674" y="82845"/>
                    <a:pt x="670697" y="77884"/>
                  </a:cubicBezTo>
                  <a:cubicBezTo>
                    <a:pt x="668217" y="72924"/>
                    <a:pt x="664744" y="68955"/>
                    <a:pt x="661272" y="63994"/>
                  </a:cubicBezTo>
                  <a:cubicBezTo>
                    <a:pt x="658296" y="59529"/>
                    <a:pt x="654327" y="55561"/>
                    <a:pt x="650358" y="51592"/>
                  </a:cubicBezTo>
                  <a:cubicBezTo>
                    <a:pt x="646886" y="47624"/>
                    <a:pt x="641925" y="44647"/>
                    <a:pt x="637956" y="41175"/>
                  </a:cubicBezTo>
                  <a:cubicBezTo>
                    <a:pt x="633988" y="37702"/>
                    <a:pt x="629523" y="34725"/>
                    <a:pt x="624562" y="31749"/>
                  </a:cubicBezTo>
                  <a:cubicBezTo>
                    <a:pt x="620097" y="28773"/>
                    <a:pt x="615137" y="26788"/>
                    <a:pt x="610176" y="24308"/>
                  </a:cubicBezTo>
                  <a:cubicBezTo>
                    <a:pt x="605215" y="21828"/>
                    <a:pt x="601247" y="17859"/>
                    <a:pt x="596286" y="15875"/>
                  </a:cubicBezTo>
                  <a:cubicBezTo>
                    <a:pt x="591325" y="13890"/>
                    <a:pt x="585868" y="12402"/>
                    <a:pt x="580907" y="10914"/>
                  </a:cubicBezTo>
                  <a:cubicBezTo>
                    <a:pt x="575947" y="9426"/>
                    <a:pt x="569994" y="9922"/>
                    <a:pt x="564537" y="8433"/>
                  </a:cubicBezTo>
                  <a:cubicBezTo>
                    <a:pt x="559080" y="7441"/>
                    <a:pt x="554615" y="3969"/>
                    <a:pt x="549158" y="2976"/>
                  </a:cubicBezTo>
                  <a:cubicBezTo>
                    <a:pt x="543702" y="1984"/>
                    <a:pt x="538245" y="1984"/>
                    <a:pt x="532788" y="1488"/>
                  </a:cubicBezTo>
                  <a:cubicBezTo>
                    <a:pt x="527331" y="992"/>
                    <a:pt x="521874" y="1488"/>
                    <a:pt x="516417" y="992"/>
                  </a:cubicBezTo>
                  <a:cubicBezTo>
                    <a:pt x="510960" y="992"/>
                    <a:pt x="505504" y="0"/>
                    <a:pt x="500047" y="0"/>
                  </a:cubicBezTo>
                  <a:cubicBezTo>
                    <a:pt x="494590" y="0"/>
                    <a:pt x="489133" y="496"/>
                    <a:pt x="483676" y="992"/>
                  </a:cubicBezTo>
                  <a:cubicBezTo>
                    <a:pt x="478219" y="1488"/>
                    <a:pt x="473258" y="2976"/>
                    <a:pt x="467802" y="3473"/>
                  </a:cubicBezTo>
                  <a:cubicBezTo>
                    <a:pt x="462345" y="3969"/>
                    <a:pt x="456888" y="4465"/>
                    <a:pt x="451927" y="4961"/>
                  </a:cubicBezTo>
                  <a:cubicBezTo>
                    <a:pt x="446470" y="5953"/>
                    <a:pt x="441013" y="5953"/>
                    <a:pt x="435557" y="6945"/>
                  </a:cubicBezTo>
                  <a:cubicBezTo>
                    <a:pt x="430100" y="7937"/>
                    <a:pt x="424643" y="8929"/>
                    <a:pt x="419682" y="9922"/>
                  </a:cubicBezTo>
                  <a:cubicBezTo>
                    <a:pt x="414225" y="10914"/>
                    <a:pt x="409264" y="12898"/>
                    <a:pt x="403808" y="14386"/>
                  </a:cubicBezTo>
                  <a:cubicBezTo>
                    <a:pt x="398847" y="15875"/>
                    <a:pt x="393390" y="17363"/>
                    <a:pt x="388429" y="18851"/>
                  </a:cubicBezTo>
                  <a:cubicBezTo>
                    <a:pt x="383468" y="20339"/>
                    <a:pt x="378508" y="22324"/>
                    <a:pt x="373051" y="24308"/>
                  </a:cubicBezTo>
                  <a:cubicBezTo>
                    <a:pt x="368090" y="25796"/>
                    <a:pt x="363129" y="28277"/>
                    <a:pt x="357672" y="30261"/>
                  </a:cubicBezTo>
                  <a:cubicBezTo>
                    <a:pt x="352712" y="32245"/>
                    <a:pt x="347255" y="33237"/>
                    <a:pt x="342294" y="35222"/>
                  </a:cubicBezTo>
                  <a:cubicBezTo>
                    <a:pt x="337333" y="37206"/>
                    <a:pt x="331876" y="37702"/>
                    <a:pt x="326915" y="40182"/>
                  </a:cubicBezTo>
                  <a:cubicBezTo>
                    <a:pt x="321955" y="42167"/>
                    <a:pt x="316994" y="45143"/>
                    <a:pt x="312033" y="47127"/>
                  </a:cubicBezTo>
                  <a:cubicBezTo>
                    <a:pt x="307072" y="49112"/>
                    <a:pt x="302608" y="52088"/>
                    <a:pt x="297647" y="54569"/>
                  </a:cubicBezTo>
                  <a:cubicBezTo>
                    <a:pt x="292686" y="57049"/>
                    <a:pt x="288221" y="59529"/>
                    <a:pt x="283261" y="62010"/>
                  </a:cubicBezTo>
                  <a:cubicBezTo>
                    <a:pt x="278300" y="64490"/>
                    <a:pt x="273339" y="66971"/>
                    <a:pt x="268874" y="69451"/>
                  </a:cubicBezTo>
                  <a:cubicBezTo>
                    <a:pt x="263914" y="71931"/>
                    <a:pt x="258457" y="72924"/>
                    <a:pt x="253496" y="75404"/>
                  </a:cubicBezTo>
                  <a:cubicBezTo>
                    <a:pt x="248535" y="77884"/>
                    <a:pt x="244070" y="80365"/>
                    <a:pt x="239110" y="82845"/>
                  </a:cubicBezTo>
                  <a:cubicBezTo>
                    <a:pt x="234149" y="85325"/>
                    <a:pt x="230676" y="89790"/>
                    <a:pt x="225715" y="92271"/>
                  </a:cubicBezTo>
                  <a:cubicBezTo>
                    <a:pt x="221251" y="95247"/>
                    <a:pt x="215794" y="97231"/>
                    <a:pt x="211329" y="99712"/>
                  </a:cubicBezTo>
                  <a:cubicBezTo>
                    <a:pt x="206865" y="102688"/>
                    <a:pt x="202400" y="105665"/>
                    <a:pt x="197439" y="108641"/>
                  </a:cubicBezTo>
                  <a:cubicBezTo>
                    <a:pt x="192974" y="111618"/>
                    <a:pt x="188510" y="115090"/>
                    <a:pt x="184045" y="118067"/>
                  </a:cubicBezTo>
                  <a:cubicBezTo>
                    <a:pt x="179580" y="121043"/>
                    <a:pt x="174124" y="123027"/>
                    <a:pt x="169659" y="126004"/>
                  </a:cubicBezTo>
                  <a:cubicBezTo>
                    <a:pt x="165194" y="128980"/>
                    <a:pt x="161225" y="132949"/>
                    <a:pt x="156761" y="135925"/>
                  </a:cubicBezTo>
                  <a:cubicBezTo>
                    <a:pt x="152296" y="138902"/>
                    <a:pt x="147831" y="142374"/>
                    <a:pt x="143863" y="145351"/>
                  </a:cubicBezTo>
                  <a:cubicBezTo>
                    <a:pt x="139398" y="148327"/>
                    <a:pt x="134437" y="150808"/>
                    <a:pt x="130469" y="154280"/>
                  </a:cubicBezTo>
                  <a:cubicBezTo>
                    <a:pt x="126004" y="157753"/>
                    <a:pt x="122531" y="161721"/>
                    <a:pt x="118067" y="164698"/>
                  </a:cubicBezTo>
                  <a:cubicBezTo>
                    <a:pt x="113602" y="168171"/>
                    <a:pt x="109633" y="171147"/>
                    <a:pt x="105169" y="174619"/>
                  </a:cubicBezTo>
                  <a:cubicBezTo>
                    <a:pt x="100704" y="178092"/>
                    <a:pt x="95743" y="180572"/>
                    <a:pt x="91774" y="184045"/>
                  </a:cubicBezTo>
                  <a:cubicBezTo>
                    <a:pt x="87310" y="187518"/>
                    <a:pt x="83837" y="191486"/>
                    <a:pt x="79869" y="194959"/>
                  </a:cubicBezTo>
                  <a:cubicBezTo>
                    <a:pt x="75900" y="198431"/>
                    <a:pt x="71435" y="201904"/>
                    <a:pt x="67467" y="205376"/>
                  </a:cubicBezTo>
                  <a:cubicBezTo>
                    <a:pt x="63498" y="208849"/>
                    <a:pt x="60026" y="213314"/>
                    <a:pt x="56057" y="216786"/>
                  </a:cubicBezTo>
                  <a:cubicBezTo>
                    <a:pt x="52088" y="220755"/>
                    <a:pt x="46135" y="222243"/>
                    <a:pt x="42663" y="226212"/>
                  </a:cubicBezTo>
                  <a:cubicBezTo>
                    <a:pt x="38694" y="230180"/>
                    <a:pt x="35718" y="234645"/>
                    <a:pt x="31749" y="238614"/>
                  </a:cubicBezTo>
                  <a:cubicBezTo>
                    <a:pt x="27781" y="242582"/>
                    <a:pt x="24308" y="246551"/>
                    <a:pt x="20835" y="250519"/>
                  </a:cubicBezTo>
                  <a:cubicBezTo>
                    <a:pt x="16867" y="254488"/>
                    <a:pt x="12898" y="257961"/>
                    <a:pt x="9426" y="261929"/>
                  </a:cubicBezTo>
                  <a:cubicBezTo>
                    <a:pt x="5953" y="266394"/>
                    <a:pt x="2977" y="270859"/>
                    <a:pt x="0" y="274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EA468568-E13E-37F4-F246-9D3A8AC7D199}"/>
                </a:ext>
              </a:extLst>
            </p:cNvPr>
            <p:cNvSpPr/>
            <p:nvPr/>
          </p:nvSpPr>
          <p:spPr>
            <a:xfrm>
              <a:off x="5566360" y="1572070"/>
              <a:ext cx="367672" cy="168666"/>
            </a:xfrm>
            <a:custGeom>
              <a:avLst/>
              <a:gdLst>
                <a:gd name="connsiteX0" fmla="*/ 0 w 367672"/>
                <a:gd name="connsiteY0" fmla="*/ 57545 h 168666"/>
                <a:gd name="connsiteX1" fmla="*/ 13394 w 367672"/>
                <a:gd name="connsiteY1" fmla="*/ 47127 h 168666"/>
                <a:gd name="connsiteX2" fmla="*/ 28276 w 367672"/>
                <a:gd name="connsiteY2" fmla="*/ 39190 h 168666"/>
                <a:gd name="connsiteX3" fmla="*/ 42663 w 367672"/>
                <a:gd name="connsiteY3" fmla="*/ 30757 h 168666"/>
                <a:gd name="connsiteX4" fmla="*/ 57545 w 367672"/>
                <a:gd name="connsiteY4" fmla="*/ 22820 h 168666"/>
                <a:gd name="connsiteX5" fmla="*/ 73419 w 367672"/>
                <a:gd name="connsiteY5" fmla="*/ 16867 h 168666"/>
                <a:gd name="connsiteX6" fmla="*/ 89790 w 367672"/>
                <a:gd name="connsiteY6" fmla="*/ 11906 h 168666"/>
                <a:gd name="connsiteX7" fmla="*/ 106160 w 367672"/>
                <a:gd name="connsiteY7" fmla="*/ 7937 h 168666"/>
                <a:gd name="connsiteX8" fmla="*/ 122531 w 367672"/>
                <a:gd name="connsiteY8" fmla="*/ 4465 h 168666"/>
                <a:gd name="connsiteX9" fmla="*/ 139398 w 367672"/>
                <a:gd name="connsiteY9" fmla="*/ 3473 h 168666"/>
                <a:gd name="connsiteX10" fmla="*/ 156265 w 367672"/>
                <a:gd name="connsiteY10" fmla="*/ 496 h 168666"/>
                <a:gd name="connsiteX11" fmla="*/ 173131 w 367672"/>
                <a:gd name="connsiteY11" fmla="*/ 0 h 168666"/>
                <a:gd name="connsiteX12" fmla="*/ 189502 w 367672"/>
                <a:gd name="connsiteY12" fmla="*/ 1488 h 168666"/>
                <a:gd name="connsiteX13" fmla="*/ 205872 w 367672"/>
                <a:gd name="connsiteY13" fmla="*/ 496 h 168666"/>
                <a:gd name="connsiteX14" fmla="*/ 221747 w 367672"/>
                <a:gd name="connsiteY14" fmla="*/ 4961 h 168666"/>
                <a:gd name="connsiteX15" fmla="*/ 238117 w 367672"/>
                <a:gd name="connsiteY15" fmla="*/ 6945 h 168666"/>
                <a:gd name="connsiteX16" fmla="*/ 253496 w 367672"/>
                <a:gd name="connsiteY16" fmla="*/ 11906 h 168666"/>
                <a:gd name="connsiteX17" fmla="*/ 269370 w 367672"/>
                <a:gd name="connsiteY17" fmla="*/ 16371 h 168666"/>
                <a:gd name="connsiteX18" fmla="*/ 283756 w 367672"/>
                <a:gd name="connsiteY18" fmla="*/ 23812 h 168666"/>
                <a:gd name="connsiteX19" fmla="*/ 297151 w 367672"/>
                <a:gd name="connsiteY19" fmla="*/ 32741 h 168666"/>
                <a:gd name="connsiteX20" fmla="*/ 311041 w 367672"/>
                <a:gd name="connsiteY20" fmla="*/ 41175 h 168666"/>
                <a:gd name="connsiteX21" fmla="*/ 323443 w 367672"/>
                <a:gd name="connsiteY21" fmla="*/ 51592 h 168666"/>
                <a:gd name="connsiteX22" fmla="*/ 335349 w 367672"/>
                <a:gd name="connsiteY22" fmla="*/ 63002 h 168666"/>
                <a:gd name="connsiteX23" fmla="*/ 344278 w 367672"/>
                <a:gd name="connsiteY23" fmla="*/ 76892 h 168666"/>
                <a:gd name="connsiteX24" fmla="*/ 352711 w 367672"/>
                <a:gd name="connsiteY24" fmla="*/ 90782 h 168666"/>
                <a:gd name="connsiteX25" fmla="*/ 359657 w 367672"/>
                <a:gd name="connsiteY25" fmla="*/ 105665 h 168666"/>
                <a:gd name="connsiteX26" fmla="*/ 363625 w 367672"/>
                <a:gd name="connsiteY26" fmla="*/ 121539 h 168666"/>
                <a:gd name="connsiteX27" fmla="*/ 367594 w 367672"/>
                <a:gd name="connsiteY27" fmla="*/ 137414 h 168666"/>
                <a:gd name="connsiteX28" fmla="*/ 365609 w 367672"/>
                <a:gd name="connsiteY28" fmla="*/ 153288 h 168666"/>
                <a:gd name="connsiteX29" fmla="*/ 361641 w 367672"/>
                <a:gd name="connsiteY29" fmla="*/ 168666 h 16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672" h="168666">
                  <a:moveTo>
                    <a:pt x="0" y="57545"/>
                  </a:moveTo>
                  <a:cubicBezTo>
                    <a:pt x="5953" y="51592"/>
                    <a:pt x="4465" y="53577"/>
                    <a:pt x="13394" y="47127"/>
                  </a:cubicBezTo>
                  <a:cubicBezTo>
                    <a:pt x="17363" y="44647"/>
                    <a:pt x="22819" y="42663"/>
                    <a:pt x="28276" y="39190"/>
                  </a:cubicBezTo>
                  <a:cubicBezTo>
                    <a:pt x="32741" y="36710"/>
                    <a:pt x="37206" y="33237"/>
                    <a:pt x="42663" y="30757"/>
                  </a:cubicBezTo>
                  <a:cubicBezTo>
                    <a:pt x="47127" y="28277"/>
                    <a:pt x="52088" y="25300"/>
                    <a:pt x="57545" y="22820"/>
                  </a:cubicBezTo>
                  <a:cubicBezTo>
                    <a:pt x="62506" y="20835"/>
                    <a:pt x="67962" y="18851"/>
                    <a:pt x="73419" y="16867"/>
                  </a:cubicBezTo>
                  <a:cubicBezTo>
                    <a:pt x="78380" y="14882"/>
                    <a:pt x="83837" y="13890"/>
                    <a:pt x="89790" y="11906"/>
                  </a:cubicBezTo>
                  <a:cubicBezTo>
                    <a:pt x="94751" y="10418"/>
                    <a:pt x="100704" y="9425"/>
                    <a:pt x="106160" y="7937"/>
                  </a:cubicBezTo>
                  <a:cubicBezTo>
                    <a:pt x="111618" y="6945"/>
                    <a:pt x="117074" y="5457"/>
                    <a:pt x="122531" y="4465"/>
                  </a:cubicBezTo>
                  <a:cubicBezTo>
                    <a:pt x="127988" y="3473"/>
                    <a:pt x="133445" y="3969"/>
                    <a:pt x="139398" y="3473"/>
                  </a:cubicBezTo>
                  <a:cubicBezTo>
                    <a:pt x="144855" y="2976"/>
                    <a:pt x="150312" y="992"/>
                    <a:pt x="156265" y="496"/>
                  </a:cubicBezTo>
                  <a:cubicBezTo>
                    <a:pt x="161721" y="0"/>
                    <a:pt x="167178" y="0"/>
                    <a:pt x="173131" y="0"/>
                  </a:cubicBezTo>
                  <a:cubicBezTo>
                    <a:pt x="178588" y="0"/>
                    <a:pt x="184045" y="992"/>
                    <a:pt x="189502" y="1488"/>
                  </a:cubicBezTo>
                  <a:cubicBezTo>
                    <a:pt x="194959" y="1488"/>
                    <a:pt x="200415" y="0"/>
                    <a:pt x="205872" y="496"/>
                  </a:cubicBezTo>
                  <a:cubicBezTo>
                    <a:pt x="211329" y="992"/>
                    <a:pt x="216290" y="3969"/>
                    <a:pt x="221747" y="4961"/>
                  </a:cubicBezTo>
                  <a:cubicBezTo>
                    <a:pt x="227203" y="5953"/>
                    <a:pt x="232661" y="5457"/>
                    <a:pt x="238117" y="6945"/>
                  </a:cubicBezTo>
                  <a:cubicBezTo>
                    <a:pt x="243574" y="8433"/>
                    <a:pt x="248535" y="9922"/>
                    <a:pt x="253496" y="11906"/>
                  </a:cubicBezTo>
                  <a:cubicBezTo>
                    <a:pt x="258952" y="13394"/>
                    <a:pt x="264409" y="14386"/>
                    <a:pt x="269370" y="16371"/>
                  </a:cubicBezTo>
                  <a:cubicBezTo>
                    <a:pt x="274331" y="18355"/>
                    <a:pt x="279292" y="21331"/>
                    <a:pt x="283756" y="23812"/>
                  </a:cubicBezTo>
                  <a:cubicBezTo>
                    <a:pt x="288717" y="26292"/>
                    <a:pt x="292686" y="29765"/>
                    <a:pt x="297151" y="32741"/>
                  </a:cubicBezTo>
                  <a:cubicBezTo>
                    <a:pt x="301615" y="35718"/>
                    <a:pt x="307072" y="37702"/>
                    <a:pt x="311041" y="41175"/>
                  </a:cubicBezTo>
                  <a:cubicBezTo>
                    <a:pt x="315505" y="44647"/>
                    <a:pt x="319474" y="48120"/>
                    <a:pt x="323443" y="51592"/>
                  </a:cubicBezTo>
                  <a:cubicBezTo>
                    <a:pt x="327411" y="55561"/>
                    <a:pt x="331876" y="59033"/>
                    <a:pt x="335349" y="63002"/>
                  </a:cubicBezTo>
                  <a:cubicBezTo>
                    <a:pt x="338821" y="67467"/>
                    <a:pt x="341301" y="72427"/>
                    <a:pt x="344278" y="76892"/>
                  </a:cubicBezTo>
                  <a:cubicBezTo>
                    <a:pt x="347255" y="81357"/>
                    <a:pt x="350231" y="86318"/>
                    <a:pt x="352711" y="90782"/>
                  </a:cubicBezTo>
                  <a:cubicBezTo>
                    <a:pt x="355192" y="95743"/>
                    <a:pt x="357672" y="100704"/>
                    <a:pt x="359657" y="105665"/>
                  </a:cubicBezTo>
                  <a:cubicBezTo>
                    <a:pt x="361641" y="111121"/>
                    <a:pt x="362633" y="116082"/>
                    <a:pt x="363625" y="121539"/>
                  </a:cubicBezTo>
                  <a:cubicBezTo>
                    <a:pt x="364617" y="126996"/>
                    <a:pt x="367098" y="132453"/>
                    <a:pt x="367594" y="137414"/>
                  </a:cubicBezTo>
                  <a:cubicBezTo>
                    <a:pt x="368090" y="143366"/>
                    <a:pt x="366105" y="148327"/>
                    <a:pt x="365609" y="153288"/>
                  </a:cubicBezTo>
                  <a:cubicBezTo>
                    <a:pt x="364617" y="159241"/>
                    <a:pt x="363625" y="164202"/>
                    <a:pt x="361641" y="1686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07056148-0E9B-897B-6028-797B1F01F248}"/>
                </a:ext>
              </a:extLst>
            </p:cNvPr>
            <p:cNvSpPr/>
            <p:nvPr/>
          </p:nvSpPr>
          <p:spPr>
            <a:xfrm>
              <a:off x="3690796" y="3949814"/>
              <a:ext cx="134983" cy="87874"/>
            </a:xfrm>
            <a:custGeom>
              <a:avLst/>
              <a:gdLst>
                <a:gd name="connsiteX0" fmla="*/ 133339 w 134983"/>
                <a:gd name="connsiteY0" fmla="*/ 3431 h 87874"/>
                <a:gd name="connsiteX1" fmla="*/ 116472 w 134983"/>
                <a:gd name="connsiteY1" fmla="*/ 2439 h 87874"/>
                <a:gd name="connsiteX2" fmla="*/ 99605 w 134983"/>
                <a:gd name="connsiteY2" fmla="*/ 2439 h 87874"/>
                <a:gd name="connsiteX3" fmla="*/ 82739 w 134983"/>
                <a:gd name="connsiteY3" fmla="*/ 2439 h 87874"/>
                <a:gd name="connsiteX4" fmla="*/ 65872 w 134983"/>
                <a:gd name="connsiteY4" fmla="*/ 2935 h 87874"/>
                <a:gd name="connsiteX5" fmla="*/ 48509 w 134983"/>
                <a:gd name="connsiteY5" fmla="*/ 1446 h 87874"/>
                <a:gd name="connsiteX6" fmla="*/ 40572 w 134983"/>
                <a:gd name="connsiteY6" fmla="*/ 15833 h 87874"/>
                <a:gd name="connsiteX7" fmla="*/ 32139 w 134983"/>
                <a:gd name="connsiteY7" fmla="*/ 29227 h 87874"/>
                <a:gd name="connsiteX8" fmla="*/ 25194 w 134983"/>
                <a:gd name="connsiteY8" fmla="*/ 43613 h 87874"/>
                <a:gd name="connsiteX9" fmla="*/ 16264 w 134983"/>
                <a:gd name="connsiteY9" fmla="*/ 57007 h 87874"/>
                <a:gd name="connsiteX10" fmla="*/ 8327 w 134983"/>
                <a:gd name="connsiteY10" fmla="*/ 70897 h 87874"/>
                <a:gd name="connsiteX11" fmla="*/ 1382 w 134983"/>
                <a:gd name="connsiteY11" fmla="*/ 84787 h 87874"/>
                <a:gd name="connsiteX12" fmla="*/ 17256 w 134983"/>
                <a:gd name="connsiteY12" fmla="*/ 84787 h 87874"/>
                <a:gd name="connsiteX13" fmla="*/ 33131 w 134983"/>
                <a:gd name="connsiteY13" fmla="*/ 84787 h 87874"/>
                <a:gd name="connsiteX14" fmla="*/ 49005 w 134983"/>
                <a:gd name="connsiteY14" fmla="*/ 85284 h 87874"/>
                <a:gd name="connsiteX15" fmla="*/ 64880 w 134983"/>
                <a:gd name="connsiteY15" fmla="*/ 83299 h 87874"/>
                <a:gd name="connsiteX16" fmla="*/ 80754 w 134983"/>
                <a:gd name="connsiteY16" fmla="*/ 84787 h 87874"/>
                <a:gd name="connsiteX17" fmla="*/ 96629 w 134983"/>
                <a:gd name="connsiteY17" fmla="*/ 83795 h 87874"/>
                <a:gd name="connsiteX18" fmla="*/ 103574 w 134983"/>
                <a:gd name="connsiteY18" fmla="*/ 70897 h 87874"/>
                <a:gd name="connsiteX19" fmla="*/ 108535 w 134983"/>
                <a:gd name="connsiteY19" fmla="*/ 56511 h 87874"/>
                <a:gd name="connsiteX20" fmla="*/ 114488 w 134983"/>
                <a:gd name="connsiteY20" fmla="*/ 42621 h 87874"/>
                <a:gd name="connsiteX21" fmla="*/ 120937 w 134983"/>
                <a:gd name="connsiteY21" fmla="*/ 29227 h 87874"/>
                <a:gd name="connsiteX22" fmla="*/ 126890 w 134983"/>
                <a:gd name="connsiteY22" fmla="*/ 15336 h 87874"/>
                <a:gd name="connsiteX23" fmla="*/ 133339 w 134983"/>
                <a:gd name="connsiteY23" fmla="*/ 3431 h 8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4983" h="87874">
                  <a:moveTo>
                    <a:pt x="133339" y="3431"/>
                  </a:moveTo>
                  <a:cubicBezTo>
                    <a:pt x="127882" y="-3018"/>
                    <a:pt x="125401" y="2439"/>
                    <a:pt x="116472" y="2439"/>
                  </a:cubicBezTo>
                  <a:cubicBezTo>
                    <a:pt x="108038" y="2439"/>
                    <a:pt x="108038" y="2439"/>
                    <a:pt x="99605" y="2439"/>
                  </a:cubicBezTo>
                  <a:cubicBezTo>
                    <a:pt x="91172" y="2439"/>
                    <a:pt x="91172" y="2439"/>
                    <a:pt x="82739" y="2439"/>
                  </a:cubicBezTo>
                  <a:cubicBezTo>
                    <a:pt x="74305" y="2439"/>
                    <a:pt x="74305" y="2935"/>
                    <a:pt x="65872" y="2935"/>
                  </a:cubicBezTo>
                  <a:cubicBezTo>
                    <a:pt x="57439" y="2935"/>
                    <a:pt x="55950" y="-2522"/>
                    <a:pt x="48509" y="1446"/>
                  </a:cubicBezTo>
                  <a:cubicBezTo>
                    <a:pt x="41564" y="5415"/>
                    <a:pt x="44541" y="8887"/>
                    <a:pt x="40572" y="15833"/>
                  </a:cubicBezTo>
                  <a:cubicBezTo>
                    <a:pt x="36603" y="22778"/>
                    <a:pt x="36107" y="22282"/>
                    <a:pt x="32139" y="29227"/>
                  </a:cubicBezTo>
                  <a:cubicBezTo>
                    <a:pt x="28170" y="36172"/>
                    <a:pt x="29162" y="36668"/>
                    <a:pt x="25194" y="43613"/>
                  </a:cubicBezTo>
                  <a:cubicBezTo>
                    <a:pt x="21225" y="50558"/>
                    <a:pt x="20233" y="50062"/>
                    <a:pt x="16264" y="57007"/>
                  </a:cubicBezTo>
                  <a:cubicBezTo>
                    <a:pt x="12295" y="63952"/>
                    <a:pt x="12295" y="63952"/>
                    <a:pt x="8327" y="70897"/>
                  </a:cubicBezTo>
                  <a:cubicBezTo>
                    <a:pt x="4358" y="77842"/>
                    <a:pt x="-3083" y="77842"/>
                    <a:pt x="1382" y="84787"/>
                  </a:cubicBezTo>
                  <a:cubicBezTo>
                    <a:pt x="5351" y="91733"/>
                    <a:pt x="9319" y="84787"/>
                    <a:pt x="17256" y="84787"/>
                  </a:cubicBezTo>
                  <a:cubicBezTo>
                    <a:pt x="25194" y="84787"/>
                    <a:pt x="25194" y="84787"/>
                    <a:pt x="33131" y="84787"/>
                  </a:cubicBezTo>
                  <a:cubicBezTo>
                    <a:pt x="41068" y="84787"/>
                    <a:pt x="41068" y="85284"/>
                    <a:pt x="49005" y="85284"/>
                  </a:cubicBezTo>
                  <a:cubicBezTo>
                    <a:pt x="56942" y="85284"/>
                    <a:pt x="56942" y="83299"/>
                    <a:pt x="64880" y="83299"/>
                  </a:cubicBezTo>
                  <a:cubicBezTo>
                    <a:pt x="72817" y="83299"/>
                    <a:pt x="72817" y="84787"/>
                    <a:pt x="80754" y="84787"/>
                  </a:cubicBezTo>
                  <a:cubicBezTo>
                    <a:pt x="88692" y="84787"/>
                    <a:pt x="89684" y="87764"/>
                    <a:pt x="96629" y="83795"/>
                  </a:cubicBezTo>
                  <a:cubicBezTo>
                    <a:pt x="103078" y="79827"/>
                    <a:pt x="100597" y="77842"/>
                    <a:pt x="103574" y="70897"/>
                  </a:cubicBezTo>
                  <a:cubicBezTo>
                    <a:pt x="106550" y="63952"/>
                    <a:pt x="105558" y="63456"/>
                    <a:pt x="108535" y="56511"/>
                  </a:cubicBezTo>
                  <a:cubicBezTo>
                    <a:pt x="111511" y="49566"/>
                    <a:pt x="111511" y="49566"/>
                    <a:pt x="114488" y="42621"/>
                  </a:cubicBezTo>
                  <a:cubicBezTo>
                    <a:pt x="117464" y="35676"/>
                    <a:pt x="117960" y="36172"/>
                    <a:pt x="120937" y="29227"/>
                  </a:cubicBezTo>
                  <a:cubicBezTo>
                    <a:pt x="123913" y="22282"/>
                    <a:pt x="122425" y="21289"/>
                    <a:pt x="126890" y="15336"/>
                  </a:cubicBezTo>
                  <a:cubicBezTo>
                    <a:pt x="132346" y="9880"/>
                    <a:pt x="137803" y="8887"/>
                    <a:pt x="133339" y="34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49C22A05-2464-D969-9223-372D30B8949F}"/>
                </a:ext>
              </a:extLst>
            </p:cNvPr>
            <p:cNvSpPr/>
            <p:nvPr/>
          </p:nvSpPr>
          <p:spPr>
            <a:xfrm>
              <a:off x="3861340" y="4012774"/>
              <a:ext cx="1984" cy="65482"/>
            </a:xfrm>
            <a:custGeom>
              <a:avLst/>
              <a:gdLst>
                <a:gd name="connsiteX0" fmla="*/ 1984 w 1984"/>
                <a:gd name="connsiteY0" fmla="*/ 65482 h 65482"/>
                <a:gd name="connsiteX1" fmla="*/ 0 w 1984"/>
                <a:gd name="connsiteY1" fmla="*/ 49112 h 65482"/>
                <a:gd name="connsiteX2" fmla="*/ 992 w 1984"/>
                <a:gd name="connsiteY2" fmla="*/ 32741 h 65482"/>
                <a:gd name="connsiteX3" fmla="*/ 1488 w 1984"/>
                <a:gd name="connsiteY3" fmla="*/ 16371 h 65482"/>
                <a:gd name="connsiteX4" fmla="*/ 0 w 1984"/>
                <a:gd name="connsiteY4" fmla="*/ 0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65482">
                  <a:moveTo>
                    <a:pt x="1984" y="65482"/>
                  </a:moveTo>
                  <a:cubicBezTo>
                    <a:pt x="1984" y="57545"/>
                    <a:pt x="0" y="57545"/>
                    <a:pt x="0" y="49112"/>
                  </a:cubicBezTo>
                  <a:cubicBezTo>
                    <a:pt x="0" y="41174"/>
                    <a:pt x="992" y="41174"/>
                    <a:pt x="992" y="32741"/>
                  </a:cubicBezTo>
                  <a:cubicBezTo>
                    <a:pt x="992" y="24804"/>
                    <a:pt x="1488" y="24804"/>
                    <a:pt x="1488" y="16371"/>
                  </a:cubicBezTo>
                  <a:cubicBezTo>
                    <a:pt x="1488" y="7937"/>
                    <a:pt x="0" y="843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BBFB5898-05D9-5820-DAA6-23F75EA4B147}"/>
                </a:ext>
              </a:extLst>
            </p:cNvPr>
            <p:cNvSpPr/>
            <p:nvPr/>
          </p:nvSpPr>
          <p:spPr>
            <a:xfrm>
              <a:off x="3796850" y="4103060"/>
              <a:ext cx="68997" cy="69775"/>
            </a:xfrm>
            <a:custGeom>
              <a:avLst/>
              <a:gdLst>
                <a:gd name="connsiteX0" fmla="*/ 0 w 68997"/>
                <a:gd name="connsiteY0" fmla="*/ 66475 h 69775"/>
                <a:gd name="connsiteX1" fmla="*/ 16371 w 68997"/>
                <a:gd name="connsiteY1" fmla="*/ 66971 h 69775"/>
                <a:gd name="connsiteX2" fmla="*/ 32741 w 68997"/>
                <a:gd name="connsiteY2" fmla="*/ 67467 h 69775"/>
                <a:gd name="connsiteX3" fmla="*/ 49112 w 68997"/>
                <a:gd name="connsiteY3" fmla="*/ 65979 h 69775"/>
                <a:gd name="connsiteX4" fmla="*/ 66474 w 68997"/>
                <a:gd name="connsiteY4" fmla="*/ 67467 h 69775"/>
                <a:gd name="connsiteX5" fmla="*/ 65978 w 68997"/>
                <a:gd name="connsiteY5" fmla="*/ 50104 h 69775"/>
                <a:gd name="connsiteX6" fmla="*/ 66971 w 68997"/>
                <a:gd name="connsiteY6" fmla="*/ 33734 h 69775"/>
                <a:gd name="connsiteX7" fmla="*/ 65978 w 68997"/>
                <a:gd name="connsiteY7" fmla="*/ 16867 h 69775"/>
                <a:gd name="connsiteX8" fmla="*/ 65482 w 68997"/>
                <a:gd name="connsiteY8" fmla="*/ 0 h 6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997" h="69775">
                  <a:moveTo>
                    <a:pt x="0" y="66475"/>
                  </a:moveTo>
                  <a:cubicBezTo>
                    <a:pt x="7937" y="66475"/>
                    <a:pt x="7937" y="66971"/>
                    <a:pt x="16371" y="66971"/>
                  </a:cubicBezTo>
                  <a:cubicBezTo>
                    <a:pt x="24308" y="66971"/>
                    <a:pt x="24308" y="67467"/>
                    <a:pt x="32741" y="67467"/>
                  </a:cubicBezTo>
                  <a:cubicBezTo>
                    <a:pt x="40678" y="67467"/>
                    <a:pt x="40678" y="65979"/>
                    <a:pt x="49112" y="65979"/>
                  </a:cubicBezTo>
                  <a:cubicBezTo>
                    <a:pt x="57049" y="65979"/>
                    <a:pt x="60522" y="73420"/>
                    <a:pt x="66474" y="67467"/>
                  </a:cubicBezTo>
                  <a:cubicBezTo>
                    <a:pt x="72427" y="61514"/>
                    <a:pt x="65978" y="58537"/>
                    <a:pt x="65978" y="50104"/>
                  </a:cubicBezTo>
                  <a:cubicBezTo>
                    <a:pt x="65978" y="41671"/>
                    <a:pt x="66971" y="41671"/>
                    <a:pt x="66971" y="33734"/>
                  </a:cubicBezTo>
                  <a:cubicBezTo>
                    <a:pt x="66971" y="25300"/>
                    <a:pt x="65978" y="25300"/>
                    <a:pt x="65978" y="16867"/>
                  </a:cubicBezTo>
                  <a:cubicBezTo>
                    <a:pt x="65978" y="8433"/>
                    <a:pt x="65482" y="8433"/>
                    <a:pt x="654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031C7CAD-1BC5-C5E8-4B5A-6278D8580E58}"/>
                </a:ext>
              </a:extLst>
            </p:cNvPr>
            <p:cNvSpPr/>
            <p:nvPr/>
          </p:nvSpPr>
          <p:spPr>
            <a:xfrm>
              <a:off x="3706264" y="4035593"/>
              <a:ext cx="72727" cy="137737"/>
            </a:xfrm>
            <a:custGeom>
              <a:avLst/>
              <a:gdLst>
                <a:gd name="connsiteX0" fmla="*/ 4765 w 72727"/>
                <a:gd name="connsiteY0" fmla="*/ 0 h 137737"/>
                <a:gd name="connsiteX1" fmla="*/ 3277 w 72727"/>
                <a:gd name="connsiteY1" fmla="*/ 16867 h 137737"/>
                <a:gd name="connsiteX2" fmla="*/ 3773 w 72727"/>
                <a:gd name="connsiteY2" fmla="*/ 33733 h 137737"/>
                <a:gd name="connsiteX3" fmla="*/ 4765 w 72727"/>
                <a:gd name="connsiteY3" fmla="*/ 50600 h 137737"/>
                <a:gd name="connsiteX4" fmla="*/ 2781 w 72727"/>
                <a:gd name="connsiteY4" fmla="*/ 67466 h 137737"/>
                <a:gd name="connsiteX5" fmla="*/ 4765 w 72727"/>
                <a:gd name="connsiteY5" fmla="*/ 84333 h 137737"/>
                <a:gd name="connsiteX6" fmla="*/ 4269 w 72727"/>
                <a:gd name="connsiteY6" fmla="*/ 101200 h 137737"/>
                <a:gd name="connsiteX7" fmla="*/ 2285 w 72727"/>
                <a:gd name="connsiteY7" fmla="*/ 118066 h 137737"/>
                <a:gd name="connsiteX8" fmla="*/ 2781 w 72727"/>
                <a:gd name="connsiteY8" fmla="*/ 135429 h 137737"/>
                <a:gd name="connsiteX9" fmla="*/ 20639 w 72727"/>
                <a:gd name="connsiteY9" fmla="*/ 133941 h 137737"/>
                <a:gd name="connsiteX10" fmla="*/ 38002 w 72727"/>
                <a:gd name="connsiteY10" fmla="*/ 135925 h 137737"/>
                <a:gd name="connsiteX11" fmla="*/ 55365 w 72727"/>
                <a:gd name="connsiteY11" fmla="*/ 135925 h 137737"/>
                <a:gd name="connsiteX12" fmla="*/ 72728 w 72727"/>
                <a:gd name="connsiteY12" fmla="*/ 134933 h 13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727" h="137737">
                  <a:moveTo>
                    <a:pt x="4765" y="0"/>
                  </a:moveTo>
                  <a:cubicBezTo>
                    <a:pt x="4765" y="8433"/>
                    <a:pt x="3277" y="8433"/>
                    <a:pt x="3277" y="16867"/>
                  </a:cubicBezTo>
                  <a:cubicBezTo>
                    <a:pt x="3277" y="25300"/>
                    <a:pt x="3773" y="25300"/>
                    <a:pt x="3773" y="33733"/>
                  </a:cubicBezTo>
                  <a:cubicBezTo>
                    <a:pt x="3773" y="42167"/>
                    <a:pt x="4765" y="42167"/>
                    <a:pt x="4765" y="50600"/>
                  </a:cubicBezTo>
                  <a:cubicBezTo>
                    <a:pt x="4765" y="59033"/>
                    <a:pt x="2781" y="59033"/>
                    <a:pt x="2781" y="67466"/>
                  </a:cubicBezTo>
                  <a:cubicBezTo>
                    <a:pt x="2781" y="75900"/>
                    <a:pt x="4765" y="75900"/>
                    <a:pt x="4765" y="84333"/>
                  </a:cubicBezTo>
                  <a:cubicBezTo>
                    <a:pt x="4765" y="92767"/>
                    <a:pt x="4269" y="92767"/>
                    <a:pt x="4269" y="101200"/>
                  </a:cubicBezTo>
                  <a:cubicBezTo>
                    <a:pt x="4269" y="109633"/>
                    <a:pt x="2285" y="109633"/>
                    <a:pt x="2285" y="118066"/>
                  </a:cubicBezTo>
                  <a:cubicBezTo>
                    <a:pt x="2285" y="126500"/>
                    <a:pt x="-3172" y="129476"/>
                    <a:pt x="2781" y="135429"/>
                  </a:cubicBezTo>
                  <a:cubicBezTo>
                    <a:pt x="9230" y="141382"/>
                    <a:pt x="12206" y="133941"/>
                    <a:pt x="20639" y="133941"/>
                  </a:cubicBezTo>
                  <a:cubicBezTo>
                    <a:pt x="29569" y="133941"/>
                    <a:pt x="29569" y="135925"/>
                    <a:pt x="38002" y="135925"/>
                  </a:cubicBezTo>
                  <a:cubicBezTo>
                    <a:pt x="46932" y="135925"/>
                    <a:pt x="46932" y="135925"/>
                    <a:pt x="55365" y="135925"/>
                  </a:cubicBezTo>
                  <a:cubicBezTo>
                    <a:pt x="64295" y="135925"/>
                    <a:pt x="64295" y="134933"/>
                    <a:pt x="72728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947C7E00-B812-A676-A03E-925C3D7781B2}"/>
                </a:ext>
              </a:extLst>
            </p:cNvPr>
            <p:cNvSpPr/>
            <p:nvPr/>
          </p:nvSpPr>
          <p:spPr>
            <a:xfrm>
              <a:off x="3824134" y="3953245"/>
              <a:ext cx="48615" cy="72427"/>
            </a:xfrm>
            <a:custGeom>
              <a:avLst/>
              <a:gdLst>
                <a:gd name="connsiteX0" fmla="*/ 0 w 48615"/>
                <a:gd name="connsiteY0" fmla="*/ 0 h 72427"/>
                <a:gd name="connsiteX1" fmla="*/ 10418 w 48615"/>
                <a:gd name="connsiteY1" fmla="*/ 13890 h 72427"/>
                <a:gd name="connsiteX2" fmla="*/ 19347 w 48615"/>
                <a:gd name="connsiteY2" fmla="*/ 28772 h 72427"/>
                <a:gd name="connsiteX3" fmla="*/ 29765 w 48615"/>
                <a:gd name="connsiteY3" fmla="*/ 43159 h 72427"/>
                <a:gd name="connsiteX4" fmla="*/ 38694 w 48615"/>
                <a:gd name="connsiteY4" fmla="*/ 58041 h 72427"/>
                <a:gd name="connsiteX5" fmla="*/ 48616 w 48615"/>
                <a:gd name="connsiteY5" fmla="*/ 72427 h 7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15" h="72427">
                  <a:moveTo>
                    <a:pt x="0" y="0"/>
                  </a:moveTo>
                  <a:cubicBezTo>
                    <a:pt x="4961" y="7441"/>
                    <a:pt x="5457" y="6945"/>
                    <a:pt x="10418" y="13890"/>
                  </a:cubicBezTo>
                  <a:cubicBezTo>
                    <a:pt x="15378" y="21331"/>
                    <a:pt x="14386" y="21827"/>
                    <a:pt x="19347" y="28772"/>
                  </a:cubicBezTo>
                  <a:cubicBezTo>
                    <a:pt x="24308" y="36214"/>
                    <a:pt x="24804" y="35717"/>
                    <a:pt x="29765" y="43159"/>
                  </a:cubicBezTo>
                  <a:cubicBezTo>
                    <a:pt x="34725" y="50600"/>
                    <a:pt x="33733" y="51096"/>
                    <a:pt x="38694" y="58041"/>
                  </a:cubicBezTo>
                  <a:cubicBezTo>
                    <a:pt x="43655" y="65482"/>
                    <a:pt x="43655" y="64986"/>
                    <a:pt x="48616" y="72427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E82DF3B7-1F55-C227-BB72-9786949702FA}"/>
                </a:ext>
              </a:extLst>
            </p:cNvPr>
            <p:cNvSpPr/>
            <p:nvPr/>
          </p:nvSpPr>
          <p:spPr>
            <a:xfrm>
              <a:off x="3795362" y="4018231"/>
              <a:ext cx="1488" cy="151799"/>
            </a:xfrm>
            <a:custGeom>
              <a:avLst/>
              <a:gdLst>
                <a:gd name="connsiteX0" fmla="*/ 992 w 1488"/>
                <a:gd name="connsiteY0" fmla="*/ 151800 h 151799"/>
                <a:gd name="connsiteX1" fmla="*/ 496 w 1488"/>
                <a:gd name="connsiteY1" fmla="*/ 134933 h 151799"/>
                <a:gd name="connsiteX2" fmla="*/ 992 w 1488"/>
                <a:gd name="connsiteY2" fmla="*/ 118066 h 151799"/>
                <a:gd name="connsiteX3" fmla="*/ 0 w 1488"/>
                <a:gd name="connsiteY3" fmla="*/ 101200 h 151799"/>
                <a:gd name="connsiteX4" fmla="*/ 992 w 1488"/>
                <a:gd name="connsiteY4" fmla="*/ 84333 h 151799"/>
                <a:gd name="connsiteX5" fmla="*/ 992 w 1488"/>
                <a:gd name="connsiteY5" fmla="*/ 67466 h 151799"/>
                <a:gd name="connsiteX6" fmla="*/ 1488 w 1488"/>
                <a:gd name="connsiteY6" fmla="*/ 50600 h 151799"/>
                <a:gd name="connsiteX7" fmla="*/ 496 w 1488"/>
                <a:gd name="connsiteY7" fmla="*/ 33733 h 151799"/>
                <a:gd name="connsiteX8" fmla="*/ 0 w 1488"/>
                <a:gd name="connsiteY8" fmla="*/ 16867 h 151799"/>
                <a:gd name="connsiteX9" fmla="*/ 496 w 1488"/>
                <a:gd name="connsiteY9" fmla="*/ 0 h 1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8" h="151799">
                  <a:moveTo>
                    <a:pt x="992" y="151800"/>
                  </a:moveTo>
                  <a:cubicBezTo>
                    <a:pt x="992" y="143367"/>
                    <a:pt x="496" y="143367"/>
                    <a:pt x="496" y="134933"/>
                  </a:cubicBezTo>
                  <a:cubicBezTo>
                    <a:pt x="496" y="126500"/>
                    <a:pt x="992" y="126500"/>
                    <a:pt x="992" y="118066"/>
                  </a:cubicBezTo>
                  <a:cubicBezTo>
                    <a:pt x="992" y="109633"/>
                    <a:pt x="0" y="109633"/>
                    <a:pt x="0" y="101200"/>
                  </a:cubicBezTo>
                  <a:cubicBezTo>
                    <a:pt x="0" y="92767"/>
                    <a:pt x="992" y="92767"/>
                    <a:pt x="992" y="84333"/>
                  </a:cubicBezTo>
                  <a:cubicBezTo>
                    <a:pt x="992" y="75900"/>
                    <a:pt x="992" y="75900"/>
                    <a:pt x="992" y="67466"/>
                  </a:cubicBezTo>
                  <a:cubicBezTo>
                    <a:pt x="992" y="59033"/>
                    <a:pt x="1488" y="59033"/>
                    <a:pt x="1488" y="50600"/>
                  </a:cubicBezTo>
                  <a:cubicBezTo>
                    <a:pt x="1488" y="42167"/>
                    <a:pt x="496" y="42167"/>
                    <a:pt x="496" y="33733"/>
                  </a:cubicBezTo>
                  <a:cubicBezTo>
                    <a:pt x="496" y="25300"/>
                    <a:pt x="0" y="25300"/>
                    <a:pt x="0" y="16867"/>
                  </a:cubicBezTo>
                  <a:cubicBezTo>
                    <a:pt x="0" y="8433"/>
                    <a:pt x="496" y="8433"/>
                    <a:pt x="49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C986AC8D-D7E7-18AD-EFF4-2E0FE08ADC22}"/>
                </a:ext>
              </a:extLst>
            </p:cNvPr>
            <p:cNvSpPr/>
            <p:nvPr/>
          </p:nvSpPr>
          <p:spPr>
            <a:xfrm>
              <a:off x="3826739" y="4087186"/>
              <a:ext cx="74535" cy="16866"/>
            </a:xfrm>
            <a:custGeom>
              <a:avLst/>
              <a:gdLst>
                <a:gd name="connsiteX0" fmla="*/ 70815 w 74535"/>
                <a:gd name="connsiteY0" fmla="*/ 15874 h 16866"/>
                <a:gd name="connsiteX1" fmla="*/ 53948 w 74535"/>
                <a:gd name="connsiteY1" fmla="*/ 15378 h 16866"/>
                <a:gd name="connsiteX2" fmla="*/ 37082 w 74535"/>
                <a:gd name="connsiteY2" fmla="*/ 15874 h 16866"/>
                <a:gd name="connsiteX3" fmla="*/ 20215 w 74535"/>
                <a:gd name="connsiteY3" fmla="*/ 14882 h 16866"/>
                <a:gd name="connsiteX4" fmla="*/ 3349 w 74535"/>
                <a:gd name="connsiteY4" fmla="*/ 16866 h 16866"/>
                <a:gd name="connsiteX5" fmla="*/ 3349 w 74535"/>
                <a:gd name="connsiteY5" fmla="*/ 0 h 16866"/>
                <a:gd name="connsiteX6" fmla="*/ 20215 w 74535"/>
                <a:gd name="connsiteY6" fmla="*/ 1488 h 16866"/>
                <a:gd name="connsiteX7" fmla="*/ 37082 w 74535"/>
                <a:gd name="connsiteY7" fmla="*/ 0 h 16866"/>
                <a:gd name="connsiteX8" fmla="*/ 53948 w 74535"/>
                <a:gd name="connsiteY8" fmla="*/ 496 h 16866"/>
                <a:gd name="connsiteX9" fmla="*/ 70815 w 74535"/>
                <a:gd name="connsiteY9" fmla="*/ 1984 h 16866"/>
                <a:gd name="connsiteX10" fmla="*/ 70815 w 74535"/>
                <a:gd name="connsiteY10" fmla="*/ 15874 h 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535" h="16866">
                  <a:moveTo>
                    <a:pt x="70815" y="15874"/>
                  </a:moveTo>
                  <a:cubicBezTo>
                    <a:pt x="62382" y="15874"/>
                    <a:pt x="62382" y="15378"/>
                    <a:pt x="53948" y="15378"/>
                  </a:cubicBezTo>
                  <a:cubicBezTo>
                    <a:pt x="45515" y="15378"/>
                    <a:pt x="45515" y="15874"/>
                    <a:pt x="37082" y="15874"/>
                  </a:cubicBezTo>
                  <a:cubicBezTo>
                    <a:pt x="28648" y="15874"/>
                    <a:pt x="28648" y="14882"/>
                    <a:pt x="20215" y="14882"/>
                  </a:cubicBezTo>
                  <a:cubicBezTo>
                    <a:pt x="11782" y="14882"/>
                    <a:pt x="11782" y="16866"/>
                    <a:pt x="3349" y="16866"/>
                  </a:cubicBezTo>
                  <a:cubicBezTo>
                    <a:pt x="-1116" y="16866"/>
                    <a:pt x="-1116" y="0"/>
                    <a:pt x="3349" y="0"/>
                  </a:cubicBezTo>
                  <a:cubicBezTo>
                    <a:pt x="11782" y="0"/>
                    <a:pt x="11782" y="1488"/>
                    <a:pt x="20215" y="1488"/>
                  </a:cubicBezTo>
                  <a:cubicBezTo>
                    <a:pt x="28648" y="1488"/>
                    <a:pt x="28648" y="0"/>
                    <a:pt x="37082" y="0"/>
                  </a:cubicBezTo>
                  <a:cubicBezTo>
                    <a:pt x="45515" y="0"/>
                    <a:pt x="45515" y="496"/>
                    <a:pt x="53948" y="496"/>
                  </a:cubicBezTo>
                  <a:cubicBezTo>
                    <a:pt x="62382" y="496"/>
                    <a:pt x="62382" y="1984"/>
                    <a:pt x="70815" y="1984"/>
                  </a:cubicBezTo>
                  <a:cubicBezTo>
                    <a:pt x="75776" y="1984"/>
                    <a:pt x="75776" y="15874"/>
                    <a:pt x="70815" y="1587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A298114E-57FD-AABA-D6B1-6816BCE3BABC}"/>
                </a:ext>
              </a:extLst>
            </p:cNvPr>
            <p:cNvSpPr/>
            <p:nvPr/>
          </p:nvSpPr>
          <p:spPr>
            <a:xfrm>
              <a:off x="3822150" y="4025176"/>
              <a:ext cx="15378" cy="51591"/>
            </a:xfrm>
            <a:custGeom>
              <a:avLst/>
              <a:gdLst>
                <a:gd name="connsiteX0" fmla="*/ 15379 w 15378"/>
                <a:gd name="connsiteY0" fmla="*/ 26292 h 51591"/>
                <a:gd name="connsiteX1" fmla="*/ 13890 w 15378"/>
                <a:gd name="connsiteY1" fmla="*/ 39686 h 51591"/>
                <a:gd name="connsiteX2" fmla="*/ 8433 w 15378"/>
                <a:gd name="connsiteY2" fmla="*/ 51592 h 51591"/>
                <a:gd name="connsiteX3" fmla="*/ 2480 w 15378"/>
                <a:gd name="connsiteY3" fmla="*/ 39686 h 51591"/>
                <a:gd name="connsiteX4" fmla="*/ 0 w 15378"/>
                <a:gd name="connsiteY4" fmla="*/ 25796 h 51591"/>
                <a:gd name="connsiteX5" fmla="*/ 1984 w 15378"/>
                <a:gd name="connsiteY5" fmla="*/ 11906 h 51591"/>
                <a:gd name="connsiteX6" fmla="*/ 8929 w 15378"/>
                <a:gd name="connsiteY6" fmla="*/ 0 h 51591"/>
                <a:gd name="connsiteX7" fmla="*/ 14386 w 15378"/>
                <a:gd name="connsiteY7" fmla="*/ 11906 h 51591"/>
                <a:gd name="connsiteX8" fmla="*/ 15379 w 15378"/>
                <a:gd name="connsiteY8" fmla="*/ 26292 h 5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78" h="51591">
                  <a:moveTo>
                    <a:pt x="15379" y="26292"/>
                  </a:moveTo>
                  <a:cubicBezTo>
                    <a:pt x="15379" y="31253"/>
                    <a:pt x="14882" y="35717"/>
                    <a:pt x="13890" y="39686"/>
                  </a:cubicBezTo>
                  <a:cubicBezTo>
                    <a:pt x="12402" y="46631"/>
                    <a:pt x="11410" y="51592"/>
                    <a:pt x="8433" y="51592"/>
                  </a:cubicBezTo>
                  <a:cubicBezTo>
                    <a:pt x="5457" y="51592"/>
                    <a:pt x="3969" y="46631"/>
                    <a:pt x="2480" y="39686"/>
                  </a:cubicBezTo>
                  <a:cubicBezTo>
                    <a:pt x="1488" y="35717"/>
                    <a:pt x="0" y="31253"/>
                    <a:pt x="0" y="25796"/>
                  </a:cubicBezTo>
                  <a:cubicBezTo>
                    <a:pt x="0" y="20835"/>
                    <a:pt x="992" y="15874"/>
                    <a:pt x="1984" y="11906"/>
                  </a:cubicBezTo>
                  <a:cubicBezTo>
                    <a:pt x="3473" y="4961"/>
                    <a:pt x="5953" y="0"/>
                    <a:pt x="8929" y="0"/>
                  </a:cubicBezTo>
                  <a:cubicBezTo>
                    <a:pt x="11906" y="0"/>
                    <a:pt x="13394" y="4961"/>
                    <a:pt x="14386" y="11906"/>
                  </a:cubicBezTo>
                  <a:cubicBezTo>
                    <a:pt x="15379" y="16866"/>
                    <a:pt x="15379" y="21331"/>
                    <a:pt x="15379" y="2629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06AD356B-9BBA-D6C4-02D7-A80C7D78AC0A}"/>
                </a:ext>
              </a:extLst>
            </p:cNvPr>
            <p:cNvSpPr/>
            <p:nvPr/>
          </p:nvSpPr>
          <p:spPr>
            <a:xfrm>
              <a:off x="3646042" y="3806405"/>
              <a:ext cx="1488" cy="79372"/>
            </a:xfrm>
            <a:custGeom>
              <a:avLst/>
              <a:gdLst>
                <a:gd name="connsiteX0" fmla="*/ 496 w 1488"/>
                <a:gd name="connsiteY0" fmla="*/ 79372 h 79372"/>
                <a:gd name="connsiteX1" fmla="*/ 1488 w 1488"/>
                <a:gd name="connsiteY1" fmla="*/ 63498 h 79372"/>
                <a:gd name="connsiteX2" fmla="*/ 0 w 1488"/>
                <a:gd name="connsiteY2" fmla="*/ 47624 h 79372"/>
                <a:gd name="connsiteX3" fmla="*/ 992 w 1488"/>
                <a:gd name="connsiteY3" fmla="*/ 31749 h 79372"/>
                <a:gd name="connsiteX4" fmla="*/ 992 w 1488"/>
                <a:gd name="connsiteY4" fmla="*/ 15875 h 79372"/>
                <a:gd name="connsiteX5" fmla="*/ 1488 w 1488"/>
                <a:gd name="connsiteY5" fmla="*/ 0 h 79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8" h="79372">
                  <a:moveTo>
                    <a:pt x="496" y="79372"/>
                  </a:moveTo>
                  <a:cubicBezTo>
                    <a:pt x="496" y="71435"/>
                    <a:pt x="1488" y="71435"/>
                    <a:pt x="1488" y="63498"/>
                  </a:cubicBezTo>
                  <a:cubicBezTo>
                    <a:pt x="1488" y="55561"/>
                    <a:pt x="0" y="55561"/>
                    <a:pt x="0" y="47624"/>
                  </a:cubicBezTo>
                  <a:cubicBezTo>
                    <a:pt x="0" y="39686"/>
                    <a:pt x="992" y="39686"/>
                    <a:pt x="992" y="31749"/>
                  </a:cubicBezTo>
                  <a:cubicBezTo>
                    <a:pt x="992" y="23812"/>
                    <a:pt x="992" y="23812"/>
                    <a:pt x="992" y="15875"/>
                  </a:cubicBezTo>
                  <a:cubicBezTo>
                    <a:pt x="992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FE6C412F-106B-6C00-8A35-4C93D082FC1F}"/>
                </a:ext>
              </a:extLst>
            </p:cNvPr>
            <p:cNvSpPr/>
            <p:nvPr/>
          </p:nvSpPr>
          <p:spPr>
            <a:xfrm>
              <a:off x="3646042" y="3977056"/>
              <a:ext cx="2976" cy="474746"/>
            </a:xfrm>
            <a:custGeom>
              <a:avLst/>
              <a:gdLst>
                <a:gd name="connsiteX0" fmla="*/ 496 w 2976"/>
                <a:gd name="connsiteY0" fmla="*/ 474747 h 474746"/>
                <a:gd name="connsiteX1" fmla="*/ 0 w 2976"/>
                <a:gd name="connsiteY1" fmla="*/ 458376 h 474746"/>
                <a:gd name="connsiteX2" fmla="*/ 1984 w 2976"/>
                <a:gd name="connsiteY2" fmla="*/ 442005 h 474746"/>
                <a:gd name="connsiteX3" fmla="*/ 0 w 2976"/>
                <a:gd name="connsiteY3" fmla="*/ 425635 h 474746"/>
                <a:gd name="connsiteX4" fmla="*/ 992 w 2976"/>
                <a:gd name="connsiteY4" fmla="*/ 409264 h 474746"/>
                <a:gd name="connsiteX5" fmla="*/ 992 w 2976"/>
                <a:gd name="connsiteY5" fmla="*/ 392894 h 474746"/>
                <a:gd name="connsiteX6" fmla="*/ 0 w 2976"/>
                <a:gd name="connsiteY6" fmla="*/ 376523 h 474746"/>
                <a:gd name="connsiteX7" fmla="*/ 496 w 2976"/>
                <a:gd name="connsiteY7" fmla="*/ 360152 h 474746"/>
                <a:gd name="connsiteX8" fmla="*/ 992 w 2976"/>
                <a:gd name="connsiteY8" fmla="*/ 343782 h 474746"/>
                <a:gd name="connsiteX9" fmla="*/ 992 w 2976"/>
                <a:gd name="connsiteY9" fmla="*/ 327411 h 474746"/>
                <a:gd name="connsiteX10" fmla="*/ 1488 w 2976"/>
                <a:gd name="connsiteY10" fmla="*/ 311041 h 474746"/>
                <a:gd name="connsiteX11" fmla="*/ 992 w 2976"/>
                <a:gd name="connsiteY11" fmla="*/ 294670 h 474746"/>
                <a:gd name="connsiteX12" fmla="*/ 0 w 2976"/>
                <a:gd name="connsiteY12" fmla="*/ 278300 h 474746"/>
                <a:gd name="connsiteX13" fmla="*/ 1488 w 2976"/>
                <a:gd name="connsiteY13" fmla="*/ 261929 h 474746"/>
                <a:gd name="connsiteX14" fmla="*/ 1488 w 2976"/>
                <a:gd name="connsiteY14" fmla="*/ 245559 h 474746"/>
                <a:gd name="connsiteX15" fmla="*/ 0 w 2976"/>
                <a:gd name="connsiteY15" fmla="*/ 229188 h 474746"/>
                <a:gd name="connsiteX16" fmla="*/ 1984 w 2976"/>
                <a:gd name="connsiteY16" fmla="*/ 212817 h 474746"/>
                <a:gd name="connsiteX17" fmla="*/ 0 w 2976"/>
                <a:gd name="connsiteY17" fmla="*/ 196447 h 474746"/>
                <a:gd name="connsiteX18" fmla="*/ 1984 w 2976"/>
                <a:gd name="connsiteY18" fmla="*/ 180076 h 474746"/>
                <a:gd name="connsiteX19" fmla="*/ 496 w 2976"/>
                <a:gd name="connsiteY19" fmla="*/ 163706 h 474746"/>
                <a:gd name="connsiteX20" fmla="*/ 992 w 2976"/>
                <a:gd name="connsiteY20" fmla="*/ 147335 h 474746"/>
                <a:gd name="connsiteX21" fmla="*/ 992 w 2976"/>
                <a:gd name="connsiteY21" fmla="*/ 130964 h 474746"/>
                <a:gd name="connsiteX22" fmla="*/ 1488 w 2976"/>
                <a:gd name="connsiteY22" fmla="*/ 114594 h 474746"/>
                <a:gd name="connsiteX23" fmla="*/ 496 w 2976"/>
                <a:gd name="connsiteY23" fmla="*/ 98223 h 474746"/>
                <a:gd name="connsiteX24" fmla="*/ 2480 w 2976"/>
                <a:gd name="connsiteY24" fmla="*/ 81853 h 474746"/>
                <a:gd name="connsiteX25" fmla="*/ 496 w 2976"/>
                <a:gd name="connsiteY25" fmla="*/ 65482 h 474746"/>
                <a:gd name="connsiteX26" fmla="*/ 2480 w 2976"/>
                <a:gd name="connsiteY26" fmla="*/ 49112 h 474746"/>
                <a:gd name="connsiteX27" fmla="*/ 2480 w 2976"/>
                <a:gd name="connsiteY27" fmla="*/ 32741 h 474746"/>
                <a:gd name="connsiteX28" fmla="*/ 2977 w 2976"/>
                <a:gd name="connsiteY28" fmla="*/ 16371 h 474746"/>
                <a:gd name="connsiteX29" fmla="*/ 2977 w 2976"/>
                <a:gd name="connsiteY29" fmla="*/ 0 h 47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976" h="474746">
                  <a:moveTo>
                    <a:pt x="496" y="474747"/>
                  </a:moveTo>
                  <a:cubicBezTo>
                    <a:pt x="496" y="466313"/>
                    <a:pt x="0" y="466313"/>
                    <a:pt x="0" y="458376"/>
                  </a:cubicBezTo>
                  <a:cubicBezTo>
                    <a:pt x="0" y="449943"/>
                    <a:pt x="1984" y="449943"/>
                    <a:pt x="1984" y="442005"/>
                  </a:cubicBezTo>
                  <a:cubicBezTo>
                    <a:pt x="1984" y="433572"/>
                    <a:pt x="0" y="433572"/>
                    <a:pt x="0" y="425635"/>
                  </a:cubicBezTo>
                  <a:cubicBezTo>
                    <a:pt x="0" y="417201"/>
                    <a:pt x="992" y="417201"/>
                    <a:pt x="992" y="409264"/>
                  </a:cubicBezTo>
                  <a:cubicBezTo>
                    <a:pt x="992" y="400831"/>
                    <a:pt x="992" y="400831"/>
                    <a:pt x="992" y="392894"/>
                  </a:cubicBezTo>
                  <a:cubicBezTo>
                    <a:pt x="992" y="384460"/>
                    <a:pt x="0" y="384460"/>
                    <a:pt x="0" y="376523"/>
                  </a:cubicBezTo>
                  <a:cubicBezTo>
                    <a:pt x="0" y="368090"/>
                    <a:pt x="496" y="368090"/>
                    <a:pt x="496" y="360152"/>
                  </a:cubicBezTo>
                  <a:cubicBezTo>
                    <a:pt x="496" y="351719"/>
                    <a:pt x="992" y="351719"/>
                    <a:pt x="992" y="343782"/>
                  </a:cubicBezTo>
                  <a:cubicBezTo>
                    <a:pt x="992" y="335349"/>
                    <a:pt x="992" y="335349"/>
                    <a:pt x="992" y="327411"/>
                  </a:cubicBezTo>
                  <a:cubicBezTo>
                    <a:pt x="992" y="318978"/>
                    <a:pt x="1488" y="318978"/>
                    <a:pt x="1488" y="311041"/>
                  </a:cubicBezTo>
                  <a:cubicBezTo>
                    <a:pt x="1488" y="302608"/>
                    <a:pt x="992" y="302608"/>
                    <a:pt x="992" y="294670"/>
                  </a:cubicBezTo>
                  <a:cubicBezTo>
                    <a:pt x="992" y="286237"/>
                    <a:pt x="0" y="286237"/>
                    <a:pt x="0" y="278300"/>
                  </a:cubicBezTo>
                  <a:cubicBezTo>
                    <a:pt x="0" y="269866"/>
                    <a:pt x="1488" y="269866"/>
                    <a:pt x="1488" y="261929"/>
                  </a:cubicBezTo>
                  <a:cubicBezTo>
                    <a:pt x="1488" y="253496"/>
                    <a:pt x="1488" y="253496"/>
                    <a:pt x="1488" y="245559"/>
                  </a:cubicBezTo>
                  <a:cubicBezTo>
                    <a:pt x="1488" y="237125"/>
                    <a:pt x="0" y="237125"/>
                    <a:pt x="0" y="229188"/>
                  </a:cubicBezTo>
                  <a:cubicBezTo>
                    <a:pt x="0" y="220755"/>
                    <a:pt x="1984" y="220755"/>
                    <a:pt x="1984" y="212817"/>
                  </a:cubicBezTo>
                  <a:cubicBezTo>
                    <a:pt x="1984" y="204384"/>
                    <a:pt x="0" y="204384"/>
                    <a:pt x="0" y="196447"/>
                  </a:cubicBezTo>
                  <a:cubicBezTo>
                    <a:pt x="0" y="188013"/>
                    <a:pt x="1984" y="188013"/>
                    <a:pt x="1984" y="180076"/>
                  </a:cubicBezTo>
                  <a:cubicBezTo>
                    <a:pt x="1984" y="171643"/>
                    <a:pt x="496" y="171643"/>
                    <a:pt x="496" y="163706"/>
                  </a:cubicBezTo>
                  <a:cubicBezTo>
                    <a:pt x="496" y="155272"/>
                    <a:pt x="992" y="155272"/>
                    <a:pt x="992" y="147335"/>
                  </a:cubicBezTo>
                  <a:cubicBezTo>
                    <a:pt x="992" y="138902"/>
                    <a:pt x="992" y="138902"/>
                    <a:pt x="992" y="130964"/>
                  </a:cubicBezTo>
                  <a:cubicBezTo>
                    <a:pt x="992" y="122531"/>
                    <a:pt x="1488" y="122531"/>
                    <a:pt x="1488" y="114594"/>
                  </a:cubicBezTo>
                  <a:cubicBezTo>
                    <a:pt x="1488" y="106160"/>
                    <a:pt x="496" y="106160"/>
                    <a:pt x="496" y="98223"/>
                  </a:cubicBezTo>
                  <a:cubicBezTo>
                    <a:pt x="496" y="89790"/>
                    <a:pt x="2480" y="89790"/>
                    <a:pt x="2480" y="81853"/>
                  </a:cubicBezTo>
                  <a:cubicBezTo>
                    <a:pt x="2480" y="73419"/>
                    <a:pt x="496" y="73419"/>
                    <a:pt x="496" y="65482"/>
                  </a:cubicBezTo>
                  <a:cubicBezTo>
                    <a:pt x="496" y="57049"/>
                    <a:pt x="2480" y="57049"/>
                    <a:pt x="2480" y="49112"/>
                  </a:cubicBezTo>
                  <a:cubicBezTo>
                    <a:pt x="2480" y="40678"/>
                    <a:pt x="2480" y="40678"/>
                    <a:pt x="2480" y="32741"/>
                  </a:cubicBezTo>
                  <a:cubicBezTo>
                    <a:pt x="2480" y="24308"/>
                    <a:pt x="2977" y="24308"/>
                    <a:pt x="2977" y="16371"/>
                  </a:cubicBezTo>
                  <a:cubicBezTo>
                    <a:pt x="2977" y="8433"/>
                    <a:pt x="2977" y="7937"/>
                    <a:pt x="297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1FDF27C2-6FF2-68CA-48C0-0E1697D420D7}"/>
                </a:ext>
              </a:extLst>
            </p:cNvPr>
            <p:cNvSpPr/>
            <p:nvPr/>
          </p:nvSpPr>
          <p:spPr>
            <a:xfrm>
              <a:off x="3733848" y="4185905"/>
              <a:ext cx="2480" cy="278299"/>
            </a:xfrm>
            <a:custGeom>
              <a:avLst/>
              <a:gdLst>
                <a:gd name="connsiteX0" fmla="*/ 992 w 2480"/>
                <a:gd name="connsiteY0" fmla="*/ 278300 h 278299"/>
                <a:gd name="connsiteX1" fmla="*/ 1984 w 2480"/>
                <a:gd name="connsiteY1" fmla="*/ 261929 h 278299"/>
                <a:gd name="connsiteX2" fmla="*/ 2480 w 2480"/>
                <a:gd name="connsiteY2" fmla="*/ 245559 h 278299"/>
                <a:gd name="connsiteX3" fmla="*/ 992 w 2480"/>
                <a:gd name="connsiteY3" fmla="*/ 229188 h 278299"/>
                <a:gd name="connsiteX4" fmla="*/ 2480 w 2480"/>
                <a:gd name="connsiteY4" fmla="*/ 212818 h 278299"/>
                <a:gd name="connsiteX5" fmla="*/ 992 w 2480"/>
                <a:gd name="connsiteY5" fmla="*/ 196447 h 278299"/>
                <a:gd name="connsiteX6" fmla="*/ 2480 w 2480"/>
                <a:gd name="connsiteY6" fmla="*/ 180076 h 278299"/>
                <a:gd name="connsiteX7" fmla="*/ 992 w 2480"/>
                <a:gd name="connsiteY7" fmla="*/ 163706 h 278299"/>
                <a:gd name="connsiteX8" fmla="*/ 1984 w 2480"/>
                <a:gd name="connsiteY8" fmla="*/ 147335 h 278299"/>
                <a:gd name="connsiteX9" fmla="*/ 0 w 2480"/>
                <a:gd name="connsiteY9" fmla="*/ 130965 h 278299"/>
                <a:gd name="connsiteX10" fmla="*/ 496 w 2480"/>
                <a:gd name="connsiteY10" fmla="*/ 114594 h 278299"/>
                <a:gd name="connsiteX11" fmla="*/ 496 w 2480"/>
                <a:gd name="connsiteY11" fmla="*/ 98223 h 278299"/>
                <a:gd name="connsiteX12" fmla="*/ 992 w 2480"/>
                <a:gd name="connsiteY12" fmla="*/ 81853 h 278299"/>
                <a:gd name="connsiteX13" fmla="*/ 2480 w 2480"/>
                <a:gd name="connsiteY13" fmla="*/ 65482 h 278299"/>
                <a:gd name="connsiteX14" fmla="*/ 992 w 2480"/>
                <a:gd name="connsiteY14" fmla="*/ 49112 h 278299"/>
                <a:gd name="connsiteX15" fmla="*/ 1984 w 2480"/>
                <a:gd name="connsiteY15" fmla="*/ 32741 h 278299"/>
                <a:gd name="connsiteX16" fmla="*/ 496 w 2480"/>
                <a:gd name="connsiteY16" fmla="*/ 16371 h 278299"/>
                <a:gd name="connsiteX17" fmla="*/ 992 w 2480"/>
                <a:gd name="connsiteY17" fmla="*/ 0 h 278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0" h="278299">
                  <a:moveTo>
                    <a:pt x="992" y="278300"/>
                  </a:moveTo>
                  <a:cubicBezTo>
                    <a:pt x="992" y="269867"/>
                    <a:pt x="1984" y="269867"/>
                    <a:pt x="1984" y="261929"/>
                  </a:cubicBezTo>
                  <a:cubicBezTo>
                    <a:pt x="1984" y="253496"/>
                    <a:pt x="2480" y="253496"/>
                    <a:pt x="2480" y="245559"/>
                  </a:cubicBezTo>
                  <a:cubicBezTo>
                    <a:pt x="2480" y="237125"/>
                    <a:pt x="992" y="237125"/>
                    <a:pt x="992" y="229188"/>
                  </a:cubicBezTo>
                  <a:cubicBezTo>
                    <a:pt x="992" y="220755"/>
                    <a:pt x="2480" y="220755"/>
                    <a:pt x="2480" y="212818"/>
                  </a:cubicBezTo>
                  <a:cubicBezTo>
                    <a:pt x="2480" y="204384"/>
                    <a:pt x="992" y="204384"/>
                    <a:pt x="992" y="196447"/>
                  </a:cubicBezTo>
                  <a:cubicBezTo>
                    <a:pt x="992" y="188014"/>
                    <a:pt x="2480" y="188014"/>
                    <a:pt x="2480" y="180076"/>
                  </a:cubicBezTo>
                  <a:cubicBezTo>
                    <a:pt x="2480" y="171643"/>
                    <a:pt x="992" y="171643"/>
                    <a:pt x="992" y="163706"/>
                  </a:cubicBezTo>
                  <a:cubicBezTo>
                    <a:pt x="992" y="155272"/>
                    <a:pt x="1984" y="155272"/>
                    <a:pt x="1984" y="147335"/>
                  </a:cubicBezTo>
                  <a:cubicBezTo>
                    <a:pt x="1984" y="138902"/>
                    <a:pt x="0" y="138902"/>
                    <a:pt x="0" y="130965"/>
                  </a:cubicBezTo>
                  <a:cubicBezTo>
                    <a:pt x="0" y="122531"/>
                    <a:pt x="496" y="122531"/>
                    <a:pt x="496" y="114594"/>
                  </a:cubicBezTo>
                  <a:cubicBezTo>
                    <a:pt x="496" y="106657"/>
                    <a:pt x="496" y="106161"/>
                    <a:pt x="496" y="98223"/>
                  </a:cubicBezTo>
                  <a:cubicBezTo>
                    <a:pt x="496" y="89790"/>
                    <a:pt x="992" y="89790"/>
                    <a:pt x="992" y="81853"/>
                  </a:cubicBezTo>
                  <a:cubicBezTo>
                    <a:pt x="992" y="73419"/>
                    <a:pt x="2480" y="73419"/>
                    <a:pt x="2480" y="65482"/>
                  </a:cubicBezTo>
                  <a:cubicBezTo>
                    <a:pt x="2480" y="57049"/>
                    <a:pt x="992" y="57049"/>
                    <a:pt x="992" y="49112"/>
                  </a:cubicBezTo>
                  <a:cubicBezTo>
                    <a:pt x="992" y="40678"/>
                    <a:pt x="1984" y="40678"/>
                    <a:pt x="1984" y="32741"/>
                  </a:cubicBezTo>
                  <a:cubicBezTo>
                    <a:pt x="1984" y="24308"/>
                    <a:pt x="496" y="24308"/>
                    <a:pt x="496" y="16371"/>
                  </a:cubicBezTo>
                  <a:cubicBezTo>
                    <a:pt x="496" y="7937"/>
                    <a:pt x="992" y="7937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F5677513-0E04-D810-6372-0B66999DDC2F}"/>
                </a:ext>
              </a:extLst>
            </p:cNvPr>
            <p:cNvSpPr/>
            <p:nvPr/>
          </p:nvSpPr>
          <p:spPr>
            <a:xfrm>
              <a:off x="3729880" y="3638731"/>
              <a:ext cx="2480" cy="190494"/>
            </a:xfrm>
            <a:custGeom>
              <a:avLst/>
              <a:gdLst>
                <a:gd name="connsiteX0" fmla="*/ 1488 w 2480"/>
                <a:gd name="connsiteY0" fmla="*/ 190494 h 190494"/>
                <a:gd name="connsiteX1" fmla="*/ 496 w 2480"/>
                <a:gd name="connsiteY1" fmla="*/ 174619 h 190494"/>
                <a:gd name="connsiteX2" fmla="*/ 1488 w 2480"/>
                <a:gd name="connsiteY2" fmla="*/ 158745 h 190494"/>
                <a:gd name="connsiteX3" fmla="*/ 1488 w 2480"/>
                <a:gd name="connsiteY3" fmla="*/ 142870 h 190494"/>
                <a:gd name="connsiteX4" fmla="*/ 496 w 2480"/>
                <a:gd name="connsiteY4" fmla="*/ 126996 h 190494"/>
                <a:gd name="connsiteX5" fmla="*/ 992 w 2480"/>
                <a:gd name="connsiteY5" fmla="*/ 111122 h 190494"/>
                <a:gd name="connsiteX6" fmla="*/ 992 w 2480"/>
                <a:gd name="connsiteY6" fmla="*/ 95247 h 190494"/>
                <a:gd name="connsiteX7" fmla="*/ 992 w 2480"/>
                <a:gd name="connsiteY7" fmla="*/ 79372 h 190494"/>
                <a:gd name="connsiteX8" fmla="*/ 2480 w 2480"/>
                <a:gd name="connsiteY8" fmla="*/ 63498 h 190494"/>
                <a:gd name="connsiteX9" fmla="*/ 0 w 2480"/>
                <a:gd name="connsiteY9" fmla="*/ 47623 h 190494"/>
                <a:gd name="connsiteX10" fmla="*/ 1984 w 2480"/>
                <a:gd name="connsiteY10" fmla="*/ 31749 h 190494"/>
                <a:gd name="connsiteX11" fmla="*/ 992 w 2480"/>
                <a:gd name="connsiteY11" fmla="*/ 15875 h 190494"/>
                <a:gd name="connsiteX12" fmla="*/ 2480 w 2480"/>
                <a:gd name="connsiteY12" fmla="*/ 0 h 19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0" h="190494">
                  <a:moveTo>
                    <a:pt x="1488" y="190494"/>
                  </a:moveTo>
                  <a:cubicBezTo>
                    <a:pt x="1488" y="182557"/>
                    <a:pt x="496" y="182557"/>
                    <a:pt x="496" y="174619"/>
                  </a:cubicBezTo>
                  <a:cubicBezTo>
                    <a:pt x="496" y="166682"/>
                    <a:pt x="1488" y="166682"/>
                    <a:pt x="1488" y="158745"/>
                  </a:cubicBezTo>
                  <a:cubicBezTo>
                    <a:pt x="1488" y="150808"/>
                    <a:pt x="1488" y="150808"/>
                    <a:pt x="1488" y="142870"/>
                  </a:cubicBezTo>
                  <a:cubicBezTo>
                    <a:pt x="1488" y="134933"/>
                    <a:pt x="496" y="134933"/>
                    <a:pt x="496" y="126996"/>
                  </a:cubicBezTo>
                  <a:cubicBezTo>
                    <a:pt x="496" y="119059"/>
                    <a:pt x="992" y="119059"/>
                    <a:pt x="992" y="111122"/>
                  </a:cubicBezTo>
                  <a:cubicBezTo>
                    <a:pt x="992" y="103184"/>
                    <a:pt x="992" y="103184"/>
                    <a:pt x="992" y="95247"/>
                  </a:cubicBezTo>
                  <a:cubicBezTo>
                    <a:pt x="992" y="87310"/>
                    <a:pt x="992" y="87310"/>
                    <a:pt x="992" y="79372"/>
                  </a:cubicBezTo>
                  <a:cubicBezTo>
                    <a:pt x="992" y="71435"/>
                    <a:pt x="2480" y="71435"/>
                    <a:pt x="2480" y="63498"/>
                  </a:cubicBezTo>
                  <a:cubicBezTo>
                    <a:pt x="2480" y="55561"/>
                    <a:pt x="0" y="55561"/>
                    <a:pt x="0" y="47623"/>
                  </a:cubicBezTo>
                  <a:cubicBezTo>
                    <a:pt x="0" y="39686"/>
                    <a:pt x="1984" y="39686"/>
                    <a:pt x="1984" y="31749"/>
                  </a:cubicBezTo>
                  <a:cubicBezTo>
                    <a:pt x="1984" y="23812"/>
                    <a:pt x="992" y="23812"/>
                    <a:pt x="992" y="15875"/>
                  </a:cubicBezTo>
                  <a:cubicBezTo>
                    <a:pt x="992" y="7937"/>
                    <a:pt x="2480" y="7937"/>
                    <a:pt x="248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9A8DC41C-9479-B56A-2813-B76D06D90180}"/>
                </a:ext>
              </a:extLst>
            </p:cNvPr>
            <p:cNvSpPr/>
            <p:nvPr/>
          </p:nvSpPr>
          <p:spPr>
            <a:xfrm>
              <a:off x="3730376" y="3907605"/>
              <a:ext cx="1984" cy="59529"/>
            </a:xfrm>
            <a:custGeom>
              <a:avLst/>
              <a:gdLst>
                <a:gd name="connsiteX0" fmla="*/ 496 w 1984"/>
                <a:gd name="connsiteY0" fmla="*/ 59529 h 59529"/>
                <a:gd name="connsiteX1" fmla="*/ 1984 w 1984"/>
                <a:gd name="connsiteY1" fmla="*/ 44647 h 59529"/>
                <a:gd name="connsiteX2" fmla="*/ 1984 w 1984"/>
                <a:gd name="connsiteY2" fmla="*/ 29765 h 59529"/>
                <a:gd name="connsiteX3" fmla="*/ 0 w 1984"/>
                <a:gd name="connsiteY3" fmla="*/ 14882 h 59529"/>
                <a:gd name="connsiteX4" fmla="*/ 992 w 1984"/>
                <a:gd name="connsiteY4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59529">
                  <a:moveTo>
                    <a:pt x="496" y="59529"/>
                  </a:moveTo>
                  <a:cubicBezTo>
                    <a:pt x="496" y="52088"/>
                    <a:pt x="1984" y="52088"/>
                    <a:pt x="1984" y="44647"/>
                  </a:cubicBezTo>
                  <a:cubicBezTo>
                    <a:pt x="1984" y="37206"/>
                    <a:pt x="1984" y="37206"/>
                    <a:pt x="1984" y="29765"/>
                  </a:cubicBezTo>
                  <a:cubicBezTo>
                    <a:pt x="1984" y="22324"/>
                    <a:pt x="0" y="22324"/>
                    <a:pt x="0" y="14882"/>
                  </a:cubicBezTo>
                  <a:cubicBezTo>
                    <a:pt x="0" y="7441"/>
                    <a:pt x="992" y="7441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BC4F755D-5EFB-1442-FB72-882E915177D5}"/>
                </a:ext>
              </a:extLst>
            </p:cNvPr>
            <p:cNvSpPr/>
            <p:nvPr/>
          </p:nvSpPr>
          <p:spPr>
            <a:xfrm>
              <a:off x="3529464" y="3403590"/>
              <a:ext cx="349238" cy="660279"/>
            </a:xfrm>
            <a:custGeom>
              <a:avLst/>
              <a:gdLst>
                <a:gd name="connsiteX0" fmla="*/ 106657 w 349238"/>
                <a:gd name="connsiteY0" fmla="*/ 660280 h 660279"/>
                <a:gd name="connsiteX1" fmla="*/ 95743 w 349238"/>
                <a:gd name="connsiteY1" fmla="*/ 648870 h 660279"/>
                <a:gd name="connsiteX2" fmla="*/ 84333 w 349238"/>
                <a:gd name="connsiteY2" fmla="*/ 637956 h 660279"/>
                <a:gd name="connsiteX3" fmla="*/ 74412 w 349238"/>
                <a:gd name="connsiteY3" fmla="*/ 625554 h 660279"/>
                <a:gd name="connsiteX4" fmla="*/ 64490 w 349238"/>
                <a:gd name="connsiteY4" fmla="*/ 613153 h 660279"/>
                <a:gd name="connsiteX5" fmla="*/ 57049 w 349238"/>
                <a:gd name="connsiteY5" fmla="*/ 599262 h 660279"/>
                <a:gd name="connsiteX6" fmla="*/ 47127 w 349238"/>
                <a:gd name="connsiteY6" fmla="*/ 586860 h 660279"/>
                <a:gd name="connsiteX7" fmla="*/ 39686 w 349238"/>
                <a:gd name="connsiteY7" fmla="*/ 572474 h 660279"/>
                <a:gd name="connsiteX8" fmla="*/ 33733 w 349238"/>
                <a:gd name="connsiteY8" fmla="*/ 557592 h 660279"/>
                <a:gd name="connsiteX9" fmla="*/ 27284 w 349238"/>
                <a:gd name="connsiteY9" fmla="*/ 543205 h 660279"/>
                <a:gd name="connsiteX10" fmla="*/ 21828 w 349238"/>
                <a:gd name="connsiteY10" fmla="*/ 528323 h 660279"/>
                <a:gd name="connsiteX11" fmla="*/ 16371 w 349238"/>
                <a:gd name="connsiteY11" fmla="*/ 513441 h 660279"/>
                <a:gd name="connsiteX12" fmla="*/ 13890 w 349238"/>
                <a:gd name="connsiteY12" fmla="*/ 497566 h 660279"/>
                <a:gd name="connsiteX13" fmla="*/ 10418 w 349238"/>
                <a:gd name="connsiteY13" fmla="*/ 482188 h 660279"/>
                <a:gd name="connsiteX14" fmla="*/ 5457 w 349238"/>
                <a:gd name="connsiteY14" fmla="*/ 466810 h 660279"/>
                <a:gd name="connsiteX15" fmla="*/ 4961 w 349238"/>
                <a:gd name="connsiteY15" fmla="*/ 450935 h 660279"/>
                <a:gd name="connsiteX16" fmla="*/ 2977 w 349238"/>
                <a:gd name="connsiteY16" fmla="*/ 435060 h 660279"/>
                <a:gd name="connsiteX17" fmla="*/ 1984 w 349238"/>
                <a:gd name="connsiteY17" fmla="*/ 419186 h 660279"/>
                <a:gd name="connsiteX18" fmla="*/ 1488 w 349238"/>
                <a:gd name="connsiteY18" fmla="*/ 403312 h 660279"/>
                <a:gd name="connsiteX19" fmla="*/ 0 w 349238"/>
                <a:gd name="connsiteY19" fmla="*/ 387437 h 660279"/>
                <a:gd name="connsiteX20" fmla="*/ 1488 w 349238"/>
                <a:gd name="connsiteY20" fmla="*/ 371562 h 660279"/>
                <a:gd name="connsiteX21" fmla="*/ 496 w 349238"/>
                <a:gd name="connsiteY21" fmla="*/ 355192 h 660279"/>
                <a:gd name="connsiteX22" fmla="*/ 3969 w 349238"/>
                <a:gd name="connsiteY22" fmla="*/ 339317 h 660279"/>
                <a:gd name="connsiteX23" fmla="*/ 4961 w 349238"/>
                <a:gd name="connsiteY23" fmla="*/ 323443 h 660279"/>
                <a:gd name="connsiteX24" fmla="*/ 7441 w 349238"/>
                <a:gd name="connsiteY24" fmla="*/ 307568 h 660279"/>
                <a:gd name="connsiteX25" fmla="*/ 9922 w 349238"/>
                <a:gd name="connsiteY25" fmla="*/ 291694 h 660279"/>
                <a:gd name="connsiteX26" fmla="*/ 14386 w 349238"/>
                <a:gd name="connsiteY26" fmla="*/ 276315 h 660279"/>
                <a:gd name="connsiteX27" fmla="*/ 18851 w 349238"/>
                <a:gd name="connsiteY27" fmla="*/ 260937 h 660279"/>
                <a:gd name="connsiteX28" fmla="*/ 23316 w 349238"/>
                <a:gd name="connsiteY28" fmla="*/ 245559 h 660279"/>
                <a:gd name="connsiteX29" fmla="*/ 28772 w 349238"/>
                <a:gd name="connsiteY29" fmla="*/ 230676 h 660279"/>
                <a:gd name="connsiteX30" fmla="*/ 32245 w 349238"/>
                <a:gd name="connsiteY30" fmla="*/ 214802 h 660279"/>
                <a:gd name="connsiteX31" fmla="*/ 39190 w 349238"/>
                <a:gd name="connsiteY31" fmla="*/ 200416 h 660279"/>
                <a:gd name="connsiteX32" fmla="*/ 43655 w 349238"/>
                <a:gd name="connsiteY32" fmla="*/ 185037 h 660279"/>
                <a:gd name="connsiteX33" fmla="*/ 51592 w 349238"/>
                <a:gd name="connsiteY33" fmla="*/ 170651 h 660279"/>
                <a:gd name="connsiteX34" fmla="*/ 58041 w 349238"/>
                <a:gd name="connsiteY34" fmla="*/ 155769 h 660279"/>
                <a:gd name="connsiteX35" fmla="*/ 63498 w 349238"/>
                <a:gd name="connsiteY35" fmla="*/ 140390 h 660279"/>
                <a:gd name="connsiteX36" fmla="*/ 70939 w 349238"/>
                <a:gd name="connsiteY36" fmla="*/ 126004 h 660279"/>
                <a:gd name="connsiteX37" fmla="*/ 78877 w 349238"/>
                <a:gd name="connsiteY37" fmla="*/ 112114 h 660279"/>
                <a:gd name="connsiteX38" fmla="*/ 86318 w 349238"/>
                <a:gd name="connsiteY38" fmla="*/ 97727 h 660279"/>
                <a:gd name="connsiteX39" fmla="*/ 95247 w 349238"/>
                <a:gd name="connsiteY39" fmla="*/ 84333 h 660279"/>
                <a:gd name="connsiteX40" fmla="*/ 102688 w 349238"/>
                <a:gd name="connsiteY40" fmla="*/ 70443 h 660279"/>
                <a:gd name="connsiteX41" fmla="*/ 111618 w 349238"/>
                <a:gd name="connsiteY41" fmla="*/ 57049 h 660279"/>
                <a:gd name="connsiteX42" fmla="*/ 120051 w 349238"/>
                <a:gd name="connsiteY42" fmla="*/ 43159 h 660279"/>
                <a:gd name="connsiteX43" fmla="*/ 129477 w 349238"/>
                <a:gd name="connsiteY43" fmla="*/ 30261 h 660279"/>
                <a:gd name="connsiteX44" fmla="*/ 140390 w 349238"/>
                <a:gd name="connsiteY44" fmla="*/ 18851 h 660279"/>
                <a:gd name="connsiteX45" fmla="*/ 150808 w 349238"/>
                <a:gd name="connsiteY45" fmla="*/ 6945 h 660279"/>
                <a:gd name="connsiteX46" fmla="*/ 165194 w 349238"/>
                <a:gd name="connsiteY46" fmla="*/ 0 h 660279"/>
                <a:gd name="connsiteX47" fmla="*/ 179580 w 349238"/>
                <a:gd name="connsiteY47" fmla="*/ 7441 h 660279"/>
                <a:gd name="connsiteX48" fmla="*/ 191982 w 349238"/>
                <a:gd name="connsiteY48" fmla="*/ 18355 h 660279"/>
                <a:gd name="connsiteX49" fmla="*/ 203392 w 349238"/>
                <a:gd name="connsiteY49" fmla="*/ 30261 h 660279"/>
                <a:gd name="connsiteX50" fmla="*/ 214802 w 349238"/>
                <a:gd name="connsiteY50" fmla="*/ 42167 h 660279"/>
                <a:gd name="connsiteX51" fmla="*/ 225220 w 349238"/>
                <a:gd name="connsiteY51" fmla="*/ 55065 h 660279"/>
                <a:gd name="connsiteX52" fmla="*/ 237125 w 349238"/>
                <a:gd name="connsiteY52" fmla="*/ 66971 h 660279"/>
                <a:gd name="connsiteX53" fmla="*/ 245559 w 349238"/>
                <a:gd name="connsiteY53" fmla="*/ 81357 h 660279"/>
                <a:gd name="connsiteX54" fmla="*/ 254984 w 349238"/>
                <a:gd name="connsiteY54" fmla="*/ 94751 h 660279"/>
                <a:gd name="connsiteX55" fmla="*/ 264409 w 349238"/>
                <a:gd name="connsiteY55" fmla="*/ 108641 h 660279"/>
                <a:gd name="connsiteX56" fmla="*/ 274827 w 349238"/>
                <a:gd name="connsiteY56" fmla="*/ 121539 h 660279"/>
                <a:gd name="connsiteX57" fmla="*/ 282764 w 349238"/>
                <a:gd name="connsiteY57" fmla="*/ 135925 h 660279"/>
                <a:gd name="connsiteX58" fmla="*/ 291694 w 349238"/>
                <a:gd name="connsiteY58" fmla="*/ 149816 h 660279"/>
                <a:gd name="connsiteX59" fmla="*/ 299631 w 349238"/>
                <a:gd name="connsiteY59" fmla="*/ 164698 h 660279"/>
                <a:gd name="connsiteX60" fmla="*/ 305584 w 349238"/>
                <a:gd name="connsiteY60" fmla="*/ 180077 h 660279"/>
                <a:gd name="connsiteX61" fmla="*/ 314017 w 349238"/>
                <a:gd name="connsiteY61" fmla="*/ 194463 h 660279"/>
                <a:gd name="connsiteX62" fmla="*/ 318978 w 349238"/>
                <a:gd name="connsiteY62" fmla="*/ 210337 h 660279"/>
                <a:gd name="connsiteX63" fmla="*/ 324435 w 349238"/>
                <a:gd name="connsiteY63" fmla="*/ 226212 h 660279"/>
                <a:gd name="connsiteX64" fmla="*/ 329892 w 349238"/>
                <a:gd name="connsiteY64" fmla="*/ 242086 h 660279"/>
                <a:gd name="connsiteX65" fmla="*/ 335349 w 349238"/>
                <a:gd name="connsiteY65" fmla="*/ 257961 h 660279"/>
                <a:gd name="connsiteX66" fmla="*/ 339317 w 349238"/>
                <a:gd name="connsiteY66" fmla="*/ 273835 h 660279"/>
                <a:gd name="connsiteX67" fmla="*/ 343782 w 349238"/>
                <a:gd name="connsiteY67" fmla="*/ 289710 h 660279"/>
                <a:gd name="connsiteX68" fmla="*/ 345270 w 349238"/>
                <a:gd name="connsiteY68" fmla="*/ 306080 h 660279"/>
                <a:gd name="connsiteX69" fmla="*/ 348247 w 349238"/>
                <a:gd name="connsiteY69" fmla="*/ 322451 h 660279"/>
                <a:gd name="connsiteX70" fmla="*/ 349239 w 349238"/>
                <a:gd name="connsiteY70" fmla="*/ 338821 h 660279"/>
                <a:gd name="connsiteX71" fmla="*/ 348247 w 349238"/>
                <a:gd name="connsiteY71" fmla="*/ 355192 h 660279"/>
                <a:gd name="connsiteX72" fmla="*/ 347255 w 349238"/>
                <a:gd name="connsiteY72" fmla="*/ 371562 h 660279"/>
                <a:gd name="connsiteX73" fmla="*/ 345766 w 349238"/>
                <a:gd name="connsiteY73" fmla="*/ 387933 h 660279"/>
                <a:gd name="connsiteX74" fmla="*/ 343286 w 349238"/>
                <a:gd name="connsiteY74" fmla="*/ 404304 h 660279"/>
                <a:gd name="connsiteX75" fmla="*/ 341798 w 349238"/>
                <a:gd name="connsiteY75" fmla="*/ 420674 h 660279"/>
                <a:gd name="connsiteX76" fmla="*/ 338821 w 349238"/>
                <a:gd name="connsiteY76" fmla="*/ 437045 h 660279"/>
                <a:gd name="connsiteX77" fmla="*/ 333364 w 349238"/>
                <a:gd name="connsiteY77" fmla="*/ 452919 h 660279"/>
                <a:gd name="connsiteX78" fmla="*/ 329396 w 349238"/>
                <a:gd name="connsiteY78" fmla="*/ 468794 h 660279"/>
                <a:gd name="connsiteX79" fmla="*/ 324435 w 349238"/>
                <a:gd name="connsiteY79" fmla="*/ 484668 h 660279"/>
                <a:gd name="connsiteX80" fmla="*/ 315506 w 349238"/>
                <a:gd name="connsiteY80" fmla="*/ 498558 h 660279"/>
                <a:gd name="connsiteX81" fmla="*/ 308065 w 349238"/>
                <a:gd name="connsiteY81" fmla="*/ 513441 h 660279"/>
                <a:gd name="connsiteX82" fmla="*/ 299135 w 349238"/>
                <a:gd name="connsiteY82" fmla="*/ 527331 h 660279"/>
                <a:gd name="connsiteX83" fmla="*/ 286237 w 349238"/>
                <a:gd name="connsiteY83" fmla="*/ 537749 h 66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49238" h="660279">
                  <a:moveTo>
                    <a:pt x="106657" y="660280"/>
                  </a:moveTo>
                  <a:cubicBezTo>
                    <a:pt x="100208" y="655319"/>
                    <a:pt x="102688" y="656311"/>
                    <a:pt x="95743" y="648870"/>
                  </a:cubicBezTo>
                  <a:cubicBezTo>
                    <a:pt x="92767" y="645894"/>
                    <a:pt x="88302" y="642421"/>
                    <a:pt x="84333" y="637956"/>
                  </a:cubicBezTo>
                  <a:cubicBezTo>
                    <a:pt x="81357" y="634484"/>
                    <a:pt x="77884" y="630019"/>
                    <a:pt x="74412" y="625554"/>
                  </a:cubicBezTo>
                  <a:cubicBezTo>
                    <a:pt x="71435" y="621586"/>
                    <a:pt x="67467" y="618113"/>
                    <a:pt x="64490" y="613153"/>
                  </a:cubicBezTo>
                  <a:cubicBezTo>
                    <a:pt x="61514" y="609184"/>
                    <a:pt x="60026" y="603727"/>
                    <a:pt x="57049" y="599262"/>
                  </a:cubicBezTo>
                  <a:cubicBezTo>
                    <a:pt x="54569" y="594798"/>
                    <a:pt x="49608" y="591325"/>
                    <a:pt x="47127" y="586860"/>
                  </a:cubicBezTo>
                  <a:cubicBezTo>
                    <a:pt x="44647" y="582396"/>
                    <a:pt x="42167" y="577435"/>
                    <a:pt x="39686" y="572474"/>
                  </a:cubicBezTo>
                  <a:cubicBezTo>
                    <a:pt x="37206" y="568009"/>
                    <a:pt x="35718" y="562553"/>
                    <a:pt x="33733" y="557592"/>
                  </a:cubicBezTo>
                  <a:cubicBezTo>
                    <a:pt x="31749" y="552631"/>
                    <a:pt x="29269" y="548166"/>
                    <a:pt x="27284" y="543205"/>
                  </a:cubicBezTo>
                  <a:cubicBezTo>
                    <a:pt x="25300" y="538245"/>
                    <a:pt x="23812" y="533284"/>
                    <a:pt x="21828" y="528323"/>
                  </a:cubicBezTo>
                  <a:cubicBezTo>
                    <a:pt x="20339" y="523362"/>
                    <a:pt x="17859" y="518401"/>
                    <a:pt x="16371" y="513441"/>
                  </a:cubicBezTo>
                  <a:cubicBezTo>
                    <a:pt x="14882" y="508480"/>
                    <a:pt x="15379" y="503023"/>
                    <a:pt x="13890" y="497566"/>
                  </a:cubicBezTo>
                  <a:cubicBezTo>
                    <a:pt x="12402" y="492606"/>
                    <a:pt x="11410" y="487645"/>
                    <a:pt x="10418" y="482188"/>
                  </a:cubicBezTo>
                  <a:cubicBezTo>
                    <a:pt x="9426" y="477227"/>
                    <a:pt x="6449" y="472266"/>
                    <a:pt x="5457" y="466810"/>
                  </a:cubicBezTo>
                  <a:cubicBezTo>
                    <a:pt x="4465" y="461849"/>
                    <a:pt x="5457" y="456392"/>
                    <a:pt x="4961" y="450935"/>
                  </a:cubicBezTo>
                  <a:cubicBezTo>
                    <a:pt x="4465" y="445974"/>
                    <a:pt x="3473" y="440517"/>
                    <a:pt x="2977" y="435060"/>
                  </a:cubicBezTo>
                  <a:cubicBezTo>
                    <a:pt x="2480" y="430100"/>
                    <a:pt x="2480" y="424643"/>
                    <a:pt x="1984" y="419186"/>
                  </a:cubicBezTo>
                  <a:cubicBezTo>
                    <a:pt x="1488" y="413729"/>
                    <a:pt x="1488" y="408768"/>
                    <a:pt x="1488" y="403312"/>
                  </a:cubicBezTo>
                  <a:cubicBezTo>
                    <a:pt x="1488" y="397855"/>
                    <a:pt x="0" y="392894"/>
                    <a:pt x="0" y="387437"/>
                  </a:cubicBezTo>
                  <a:cubicBezTo>
                    <a:pt x="0" y="381980"/>
                    <a:pt x="992" y="377019"/>
                    <a:pt x="1488" y="371562"/>
                  </a:cubicBezTo>
                  <a:cubicBezTo>
                    <a:pt x="1488" y="366106"/>
                    <a:pt x="0" y="360649"/>
                    <a:pt x="496" y="355192"/>
                  </a:cubicBezTo>
                  <a:cubicBezTo>
                    <a:pt x="992" y="349735"/>
                    <a:pt x="3473" y="344774"/>
                    <a:pt x="3969" y="339317"/>
                  </a:cubicBezTo>
                  <a:cubicBezTo>
                    <a:pt x="4465" y="333861"/>
                    <a:pt x="3969" y="328404"/>
                    <a:pt x="4961" y="323443"/>
                  </a:cubicBezTo>
                  <a:cubicBezTo>
                    <a:pt x="5953" y="317986"/>
                    <a:pt x="6449" y="313025"/>
                    <a:pt x="7441" y="307568"/>
                  </a:cubicBezTo>
                  <a:cubicBezTo>
                    <a:pt x="8433" y="302112"/>
                    <a:pt x="8929" y="296655"/>
                    <a:pt x="9922" y="291694"/>
                  </a:cubicBezTo>
                  <a:cubicBezTo>
                    <a:pt x="10914" y="286237"/>
                    <a:pt x="12898" y="281276"/>
                    <a:pt x="14386" y="276315"/>
                  </a:cubicBezTo>
                  <a:cubicBezTo>
                    <a:pt x="15379" y="270859"/>
                    <a:pt x="17363" y="265898"/>
                    <a:pt x="18851" y="260937"/>
                  </a:cubicBezTo>
                  <a:cubicBezTo>
                    <a:pt x="20339" y="255976"/>
                    <a:pt x="21828" y="250519"/>
                    <a:pt x="23316" y="245559"/>
                  </a:cubicBezTo>
                  <a:cubicBezTo>
                    <a:pt x="24804" y="240598"/>
                    <a:pt x="27284" y="235637"/>
                    <a:pt x="28772" y="230676"/>
                  </a:cubicBezTo>
                  <a:cubicBezTo>
                    <a:pt x="30261" y="225715"/>
                    <a:pt x="30261" y="219763"/>
                    <a:pt x="32245" y="214802"/>
                  </a:cubicBezTo>
                  <a:cubicBezTo>
                    <a:pt x="34230" y="209841"/>
                    <a:pt x="37206" y="205376"/>
                    <a:pt x="39190" y="200416"/>
                  </a:cubicBezTo>
                  <a:cubicBezTo>
                    <a:pt x="41174" y="195455"/>
                    <a:pt x="41671" y="189998"/>
                    <a:pt x="43655" y="185037"/>
                  </a:cubicBezTo>
                  <a:cubicBezTo>
                    <a:pt x="45639" y="180077"/>
                    <a:pt x="49112" y="175612"/>
                    <a:pt x="51592" y="170651"/>
                  </a:cubicBezTo>
                  <a:cubicBezTo>
                    <a:pt x="53576" y="165690"/>
                    <a:pt x="55561" y="160729"/>
                    <a:pt x="58041" y="155769"/>
                  </a:cubicBezTo>
                  <a:cubicBezTo>
                    <a:pt x="60026" y="150808"/>
                    <a:pt x="61018" y="145351"/>
                    <a:pt x="63498" y="140390"/>
                  </a:cubicBezTo>
                  <a:cubicBezTo>
                    <a:pt x="65978" y="135430"/>
                    <a:pt x="68459" y="130965"/>
                    <a:pt x="70939" y="126004"/>
                  </a:cubicBezTo>
                  <a:cubicBezTo>
                    <a:pt x="73419" y="121043"/>
                    <a:pt x="76396" y="116578"/>
                    <a:pt x="78877" y="112114"/>
                  </a:cubicBezTo>
                  <a:cubicBezTo>
                    <a:pt x="81357" y="107153"/>
                    <a:pt x="83837" y="102688"/>
                    <a:pt x="86318" y="97727"/>
                  </a:cubicBezTo>
                  <a:cubicBezTo>
                    <a:pt x="88798" y="92767"/>
                    <a:pt x="92271" y="88798"/>
                    <a:pt x="95247" y="84333"/>
                  </a:cubicBezTo>
                  <a:cubicBezTo>
                    <a:pt x="98223" y="79372"/>
                    <a:pt x="100208" y="74412"/>
                    <a:pt x="102688" y="70443"/>
                  </a:cubicBezTo>
                  <a:cubicBezTo>
                    <a:pt x="105665" y="65979"/>
                    <a:pt x="108641" y="61514"/>
                    <a:pt x="111618" y="57049"/>
                  </a:cubicBezTo>
                  <a:cubicBezTo>
                    <a:pt x="114594" y="52584"/>
                    <a:pt x="117075" y="47624"/>
                    <a:pt x="120051" y="43159"/>
                  </a:cubicBezTo>
                  <a:cubicBezTo>
                    <a:pt x="123524" y="38694"/>
                    <a:pt x="126500" y="34229"/>
                    <a:pt x="129477" y="30261"/>
                  </a:cubicBezTo>
                  <a:cubicBezTo>
                    <a:pt x="132949" y="25796"/>
                    <a:pt x="137414" y="22324"/>
                    <a:pt x="140390" y="18851"/>
                  </a:cubicBezTo>
                  <a:cubicBezTo>
                    <a:pt x="144359" y="14386"/>
                    <a:pt x="147335" y="9426"/>
                    <a:pt x="150808" y="6945"/>
                  </a:cubicBezTo>
                  <a:cubicBezTo>
                    <a:pt x="156761" y="1984"/>
                    <a:pt x="161722" y="0"/>
                    <a:pt x="165194" y="0"/>
                  </a:cubicBezTo>
                  <a:cubicBezTo>
                    <a:pt x="168667" y="0"/>
                    <a:pt x="173627" y="2480"/>
                    <a:pt x="179580" y="7441"/>
                  </a:cubicBezTo>
                  <a:cubicBezTo>
                    <a:pt x="183549" y="10418"/>
                    <a:pt x="187517" y="13890"/>
                    <a:pt x="191982" y="18355"/>
                  </a:cubicBezTo>
                  <a:cubicBezTo>
                    <a:pt x="195455" y="21828"/>
                    <a:pt x="199423" y="25796"/>
                    <a:pt x="203392" y="30261"/>
                  </a:cubicBezTo>
                  <a:cubicBezTo>
                    <a:pt x="206865" y="34229"/>
                    <a:pt x="211329" y="37702"/>
                    <a:pt x="214802" y="42167"/>
                  </a:cubicBezTo>
                  <a:cubicBezTo>
                    <a:pt x="218274" y="46135"/>
                    <a:pt x="221747" y="50600"/>
                    <a:pt x="225220" y="55065"/>
                  </a:cubicBezTo>
                  <a:cubicBezTo>
                    <a:pt x="228692" y="59033"/>
                    <a:pt x="233157" y="62506"/>
                    <a:pt x="237125" y="66971"/>
                  </a:cubicBezTo>
                  <a:cubicBezTo>
                    <a:pt x="240598" y="71435"/>
                    <a:pt x="242582" y="76892"/>
                    <a:pt x="245559" y="81357"/>
                  </a:cubicBezTo>
                  <a:cubicBezTo>
                    <a:pt x="248535" y="85822"/>
                    <a:pt x="252008" y="90286"/>
                    <a:pt x="254984" y="94751"/>
                  </a:cubicBezTo>
                  <a:cubicBezTo>
                    <a:pt x="257961" y="99216"/>
                    <a:pt x="260937" y="103680"/>
                    <a:pt x="264409" y="108641"/>
                  </a:cubicBezTo>
                  <a:cubicBezTo>
                    <a:pt x="267386" y="113106"/>
                    <a:pt x="271851" y="117075"/>
                    <a:pt x="274827" y="121539"/>
                  </a:cubicBezTo>
                  <a:cubicBezTo>
                    <a:pt x="277804" y="126004"/>
                    <a:pt x="280284" y="130965"/>
                    <a:pt x="282764" y="135925"/>
                  </a:cubicBezTo>
                  <a:cubicBezTo>
                    <a:pt x="285741" y="140886"/>
                    <a:pt x="289213" y="144855"/>
                    <a:pt x="291694" y="149816"/>
                  </a:cubicBezTo>
                  <a:cubicBezTo>
                    <a:pt x="294174" y="154776"/>
                    <a:pt x="296655" y="159737"/>
                    <a:pt x="299631" y="164698"/>
                  </a:cubicBezTo>
                  <a:cubicBezTo>
                    <a:pt x="302112" y="169659"/>
                    <a:pt x="303104" y="175116"/>
                    <a:pt x="305584" y="180077"/>
                  </a:cubicBezTo>
                  <a:cubicBezTo>
                    <a:pt x="308065" y="185037"/>
                    <a:pt x="312033" y="189502"/>
                    <a:pt x="314017" y="194463"/>
                  </a:cubicBezTo>
                  <a:cubicBezTo>
                    <a:pt x="316498" y="199423"/>
                    <a:pt x="316994" y="205376"/>
                    <a:pt x="318978" y="210337"/>
                  </a:cubicBezTo>
                  <a:cubicBezTo>
                    <a:pt x="320962" y="215298"/>
                    <a:pt x="322451" y="220755"/>
                    <a:pt x="324435" y="226212"/>
                  </a:cubicBezTo>
                  <a:cubicBezTo>
                    <a:pt x="326419" y="231172"/>
                    <a:pt x="327908" y="236629"/>
                    <a:pt x="329892" y="242086"/>
                  </a:cubicBezTo>
                  <a:cubicBezTo>
                    <a:pt x="331380" y="247543"/>
                    <a:pt x="333860" y="252504"/>
                    <a:pt x="335349" y="257961"/>
                  </a:cubicBezTo>
                  <a:cubicBezTo>
                    <a:pt x="336837" y="263418"/>
                    <a:pt x="338325" y="268378"/>
                    <a:pt x="339317" y="273835"/>
                  </a:cubicBezTo>
                  <a:cubicBezTo>
                    <a:pt x="340806" y="279292"/>
                    <a:pt x="342790" y="284253"/>
                    <a:pt x="343782" y="289710"/>
                  </a:cubicBezTo>
                  <a:cubicBezTo>
                    <a:pt x="344774" y="295166"/>
                    <a:pt x="344774" y="300623"/>
                    <a:pt x="345270" y="306080"/>
                  </a:cubicBezTo>
                  <a:cubicBezTo>
                    <a:pt x="345766" y="311537"/>
                    <a:pt x="347751" y="316994"/>
                    <a:pt x="348247" y="322451"/>
                  </a:cubicBezTo>
                  <a:cubicBezTo>
                    <a:pt x="348743" y="327908"/>
                    <a:pt x="349239" y="333364"/>
                    <a:pt x="349239" y="338821"/>
                  </a:cubicBezTo>
                  <a:cubicBezTo>
                    <a:pt x="349239" y="344278"/>
                    <a:pt x="348743" y="350231"/>
                    <a:pt x="348247" y="355192"/>
                  </a:cubicBezTo>
                  <a:cubicBezTo>
                    <a:pt x="348247" y="360649"/>
                    <a:pt x="347255" y="366602"/>
                    <a:pt x="347255" y="371562"/>
                  </a:cubicBezTo>
                  <a:cubicBezTo>
                    <a:pt x="346759" y="377019"/>
                    <a:pt x="346262" y="382476"/>
                    <a:pt x="345766" y="387933"/>
                  </a:cubicBezTo>
                  <a:cubicBezTo>
                    <a:pt x="345270" y="393390"/>
                    <a:pt x="343782" y="398847"/>
                    <a:pt x="343286" y="404304"/>
                  </a:cubicBezTo>
                  <a:cubicBezTo>
                    <a:pt x="342790" y="409761"/>
                    <a:pt x="342790" y="415714"/>
                    <a:pt x="341798" y="420674"/>
                  </a:cubicBezTo>
                  <a:cubicBezTo>
                    <a:pt x="340806" y="426131"/>
                    <a:pt x="340310" y="431588"/>
                    <a:pt x="338821" y="437045"/>
                  </a:cubicBezTo>
                  <a:cubicBezTo>
                    <a:pt x="337333" y="442502"/>
                    <a:pt x="334853" y="447462"/>
                    <a:pt x="333364" y="452919"/>
                  </a:cubicBezTo>
                  <a:cubicBezTo>
                    <a:pt x="331876" y="458376"/>
                    <a:pt x="330884" y="463833"/>
                    <a:pt x="329396" y="468794"/>
                  </a:cubicBezTo>
                  <a:cubicBezTo>
                    <a:pt x="327411" y="474251"/>
                    <a:pt x="326419" y="479707"/>
                    <a:pt x="324435" y="484668"/>
                  </a:cubicBezTo>
                  <a:cubicBezTo>
                    <a:pt x="321955" y="490125"/>
                    <a:pt x="317986" y="494094"/>
                    <a:pt x="315506" y="498558"/>
                  </a:cubicBezTo>
                  <a:cubicBezTo>
                    <a:pt x="312529" y="504015"/>
                    <a:pt x="311041" y="508976"/>
                    <a:pt x="308065" y="513441"/>
                  </a:cubicBezTo>
                  <a:cubicBezTo>
                    <a:pt x="304592" y="518898"/>
                    <a:pt x="302112" y="523858"/>
                    <a:pt x="299135" y="527331"/>
                  </a:cubicBezTo>
                  <a:cubicBezTo>
                    <a:pt x="292190" y="535268"/>
                    <a:pt x="293182" y="533284"/>
                    <a:pt x="286237" y="5377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01997C7B-F677-ECDC-191A-D843C64BB227}"/>
                </a:ext>
              </a:extLst>
            </p:cNvPr>
            <p:cNvSpPr/>
            <p:nvPr/>
          </p:nvSpPr>
          <p:spPr>
            <a:xfrm>
              <a:off x="3730376" y="3699144"/>
              <a:ext cx="73818" cy="196555"/>
            </a:xfrm>
            <a:custGeom>
              <a:avLst/>
              <a:gdLst>
                <a:gd name="connsiteX0" fmla="*/ 1488 w 73818"/>
                <a:gd name="connsiteY0" fmla="*/ 123632 h 196555"/>
                <a:gd name="connsiteX1" fmla="*/ 8433 w 73818"/>
                <a:gd name="connsiteY1" fmla="*/ 109246 h 196555"/>
                <a:gd name="connsiteX2" fmla="*/ 15875 w 73818"/>
                <a:gd name="connsiteY2" fmla="*/ 95355 h 196555"/>
                <a:gd name="connsiteX3" fmla="*/ 23316 w 73818"/>
                <a:gd name="connsiteY3" fmla="*/ 81465 h 196555"/>
                <a:gd name="connsiteX4" fmla="*/ 29765 w 73818"/>
                <a:gd name="connsiteY4" fmla="*/ 67079 h 196555"/>
                <a:gd name="connsiteX5" fmla="*/ 38198 w 73818"/>
                <a:gd name="connsiteY5" fmla="*/ 53189 h 196555"/>
                <a:gd name="connsiteX6" fmla="*/ 46631 w 73818"/>
                <a:gd name="connsiteY6" fmla="*/ 39795 h 196555"/>
                <a:gd name="connsiteX7" fmla="*/ 53576 w 73818"/>
                <a:gd name="connsiteY7" fmla="*/ 25408 h 196555"/>
                <a:gd name="connsiteX8" fmla="*/ 63002 w 73818"/>
                <a:gd name="connsiteY8" fmla="*/ 12510 h 196555"/>
                <a:gd name="connsiteX9" fmla="*/ 73419 w 73818"/>
                <a:gd name="connsiteY9" fmla="*/ 108 h 196555"/>
                <a:gd name="connsiteX10" fmla="*/ 69451 w 73818"/>
                <a:gd name="connsiteY10" fmla="*/ 16479 h 196555"/>
                <a:gd name="connsiteX11" fmla="*/ 65978 w 73818"/>
                <a:gd name="connsiteY11" fmla="*/ 32353 h 196555"/>
                <a:gd name="connsiteX12" fmla="*/ 59529 w 73818"/>
                <a:gd name="connsiteY12" fmla="*/ 47236 h 196555"/>
                <a:gd name="connsiteX13" fmla="*/ 55561 w 73818"/>
                <a:gd name="connsiteY13" fmla="*/ 63110 h 196555"/>
                <a:gd name="connsiteX14" fmla="*/ 48616 w 73818"/>
                <a:gd name="connsiteY14" fmla="*/ 77496 h 196555"/>
                <a:gd name="connsiteX15" fmla="*/ 43655 w 73818"/>
                <a:gd name="connsiteY15" fmla="*/ 92875 h 196555"/>
                <a:gd name="connsiteX16" fmla="*/ 36214 w 73818"/>
                <a:gd name="connsiteY16" fmla="*/ 107261 h 196555"/>
                <a:gd name="connsiteX17" fmla="*/ 31749 w 73818"/>
                <a:gd name="connsiteY17" fmla="*/ 122640 h 196555"/>
                <a:gd name="connsiteX18" fmla="*/ 25796 w 73818"/>
                <a:gd name="connsiteY18" fmla="*/ 137522 h 196555"/>
                <a:gd name="connsiteX19" fmla="*/ 19347 w 73818"/>
                <a:gd name="connsiteY19" fmla="*/ 152404 h 196555"/>
                <a:gd name="connsiteX20" fmla="*/ 13394 w 73818"/>
                <a:gd name="connsiteY20" fmla="*/ 167287 h 196555"/>
                <a:gd name="connsiteX21" fmla="*/ 5953 w 73818"/>
                <a:gd name="connsiteY21" fmla="*/ 181673 h 196555"/>
                <a:gd name="connsiteX22" fmla="*/ 0 w 73818"/>
                <a:gd name="connsiteY22" fmla="*/ 196555 h 1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818" h="196555">
                  <a:moveTo>
                    <a:pt x="1488" y="123632"/>
                  </a:moveTo>
                  <a:cubicBezTo>
                    <a:pt x="4961" y="116687"/>
                    <a:pt x="3969" y="117679"/>
                    <a:pt x="8433" y="109246"/>
                  </a:cubicBezTo>
                  <a:cubicBezTo>
                    <a:pt x="10418" y="105277"/>
                    <a:pt x="13394" y="100316"/>
                    <a:pt x="15875" y="95355"/>
                  </a:cubicBezTo>
                  <a:cubicBezTo>
                    <a:pt x="18355" y="90891"/>
                    <a:pt x="20835" y="85930"/>
                    <a:pt x="23316" y="81465"/>
                  </a:cubicBezTo>
                  <a:cubicBezTo>
                    <a:pt x="25796" y="77000"/>
                    <a:pt x="27284" y="71543"/>
                    <a:pt x="29765" y="67079"/>
                  </a:cubicBezTo>
                  <a:cubicBezTo>
                    <a:pt x="32245" y="62614"/>
                    <a:pt x="35222" y="58150"/>
                    <a:pt x="38198" y="53189"/>
                  </a:cubicBezTo>
                  <a:cubicBezTo>
                    <a:pt x="40678" y="48228"/>
                    <a:pt x="44151" y="44259"/>
                    <a:pt x="46631" y="39795"/>
                  </a:cubicBezTo>
                  <a:cubicBezTo>
                    <a:pt x="49608" y="34834"/>
                    <a:pt x="51096" y="29873"/>
                    <a:pt x="53576" y="25408"/>
                  </a:cubicBezTo>
                  <a:cubicBezTo>
                    <a:pt x="56553" y="20447"/>
                    <a:pt x="60522" y="16479"/>
                    <a:pt x="63002" y="12510"/>
                  </a:cubicBezTo>
                  <a:cubicBezTo>
                    <a:pt x="67963" y="5069"/>
                    <a:pt x="71931" y="-884"/>
                    <a:pt x="73419" y="108"/>
                  </a:cubicBezTo>
                  <a:cubicBezTo>
                    <a:pt x="74908" y="1101"/>
                    <a:pt x="71931" y="7053"/>
                    <a:pt x="69451" y="16479"/>
                  </a:cubicBezTo>
                  <a:cubicBezTo>
                    <a:pt x="67963" y="20944"/>
                    <a:pt x="67963" y="26400"/>
                    <a:pt x="65978" y="32353"/>
                  </a:cubicBezTo>
                  <a:cubicBezTo>
                    <a:pt x="64490" y="36818"/>
                    <a:pt x="61514" y="41779"/>
                    <a:pt x="59529" y="47236"/>
                  </a:cubicBezTo>
                  <a:cubicBezTo>
                    <a:pt x="57545" y="52197"/>
                    <a:pt x="57545" y="57653"/>
                    <a:pt x="55561" y="63110"/>
                  </a:cubicBezTo>
                  <a:cubicBezTo>
                    <a:pt x="53576" y="68071"/>
                    <a:pt x="50600" y="72536"/>
                    <a:pt x="48616" y="77496"/>
                  </a:cubicBezTo>
                  <a:cubicBezTo>
                    <a:pt x="46631" y="82457"/>
                    <a:pt x="45639" y="87914"/>
                    <a:pt x="43655" y="92875"/>
                  </a:cubicBezTo>
                  <a:cubicBezTo>
                    <a:pt x="41671" y="97836"/>
                    <a:pt x="38198" y="102300"/>
                    <a:pt x="36214" y="107261"/>
                  </a:cubicBezTo>
                  <a:cubicBezTo>
                    <a:pt x="34230" y="112222"/>
                    <a:pt x="33733" y="117679"/>
                    <a:pt x="31749" y="122640"/>
                  </a:cubicBezTo>
                  <a:cubicBezTo>
                    <a:pt x="29765" y="127600"/>
                    <a:pt x="27781" y="132561"/>
                    <a:pt x="25796" y="137522"/>
                  </a:cubicBezTo>
                  <a:cubicBezTo>
                    <a:pt x="23812" y="142483"/>
                    <a:pt x="21331" y="147444"/>
                    <a:pt x="19347" y="152404"/>
                  </a:cubicBezTo>
                  <a:cubicBezTo>
                    <a:pt x="17363" y="157861"/>
                    <a:pt x="15379" y="162822"/>
                    <a:pt x="13394" y="167287"/>
                  </a:cubicBezTo>
                  <a:cubicBezTo>
                    <a:pt x="10914" y="172743"/>
                    <a:pt x="7937" y="177208"/>
                    <a:pt x="5953" y="181673"/>
                  </a:cubicBezTo>
                  <a:cubicBezTo>
                    <a:pt x="1984" y="191098"/>
                    <a:pt x="2977" y="189114"/>
                    <a:pt x="0" y="1965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8C89F6-45B7-4AB4-5F16-DAA214B0822D}"/>
                </a:ext>
              </a:extLst>
            </p:cNvPr>
            <p:cNvSpPr/>
            <p:nvPr/>
          </p:nvSpPr>
          <p:spPr>
            <a:xfrm>
              <a:off x="3591271" y="3795950"/>
              <a:ext cx="72134" cy="194996"/>
            </a:xfrm>
            <a:custGeom>
              <a:avLst/>
              <a:gdLst>
                <a:gd name="connsiteX0" fmla="*/ 72134 w 72134"/>
                <a:gd name="connsiteY0" fmla="*/ 124057 h 194996"/>
                <a:gd name="connsiteX1" fmla="*/ 66678 w 72134"/>
                <a:gd name="connsiteY1" fmla="*/ 108678 h 194996"/>
                <a:gd name="connsiteX2" fmla="*/ 58740 w 72134"/>
                <a:gd name="connsiteY2" fmla="*/ 94788 h 194996"/>
                <a:gd name="connsiteX3" fmla="*/ 50803 w 72134"/>
                <a:gd name="connsiteY3" fmla="*/ 80898 h 194996"/>
                <a:gd name="connsiteX4" fmla="*/ 43362 w 72134"/>
                <a:gd name="connsiteY4" fmla="*/ 67008 h 194996"/>
                <a:gd name="connsiteX5" fmla="*/ 35921 w 72134"/>
                <a:gd name="connsiteY5" fmla="*/ 52622 h 194996"/>
                <a:gd name="connsiteX6" fmla="*/ 27984 w 72134"/>
                <a:gd name="connsiteY6" fmla="*/ 38732 h 194996"/>
                <a:gd name="connsiteX7" fmla="*/ 19550 w 72134"/>
                <a:gd name="connsiteY7" fmla="*/ 25337 h 194996"/>
                <a:gd name="connsiteX8" fmla="*/ 11117 w 72134"/>
                <a:gd name="connsiteY8" fmla="*/ 11447 h 194996"/>
                <a:gd name="connsiteX9" fmla="*/ 699 w 72134"/>
                <a:gd name="connsiteY9" fmla="*/ 37 h 194996"/>
                <a:gd name="connsiteX10" fmla="*/ 2684 w 72134"/>
                <a:gd name="connsiteY10" fmla="*/ 15416 h 194996"/>
                <a:gd name="connsiteX11" fmla="*/ 7644 w 72134"/>
                <a:gd name="connsiteY11" fmla="*/ 30794 h 194996"/>
                <a:gd name="connsiteX12" fmla="*/ 12109 w 72134"/>
                <a:gd name="connsiteY12" fmla="*/ 46173 h 194996"/>
                <a:gd name="connsiteX13" fmla="*/ 19054 w 72134"/>
                <a:gd name="connsiteY13" fmla="*/ 60559 h 194996"/>
                <a:gd name="connsiteX14" fmla="*/ 24511 w 72134"/>
                <a:gd name="connsiteY14" fmla="*/ 75441 h 194996"/>
                <a:gd name="connsiteX15" fmla="*/ 30464 w 72134"/>
                <a:gd name="connsiteY15" fmla="*/ 90324 h 194996"/>
                <a:gd name="connsiteX16" fmla="*/ 35921 w 72134"/>
                <a:gd name="connsiteY16" fmla="*/ 105702 h 194996"/>
                <a:gd name="connsiteX17" fmla="*/ 42866 w 72134"/>
                <a:gd name="connsiteY17" fmla="*/ 120088 h 194996"/>
                <a:gd name="connsiteX18" fmla="*/ 48323 w 72134"/>
                <a:gd name="connsiteY18" fmla="*/ 135467 h 194996"/>
                <a:gd name="connsiteX19" fmla="*/ 53284 w 72134"/>
                <a:gd name="connsiteY19" fmla="*/ 150845 h 194996"/>
                <a:gd name="connsiteX20" fmla="*/ 60229 w 72134"/>
                <a:gd name="connsiteY20" fmla="*/ 165231 h 194996"/>
                <a:gd name="connsiteX21" fmla="*/ 67174 w 72134"/>
                <a:gd name="connsiteY21" fmla="*/ 179618 h 194996"/>
                <a:gd name="connsiteX22" fmla="*/ 72134 w 72134"/>
                <a:gd name="connsiteY22" fmla="*/ 194996 h 19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2134" h="194996">
                  <a:moveTo>
                    <a:pt x="72134" y="124057"/>
                  </a:moveTo>
                  <a:cubicBezTo>
                    <a:pt x="68662" y="117112"/>
                    <a:pt x="71142" y="117608"/>
                    <a:pt x="66678" y="108678"/>
                  </a:cubicBezTo>
                  <a:cubicBezTo>
                    <a:pt x="64693" y="104710"/>
                    <a:pt x="61221" y="100245"/>
                    <a:pt x="58740" y="94788"/>
                  </a:cubicBezTo>
                  <a:cubicBezTo>
                    <a:pt x="56260" y="90324"/>
                    <a:pt x="53284" y="85859"/>
                    <a:pt x="50803" y="80898"/>
                  </a:cubicBezTo>
                  <a:cubicBezTo>
                    <a:pt x="48323" y="76433"/>
                    <a:pt x="45842" y="71473"/>
                    <a:pt x="43362" y="67008"/>
                  </a:cubicBezTo>
                  <a:cubicBezTo>
                    <a:pt x="40882" y="62543"/>
                    <a:pt x="38897" y="57582"/>
                    <a:pt x="35921" y="52622"/>
                  </a:cubicBezTo>
                  <a:cubicBezTo>
                    <a:pt x="33440" y="47661"/>
                    <a:pt x="30464" y="43196"/>
                    <a:pt x="27984" y="38732"/>
                  </a:cubicBezTo>
                  <a:cubicBezTo>
                    <a:pt x="25007" y="33771"/>
                    <a:pt x="22031" y="29306"/>
                    <a:pt x="19550" y="25337"/>
                  </a:cubicBezTo>
                  <a:cubicBezTo>
                    <a:pt x="16574" y="20377"/>
                    <a:pt x="14093" y="15416"/>
                    <a:pt x="11117" y="11447"/>
                  </a:cubicBezTo>
                  <a:cubicBezTo>
                    <a:pt x="6156" y="4006"/>
                    <a:pt x="2188" y="-459"/>
                    <a:pt x="699" y="37"/>
                  </a:cubicBezTo>
                  <a:cubicBezTo>
                    <a:pt x="-789" y="1030"/>
                    <a:pt x="203" y="6486"/>
                    <a:pt x="2684" y="15416"/>
                  </a:cubicBezTo>
                  <a:cubicBezTo>
                    <a:pt x="4172" y="19881"/>
                    <a:pt x="5660" y="24841"/>
                    <a:pt x="7644" y="30794"/>
                  </a:cubicBezTo>
                  <a:cubicBezTo>
                    <a:pt x="9132" y="35259"/>
                    <a:pt x="10125" y="40716"/>
                    <a:pt x="12109" y="46173"/>
                  </a:cubicBezTo>
                  <a:cubicBezTo>
                    <a:pt x="14093" y="51133"/>
                    <a:pt x="17070" y="55598"/>
                    <a:pt x="19054" y="60559"/>
                  </a:cubicBezTo>
                  <a:cubicBezTo>
                    <a:pt x="21038" y="65520"/>
                    <a:pt x="22527" y="70481"/>
                    <a:pt x="24511" y="75441"/>
                  </a:cubicBezTo>
                  <a:cubicBezTo>
                    <a:pt x="26495" y="80402"/>
                    <a:pt x="28480" y="85363"/>
                    <a:pt x="30464" y="90324"/>
                  </a:cubicBezTo>
                  <a:cubicBezTo>
                    <a:pt x="32448" y="95285"/>
                    <a:pt x="33936" y="100245"/>
                    <a:pt x="35921" y="105702"/>
                  </a:cubicBezTo>
                  <a:cubicBezTo>
                    <a:pt x="37905" y="110663"/>
                    <a:pt x="40882" y="115128"/>
                    <a:pt x="42866" y="120088"/>
                  </a:cubicBezTo>
                  <a:cubicBezTo>
                    <a:pt x="44850" y="125049"/>
                    <a:pt x="46338" y="130506"/>
                    <a:pt x="48323" y="135467"/>
                  </a:cubicBezTo>
                  <a:cubicBezTo>
                    <a:pt x="50307" y="140427"/>
                    <a:pt x="51299" y="145884"/>
                    <a:pt x="53284" y="150845"/>
                  </a:cubicBezTo>
                  <a:cubicBezTo>
                    <a:pt x="55268" y="156302"/>
                    <a:pt x="58244" y="160767"/>
                    <a:pt x="60229" y="165231"/>
                  </a:cubicBezTo>
                  <a:cubicBezTo>
                    <a:pt x="62709" y="170688"/>
                    <a:pt x="65190" y="175649"/>
                    <a:pt x="67174" y="179618"/>
                  </a:cubicBezTo>
                  <a:cubicBezTo>
                    <a:pt x="71142" y="189043"/>
                    <a:pt x="68662" y="187555"/>
                    <a:pt x="72134" y="1949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102E042E-B205-48B5-C14C-8E9C5B5CC72C}"/>
                </a:ext>
              </a:extLst>
            </p:cNvPr>
            <p:cNvSpPr/>
            <p:nvPr/>
          </p:nvSpPr>
          <p:spPr>
            <a:xfrm>
              <a:off x="4028298" y="4217158"/>
              <a:ext cx="153012" cy="189137"/>
            </a:xfrm>
            <a:custGeom>
              <a:avLst/>
              <a:gdLst>
                <a:gd name="connsiteX0" fmla="*/ 40899 w 153012"/>
                <a:gd name="connsiteY0" fmla="*/ 0 h 189137"/>
                <a:gd name="connsiteX1" fmla="*/ 30977 w 153012"/>
                <a:gd name="connsiteY1" fmla="*/ 10914 h 189137"/>
                <a:gd name="connsiteX2" fmla="*/ 24528 w 153012"/>
                <a:gd name="connsiteY2" fmla="*/ 23812 h 189137"/>
                <a:gd name="connsiteX3" fmla="*/ 16591 w 153012"/>
                <a:gd name="connsiteY3" fmla="*/ 35718 h 189137"/>
                <a:gd name="connsiteX4" fmla="*/ 10638 w 153012"/>
                <a:gd name="connsiteY4" fmla="*/ 48616 h 189137"/>
                <a:gd name="connsiteX5" fmla="*/ 4685 w 153012"/>
                <a:gd name="connsiteY5" fmla="*/ 63002 h 189137"/>
                <a:gd name="connsiteX6" fmla="*/ 1212 w 153012"/>
                <a:gd name="connsiteY6" fmla="*/ 77884 h 189137"/>
                <a:gd name="connsiteX7" fmla="*/ 221 w 153012"/>
                <a:gd name="connsiteY7" fmla="*/ 93263 h 189137"/>
                <a:gd name="connsiteX8" fmla="*/ 221 w 153012"/>
                <a:gd name="connsiteY8" fmla="*/ 108641 h 189137"/>
                <a:gd name="connsiteX9" fmla="*/ 1212 w 153012"/>
                <a:gd name="connsiteY9" fmla="*/ 124019 h 189137"/>
                <a:gd name="connsiteX10" fmla="*/ 4685 w 153012"/>
                <a:gd name="connsiteY10" fmla="*/ 138902 h 189137"/>
                <a:gd name="connsiteX11" fmla="*/ 9150 w 153012"/>
                <a:gd name="connsiteY11" fmla="*/ 153784 h 189137"/>
                <a:gd name="connsiteX12" fmla="*/ 19567 w 153012"/>
                <a:gd name="connsiteY12" fmla="*/ 165690 h 189137"/>
                <a:gd name="connsiteX13" fmla="*/ 29985 w 153012"/>
                <a:gd name="connsiteY13" fmla="*/ 177100 h 189137"/>
                <a:gd name="connsiteX14" fmla="*/ 42883 w 153012"/>
                <a:gd name="connsiteY14" fmla="*/ 186029 h 189137"/>
                <a:gd name="connsiteX15" fmla="*/ 59750 w 153012"/>
                <a:gd name="connsiteY15" fmla="*/ 189006 h 189137"/>
                <a:gd name="connsiteX16" fmla="*/ 76616 w 153012"/>
                <a:gd name="connsiteY16" fmla="*/ 187518 h 189137"/>
                <a:gd name="connsiteX17" fmla="*/ 93483 w 153012"/>
                <a:gd name="connsiteY17" fmla="*/ 184541 h 189137"/>
                <a:gd name="connsiteX18" fmla="*/ 108861 w 153012"/>
                <a:gd name="connsiteY18" fmla="*/ 177100 h 189137"/>
                <a:gd name="connsiteX19" fmla="*/ 121760 w 153012"/>
                <a:gd name="connsiteY19" fmla="*/ 166186 h 189137"/>
                <a:gd name="connsiteX20" fmla="*/ 134162 w 153012"/>
                <a:gd name="connsiteY20" fmla="*/ 154280 h 189137"/>
                <a:gd name="connsiteX21" fmla="*/ 144579 w 153012"/>
                <a:gd name="connsiteY21" fmla="*/ 140886 h 189137"/>
                <a:gd name="connsiteX22" fmla="*/ 153013 w 153012"/>
                <a:gd name="connsiteY22" fmla="*/ 126004 h 18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012" h="189137">
                  <a:moveTo>
                    <a:pt x="40899" y="0"/>
                  </a:moveTo>
                  <a:cubicBezTo>
                    <a:pt x="37426" y="3473"/>
                    <a:pt x="34450" y="6945"/>
                    <a:pt x="30977" y="10914"/>
                  </a:cubicBezTo>
                  <a:cubicBezTo>
                    <a:pt x="28001" y="14386"/>
                    <a:pt x="27009" y="19843"/>
                    <a:pt x="24528" y="23812"/>
                  </a:cubicBezTo>
                  <a:cubicBezTo>
                    <a:pt x="22048" y="27781"/>
                    <a:pt x="19071" y="31749"/>
                    <a:pt x="16591" y="35718"/>
                  </a:cubicBezTo>
                  <a:cubicBezTo>
                    <a:pt x="14607" y="39686"/>
                    <a:pt x="12126" y="44151"/>
                    <a:pt x="10638" y="48616"/>
                  </a:cubicBezTo>
                  <a:cubicBezTo>
                    <a:pt x="8654" y="53577"/>
                    <a:pt x="5677" y="58041"/>
                    <a:pt x="4685" y="63002"/>
                  </a:cubicBezTo>
                  <a:cubicBezTo>
                    <a:pt x="3197" y="67963"/>
                    <a:pt x="2205" y="72924"/>
                    <a:pt x="1212" y="77884"/>
                  </a:cubicBezTo>
                  <a:cubicBezTo>
                    <a:pt x="221" y="82845"/>
                    <a:pt x="717" y="88302"/>
                    <a:pt x="221" y="93263"/>
                  </a:cubicBezTo>
                  <a:cubicBezTo>
                    <a:pt x="-276" y="98720"/>
                    <a:pt x="221" y="103680"/>
                    <a:pt x="221" y="108641"/>
                  </a:cubicBezTo>
                  <a:cubicBezTo>
                    <a:pt x="221" y="114098"/>
                    <a:pt x="717" y="119059"/>
                    <a:pt x="1212" y="124019"/>
                  </a:cubicBezTo>
                  <a:cubicBezTo>
                    <a:pt x="2205" y="129477"/>
                    <a:pt x="3197" y="133941"/>
                    <a:pt x="4685" y="138902"/>
                  </a:cubicBezTo>
                  <a:cubicBezTo>
                    <a:pt x="6173" y="143863"/>
                    <a:pt x="6670" y="149320"/>
                    <a:pt x="9150" y="153784"/>
                  </a:cubicBezTo>
                  <a:cubicBezTo>
                    <a:pt x="11630" y="158249"/>
                    <a:pt x="16095" y="161722"/>
                    <a:pt x="19567" y="165690"/>
                  </a:cubicBezTo>
                  <a:cubicBezTo>
                    <a:pt x="23040" y="169659"/>
                    <a:pt x="25520" y="174124"/>
                    <a:pt x="29985" y="177100"/>
                  </a:cubicBezTo>
                  <a:cubicBezTo>
                    <a:pt x="33954" y="180077"/>
                    <a:pt x="37922" y="184045"/>
                    <a:pt x="42883" y="186029"/>
                  </a:cubicBezTo>
                  <a:cubicBezTo>
                    <a:pt x="48340" y="188014"/>
                    <a:pt x="54293" y="188014"/>
                    <a:pt x="59750" y="189006"/>
                  </a:cubicBezTo>
                  <a:cubicBezTo>
                    <a:pt x="65207" y="189502"/>
                    <a:pt x="70663" y="188510"/>
                    <a:pt x="76616" y="187518"/>
                  </a:cubicBezTo>
                  <a:cubicBezTo>
                    <a:pt x="82073" y="186525"/>
                    <a:pt x="88026" y="186525"/>
                    <a:pt x="93483" y="184541"/>
                  </a:cubicBezTo>
                  <a:cubicBezTo>
                    <a:pt x="98444" y="182557"/>
                    <a:pt x="103901" y="180077"/>
                    <a:pt x="108861" y="177100"/>
                  </a:cubicBezTo>
                  <a:cubicBezTo>
                    <a:pt x="113326" y="174124"/>
                    <a:pt x="117295" y="170155"/>
                    <a:pt x="121760" y="166186"/>
                  </a:cubicBezTo>
                  <a:cubicBezTo>
                    <a:pt x="125728" y="162714"/>
                    <a:pt x="130193" y="158745"/>
                    <a:pt x="134162" y="154280"/>
                  </a:cubicBezTo>
                  <a:cubicBezTo>
                    <a:pt x="137634" y="150312"/>
                    <a:pt x="141107" y="145847"/>
                    <a:pt x="144579" y="140886"/>
                  </a:cubicBezTo>
                  <a:cubicBezTo>
                    <a:pt x="147555" y="136421"/>
                    <a:pt x="150036" y="131461"/>
                    <a:pt x="153013" y="1260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7C41BAB5-4952-A25C-CD25-09CDD904F148}"/>
                </a:ext>
              </a:extLst>
            </p:cNvPr>
            <p:cNvSpPr/>
            <p:nvPr/>
          </p:nvSpPr>
          <p:spPr>
            <a:xfrm>
              <a:off x="4104418" y="4268750"/>
              <a:ext cx="10913" cy="18354"/>
            </a:xfrm>
            <a:custGeom>
              <a:avLst/>
              <a:gdLst>
                <a:gd name="connsiteX0" fmla="*/ 10914 w 10913"/>
                <a:gd name="connsiteY0" fmla="*/ 0 h 18354"/>
                <a:gd name="connsiteX1" fmla="*/ 0 w 10913"/>
                <a:gd name="connsiteY1" fmla="*/ 18355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13" h="18354">
                  <a:moveTo>
                    <a:pt x="10914" y="0"/>
                  </a:moveTo>
                  <a:cubicBezTo>
                    <a:pt x="6449" y="9426"/>
                    <a:pt x="4961" y="8929"/>
                    <a:pt x="0" y="18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41C6E062-8EB0-DAD4-B97A-250CF921959F}"/>
                </a:ext>
              </a:extLst>
            </p:cNvPr>
            <p:cNvSpPr/>
            <p:nvPr/>
          </p:nvSpPr>
          <p:spPr>
            <a:xfrm>
              <a:off x="4069693" y="4248411"/>
              <a:ext cx="9425" cy="18850"/>
            </a:xfrm>
            <a:custGeom>
              <a:avLst/>
              <a:gdLst>
                <a:gd name="connsiteX0" fmla="*/ 9425 w 9425"/>
                <a:gd name="connsiteY0" fmla="*/ 0 h 18850"/>
                <a:gd name="connsiteX1" fmla="*/ 0 w 9425"/>
                <a:gd name="connsiteY1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18850">
                  <a:moveTo>
                    <a:pt x="9425" y="0"/>
                  </a:moveTo>
                  <a:cubicBezTo>
                    <a:pt x="4961" y="9425"/>
                    <a:pt x="4465" y="9425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5FEDDE41-0F47-67B0-9B0B-35866C8F5C46}"/>
                </a:ext>
              </a:extLst>
            </p:cNvPr>
            <p:cNvSpPr/>
            <p:nvPr/>
          </p:nvSpPr>
          <p:spPr>
            <a:xfrm>
              <a:off x="4043897" y="4268750"/>
              <a:ext cx="65978" cy="49111"/>
            </a:xfrm>
            <a:custGeom>
              <a:avLst/>
              <a:gdLst>
                <a:gd name="connsiteX0" fmla="*/ 0 w 65978"/>
                <a:gd name="connsiteY0" fmla="*/ 0 h 49111"/>
                <a:gd name="connsiteX1" fmla="*/ 3969 w 65978"/>
                <a:gd name="connsiteY1" fmla="*/ 14882 h 49111"/>
                <a:gd name="connsiteX2" fmla="*/ 10914 w 65978"/>
                <a:gd name="connsiteY2" fmla="*/ 28772 h 49111"/>
                <a:gd name="connsiteX3" fmla="*/ 21828 w 65978"/>
                <a:gd name="connsiteY3" fmla="*/ 39686 h 49111"/>
                <a:gd name="connsiteX4" fmla="*/ 35221 w 65978"/>
                <a:gd name="connsiteY4" fmla="*/ 46631 h 49111"/>
                <a:gd name="connsiteX5" fmla="*/ 50600 w 65978"/>
                <a:gd name="connsiteY5" fmla="*/ 49112 h 49111"/>
                <a:gd name="connsiteX6" fmla="*/ 65978 w 65978"/>
                <a:gd name="connsiteY6" fmla="*/ 48120 h 4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49111">
                  <a:moveTo>
                    <a:pt x="0" y="0"/>
                  </a:moveTo>
                  <a:cubicBezTo>
                    <a:pt x="992" y="7937"/>
                    <a:pt x="992" y="6449"/>
                    <a:pt x="3969" y="14882"/>
                  </a:cubicBezTo>
                  <a:cubicBezTo>
                    <a:pt x="5457" y="19347"/>
                    <a:pt x="7441" y="24308"/>
                    <a:pt x="10914" y="28772"/>
                  </a:cubicBezTo>
                  <a:cubicBezTo>
                    <a:pt x="13890" y="32741"/>
                    <a:pt x="17363" y="36214"/>
                    <a:pt x="21828" y="39686"/>
                  </a:cubicBezTo>
                  <a:cubicBezTo>
                    <a:pt x="25796" y="42663"/>
                    <a:pt x="29765" y="45143"/>
                    <a:pt x="35221" y="46631"/>
                  </a:cubicBezTo>
                  <a:cubicBezTo>
                    <a:pt x="39686" y="48120"/>
                    <a:pt x="44647" y="48616"/>
                    <a:pt x="50600" y="49112"/>
                  </a:cubicBezTo>
                  <a:cubicBezTo>
                    <a:pt x="55561" y="49112"/>
                    <a:pt x="60522" y="49112"/>
                    <a:pt x="65978" y="481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CBAD348B-146C-16C2-FFA7-D1C5D6D1CAD2}"/>
                </a:ext>
              </a:extLst>
            </p:cNvPr>
            <p:cNvSpPr/>
            <p:nvPr/>
          </p:nvSpPr>
          <p:spPr>
            <a:xfrm>
              <a:off x="4114340" y="4405667"/>
              <a:ext cx="114683" cy="256566"/>
            </a:xfrm>
            <a:custGeom>
              <a:avLst/>
              <a:gdLst>
                <a:gd name="connsiteX0" fmla="*/ 29268 w 114683"/>
                <a:gd name="connsiteY0" fmla="*/ 0 h 256566"/>
                <a:gd name="connsiteX1" fmla="*/ 41174 w 114683"/>
                <a:gd name="connsiteY1" fmla="*/ 11410 h 256566"/>
                <a:gd name="connsiteX2" fmla="*/ 51096 w 114683"/>
                <a:gd name="connsiteY2" fmla="*/ 24308 h 256566"/>
                <a:gd name="connsiteX3" fmla="*/ 63994 w 114683"/>
                <a:gd name="connsiteY3" fmla="*/ 34725 h 256566"/>
                <a:gd name="connsiteX4" fmla="*/ 75404 w 114683"/>
                <a:gd name="connsiteY4" fmla="*/ 46631 h 256566"/>
                <a:gd name="connsiteX5" fmla="*/ 85821 w 114683"/>
                <a:gd name="connsiteY5" fmla="*/ 59529 h 256566"/>
                <a:gd name="connsiteX6" fmla="*/ 97231 w 114683"/>
                <a:gd name="connsiteY6" fmla="*/ 71435 h 256566"/>
                <a:gd name="connsiteX7" fmla="*/ 108145 w 114683"/>
                <a:gd name="connsiteY7" fmla="*/ 83837 h 256566"/>
                <a:gd name="connsiteX8" fmla="*/ 114594 w 114683"/>
                <a:gd name="connsiteY8" fmla="*/ 98224 h 256566"/>
                <a:gd name="connsiteX9" fmla="*/ 110129 w 114683"/>
                <a:gd name="connsiteY9" fmla="*/ 113106 h 256566"/>
                <a:gd name="connsiteX10" fmla="*/ 104176 w 114683"/>
                <a:gd name="connsiteY10" fmla="*/ 127492 h 256566"/>
                <a:gd name="connsiteX11" fmla="*/ 98719 w 114683"/>
                <a:gd name="connsiteY11" fmla="*/ 142374 h 256566"/>
                <a:gd name="connsiteX12" fmla="*/ 92767 w 114683"/>
                <a:gd name="connsiteY12" fmla="*/ 157257 h 256566"/>
                <a:gd name="connsiteX13" fmla="*/ 83837 w 114683"/>
                <a:gd name="connsiteY13" fmla="*/ 170651 h 256566"/>
                <a:gd name="connsiteX14" fmla="*/ 78380 w 114683"/>
                <a:gd name="connsiteY14" fmla="*/ 185533 h 256566"/>
                <a:gd name="connsiteX15" fmla="*/ 71931 w 114683"/>
                <a:gd name="connsiteY15" fmla="*/ 199920 h 256566"/>
                <a:gd name="connsiteX16" fmla="*/ 63498 w 114683"/>
                <a:gd name="connsiteY16" fmla="*/ 213314 h 256566"/>
                <a:gd name="connsiteX17" fmla="*/ 56057 w 114683"/>
                <a:gd name="connsiteY17" fmla="*/ 227204 h 256566"/>
                <a:gd name="connsiteX18" fmla="*/ 50104 w 114683"/>
                <a:gd name="connsiteY18" fmla="*/ 242086 h 256566"/>
                <a:gd name="connsiteX19" fmla="*/ 42167 w 114683"/>
                <a:gd name="connsiteY19" fmla="*/ 256472 h 256566"/>
                <a:gd name="connsiteX20" fmla="*/ 38694 w 114683"/>
                <a:gd name="connsiteY20" fmla="*/ 240598 h 256566"/>
                <a:gd name="connsiteX21" fmla="*/ 41670 w 114683"/>
                <a:gd name="connsiteY21" fmla="*/ 224724 h 256566"/>
                <a:gd name="connsiteX22" fmla="*/ 42663 w 114683"/>
                <a:gd name="connsiteY22" fmla="*/ 208849 h 256566"/>
                <a:gd name="connsiteX23" fmla="*/ 42663 w 114683"/>
                <a:gd name="connsiteY23" fmla="*/ 192974 h 256566"/>
                <a:gd name="connsiteX24" fmla="*/ 45143 w 114683"/>
                <a:gd name="connsiteY24" fmla="*/ 177596 h 256566"/>
                <a:gd name="connsiteX25" fmla="*/ 46631 w 114683"/>
                <a:gd name="connsiteY25" fmla="*/ 161722 h 256566"/>
                <a:gd name="connsiteX26" fmla="*/ 49608 w 114683"/>
                <a:gd name="connsiteY26" fmla="*/ 146343 h 256566"/>
                <a:gd name="connsiteX27" fmla="*/ 52088 w 114683"/>
                <a:gd name="connsiteY27" fmla="*/ 130469 h 256566"/>
                <a:gd name="connsiteX28" fmla="*/ 49112 w 114683"/>
                <a:gd name="connsiteY28" fmla="*/ 116578 h 256566"/>
                <a:gd name="connsiteX29" fmla="*/ 40678 w 114683"/>
                <a:gd name="connsiteY29" fmla="*/ 104176 h 256566"/>
                <a:gd name="connsiteX30" fmla="*/ 30757 w 114683"/>
                <a:gd name="connsiteY30" fmla="*/ 92271 h 256566"/>
                <a:gd name="connsiteX31" fmla="*/ 21331 w 114683"/>
                <a:gd name="connsiteY31" fmla="*/ 79869 h 256566"/>
                <a:gd name="connsiteX32" fmla="*/ 10914 w 114683"/>
                <a:gd name="connsiteY32" fmla="*/ 68459 h 256566"/>
                <a:gd name="connsiteX33" fmla="*/ 0 w 114683"/>
                <a:gd name="connsiteY33" fmla="*/ 57049 h 25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4683" h="256566">
                  <a:moveTo>
                    <a:pt x="29268" y="0"/>
                  </a:moveTo>
                  <a:cubicBezTo>
                    <a:pt x="32741" y="3473"/>
                    <a:pt x="36710" y="6945"/>
                    <a:pt x="41174" y="11410"/>
                  </a:cubicBezTo>
                  <a:cubicBezTo>
                    <a:pt x="44647" y="14882"/>
                    <a:pt x="47127" y="20339"/>
                    <a:pt x="51096" y="24308"/>
                  </a:cubicBezTo>
                  <a:cubicBezTo>
                    <a:pt x="55065" y="28277"/>
                    <a:pt x="60025" y="30261"/>
                    <a:pt x="63994" y="34725"/>
                  </a:cubicBezTo>
                  <a:cubicBezTo>
                    <a:pt x="67963" y="38694"/>
                    <a:pt x="71435" y="42663"/>
                    <a:pt x="75404" y="46631"/>
                  </a:cubicBezTo>
                  <a:cubicBezTo>
                    <a:pt x="79372" y="50600"/>
                    <a:pt x="82349" y="55561"/>
                    <a:pt x="85821" y="59529"/>
                  </a:cubicBezTo>
                  <a:cubicBezTo>
                    <a:pt x="89790" y="63994"/>
                    <a:pt x="93759" y="67467"/>
                    <a:pt x="97231" y="71435"/>
                  </a:cubicBezTo>
                  <a:cubicBezTo>
                    <a:pt x="101200" y="75900"/>
                    <a:pt x="105169" y="79869"/>
                    <a:pt x="108145" y="83837"/>
                  </a:cubicBezTo>
                  <a:cubicBezTo>
                    <a:pt x="113602" y="90286"/>
                    <a:pt x="115090" y="96239"/>
                    <a:pt x="114594" y="98224"/>
                  </a:cubicBezTo>
                  <a:cubicBezTo>
                    <a:pt x="114594" y="100208"/>
                    <a:pt x="113106" y="105665"/>
                    <a:pt x="110129" y="113106"/>
                  </a:cubicBezTo>
                  <a:cubicBezTo>
                    <a:pt x="108641" y="117075"/>
                    <a:pt x="106160" y="122035"/>
                    <a:pt x="104176" y="127492"/>
                  </a:cubicBezTo>
                  <a:cubicBezTo>
                    <a:pt x="102192" y="131957"/>
                    <a:pt x="100704" y="136918"/>
                    <a:pt x="98719" y="142374"/>
                  </a:cubicBezTo>
                  <a:cubicBezTo>
                    <a:pt x="96735" y="146839"/>
                    <a:pt x="95247" y="152296"/>
                    <a:pt x="92767" y="157257"/>
                  </a:cubicBezTo>
                  <a:cubicBezTo>
                    <a:pt x="90782" y="161722"/>
                    <a:pt x="86317" y="165690"/>
                    <a:pt x="83837" y="170651"/>
                  </a:cubicBezTo>
                  <a:cubicBezTo>
                    <a:pt x="81853" y="175612"/>
                    <a:pt x="80861" y="181068"/>
                    <a:pt x="78380" y="185533"/>
                  </a:cubicBezTo>
                  <a:cubicBezTo>
                    <a:pt x="75900" y="190494"/>
                    <a:pt x="74412" y="195455"/>
                    <a:pt x="71931" y="199920"/>
                  </a:cubicBezTo>
                  <a:cubicBezTo>
                    <a:pt x="69451" y="204880"/>
                    <a:pt x="65978" y="208849"/>
                    <a:pt x="63498" y="213314"/>
                  </a:cubicBezTo>
                  <a:cubicBezTo>
                    <a:pt x="61018" y="218274"/>
                    <a:pt x="58537" y="222739"/>
                    <a:pt x="56057" y="227204"/>
                  </a:cubicBezTo>
                  <a:cubicBezTo>
                    <a:pt x="53576" y="232661"/>
                    <a:pt x="52088" y="238117"/>
                    <a:pt x="50104" y="242086"/>
                  </a:cubicBezTo>
                  <a:cubicBezTo>
                    <a:pt x="46135" y="249527"/>
                    <a:pt x="43159" y="255480"/>
                    <a:pt x="42167" y="256472"/>
                  </a:cubicBezTo>
                  <a:cubicBezTo>
                    <a:pt x="40678" y="257465"/>
                    <a:pt x="38198" y="250519"/>
                    <a:pt x="38694" y="240598"/>
                  </a:cubicBezTo>
                  <a:cubicBezTo>
                    <a:pt x="38694" y="236133"/>
                    <a:pt x="41174" y="230676"/>
                    <a:pt x="41670" y="224724"/>
                  </a:cubicBezTo>
                  <a:cubicBezTo>
                    <a:pt x="42167" y="219763"/>
                    <a:pt x="42167" y="214306"/>
                    <a:pt x="42663" y="208849"/>
                  </a:cubicBezTo>
                  <a:cubicBezTo>
                    <a:pt x="43159" y="203888"/>
                    <a:pt x="42167" y="198431"/>
                    <a:pt x="42663" y="192974"/>
                  </a:cubicBezTo>
                  <a:cubicBezTo>
                    <a:pt x="43159" y="187518"/>
                    <a:pt x="44647" y="182557"/>
                    <a:pt x="45143" y="177596"/>
                  </a:cubicBezTo>
                  <a:cubicBezTo>
                    <a:pt x="45639" y="172139"/>
                    <a:pt x="46135" y="166682"/>
                    <a:pt x="46631" y="161722"/>
                  </a:cubicBezTo>
                  <a:cubicBezTo>
                    <a:pt x="47623" y="155769"/>
                    <a:pt x="49112" y="150808"/>
                    <a:pt x="49608" y="146343"/>
                  </a:cubicBezTo>
                  <a:cubicBezTo>
                    <a:pt x="50600" y="139398"/>
                    <a:pt x="51096" y="133445"/>
                    <a:pt x="52088" y="130469"/>
                  </a:cubicBezTo>
                  <a:cubicBezTo>
                    <a:pt x="53080" y="126996"/>
                    <a:pt x="52584" y="122531"/>
                    <a:pt x="49112" y="116578"/>
                  </a:cubicBezTo>
                  <a:cubicBezTo>
                    <a:pt x="46631" y="112610"/>
                    <a:pt x="43655" y="108145"/>
                    <a:pt x="40678" y="104176"/>
                  </a:cubicBezTo>
                  <a:cubicBezTo>
                    <a:pt x="37702" y="100208"/>
                    <a:pt x="34229" y="96239"/>
                    <a:pt x="30757" y="92271"/>
                  </a:cubicBezTo>
                  <a:cubicBezTo>
                    <a:pt x="27284" y="88302"/>
                    <a:pt x="24804" y="83837"/>
                    <a:pt x="21331" y="79869"/>
                  </a:cubicBezTo>
                  <a:cubicBezTo>
                    <a:pt x="17363" y="75900"/>
                    <a:pt x="13890" y="71931"/>
                    <a:pt x="10914" y="68459"/>
                  </a:cubicBezTo>
                  <a:cubicBezTo>
                    <a:pt x="5953" y="62506"/>
                    <a:pt x="496" y="59529"/>
                    <a:pt x="0" y="570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43F6EBDF-8609-C24E-8ACB-49C921E3CF14}"/>
                </a:ext>
              </a:extLst>
            </p:cNvPr>
            <p:cNvSpPr/>
            <p:nvPr/>
          </p:nvSpPr>
          <p:spPr>
            <a:xfrm>
              <a:off x="4118309" y="4484544"/>
              <a:ext cx="9921" cy="159240"/>
            </a:xfrm>
            <a:custGeom>
              <a:avLst/>
              <a:gdLst>
                <a:gd name="connsiteX0" fmla="*/ 0 w 9921"/>
                <a:gd name="connsiteY0" fmla="*/ 159241 h 159240"/>
                <a:gd name="connsiteX1" fmla="*/ 2480 w 9921"/>
                <a:gd name="connsiteY1" fmla="*/ 143367 h 159240"/>
                <a:gd name="connsiteX2" fmla="*/ 2976 w 9921"/>
                <a:gd name="connsiteY2" fmla="*/ 127492 h 159240"/>
                <a:gd name="connsiteX3" fmla="*/ 3969 w 9921"/>
                <a:gd name="connsiteY3" fmla="*/ 111618 h 159240"/>
                <a:gd name="connsiteX4" fmla="*/ 4465 w 9921"/>
                <a:gd name="connsiteY4" fmla="*/ 95743 h 159240"/>
                <a:gd name="connsiteX5" fmla="*/ 6945 w 9921"/>
                <a:gd name="connsiteY5" fmla="*/ 79868 h 159240"/>
                <a:gd name="connsiteX6" fmla="*/ 7937 w 9921"/>
                <a:gd name="connsiteY6" fmla="*/ 63994 h 159240"/>
                <a:gd name="connsiteX7" fmla="*/ 7441 w 9921"/>
                <a:gd name="connsiteY7" fmla="*/ 47623 h 159240"/>
                <a:gd name="connsiteX8" fmla="*/ 7937 w 9921"/>
                <a:gd name="connsiteY8" fmla="*/ 31749 h 159240"/>
                <a:gd name="connsiteX9" fmla="*/ 9426 w 9921"/>
                <a:gd name="connsiteY9" fmla="*/ 15875 h 159240"/>
                <a:gd name="connsiteX10" fmla="*/ 9922 w 9921"/>
                <a:gd name="connsiteY10" fmla="*/ 0 h 15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21" h="159240">
                  <a:moveTo>
                    <a:pt x="0" y="159241"/>
                  </a:moveTo>
                  <a:cubicBezTo>
                    <a:pt x="496" y="151304"/>
                    <a:pt x="1984" y="151304"/>
                    <a:pt x="2480" y="143367"/>
                  </a:cubicBezTo>
                  <a:cubicBezTo>
                    <a:pt x="2976" y="135429"/>
                    <a:pt x="2480" y="135429"/>
                    <a:pt x="2976" y="127492"/>
                  </a:cubicBezTo>
                  <a:cubicBezTo>
                    <a:pt x="3473" y="119555"/>
                    <a:pt x="3473" y="119555"/>
                    <a:pt x="3969" y="111618"/>
                  </a:cubicBezTo>
                  <a:cubicBezTo>
                    <a:pt x="4465" y="103680"/>
                    <a:pt x="3969" y="103680"/>
                    <a:pt x="4465" y="95743"/>
                  </a:cubicBezTo>
                  <a:cubicBezTo>
                    <a:pt x="4961" y="87806"/>
                    <a:pt x="6449" y="87806"/>
                    <a:pt x="6945" y="79868"/>
                  </a:cubicBezTo>
                  <a:cubicBezTo>
                    <a:pt x="7441" y="71931"/>
                    <a:pt x="7441" y="71931"/>
                    <a:pt x="7937" y="63994"/>
                  </a:cubicBezTo>
                  <a:cubicBezTo>
                    <a:pt x="8433" y="56057"/>
                    <a:pt x="6945" y="56057"/>
                    <a:pt x="7441" y="47623"/>
                  </a:cubicBezTo>
                  <a:cubicBezTo>
                    <a:pt x="7937" y="39686"/>
                    <a:pt x="7441" y="39686"/>
                    <a:pt x="7937" y="31749"/>
                  </a:cubicBezTo>
                  <a:cubicBezTo>
                    <a:pt x="8433" y="23812"/>
                    <a:pt x="8929" y="23812"/>
                    <a:pt x="9426" y="15875"/>
                  </a:cubicBezTo>
                  <a:cubicBezTo>
                    <a:pt x="9922" y="7937"/>
                    <a:pt x="9426" y="7937"/>
                    <a:pt x="992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C65F4208-158B-496F-1774-E8F1CD3BA755}"/>
                </a:ext>
              </a:extLst>
            </p:cNvPr>
            <p:cNvSpPr/>
            <p:nvPr/>
          </p:nvSpPr>
          <p:spPr>
            <a:xfrm>
              <a:off x="3872254" y="4166558"/>
              <a:ext cx="152295" cy="152295"/>
            </a:xfrm>
            <a:custGeom>
              <a:avLst/>
              <a:gdLst>
                <a:gd name="connsiteX0" fmla="*/ 152296 w 152295"/>
                <a:gd name="connsiteY0" fmla="*/ 152296 h 152295"/>
                <a:gd name="connsiteX1" fmla="*/ 140886 w 152295"/>
                <a:gd name="connsiteY1" fmla="*/ 140390 h 152295"/>
                <a:gd name="connsiteX2" fmla="*/ 128484 w 152295"/>
                <a:gd name="connsiteY2" fmla="*/ 129476 h 152295"/>
                <a:gd name="connsiteX3" fmla="*/ 117570 w 152295"/>
                <a:gd name="connsiteY3" fmla="*/ 117074 h 152295"/>
                <a:gd name="connsiteX4" fmla="*/ 106160 w 152295"/>
                <a:gd name="connsiteY4" fmla="*/ 105168 h 152295"/>
                <a:gd name="connsiteX5" fmla="*/ 94751 w 152295"/>
                <a:gd name="connsiteY5" fmla="*/ 92766 h 152295"/>
                <a:gd name="connsiteX6" fmla="*/ 81853 w 152295"/>
                <a:gd name="connsiteY6" fmla="*/ 82349 h 152295"/>
                <a:gd name="connsiteX7" fmla="*/ 70939 w 152295"/>
                <a:gd name="connsiteY7" fmla="*/ 69947 h 152295"/>
                <a:gd name="connsiteX8" fmla="*/ 58537 w 152295"/>
                <a:gd name="connsiteY8" fmla="*/ 59033 h 152295"/>
                <a:gd name="connsiteX9" fmla="*/ 47127 w 152295"/>
                <a:gd name="connsiteY9" fmla="*/ 47127 h 152295"/>
                <a:gd name="connsiteX10" fmla="*/ 35717 w 152295"/>
                <a:gd name="connsiteY10" fmla="*/ 35221 h 152295"/>
                <a:gd name="connsiteX11" fmla="*/ 23812 w 152295"/>
                <a:gd name="connsiteY11" fmla="*/ 23315 h 152295"/>
                <a:gd name="connsiteX12" fmla="*/ 11906 w 152295"/>
                <a:gd name="connsiteY12" fmla="*/ 11906 h 152295"/>
                <a:gd name="connsiteX13" fmla="*/ 0 w 152295"/>
                <a:gd name="connsiteY13" fmla="*/ 0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295" h="152295">
                  <a:moveTo>
                    <a:pt x="152296" y="152296"/>
                  </a:moveTo>
                  <a:cubicBezTo>
                    <a:pt x="146343" y="146343"/>
                    <a:pt x="146839" y="146343"/>
                    <a:pt x="140886" y="140390"/>
                  </a:cubicBezTo>
                  <a:cubicBezTo>
                    <a:pt x="134933" y="134437"/>
                    <a:pt x="133941" y="135429"/>
                    <a:pt x="128484" y="129476"/>
                  </a:cubicBezTo>
                  <a:cubicBezTo>
                    <a:pt x="122531" y="123523"/>
                    <a:pt x="123523" y="123027"/>
                    <a:pt x="117570" y="117074"/>
                  </a:cubicBezTo>
                  <a:cubicBezTo>
                    <a:pt x="111618" y="111121"/>
                    <a:pt x="111618" y="111121"/>
                    <a:pt x="106160" y="105168"/>
                  </a:cubicBezTo>
                  <a:cubicBezTo>
                    <a:pt x="100208" y="99216"/>
                    <a:pt x="100704" y="98719"/>
                    <a:pt x="94751" y="92766"/>
                  </a:cubicBezTo>
                  <a:cubicBezTo>
                    <a:pt x="88798" y="86814"/>
                    <a:pt x="87310" y="88302"/>
                    <a:pt x="81853" y="82349"/>
                  </a:cubicBezTo>
                  <a:cubicBezTo>
                    <a:pt x="75900" y="76396"/>
                    <a:pt x="76892" y="75404"/>
                    <a:pt x="70939" y="69947"/>
                  </a:cubicBezTo>
                  <a:cubicBezTo>
                    <a:pt x="64986" y="63994"/>
                    <a:pt x="64490" y="64986"/>
                    <a:pt x="58537" y="59033"/>
                  </a:cubicBezTo>
                  <a:cubicBezTo>
                    <a:pt x="52584" y="53080"/>
                    <a:pt x="52584" y="53080"/>
                    <a:pt x="47127" y="47127"/>
                  </a:cubicBezTo>
                  <a:cubicBezTo>
                    <a:pt x="41174" y="41174"/>
                    <a:pt x="41174" y="41174"/>
                    <a:pt x="35717" y="35221"/>
                  </a:cubicBezTo>
                  <a:cubicBezTo>
                    <a:pt x="29765" y="29268"/>
                    <a:pt x="29765" y="29268"/>
                    <a:pt x="23812" y="23315"/>
                  </a:cubicBezTo>
                  <a:cubicBezTo>
                    <a:pt x="17859" y="17363"/>
                    <a:pt x="17363" y="17859"/>
                    <a:pt x="11906" y="11906"/>
                  </a:cubicBezTo>
                  <a:cubicBezTo>
                    <a:pt x="6449" y="5953"/>
                    <a:pt x="5953" y="595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9CDC9BB9-AD11-1447-4FE6-4653D9B36383}"/>
                </a:ext>
              </a:extLst>
            </p:cNvPr>
            <p:cNvSpPr/>
            <p:nvPr/>
          </p:nvSpPr>
          <p:spPr>
            <a:xfrm>
              <a:off x="3810244" y="4169038"/>
              <a:ext cx="325909" cy="863230"/>
            </a:xfrm>
            <a:custGeom>
              <a:avLst/>
              <a:gdLst>
                <a:gd name="connsiteX0" fmla="*/ 304096 w 325909"/>
                <a:gd name="connsiteY0" fmla="*/ 538741 h 863230"/>
                <a:gd name="connsiteX1" fmla="*/ 300623 w 325909"/>
                <a:gd name="connsiteY1" fmla="*/ 554119 h 863230"/>
                <a:gd name="connsiteX2" fmla="*/ 298639 w 325909"/>
                <a:gd name="connsiteY2" fmla="*/ 569993 h 863230"/>
                <a:gd name="connsiteX3" fmla="*/ 295662 w 325909"/>
                <a:gd name="connsiteY3" fmla="*/ 585372 h 863230"/>
                <a:gd name="connsiteX4" fmla="*/ 294174 w 325909"/>
                <a:gd name="connsiteY4" fmla="*/ 601246 h 863230"/>
                <a:gd name="connsiteX5" fmla="*/ 290702 w 325909"/>
                <a:gd name="connsiteY5" fmla="*/ 616625 h 863230"/>
                <a:gd name="connsiteX6" fmla="*/ 287229 w 325909"/>
                <a:gd name="connsiteY6" fmla="*/ 632003 h 863230"/>
                <a:gd name="connsiteX7" fmla="*/ 286237 w 325909"/>
                <a:gd name="connsiteY7" fmla="*/ 647878 h 863230"/>
                <a:gd name="connsiteX8" fmla="*/ 283260 w 325909"/>
                <a:gd name="connsiteY8" fmla="*/ 663256 h 863230"/>
                <a:gd name="connsiteX9" fmla="*/ 281276 w 325909"/>
                <a:gd name="connsiteY9" fmla="*/ 678635 h 863230"/>
                <a:gd name="connsiteX10" fmla="*/ 277804 w 325909"/>
                <a:gd name="connsiteY10" fmla="*/ 694013 h 863230"/>
                <a:gd name="connsiteX11" fmla="*/ 275819 w 325909"/>
                <a:gd name="connsiteY11" fmla="*/ 709887 h 863230"/>
                <a:gd name="connsiteX12" fmla="*/ 272347 w 325909"/>
                <a:gd name="connsiteY12" fmla="*/ 725266 h 863230"/>
                <a:gd name="connsiteX13" fmla="*/ 269370 w 325909"/>
                <a:gd name="connsiteY13" fmla="*/ 740644 h 863230"/>
                <a:gd name="connsiteX14" fmla="*/ 276811 w 325909"/>
                <a:gd name="connsiteY14" fmla="*/ 754038 h 863230"/>
                <a:gd name="connsiteX15" fmla="*/ 285245 w 325909"/>
                <a:gd name="connsiteY15" fmla="*/ 766440 h 863230"/>
                <a:gd name="connsiteX16" fmla="*/ 292190 w 325909"/>
                <a:gd name="connsiteY16" fmla="*/ 779834 h 863230"/>
                <a:gd name="connsiteX17" fmla="*/ 299135 w 325909"/>
                <a:gd name="connsiteY17" fmla="*/ 793228 h 863230"/>
                <a:gd name="connsiteX18" fmla="*/ 308064 w 325909"/>
                <a:gd name="connsiteY18" fmla="*/ 805630 h 863230"/>
                <a:gd name="connsiteX19" fmla="*/ 315009 w 325909"/>
                <a:gd name="connsiteY19" fmla="*/ 819025 h 863230"/>
                <a:gd name="connsiteX20" fmla="*/ 321954 w 325909"/>
                <a:gd name="connsiteY20" fmla="*/ 832419 h 863230"/>
                <a:gd name="connsiteX21" fmla="*/ 324435 w 325909"/>
                <a:gd name="connsiteY21" fmla="*/ 845813 h 863230"/>
                <a:gd name="connsiteX22" fmla="*/ 324931 w 325909"/>
                <a:gd name="connsiteY22" fmla="*/ 859207 h 863230"/>
                <a:gd name="connsiteX23" fmla="*/ 307568 w 325909"/>
                <a:gd name="connsiteY23" fmla="*/ 860199 h 863230"/>
                <a:gd name="connsiteX24" fmla="*/ 289709 w 325909"/>
                <a:gd name="connsiteY24" fmla="*/ 859207 h 863230"/>
                <a:gd name="connsiteX25" fmla="*/ 277307 w 325909"/>
                <a:gd name="connsiteY25" fmla="*/ 848789 h 863230"/>
                <a:gd name="connsiteX26" fmla="*/ 267386 w 325909"/>
                <a:gd name="connsiteY26" fmla="*/ 834899 h 863230"/>
                <a:gd name="connsiteX27" fmla="*/ 261929 w 325909"/>
                <a:gd name="connsiteY27" fmla="*/ 819025 h 863230"/>
                <a:gd name="connsiteX28" fmla="*/ 254984 w 325909"/>
                <a:gd name="connsiteY28" fmla="*/ 803646 h 863230"/>
                <a:gd name="connsiteX29" fmla="*/ 250023 w 325909"/>
                <a:gd name="connsiteY29" fmla="*/ 787772 h 863230"/>
                <a:gd name="connsiteX30" fmla="*/ 243078 w 325909"/>
                <a:gd name="connsiteY30" fmla="*/ 772393 h 863230"/>
                <a:gd name="connsiteX31" fmla="*/ 239109 w 325909"/>
                <a:gd name="connsiteY31" fmla="*/ 756023 h 863230"/>
                <a:gd name="connsiteX32" fmla="*/ 238117 w 325909"/>
                <a:gd name="connsiteY32" fmla="*/ 770409 h 863230"/>
                <a:gd name="connsiteX33" fmla="*/ 238117 w 325909"/>
                <a:gd name="connsiteY33" fmla="*/ 784795 h 863230"/>
                <a:gd name="connsiteX34" fmla="*/ 239109 w 325909"/>
                <a:gd name="connsiteY34" fmla="*/ 799677 h 863230"/>
                <a:gd name="connsiteX35" fmla="*/ 224723 w 325909"/>
                <a:gd name="connsiteY35" fmla="*/ 798189 h 863230"/>
                <a:gd name="connsiteX36" fmla="*/ 210337 w 325909"/>
                <a:gd name="connsiteY36" fmla="*/ 782315 h 863230"/>
                <a:gd name="connsiteX37" fmla="*/ 201903 w 325909"/>
                <a:gd name="connsiteY37" fmla="*/ 793228 h 863230"/>
                <a:gd name="connsiteX38" fmla="*/ 184045 w 325909"/>
                <a:gd name="connsiteY38" fmla="*/ 792732 h 863230"/>
                <a:gd name="connsiteX39" fmla="*/ 166682 w 325909"/>
                <a:gd name="connsiteY39" fmla="*/ 792732 h 863230"/>
                <a:gd name="connsiteX40" fmla="*/ 149319 w 325909"/>
                <a:gd name="connsiteY40" fmla="*/ 790252 h 863230"/>
                <a:gd name="connsiteX41" fmla="*/ 131957 w 325909"/>
                <a:gd name="connsiteY41" fmla="*/ 790252 h 863230"/>
                <a:gd name="connsiteX42" fmla="*/ 116082 w 325909"/>
                <a:gd name="connsiteY42" fmla="*/ 784795 h 863230"/>
                <a:gd name="connsiteX43" fmla="*/ 129476 w 325909"/>
                <a:gd name="connsiteY43" fmla="*/ 775370 h 863230"/>
                <a:gd name="connsiteX44" fmla="*/ 145351 w 325909"/>
                <a:gd name="connsiteY44" fmla="*/ 769913 h 863230"/>
                <a:gd name="connsiteX45" fmla="*/ 160729 w 325909"/>
                <a:gd name="connsiteY45" fmla="*/ 762968 h 863230"/>
                <a:gd name="connsiteX46" fmla="*/ 176604 w 325909"/>
                <a:gd name="connsiteY46" fmla="*/ 757015 h 863230"/>
                <a:gd name="connsiteX47" fmla="*/ 191486 w 325909"/>
                <a:gd name="connsiteY47" fmla="*/ 749574 h 863230"/>
                <a:gd name="connsiteX48" fmla="*/ 206864 w 325909"/>
                <a:gd name="connsiteY48" fmla="*/ 743621 h 863230"/>
                <a:gd name="connsiteX49" fmla="*/ 206864 w 325909"/>
                <a:gd name="connsiteY49" fmla="*/ 727250 h 863230"/>
                <a:gd name="connsiteX50" fmla="*/ 206864 w 325909"/>
                <a:gd name="connsiteY50" fmla="*/ 710880 h 863230"/>
                <a:gd name="connsiteX51" fmla="*/ 206864 w 325909"/>
                <a:gd name="connsiteY51" fmla="*/ 694509 h 863230"/>
                <a:gd name="connsiteX52" fmla="*/ 204384 w 325909"/>
                <a:gd name="connsiteY52" fmla="*/ 678138 h 863230"/>
                <a:gd name="connsiteX53" fmla="*/ 203392 w 325909"/>
                <a:gd name="connsiteY53" fmla="*/ 661768 h 863230"/>
                <a:gd name="connsiteX54" fmla="*/ 203392 w 325909"/>
                <a:gd name="connsiteY54" fmla="*/ 645397 h 863230"/>
                <a:gd name="connsiteX55" fmla="*/ 202896 w 325909"/>
                <a:gd name="connsiteY55" fmla="*/ 629027 h 863230"/>
                <a:gd name="connsiteX56" fmla="*/ 202400 w 325909"/>
                <a:gd name="connsiteY56" fmla="*/ 612656 h 863230"/>
                <a:gd name="connsiteX57" fmla="*/ 199919 w 325909"/>
                <a:gd name="connsiteY57" fmla="*/ 596285 h 863230"/>
                <a:gd name="connsiteX58" fmla="*/ 198431 w 325909"/>
                <a:gd name="connsiteY58" fmla="*/ 579915 h 863230"/>
                <a:gd name="connsiteX59" fmla="*/ 197935 w 325909"/>
                <a:gd name="connsiteY59" fmla="*/ 563544 h 863230"/>
                <a:gd name="connsiteX60" fmla="*/ 195951 w 325909"/>
                <a:gd name="connsiteY60" fmla="*/ 547174 h 863230"/>
                <a:gd name="connsiteX61" fmla="*/ 192974 w 325909"/>
                <a:gd name="connsiteY61" fmla="*/ 530803 h 863230"/>
                <a:gd name="connsiteX62" fmla="*/ 190990 w 325909"/>
                <a:gd name="connsiteY62" fmla="*/ 514433 h 863230"/>
                <a:gd name="connsiteX63" fmla="*/ 189998 w 325909"/>
                <a:gd name="connsiteY63" fmla="*/ 498062 h 863230"/>
                <a:gd name="connsiteX64" fmla="*/ 188013 w 325909"/>
                <a:gd name="connsiteY64" fmla="*/ 481692 h 863230"/>
                <a:gd name="connsiteX65" fmla="*/ 183549 w 325909"/>
                <a:gd name="connsiteY65" fmla="*/ 465817 h 863230"/>
                <a:gd name="connsiteX66" fmla="*/ 180572 w 325909"/>
                <a:gd name="connsiteY66" fmla="*/ 449446 h 863230"/>
                <a:gd name="connsiteX67" fmla="*/ 178588 w 325909"/>
                <a:gd name="connsiteY67" fmla="*/ 433076 h 863230"/>
                <a:gd name="connsiteX68" fmla="*/ 176604 w 325909"/>
                <a:gd name="connsiteY68" fmla="*/ 416705 h 863230"/>
                <a:gd name="connsiteX69" fmla="*/ 173627 w 325909"/>
                <a:gd name="connsiteY69" fmla="*/ 400831 h 863230"/>
                <a:gd name="connsiteX70" fmla="*/ 170651 w 325909"/>
                <a:gd name="connsiteY70" fmla="*/ 384956 h 863230"/>
                <a:gd name="connsiteX71" fmla="*/ 166186 w 325909"/>
                <a:gd name="connsiteY71" fmla="*/ 369082 h 863230"/>
                <a:gd name="connsiteX72" fmla="*/ 163706 w 325909"/>
                <a:gd name="connsiteY72" fmla="*/ 352711 h 863230"/>
                <a:gd name="connsiteX73" fmla="*/ 159737 w 325909"/>
                <a:gd name="connsiteY73" fmla="*/ 336837 h 863230"/>
                <a:gd name="connsiteX74" fmla="*/ 156265 w 325909"/>
                <a:gd name="connsiteY74" fmla="*/ 320962 h 863230"/>
                <a:gd name="connsiteX75" fmla="*/ 152296 w 325909"/>
                <a:gd name="connsiteY75" fmla="*/ 305088 h 863230"/>
                <a:gd name="connsiteX76" fmla="*/ 148823 w 325909"/>
                <a:gd name="connsiteY76" fmla="*/ 289213 h 863230"/>
                <a:gd name="connsiteX77" fmla="*/ 144359 w 325909"/>
                <a:gd name="connsiteY77" fmla="*/ 273339 h 863230"/>
                <a:gd name="connsiteX78" fmla="*/ 139894 w 325909"/>
                <a:gd name="connsiteY78" fmla="*/ 257464 h 863230"/>
                <a:gd name="connsiteX79" fmla="*/ 135429 w 325909"/>
                <a:gd name="connsiteY79" fmla="*/ 241590 h 863230"/>
                <a:gd name="connsiteX80" fmla="*/ 129476 w 325909"/>
                <a:gd name="connsiteY80" fmla="*/ 226211 h 863230"/>
                <a:gd name="connsiteX81" fmla="*/ 123523 w 325909"/>
                <a:gd name="connsiteY81" fmla="*/ 210833 h 863230"/>
                <a:gd name="connsiteX82" fmla="*/ 120547 w 325909"/>
                <a:gd name="connsiteY82" fmla="*/ 194462 h 863230"/>
                <a:gd name="connsiteX83" fmla="*/ 114098 w 325909"/>
                <a:gd name="connsiteY83" fmla="*/ 179084 h 863230"/>
                <a:gd name="connsiteX84" fmla="*/ 108145 w 325909"/>
                <a:gd name="connsiteY84" fmla="*/ 163706 h 863230"/>
                <a:gd name="connsiteX85" fmla="*/ 102192 w 325909"/>
                <a:gd name="connsiteY85" fmla="*/ 148327 h 863230"/>
                <a:gd name="connsiteX86" fmla="*/ 97727 w 325909"/>
                <a:gd name="connsiteY86" fmla="*/ 132453 h 863230"/>
                <a:gd name="connsiteX87" fmla="*/ 90286 w 325909"/>
                <a:gd name="connsiteY87" fmla="*/ 118066 h 863230"/>
                <a:gd name="connsiteX88" fmla="*/ 83837 w 325909"/>
                <a:gd name="connsiteY88" fmla="*/ 103184 h 863230"/>
                <a:gd name="connsiteX89" fmla="*/ 77884 w 325909"/>
                <a:gd name="connsiteY89" fmla="*/ 87806 h 863230"/>
                <a:gd name="connsiteX90" fmla="*/ 71435 w 325909"/>
                <a:gd name="connsiteY90" fmla="*/ 72923 h 863230"/>
                <a:gd name="connsiteX91" fmla="*/ 64490 w 325909"/>
                <a:gd name="connsiteY91" fmla="*/ 58041 h 863230"/>
                <a:gd name="connsiteX92" fmla="*/ 56553 w 325909"/>
                <a:gd name="connsiteY92" fmla="*/ 43655 h 863230"/>
                <a:gd name="connsiteX93" fmla="*/ 50104 w 325909"/>
                <a:gd name="connsiteY93" fmla="*/ 28772 h 863230"/>
                <a:gd name="connsiteX94" fmla="*/ 42167 w 325909"/>
                <a:gd name="connsiteY94" fmla="*/ 13890 h 863230"/>
                <a:gd name="connsiteX95" fmla="*/ 26292 w 325909"/>
                <a:gd name="connsiteY95" fmla="*/ 12898 h 863230"/>
                <a:gd name="connsiteX96" fmla="*/ 10913 w 325909"/>
                <a:gd name="connsiteY96" fmla="*/ 10418 h 863230"/>
                <a:gd name="connsiteX97" fmla="*/ 0 w 325909"/>
                <a:gd name="connsiteY97" fmla="*/ 0 h 86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909" h="863230">
                  <a:moveTo>
                    <a:pt x="304096" y="538741"/>
                  </a:moveTo>
                  <a:cubicBezTo>
                    <a:pt x="302608" y="546678"/>
                    <a:pt x="302111" y="546182"/>
                    <a:pt x="300623" y="554119"/>
                  </a:cubicBezTo>
                  <a:cubicBezTo>
                    <a:pt x="299135" y="562056"/>
                    <a:pt x="300127" y="562056"/>
                    <a:pt x="298639" y="569993"/>
                  </a:cubicBezTo>
                  <a:cubicBezTo>
                    <a:pt x="297151" y="577931"/>
                    <a:pt x="297151" y="577931"/>
                    <a:pt x="295662" y="585372"/>
                  </a:cubicBezTo>
                  <a:cubicBezTo>
                    <a:pt x="294174" y="593309"/>
                    <a:pt x="295166" y="593309"/>
                    <a:pt x="294174" y="601246"/>
                  </a:cubicBezTo>
                  <a:cubicBezTo>
                    <a:pt x="292686" y="609184"/>
                    <a:pt x="291694" y="608687"/>
                    <a:pt x="290702" y="616625"/>
                  </a:cubicBezTo>
                  <a:cubicBezTo>
                    <a:pt x="289213" y="624562"/>
                    <a:pt x="288717" y="624066"/>
                    <a:pt x="287229" y="632003"/>
                  </a:cubicBezTo>
                  <a:cubicBezTo>
                    <a:pt x="285741" y="639941"/>
                    <a:pt x="287725" y="639941"/>
                    <a:pt x="286237" y="647878"/>
                  </a:cubicBezTo>
                  <a:cubicBezTo>
                    <a:pt x="284749" y="655815"/>
                    <a:pt x="284749" y="655815"/>
                    <a:pt x="283260" y="663256"/>
                  </a:cubicBezTo>
                  <a:cubicBezTo>
                    <a:pt x="281772" y="671193"/>
                    <a:pt x="282268" y="671193"/>
                    <a:pt x="281276" y="678635"/>
                  </a:cubicBezTo>
                  <a:cubicBezTo>
                    <a:pt x="279788" y="686572"/>
                    <a:pt x="279292" y="686076"/>
                    <a:pt x="277804" y="694013"/>
                  </a:cubicBezTo>
                  <a:cubicBezTo>
                    <a:pt x="276315" y="701950"/>
                    <a:pt x="277307" y="701950"/>
                    <a:pt x="275819" y="709887"/>
                  </a:cubicBezTo>
                  <a:cubicBezTo>
                    <a:pt x="274331" y="717825"/>
                    <a:pt x="273339" y="717329"/>
                    <a:pt x="272347" y="725266"/>
                  </a:cubicBezTo>
                  <a:cubicBezTo>
                    <a:pt x="270858" y="733203"/>
                    <a:pt x="267882" y="733203"/>
                    <a:pt x="269370" y="740644"/>
                  </a:cubicBezTo>
                  <a:cubicBezTo>
                    <a:pt x="270362" y="748085"/>
                    <a:pt x="272843" y="747589"/>
                    <a:pt x="276811" y="754038"/>
                  </a:cubicBezTo>
                  <a:cubicBezTo>
                    <a:pt x="280780" y="760487"/>
                    <a:pt x="281772" y="759991"/>
                    <a:pt x="285245" y="766440"/>
                  </a:cubicBezTo>
                  <a:cubicBezTo>
                    <a:pt x="289213" y="772889"/>
                    <a:pt x="288221" y="773385"/>
                    <a:pt x="292190" y="779834"/>
                  </a:cubicBezTo>
                  <a:cubicBezTo>
                    <a:pt x="296158" y="786284"/>
                    <a:pt x="295166" y="786779"/>
                    <a:pt x="299135" y="793228"/>
                  </a:cubicBezTo>
                  <a:cubicBezTo>
                    <a:pt x="303104" y="799677"/>
                    <a:pt x="304096" y="799181"/>
                    <a:pt x="308064" y="805630"/>
                  </a:cubicBezTo>
                  <a:cubicBezTo>
                    <a:pt x="312033" y="812079"/>
                    <a:pt x="311537" y="812576"/>
                    <a:pt x="315009" y="819025"/>
                  </a:cubicBezTo>
                  <a:cubicBezTo>
                    <a:pt x="318978" y="825474"/>
                    <a:pt x="319474" y="825474"/>
                    <a:pt x="321954" y="832419"/>
                  </a:cubicBezTo>
                  <a:cubicBezTo>
                    <a:pt x="324435" y="838868"/>
                    <a:pt x="323443" y="838868"/>
                    <a:pt x="324435" y="845813"/>
                  </a:cubicBezTo>
                  <a:cubicBezTo>
                    <a:pt x="325427" y="852758"/>
                    <a:pt x="326915" y="852758"/>
                    <a:pt x="324931" y="859207"/>
                  </a:cubicBezTo>
                  <a:cubicBezTo>
                    <a:pt x="322451" y="867640"/>
                    <a:pt x="318978" y="860199"/>
                    <a:pt x="307568" y="860199"/>
                  </a:cubicBezTo>
                  <a:cubicBezTo>
                    <a:pt x="302608" y="860199"/>
                    <a:pt x="296655" y="859703"/>
                    <a:pt x="289709" y="859207"/>
                  </a:cubicBezTo>
                  <a:cubicBezTo>
                    <a:pt x="285741" y="858711"/>
                    <a:pt x="281772" y="854742"/>
                    <a:pt x="277307" y="848789"/>
                  </a:cubicBezTo>
                  <a:cubicBezTo>
                    <a:pt x="274331" y="844821"/>
                    <a:pt x="270362" y="840356"/>
                    <a:pt x="267386" y="834899"/>
                  </a:cubicBezTo>
                  <a:cubicBezTo>
                    <a:pt x="264905" y="829938"/>
                    <a:pt x="264409" y="823985"/>
                    <a:pt x="261929" y="819025"/>
                  </a:cubicBezTo>
                  <a:cubicBezTo>
                    <a:pt x="259945" y="814064"/>
                    <a:pt x="256968" y="809103"/>
                    <a:pt x="254984" y="803646"/>
                  </a:cubicBezTo>
                  <a:cubicBezTo>
                    <a:pt x="253000" y="798189"/>
                    <a:pt x="251511" y="792732"/>
                    <a:pt x="250023" y="787772"/>
                  </a:cubicBezTo>
                  <a:cubicBezTo>
                    <a:pt x="248039" y="781819"/>
                    <a:pt x="244566" y="776858"/>
                    <a:pt x="243078" y="772393"/>
                  </a:cubicBezTo>
                  <a:cubicBezTo>
                    <a:pt x="240102" y="762968"/>
                    <a:pt x="241094" y="747589"/>
                    <a:pt x="239109" y="756023"/>
                  </a:cubicBezTo>
                  <a:cubicBezTo>
                    <a:pt x="237125" y="762968"/>
                    <a:pt x="238117" y="763464"/>
                    <a:pt x="238117" y="770409"/>
                  </a:cubicBezTo>
                  <a:cubicBezTo>
                    <a:pt x="238117" y="777354"/>
                    <a:pt x="238117" y="777354"/>
                    <a:pt x="238117" y="784795"/>
                  </a:cubicBezTo>
                  <a:cubicBezTo>
                    <a:pt x="238117" y="792236"/>
                    <a:pt x="244566" y="794717"/>
                    <a:pt x="239109" y="799677"/>
                  </a:cubicBezTo>
                  <a:cubicBezTo>
                    <a:pt x="234149" y="804638"/>
                    <a:pt x="230676" y="802158"/>
                    <a:pt x="224723" y="798189"/>
                  </a:cubicBezTo>
                  <a:cubicBezTo>
                    <a:pt x="215298" y="792236"/>
                    <a:pt x="221251" y="784795"/>
                    <a:pt x="210337" y="782315"/>
                  </a:cubicBezTo>
                  <a:cubicBezTo>
                    <a:pt x="203392" y="780826"/>
                    <a:pt x="207856" y="789260"/>
                    <a:pt x="201903" y="793228"/>
                  </a:cubicBezTo>
                  <a:cubicBezTo>
                    <a:pt x="194462" y="798189"/>
                    <a:pt x="193966" y="792732"/>
                    <a:pt x="184045" y="792732"/>
                  </a:cubicBezTo>
                  <a:cubicBezTo>
                    <a:pt x="178588" y="792732"/>
                    <a:pt x="172635" y="792732"/>
                    <a:pt x="166682" y="792732"/>
                  </a:cubicBezTo>
                  <a:cubicBezTo>
                    <a:pt x="160729" y="792236"/>
                    <a:pt x="154776" y="790252"/>
                    <a:pt x="149319" y="790252"/>
                  </a:cubicBezTo>
                  <a:cubicBezTo>
                    <a:pt x="142870" y="789756"/>
                    <a:pt x="136917" y="790748"/>
                    <a:pt x="131957" y="790252"/>
                  </a:cubicBezTo>
                  <a:cubicBezTo>
                    <a:pt x="122035" y="789260"/>
                    <a:pt x="115586" y="786779"/>
                    <a:pt x="116082" y="784795"/>
                  </a:cubicBezTo>
                  <a:cubicBezTo>
                    <a:pt x="117074" y="782811"/>
                    <a:pt x="121539" y="779338"/>
                    <a:pt x="129476" y="775370"/>
                  </a:cubicBezTo>
                  <a:cubicBezTo>
                    <a:pt x="133941" y="773385"/>
                    <a:pt x="139398" y="772393"/>
                    <a:pt x="145351" y="769913"/>
                  </a:cubicBezTo>
                  <a:cubicBezTo>
                    <a:pt x="150312" y="767929"/>
                    <a:pt x="155272" y="764952"/>
                    <a:pt x="160729" y="762968"/>
                  </a:cubicBezTo>
                  <a:cubicBezTo>
                    <a:pt x="165690" y="760983"/>
                    <a:pt x="171147" y="758999"/>
                    <a:pt x="176604" y="757015"/>
                  </a:cubicBezTo>
                  <a:cubicBezTo>
                    <a:pt x="182060" y="755030"/>
                    <a:pt x="186525" y="751558"/>
                    <a:pt x="191486" y="749574"/>
                  </a:cubicBezTo>
                  <a:cubicBezTo>
                    <a:pt x="196943" y="747093"/>
                    <a:pt x="202400" y="746101"/>
                    <a:pt x="206864" y="743621"/>
                  </a:cubicBezTo>
                  <a:cubicBezTo>
                    <a:pt x="206864" y="738164"/>
                    <a:pt x="206864" y="732707"/>
                    <a:pt x="206864" y="727250"/>
                  </a:cubicBezTo>
                  <a:cubicBezTo>
                    <a:pt x="206864" y="721793"/>
                    <a:pt x="207361" y="716336"/>
                    <a:pt x="206864" y="710880"/>
                  </a:cubicBezTo>
                  <a:cubicBezTo>
                    <a:pt x="206864" y="705423"/>
                    <a:pt x="207361" y="699966"/>
                    <a:pt x="206864" y="694509"/>
                  </a:cubicBezTo>
                  <a:cubicBezTo>
                    <a:pt x="206864" y="689052"/>
                    <a:pt x="204880" y="683595"/>
                    <a:pt x="204384" y="678138"/>
                  </a:cubicBezTo>
                  <a:cubicBezTo>
                    <a:pt x="204384" y="672682"/>
                    <a:pt x="203888" y="667225"/>
                    <a:pt x="203392" y="661768"/>
                  </a:cubicBezTo>
                  <a:cubicBezTo>
                    <a:pt x="202896" y="656311"/>
                    <a:pt x="203392" y="650854"/>
                    <a:pt x="203392" y="645397"/>
                  </a:cubicBezTo>
                  <a:cubicBezTo>
                    <a:pt x="202896" y="639941"/>
                    <a:pt x="203392" y="634484"/>
                    <a:pt x="202896" y="629027"/>
                  </a:cubicBezTo>
                  <a:cubicBezTo>
                    <a:pt x="202400" y="623570"/>
                    <a:pt x="202896" y="618113"/>
                    <a:pt x="202400" y="612656"/>
                  </a:cubicBezTo>
                  <a:cubicBezTo>
                    <a:pt x="201903" y="607199"/>
                    <a:pt x="200415" y="601742"/>
                    <a:pt x="199919" y="596285"/>
                  </a:cubicBezTo>
                  <a:cubicBezTo>
                    <a:pt x="199423" y="590829"/>
                    <a:pt x="198927" y="585372"/>
                    <a:pt x="198431" y="579915"/>
                  </a:cubicBezTo>
                  <a:cubicBezTo>
                    <a:pt x="197935" y="574458"/>
                    <a:pt x="198431" y="569001"/>
                    <a:pt x="197935" y="563544"/>
                  </a:cubicBezTo>
                  <a:cubicBezTo>
                    <a:pt x="197439" y="558088"/>
                    <a:pt x="196943" y="552631"/>
                    <a:pt x="195951" y="547174"/>
                  </a:cubicBezTo>
                  <a:cubicBezTo>
                    <a:pt x="195455" y="541717"/>
                    <a:pt x="193966" y="536260"/>
                    <a:pt x="192974" y="530803"/>
                  </a:cubicBezTo>
                  <a:cubicBezTo>
                    <a:pt x="192478" y="525346"/>
                    <a:pt x="191486" y="519890"/>
                    <a:pt x="190990" y="514433"/>
                  </a:cubicBezTo>
                  <a:cubicBezTo>
                    <a:pt x="190494" y="508976"/>
                    <a:pt x="190494" y="503519"/>
                    <a:pt x="189998" y="498062"/>
                  </a:cubicBezTo>
                  <a:cubicBezTo>
                    <a:pt x="189502" y="492605"/>
                    <a:pt x="189006" y="487148"/>
                    <a:pt x="188013" y="481692"/>
                  </a:cubicBezTo>
                  <a:cubicBezTo>
                    <a:pt x="187021" y="476235"/>
                    <a:pt x="184541" y="471274"/>
                    <a:pt x="183549" y="465817"/>
                  </a:cubicBezTo>
                  <a:cubicBezTo>
                    <a:pt x="182557" y="460360"/>
                    <a:pt x="181564" y="454903"/>
                    <a:pt x="180572" y="449446"/>
                  </a:cubicBezTo>
                  <a:cubicBezTo>
                    <a:pt x="179580" y="443990"/>
                    <a:pt x="179580" y="438533"/>
                    <a:pt x="178588" y="433076"/>
                  </a:cubicBezTo>
                  <a:cubicBezTo>
                    <a:pt x="177596" y="427619"/>
                    <a:pt x="177596" y="422162"/>
                    <a:pt x="176604" y="416705"/>
                  </a:cubicBezTo>
                  <a:cubicBezTo>
                    <a:pt x="175611" y="411248"/>
                    <a:pt x="174619" y="405792"/>
                    <a:pt x="173627" y="400831"/>
                  </a:cubicBezTo>
                  <a:cubicBezTo>
                    <a:pt x="172635" y="395374"/>
                    <a:pt x="171643" y="389917"/>
                    <a:pt x="170651" y="384956"/>
                  </a:cubicBezTo>
                  <a:cubicBezTo>
                    <a:pt x="169658" y="379500"/>
                    <a:pt x="167178" y="374539"/>
                    <a:pt x="166186" y="369082"/>
                  </a:cubicBezTo>
                  <a:cubicBezTo>
                    <a:pt x="165194" y="363625"/>
                    <a:pt x="164698" y="358168"/>
                    <a:pt x="163706" y="352711"/>
                  </a:cubicBezTo>
                  <a:cubicBezTo>
                    <a:pt x="162714" y="347255"/>
                    <a:pt x="161225" y="342294"/>
                    <a:pt x="159737" y="336837"/>
                  </a:cubicBezTo>
                  <a:cubicBezTo>
                    <a:pt x="158249" y="331380"/>
                    <a:pt x="157753" y="325923"/>
                    <a:pt x="156265" y="320962"/>
                  </a:cubicBezTo>
                  <a:cubicBezTo>
                    <a:pt x="154776" y="315505"/>
                    <a:pt x="153784" y="310049"/>
                    <a:pt x="152296" y="305088"/>
                  </a:cubicBezTo>
                  <a:cubicBezTo>
                    <a:pt x="150808" y="299631"/>
                    <a:pt x="150312" y="294174"/>
                    <a:pt x="148823" y="289213"/>
                  </a:cubicBezTo>
                  <a:cubicBezTo>
                    <a:pt x="147335" y="283756"/>
                    <a:pt x="145847" y="278796"/>
                    <a:pt x="144359" y="273339"/>
                  </a:cubicBezTo>
                  <a:cubicBezTo>
                    <a:pt x="142870" y="267882"/>
                    <a:pt x="141382" y="262921"/>
                    <a:pt x="139894" y="257464"/>
                  </a:cubicBezTo>
                  <a:cubicBezTo>
                    <a:pt x="138406" y="252008"/>
                    <a:pt x="136917" y="247047"/>
                    <a:pt x="135429" y="241590"/>
                  </a:cubicBezTo>
                  <a:cubicBezTo>
                    <a:pt x="133941" y="236133"/>
                    <a:pt x="131461" y="231172"/>
                    <a:pt x="129476" y="226211"/>
                  </a:cubicBezTo>
                  <a:cubicBezTo>
                    <a:pt x="127988" y="220755"/>
                    <a:pt x="125011" y="216290"/>
                    <a:pt x="123523" y="210833"/>
                  </a:cubicBezTo>
                  <a:cubicBezTo>
                    <a:pt x="122035" y="205376"/>
                    <a:pt x="122035" y="199423"/>
                    <a:pt x="120547" y="194462"/>
                  </a:cubicBezTo>
                  <a:cubicBezTo>
                    <a:pt x="118562" y="189006"/>
                    <a:pt x="116082" y="184541"/>
                    <a:pt x="114098" y="179084"/>
                  </a:cubicBezTo>
                  <a:cubicBezTo>
                    <a:pt x="112113" y="173627"/>
                    <a:pt x="110129" y="168666"/>
                    <a:pt x="108145" y="163706"/>
                  </a:cubicBezTo>
                  <a:cubicBezTo>
                    <a:pt x="106160" y="158249"/>
                    <a:pt x="104176" y="153288"/>
                    <a:pt x="102192" y="148327"/>
                  </a:cubicBezTo>
                  <a:cubicBezTo>
                    <a:pt x="100208" y="142870"/>
                    <a:pt x="99216" y="137413"/>
                    <a:pt x="97727" y="132453"/>
                  </a:cubicBezTo>
                  <a:cubicBezTo>
                    <a:pt x="95743" y="126996"/>
                    <a:pt x="92270" y="122531"/>
                    <a:pt x="90286" y="118066"/>
                  </a:cubicBezTo>
                  <a:cubicBezTo>
                    <a:pt x="88302" y="112609"/>
                    <a:pt x="85821" y="107649"/>
                    <a:pt x="83837" y="103184"/>
                  </a:cubicBezTo>
                  <a:cubicBezTo>
                    <a:pt x="81853" y="97727"/>
                    <a:pt x="79868" y="92766"/>
                    <a:pt x="77884" y="87806"/>
                  </a:cubicBezTo>
                  <a:cubicBezTo>
                    <a:pt x="75404" y="82349"/>
                    <a:pt x="73915" y="77388"/>
                    <a:pt x="71435" y="72923"/>
                  </a:cubicBezTo>
                  <a:cubicBezTo>
                    <a:pt x="68955" y="67466"/>
                    <a:pt x="66474" y="62506"/>
                    <a:pt x="64490" y="58041"/>
                  </a:cubicBezTo>
                  <a:cubicBezTo>
                    <a:pt x="62010" y="52584"/>
                    <a:pt x="58537" y="48119"/>
                    <a:pt x="56553" y="43655"/>
                  </a:cubicBezTo>
                  <a:cubicBezTo>
                    <a:pt x="53576" y="38198"/>
                    <a:pt x="52584" y="32741"/>
                    <a:pt x="50104" y="28772"/>
                  </a:cubicBezTo>
                  <a:cubicBezTo>
                    <a:pt x="45143" y="19347"/>
                    <a:pt x="49608" y="17363"/>
                    <a:pt x="42167" y="13890"/>
                  </a:cubicBezTo>
                  <a:cubicBezTo>
                    <a:pt x="35221" y="10418"/>
                    <a:pt x="34725" y="14386"/>
                    <a:pt x="26292" y="12898"/>
                  </a:cubicBezTo>
                  <a:cubicBezTo>
                    <a:pt x="21331" y="11906"/>
                    <a:pt x="15378" y="11906"/>
                    <a:pt x="10913" y="10418"/>
                  </a:cubicBezTo>
                  <a:cubicBezTo>
                    <a:pt x="4961" y="8433"/>
                    <a:pt x="496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EA51AEEB-09E8-F4D2-2743-B0072485A8DC}"/>
                </a:ext>
              </a:extLst>
            </p:cNvPr>
            <p:cNvSpPr/>
            <p:nvPr/>
          </p:nvSpPr>
          <p:spPr>
            <a:xfrm>
              <a:off x="4042464" y="4600750"/>
              <a:ext cx="39480" cy="104159"/>
            </a:xfrm>
            <a:custGeom>
              <a:avLst/>
              <a:gdLst>
                <a:gd name="connsiteX0" fmla="*/ 36159 w 39480"/>
                <a:gd name="connsiteY0" fmla="*/ 101076 h 104159"/>
                <a:gd name="connsiteX1" fmla="*/ 19788 w 39480"/>
                <a:gd name="connsiteY1" fmla="*/ 100580 h 104159"/>
                <a:gd name="connsiteX2" fmla="*/ 2425 w 39480"/>
                <a:gd name="connsiteY2" fmla="*/ 102068 h 104159"/>
                <a:gd name="connsiteX3" fmla="*/ 2425 w 39480"/>
                <a:gd name="connsiteY3" fmla="*/ 87682 h 104159"/>
                <a:gd name="connsiteX4" fmla="*/ 2425 w 39480"/>
                <a:gd name="connsiteY4" fmla="*/ 73792 h 104159"/>
                <a:gd name="connsiteX5" fmla="*/ 2425 w 39480"/>
                <a:gd name="connsiteY5" fmla="*/ 59901 h 104159"/>
                <a:gd name="connsiteX6" fmla="*/ 6890 w 39480"/>
                <a:gd name="connsiteY6" fmla="*/ 46011 h 104159"/>
                <a:gd name="connsiteX7" fmla="*/ 10362 w 39480"/>
                <a:gd name="connsiteY7" fmla="*/ 31625 h 104159"/>
                <a:gd name="connsiteX8" fmla="*/ 14827 w 39480"/>
                <a:gd name="connsiteY8" fmla="*/ 17735 h 104159"/>
                <a:gd name="connsiteX9" fmla="*/ 17804 w 39480"/>
                <a:gd name="connsiteY9" fmla="*/ 3845 h 104159"/>
                <a:gd name="connsiteX10" fmla="*/ 36159 w 39480"/>
                <a:gd name="connsiteY10" fmla="*/ 4341 h 104159"/>
                <a:gd name="connsiteX11" fmla="*/ 36159 w 39480"/>
                <a:gd name="connsiteY11" fmla="*/ 19719 h 104159"/>
                <a:gd name="connsiteX12" fmla="*/ 37151 w 39480"/>
                <a:gd name="connsiteY12" fmla="*/ 36090 h 104159"/>
                <a:gd name="connsiteX13" fmla="*/ 36655 w 39480"/>
                <a:gd name="connsiteY13" fmla="*/ 52460 h 104159"/>
                <a:gd name="connsiteX14" fmla="*/ 36655 w 39480"/>
                <a:gd name="connsiteY14" fmla="*/ 68831 h 104159"/>
                <a:gd name="connsiteX15" fmla="*/ 36655 w 39480"/>
                <a:gd name="connsiteY15" fmla="*/ 85201 h 104159"/>
                <a:gd name="connsiteX16" fmla="*/ 36159 w 39480"/>
                <a:gd name="connsiteY16" fmla="*/ 101076 h 10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80" h="104159">
                  <a:moveTo>
                    <a:pt x="36159" y="101076"/>
                  </a:moveTo>
                  <a:cubicBezTo>
                    <a:pt x="30206" y="107029"/>
                    <a:pt x="28221" y="100580"/>
                    <a:pt x="19788" y="100580"/>
                  </a:cubicBezTo>
                  <a:cubicBezTo>
                    <a:pt x="11355" y="100580"/>
                    <a:pt x="8874" y="107525"/>
                    <a:pt x="2425" y="102068"/>
                  </a:cubicBezTo>
                  <a:cubicBezTo>
                    <a:pt x="-3032" y="97603"/>
                    <a:pt x="2425" y="94627"/>
                    <a:pt x="2425" y="87682"/>
                  </a:cubicBezTo>
                  <a:cubicBezTo>
                    <a:pt x="2425" y="80737"/>
                    <a:pt x="2425" y="80737"/>
                    <a:pt x="2425" y="73792"/>
                  </a:cubicBezTo>
                  <a:cubicBezTo>
                    <a:pt x="2425" y="66847"/>
                    <a:pt x="1433" y="66847"/>
                    <a:pt x="2425" y="59901"/>
                  </a:cubicBezTo>
                  <a:cubicBezTo>
                    <a:pt x="3418" y="52460"/>
                    <a:pt x="5402" y="52956"/>
                    <a:pt x="6890" y="46011"/>
                  </a:cubicBezTo>
                  <a:cubicBezTo>
                    <a:pt x="8874" y="39066"/>
                    <a:pt x="8378" y="39066"/>
                    <a:pt x="10362" y="31625"/>
                  </a:cubicBezTo>
                  <a:cubicBezTo>
                    <a:pt x="12347" y="24680"/>
                    <a:pt x="12843" y="24680"/>
                    <a:pt x="14827" y="17735"/>
                  </a:cubicBezTo>
                  <a:cubicBezTo>
                    <a:pt x="16811" y="10790"/>
                    <a:pt x="11851" y="7317"/>
                    <a:pt x="17804" y="3845"/>
                  </a:cubicBezTo>
                  <a:cubicBezTo>
                    <a:pt x="25741" y="-1116"/>
                    <a:pt x="28717" y="-1612"/>
                    <a:pt x="36159" y="4341"/>
                  </a:cubicBezTo>
                  <a:cubicBezTo>
                    <a:pt x="42112" y="9798"/>
                    <a:pt x="36159" y="11782"/>
                    <a:pt x="36159" y="19719"/>
                  </a:cubicBezTo>
                  <a:cubicBezTo>
                    <a:pt x="36159" y="27656"/>
                    <a:pt x="37151" y="27656"/>
                    <a:pt x="37151" y="36090"/>
                  </a:cubicBezTo>
                  <a:cubicBezTo>
                    <a:pt x="37151" y="44027"/>
                    <a:pt x="36655" y="44027"/>
                    <a:pt x="36655" y="52460"/>
                  </a:cubicBezTo>
                  <a:cubicBezTo>
                    <a:pt x="36655" y="60397"/>
                    <a:pt x="36655" y="60397"/>
                    <a:pt x="36655" y="68831"/>
                  </a:cubicBezTo>
                  <a:cubicBezTo>
                    <a:pt x="36655" y="76768"/>
                    <a:pt x="35166" y="77264"/>
                    <a:pt x="36655" y="85201"/>
                  </a:cubicBezTo>
                  <a:cubicBezTo>
                    <a:pt x="38639" y="93635"/>
                    <a:pt x="42112" y="95123"/>
                    <a:pt x="36159" y="101076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F705019-4121-DDBC-54B6-CBA4B8F88A22}"/>
                </a:ext>
              </a:extLst>
            </p:cNvPr>
            <p:cNvSpPr/>
            <p:nvPr/>
          </p:nvSpPr>
          <p:spPr>
            <a:xfrm>
              <a:off x="4080111" y="4644336"/>
              <a:ext cx="171465" cy="33623"/>
            </a:xfrm>
            <a:custGeom>
              <a:avLst/>
              <a:gdLst>
                <a:gd name="connsiteX0" fmla="*/ 106657 w 171465"/>
                <a:gd name="connsiteY0" fmla="*/ 1929 h 33623"/>
                <a:gd name="connsiteX1" fmla="*/ 122035 w 171465"/>
                <a:gd name="connsiteY1" fmla="*/ 1433 h 33623"/>
                <a:gd name="connsiteX2" fmla="*/ 137414 w 171465"/>
                <a:gd name="connsiteY2" fmla="*/ 1433 h 33623"/>
                <a:gd name="connsiteX3" fmla="*/ 152792 w 171465"/>
                <a:gd name="connsiteY3" fmla="*/ 2425 h 33623"/>
                <a:gd name="connsiteX4" fmla="*/ 168171 w 171465"/>
                <a:gd name="connsiteY4" fmla="*/ 2425 h 33623"/>
                <a:gd name="connsiteX5" fmla="*/ 168667 w 171465"/>
                <a:gd name="connsiteY5" fmla="*/ 16315 h 33623"/>
                <a:gd name="connsiteX6" fmla="*/ 169163 w 171465"/>
                <a:gd name="connsiteY6" fmla="*/ 31198 h 33623"/>
                <a:gd name="connsiteX7" fmla="*/ 151800 w 171465"/>
                <a:gd name="connsiteY7" fmla="*/ 31198 h 33623"/>
                <a:gd name="connsiteX8" fmla="*/ 134933 w 171465"/>
                <a:gd name="connsiteY8" fmla="*/ 31694 h 33623"/>
                <a:gd name="connsiteX9" fmla="*/ 118066 w 171465"/>
                <a:gd name="connsiteY9" fmla="*/ 31694 h 33623"/>
                <a:gd name="connsiteX10" fmla="*/ 101200 w 171465"/>
                <a:gd name="connsiteY10" fmla="*/ 31694 h 33623"/>
                <a:gd name="connsiteX11" fmla="*/ 84333 w 171465"/>
                <a:gd name="connsiteY11" fmla="*/ 31694 h 33623"/>
                <a:gd name="connsiteX12" fmla="*/ 67467 w 171465"/>
                <a:gd name="connsiteY12" fmla="*/ 30702 h 33623"/>
                <a:gd name="connsiteX13" fmla="*/ 50600 w 171465"/>
                <a:gd name="connsiteY13" fmla="*/ 31198 h 33623"/>
                <a:gd name="connsiteX14" fmla="*/ 33733 w 171465"/>
                <a:gd name="connsiteY14" fmla="*/ 31198 h 33623"/>
                <a:gd name="connsiteX15" fmla="*/ 16867 w 171465"/>
                <a:gd name="connsiteY15" fmla="*/ 31198 h 33623"/>
                <a:gd name="connsiteX16" fmla="*/ 0 w 171465"/>
                <a:gd name="connsiteY16" fmla="*/ 30206 h 3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65" h="33623">
                  <a:moveTo>
                    <a:pt x="106657" y="1929"/>
                  </a:moveTo>
                  <a:cubicBezTo>
                    <a:pt x="114594" y="1929"/>
                    <a:pt x="114594" y="1433"/>
                    <a:pt x="122035" y="1433"/>
                  </a:cubicBezTo>
                  <a:cubicBezTo>
                    <a:pt x="129972" y="1433"/>
                    <a:pt x="129972" y="1433"/>
                    <a:pt x="137414" y="1433"/>
                  </a:cubicBezTo>
                  <a:cubicBezTo>
                    <a:pt x="145351" y="1433"/>
                    <a:pt x="145351" y="2425"/>
                    <a:pt x="152792" y="2425"/>
                  </a:cubicBezTo>
                  <a:cubicBezTo>
                    <a:pt x="160233" y="2425"/>
                    <a:pt x="162218" y="-3032"/>
                    <a:pt x="168171" y="2425"/>
                  </a:cubicBezTo>
                  <a:cubicBezTo>
                    <a:pt x="173627" y="7386"/>
                    <a:pt x="168667" y="8874"/>
                    <a:pt x="168667" y="16315"/>
                  </a:cubicBezTo>
                  <a:cubicBezTo>
                    <a:pt x="168667" y="23261"/>
                    <a:pt x="174619" y="26733"/>
                    <a:pt x="169163" y="31198"/>
                  </a:cubicBezTo>
                  <a:cubicBezTo>
                    <a:pt x="162714" y="36655"/>
                    <a:pt x="160233" y="31198"/>
                    <a:pt x="151800" y="31198"/>
                  </a:cubicBezTo>
                  <a:cubicBezTo>
                    <a:pt x="143367" y="31198"/>
                    <a:pt x="143367" y="31694"/>
                    <a:pt x="134933" y="31694"/>
                  </a:cubicBezTo>
                  <a:cubicBezTo>
                    <a:pt x="126500" y="31694"/>
                    <a:pt x="126500" y="31694"/>
                    <a:pt x="118066" y="31694"/>
                  </a:cubicBezTo>
                  <a:cubicBezTo>
                    <a:pt x="109633" y="31694"/>
                    <a:pt x="109633" y="31694"/>
                    <a:pt x="101200" y="31694"/>
                  </a:cubicBezTo>
                  <a:cubicBezTo>
                    <a:pt x="92767" y="31694"/>
                    <a:pt x="92767" y="31694"/>
                    <a:pt x="84333" y="31694"/>
                  </a:cubicBezTo>
                  <a:cubicBezTo>
                    <a:pt x="75900" y="31694"/>
                    <a:pt x="75900" y="30702"/>
                    <a:pt x="67467" y="30702"/>
                  </a:cubicBezTo>
                  <a:cubicBezTo>
                    <a:pt x="59033" y="30702"/>
                    <a:pt x="59033" y="31198"/>
                    <a:pt x="50600" y="31198"/>
                  </a:cubicBezTo>
                  <a:cubicBezTo>
                    <a:pt x="42167" y="31198"/>
                    <a:pt x="42167" y="31198"/>
                    <a:pt x="33733" y="31198"/>
                  </a:cubicBezTo>
                  <a:cubicBezTo>
                    <a:pt x="25300" y="31198"/>
                    <a:pt x="25300" y="31198"/>
                    <a:pt x="16867" y="31198"/>
                  </a:cubicBezTo>
                  <a:cubicBezTo>
                    <a:pt x="8433" y="31198"/>
                    <a:pt x="8433" y="30206"/>
                    <a:pt x="0" y="30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4E5CB915-BA23-37FB-CDCB-9D34E5F10038}"/>
                </a:ext>
              </a:extLst>
            </p:cNvPr>
            <p:cNvSpPr/>
            <p:nvPr/>
          </p:nvSpPr>
          <p:spPr>
            <a:xfrm>
              <a:off x="4080111" y="4644777"/>
              <a:ext cx="74411" cy="1984"/>
            </a:xfrm>
            <a:custGeom>
              <a:avLst/>
              <a:gdLst>
                <a:gd name="connsiteX0" fmla="*/ 0 w 74411"/>
                <a:gd name="connsiteY0" fmla="*/ 1488 h 1984"/>
                <a:gd name="connsiteX1" fmla="*/ 14882 w 74411"/>
                <a:gd name="connsiteY1" fmla="*/ 1984 h 1984"/>
                <a:gd name="connsiteX2" fmla="*/ 29765 w 74411"/>
                <a:gd name="connsiteY2" fmla="*/ 1488 h 1984"/>
                <a:gd name="connsiteX3" fmla="*/ 44647 w 74411"/>
                <a:gd name="connsiteY3" fmla="*/ 0 h 1984"/>
                <a:gd name="connsiteX4" fmla="*/ 59529 w 74411"/>
                <a:gd name="connsiteY4" fmla="*/ 0 h 1984"/>
                <a:gd name="connsiteX5" fmla="*/ 74412 w 74411"/>
                <a:gd name="connsiteY5" fmla="*/ 1488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411" h="1984">
                  <a:moveTo>
                    <a:pt x="0" y="1488"/>
                  </a:moveTo>
                  <a:cubicBezTo>
                    <a:pt x="7441" y="1488"/>
                    <a:pt x="7441" y="1984"/>
                    <a:pt x="14882" y="1984"/>
                  </a:cubicBezTo>
                  <a:cubicBezTo>
                    <a:pt x="22324" y="1984"/>
                    <a:pt x="22324" y="1488"/>
                    <a:pt x="29765" y="1488"/>
                  </a:cubicBezTo>
                  <a:cubicBezTo>
                    <a:pt x="37206" y="1488"/>
                    <a:pt x="37206" y="0"/>
                    <a:pt x="44647" y="0"/>
                  </a:cubicBezTo>
                  <a:cubicBezTo>
                    <a:pt x="52088" y="0"/>
                    <a:pt x="52088" y="0"/>
                    <a:pt x="59529" y="0"/>
                  </a:cubicBezTo>
                  <a:cubicBezTo>
                    <a:pt x="66971" y="0"/>
                    <a:pt x="66971" y="1488"/>
                    <a:pt x="7441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94C8EF84-40D7-761D-9E6F-6130FDB99AF8}"/>
                </a:ext>
              </a:extLst>
            </p:cNvPr>
            <p:cNvSpPr/>
            <p:nvPr/>
          </p:nvSpPr>
          <p:spPr>
            <a:xfrm>
              <a:off x="4023881" y="4123399"/>
              <a:ext cx="196329" cy="193966"/>
            </a:xfrm>
            <a:custGeom>
              <a:avLst/>
              <a:gdLst>
                <a:gd name="connsiteX0" fmla="*/ 89467 w 196329"/>
                <a:gd name="connsiteY0" fmla="*/ 121539 h 193966"/>
                <a:gd name="connsiteX1" fmla="*/ 75577 w 196329"/>
                <a:gd name="connsiteY1" fmla="*/ 112113 h 193966"/>
                <a:gd name="connsiteX2" fmla="*/ 61687 w 196329"/>
                <a:gd name="connsiteY2" fmla="*/ 102688 h 193966"/>
                <a:gd name="connsiteX3" fmla="*/ 46804 w 196329"/>
                <a:gd name="connsiteY3" fmla="*/ 94751 h 193966"/>
                <a:gd name="connsiteX4" fmla="*/ 37379 w 196329"/>
                <a:gd name="connsiteY4" fmla="*/ 81357 h 193966"/>
                <a:gd name="connsiteX5" fmla="*/ 26961 w 196329"/>
                <a:gd name="connsiteY5" fmla="*/ 68459 h 193966"/>
                <a:gd name="connsiteX6" fmla="*/ 18528 w 196329"/>
                <a:gd name="connsiteY6" fmla="*/ 54072 h 193966"/>
                <a:gd name="connsiteX7" fmla="*/ 9598 w 196329"/>
                <a:gd name="connsiteY7" fmla="*/ 40182 h 193966"/>
                <a:gd name="connsiteX8" fmla="*/ 2653 w 196329"/>
                <a:gd name="connsiteY8" fmla="*/ 25300 h 193966"/>
                <a:gd name="connsiteX9" fmla="*/ 173 w 196329"/>
                <a:gd name="connsiteY9" fmla="*/ 9425 h 193966"/>
                <a:gd name="connsiteX10" fmla="*/ 11087 w 196329"/>
                <a:gd name="connsiteY10" fmla="*/ 0 h 193966"/>
                <a:gd name="connsiteX11" fmla="*/ 26961 w 196329"/>
                <a:gd name="connsiteY11" fmla="*/ 4465 h 193966"/>
                <a:gd name="connsiteX12" fmla="*/ 41347 w 196329"/>
                <a:gd name="connsiteY12" fmla="*/ 10418 h 193966"/>
                <a:gd name="connsiteX13" fmla="*/ 51765 w 196329"/>
                <a:gd name="connsiteY13" fmla="*/ 21827 h 193966"/>
                <a:gd name="connsiteX14" fmla="*/ 60694 w 196329"/>
                <a:gd name="connsiteY14" fmla="*/ 34229 h 193966"/>
                <a:gd name="connsiteX15" fmla="*/ 68632 w 196329"/>
                <a:gd name="connsiteY15" fmla="*/ 47127 h 193966"/>
                <a:gd name="connsiteX16" fmla="*/ 74585 w 196329"/>
                <a:gd name="connsiteY16" fmla="*/ 61513 h 193966"/>
                <a:gd name="connsiteX17" fmla="*/ 79049 w 196329"/>
                <a:gd name="connsiteY17" fmla="*/ 76396 h 193966"/>
                <a:gd name="connsiteX18" fmla="*/ 83514 w 196329"/>
                <a:gd name="connsiteY18" fmla="*/ 91278 h 193966"/>
                <a:gd name="connsiteX19" fmla="*/ 86491 w 196329"/>
                <a:gd name="connsiteY19" fmla="*/ 106657 h 193966"/>
                <a:gd name="connsiteX20" fmla="*/ 89467 w 196329"/>
                <a:gd name="connsiteY20" fmla="*/ 122035 h 193966"/>
                <a:gd name="connsiteX21" fmla="*/ 100877 w 196329"/>
                <a:gd name="connsiteY21" fmla="*/ 132453 h 193966"/>
                <a:gd name="connsiteX22" fmla="*/ 112286 w 196329"/>
                <a:gd name="connsiteY22" fmla="*/ 142374 h 193966"/>
                <a:gd name="connsiteX23" fmla="*/ 124192 w 196329"/>
                <a:gd name="connsiteY23" fmla="*/ 151800 h 193966"/>
                <a:gd name="connsiteX24" fmla="*/ 135602 w 196329"/>
                <a:gd name="connsiteY24" fmla="*/ 161721 h 193966"/>
                <a:gd name="connsiteX25" fmla="*/ 146516 w 196329"/>
                <a:gd name="connsiteY25" fmla="*/ 172139 h 193966"/>
                <a:gd name="connsiteX26" fmla="*/ 157926 w 196329"/>
                <a:gd name="connsiteY26" fmla="*/ 182061 h 193966"/>
                <a:gd name="connsiteX27" fmla="*/ 168343 w 196329"/>
                <a:gd name="connsiteY27" fmla="*/ 193966 h 193966"/>
                <a:gd name="connsiteX28" fmla="*/ 179753 w 196329"/>
                <a:gd name="connsiteY28" fmla="*/ 182557 h 193966"/>
                <a:gd name="connsiteX29" fmla="*/ 187194 w 196329"/>
                <a:gd name="connsiteY29" fmla="*/ 169162 h 193966"/>
                <a:gd name="connsiteX30" fmla="*/ 193643 w 196329"/>
                <a:gd name="connsiteY30" fmla="*/ 155272 h 193966"/>
                <a:gd name="connsiteX31" fmla="*/ 195628 w 196329"/>
                <a:gd name="connsiteY31" fmla="*/ 140390 h 193966"/>
                <a:gd name="connsiteX32" fmla="*/ 196124 w 196329"/>
                <a:gd name="connsiteY32" fmla="*/ 125012 h 193966"/>
                <a:gd name="connsiteX33" fmla="*/ 191659 w 196329"/>
                <a:gd name="connsiteY33" fmla="*/ 110129 h 193966"/>
                <a:gd name="connsiteX34" fmla="*/ 183722 w 196329"/>
                <a:gd name="connsiteY34" fmla="*/ 96735 h 193966"/>
                <a:gd name="connsiteX35" fmla="*/ 173800 w 196329"/>
                <a:gd name="connsiteY35" fmla="*/ 84829 h 193966"/>
                <a:gd name="connsiteX36" fmla="*/ 162390 w 196329"/>
                <a:gd name="connsiteY36" fmla="*/ 74412 h 193966"/>
                <a:gd name="connsiteX37" fmla="*/ 148996 w 196329"/>
                <a:gd name="connsiteY37" fmla="*/ 66474 h 193966"/>
                <a:gd name="connsiteX38" fmla="*/ 134114 w 196329"/>
                <a:gd name="connsiteY38" fmla="*/ 62506 h 193966"/>
                <a:gd name="connsiteX39" fmla="*/ 118736 w 196329"/>
                <a:gd name="connsiteY39" fmla="*/ 60025 h 193966"/>
                <a:gd name="connsiteX40" fmla="*/ 102861 w 196329"/>
                <a:gd name="connsiteY40" fmla="*/ 60522 h 1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96329" h="193966">
                  <a:moveTo>
                    <a:pt x="89467" y="121539"/>
                  </a:moveTo>
                  <a:cubicBezTo>
                    <a:pt x="82522" y="116578"/>
                    <a:pt x="83514" y="117571"/>
                    <a:pt x="75577" y="112113"/>
                  </a:cubicBezTo>
                  <a:cubicBezTo>
                    <a:pt x="71112" y="109137"/>
                    <a:pt x="66647" y="105665"/>
                    <a:pt x="61687" y="102688"/>
                  </a:cubicBezTo>
                  <a:cubicBezTo>
                    <a:pt x="56230" y="99216"/>
                    <a:pt x="51269" y="96239"/>
                    <a:pt x="46804" y="94751"/>
                  </a:cubicBezTo>
                  <a:cubicBezTo>
                    <a:pt x="43332" y="90782"/>
                    <a:pt x="40851" y="85821"/>
                    <a:pt x="37379" y="81357"/>
                  </a:cubicBezTo>
                  <a:cubicBezTo>
                    <a:pt x="33906" y="76892"/>
                    <a:pt x="30433" y="72924"/>
                    <a:pt x="26961" y="68459"/>
                  </a:cubicBezTo>
                  <a:cubicBezTo>
                    <a:pt x="23984" y="63994"/>
                    <a:pt x="21504" y="59033"/>
                    <a:pt x="18528" y="54072"/>
                  </a:cubicBezTo>
                  <a:cubicBezTo>
                    <a:pt x="15551" y="49112"/>
                    <a:pt x="12079" y="44647"/>
                    <a:pt x="9598" y="40182"/>
                  </a:cubicBezTo>
                  <a:cubicBezTo>
                    <a:pt x="6622" y="34725"/>
                    <a:pt x="4141" y="29765"/>
                    <a:pt x="2653" y="25300"/>
                  </a:cubicBezTo>
                  <a:cubicBezTo>
                    <a:pt x="173" y="18851"/>
                    <a:pt x="-323" y="13394"/>
                    <a:pt x="173" y="9425"/>
                  </a:cubicBezTo>
                  <a:cubicBezTo>
                    <a:pt x="669" y="3473"/>
                    <a:pt x="3645" y="0"/>
                    <a:pt x="11087" y="0"/>
                  </a:cubicBezTo>
                  <a:cubicBezTo>
                    <a:pt x="15055" y="0"/>
                    <a:pt x="20016" y="1984"/>
                    <a:pt x="26961" y="4465"/>
                  </a:cubicBezTo>
                  <a:cubicBezTo>
                    <a:pt x="31922" y="6449"/>
                    <a:pt x="36883" y="7441"/>
                    <a:pt x="41347" y="10418"/>
                  </a:cubicBezTo>
                  <a:cubicBezTo>
                    <a:pt x="45316" y="13394"/>
                    <a:pt x="48292" y="17859"/>
                    <a:pt x="51765" y="21827"/>
                  </a:cubicBezTo>
                  <a:cubicBezTo>
                    <a:pt x="55237" y="25796"/>
                    <a:pt x="58214" y="29765"/>
                    <a:pt x="60694" y="34229"/>
                  </a:cubicBezTo>
                  <a:cubicBezTo>
                    <a:pt x="63175" y="38694"/>
                    <a:pt x="66647" y="42663"/>
                    <a:pt x="68632" y="47127"/>
                  </a:cubicBezTo>
                  <a:cubicBezTo>
                    <a:pt x="70616" y="51592"/>
                    <a:pt x="72600" y="56553"/>
                    <a:pt x="74585" y="61513"/>
                  </a:cubicBezTo>
                  <a:cubicBezTo>
                    <a:pt x="76073" y="66474"/>
                    <a:pt x="77561" y="71435"/>
                    <a:pt x="79049" y="76396"/>
                  </a:cubicBezTo>
                  <a:cubicBezTo>
                    <a:pt x="80538" y="81357"/>
                    <a:pt x="82026" y="86317"/>
                    <a:pt x="83514" y="91278"/>
                  </a:cubicBezTo>
                  <a:cubicBezTo>
                    <a:pt x="85002" y="96239"/>
                    <a:pt x="85002" y="101696"/>
                    <a:pt x="86491" y="106657"/>
                  </a:cubicBezTo>
                  <a:cubicBezTo>
                    <a:pt x="87482" y="111618"/>
                    <a:pt x="88475" y="117074"/>
                    <a:pt x="89467" y="122035"/>
                  </a:cubicBezTo>
                  <a:cubicBezTo>
                    <a:pt x="92939" y="125012"/>
                    <a:pt x="96412" y="128980"/>
                    <a:pt x="100877" y="132453"/>
                  </a:cubicBezTo>
                  <a:cubicBezTo>
                    <a:pt x="104349" y="135429"/>
                    <a:pt x="108318" y="138902"/>
                    <a:pt x="112286" y="142374"/>
                  </a:cubicBezTo>
                  <a:cubicBezTo>
                    <a:pt x="115759" y="145847"/>
                    <a:pt x="120224" y="148327"/>
                    <a:pt x="124192" y="151800"/>
                  </a:cubicBezTo>
                  <a:cubicBezTo>
                    <a:pt x="127665" y="155272"/>
                    <a:pt x="132129" y="158249"/>
                    <a:pt x="135602" y="161721"/>
                  </a:cubicBezTo>
                  <a:cubicBezTo>
                    <a:pt x="139571" y="165194"/>
                    <a:pt x="143043" y="168666"/>
                    <a:pt x="146516" y="172139"/>
                  </a:cubicBezTo>
                  <a:cubicBezTo>
                    <a:pt x="150484" y="175611"/>
                    <a:pt x="154453" y="179084"/>
                    <a:pt x="157926" y="182061"/>
                  </a:cubicBezTo>
                  <a:cubicBezTo>
                    <a:pt x="161894" y="186029"/>
                    <a:pt x="164871" y="190494"/>
                    <a:pt x="168343" y="193966"/>
                  </a:cubicBezTo>
                  <a:cubicBezTo>
                    <a:pt x="172312" y="190494"/>
                    <a:pt x="176280" y="186525"/>
                    <a:pt x="179753" y="182557"/>
                  </a:cubicBezTo>
                  <a:cubicBezTo>
                    <a:pt x="183226" y="178588"/>
                    <a:pt x="184714" y="173627"/>
                    <a:pt x="187194" y="169162"/>
                  </a:cubicBezTo>
                  <a:cubicBezTo>
                    <a:pt x="189675" y="164698"/>
                    <a:pt x="192155" y="160233"/>
                    <a:pt x="193643" y="155272"/>
                  </a:cubicBezTo>
                  <a:cubicBezTo>
                    <a:pt x="195131" y="150312"/>
                    <a:pt x="195628" y="145351"/>
                    <a:pt x="195628" y="140390"/>
                  </a:cubicBezTo>
                  <a:cubicBezTo>
                    <a:pt x="196124" y="135429"/>
                    <a:pt x="196620" y="129972"/>
                    <a:pt x="196124" y="125012"/>
                  </a:cubicBezTo>
                  <a:cubicBezTo>
                    <a:pt x="195131" y="120051"/>
                    <a:pt x="193643" y="115090"/>
                    <a:pt x="191659" y="110129"/>
                  </a:cubicBezTo>
                  <a:cubicBezTo>
                    <a:pt x="189675" y="105665"/>
                    <a:pt x="186698" y="101200"/>
                    <a:pt x="183722" y="96735"/>
                  </a:cubicBezTo>
                  <a:cubicBezTo>
                    <a:pt x="180745" y="92767"/>
                    <a:pt x="177769" y="88798"/>
                    <a:pt x="173800" y="84829"/>
                  </a:cubicBezTo>
                  <a:cubicBezTo>
                    <a:pt x="170327" y="81357"/>
                    <a:pt x="166855" y="77388"/>
                    <a:pt x="162390" y="74412"/>
                  </a:cubicBezTo>
                  <a:cubicBezTo>
                    <a:pt x="157926" y="70939"/>
                    <a:pt x="153461" y="68459"/>
                    <a:pt x="148996" y="66474"/>
                  </a:cubicBezTo>
                  <a:cubicBezTo>
                    <a:pt x="144035" y="63994"/>
                    <a:pt x="138579" y="63498"/>
                    <a:pt x="134114" y="62506"/>
                  </a:cubicBezTo>
                  <a:cubicBezTo>
                    <a:pt x="128657" y="61018"/>
                    <a:pt x="123696" y="60025"/>
                    <a:pt x="118736" y="60025"/>
                  </a:cubicBezTo>
                  <a:cubicBezTo>
                    <a:pt x="113279" y="60025"/>
                    <a:pt x="107822" y="59529"/>
                    <a:pt x="102861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A3B535E3-E48F-92B0-5ECD-15F7A0969744}"/>
                </a:ext>
              </a:extLst>
            </p:cNvPr>
            <p:cNvSpPr/>
            <p:nvPr/>
          </p:nvSpPr>
          <p:spPr>
            <a:xfrm>
              <a:off x="6457810" y="887978"/>
              <a:ext cx="528323" cy="822001"/>
            </a:xfrm>
            <a:custGeom>
              <a:avLst/>
              <a:gdLst>
                <a:gd name="connsiteX0" fmla="*/ 103184 w 1021424"/>
                <a:gd name="connsiteY0" fmla="*/ 822102 h 822102"/>
                <a:gd name="connsiteX1" fmla="*/ 92767 w 1021424"/>
                <a:gd name="connsiteY1" fmla="*/ 809204 h 822102"/>
                <a:gd name="connsiteX2" fmla="*/ 82845 w 1021424"/>
                <a:gd name="connsiteY2" fmla="*/ 795810 h 822102"/>
                <a:gd name="connsiteX3" fmla="*/ 74412 w 1021424"/>
                <a:gd name="connsiteY3" fmla="*/ 781424 h 822102"/>
                <a:gd name="connsiteX4" fmla="*/ 67466 w 1021424"/>
                <a:gd name="connsiteY4" fmla="*/ 766542 h 822102"/>
                <a:gd name="connsiteX5" fmla="*/ 59529 w 1021424"/>
                <a:gd name="connsiteY5" fmla="*/ 752155 h 822102"/>
                <a:gd name="connsiteX6" fmla="*/ 51096 w 1021424"/>
                <a:gd name="connsiteY6" fmla="*/ 737769 h 822102"/>
                <a:gd name="connsiteX7" fmla="*/ 44647 w 1021424"/>
                <a:gd name="connsiteY7" fmla="*/ 722391 h 822102"/>
                <a:gd name="connsiteX8" fmla="*/ 39190 w 1021424"/>
                <a:gd name="connsiteY8" fmla="*/ 706516 h 822102"/>
                <a:gd name="connsiteX9" fmla="*/ 31253 w 1021424"/>
                <a:gd name="connsiteY9" fmla="*/ 691634 h 822102"/>
                <a:gd name="connsiteX10" fmla="*/ 25796 w 1021424"/>
                <a:gd name="connsiteY10" fmla="*/ 675759 h 822102"/>
                <a:gd name="connsiteX11" fmla="*/ 20836 w 1021424"/>
                <a:gd name="connsiteY11" fmla="*/ 659885 h 822102"/>
                <a:gd name="connsiteX12" fmla="*/ 17859 w 1021424"/>
                <a:gd name="connsiteY12" fmla="*/ 643514 h 822102"/>
                <a:gd name="connsiteX13" fmla="*/ 12402 w 1021424"/>
                <a:gd name="connsiteY13" fmla="*/ 627640 h 822102"/>
                <a:gd name="connsiteX14" fmla="*/ 8930 w 1021424"/>
                <a:gd name="connsiteY14" fmla="*/ 611269 h 822102"/>
                <a:gd name="connsiteX15" fmla="*/ 5953 w 1021424"/>
                <a:gd name="connsiteY15" fmla="*/ 594899 h 822102"/>
                <a:gd name="connsiteX16" fmla="*/ 3969 w 1021424"/>
                <a:gd name="connsiteY16" fmla="*/ 578528 h 822102"/>
                <a:gd name="connsiteX17" fmla="*/ 2480 w 1021424"/>
                <a:gd name="connsiteY17" fmla="*/ 562158 h 822102"/>
                <a:gd name="connsiteX18" fmla="*/ 993 w 1021424"/>
                <a:gd name="connsiteY18" fmla="*/ 545787 h 822102"/>
                <a:gd name="connsiteX19" fmla="*/ 1488 w 1021424"/>
                <a:gd name="connsiteY19" fmla="*/ 528920 h 822102"/>
                <a:gd name="connsiteX20" fmla="*/ 0 w 1021424"/>
                <a:gd name="connsiteY20" fmla="*/ 512550 h 822102"/>
                <a:gd name="connsiteX21" fmla="*/ 993 w 1021424"/>
                <a:gd name="connsiteY21" fmla="*/ 496675 h 822102"/>
                <a:gd name="connsiteX22" fmla="*/ 1984 w 1021424"/>
                <a:gd name="connsiteY22" fmla="*/ 480801 h 822102"/>
                <a:gd name="connsiteX23" fmla="*/ 3969 w 1021424"/>
                <a:gd name="connsiteY23" fmla="*/ 464926 h 822102"/>
                <a:gd name="connsiteX24" fmla="*/ 3473 w 1021424"/>
                <a:gd name="connsiteY24" fmla="*/ 448556 h 822102"/>
                <a:gd name="connsiteX25" fmla="*/ 6449 w 1021424"/>
                <a:gd name="connsiteY25" fmla="*/ 432681 h 822102"/>
                <a:gd name="connsiteX26" fmla="*/ 8434 w 1021424"/>
                <a:gd name="connsiteY26" fmla="*/ 416807 h 822102"/>
                <a:gd name="connsiteX27" fmla="*/ 11410 w 1021424"/>
                <a:gd name="connsiteY27" fmla="*/ 400932 h 822102"/>
                <a:gd name="connsiteX28" fmla="*/ 14882 w 1021424"/>
                <a:gd name="connsiteY28" fmla="*/ 385058 h 822102"/>
                <a:gd name="connsiteX29" fmla="*/ 19347 w 1021424"/>
                <a:gd name="connsiteY29" fmla="*/ 369679 h 822102"/>
                <a:gd name="connsiteX30" fmla="*/ 25796 w 1021424"/>
                <a:gd name="connsiteY30" fmla="*/ 354797 h 822102"/>
                <a:gd name="connsiteX31" fmla="*/ 30261 w 1021424"/>
                <a:gd name="connsiteY31" fmla="*/ 339419 h 822102"/>
                <a:gd name="connsiteX32" fmla="*/ 36710 w 1021424"/>
                <a:gd name="connsiteY32" fmla="*/ 324536 h 822102"/>
                <a:gd name="connsiteX33" fmla="*/ 41671 w 1021424"/>
                <a:gd name="connsiteY33" fmla="*/ 309158 h 822102"/>
                <a:gd name="connsiteX34" fmla="*/ 48616 w 1021424"/>
                <a:gd name="connsiteY34" fmla="*/ 294772 h 822102"/>
                <a:gd name="connsiteX35" fmla="*/ 56057 w 1021424"/>
                <a:gd name="connsiteY35" fmla="*/ 280385 h 822102"/>
                <a:gd name="connsiteX36" fmla="*/ 63498 w 1021424"/>
                <a:gd name="connsiteY36" fmla="*/ 265999 h 822102"/>
                <a:gd name="connsiteX37" fmla="*/ 70939 w 1021424"/>
                <a:gd name="connsiteY37" fmla="*/ 251613 h 822102"/>
                <a:gd name="connsiteX38" fmla="*/ 79868 w 1021424"/>
                <a:gd name="connsiteY38" fmla="*/ 238219 h 822102"/>
                <a:gd name="connsiteX39" fmla="*/ 88798 w 1021424"/>
                <a:gd name="connsiteY39" fmla="*/ 224825 h 822102"/>
                <a:gd name="connsiteX40" fmla="*/ 98720 w 1021424"/>
                <a:gd name="connsiteY40" fmla="*/ 211927 h 822102"/>
                <a:gd name="connsiteX41" fmla="*/ 107153 w 1021424"/>
                <a:gd name="connsiteY41" fmla="*/ 198532 h 822102"/>
                <a:gd name="connsiteX42" fmla="*/ 116578 w 1021424"/>
                <a:gd name="connsiteY42" fmla="*/ 185634 h 822102"/>
                <a:gd name="connsiteX43" fmla="*/ 126996 w 1021424"/>
                <a:gd name="connsiteY43" fmla="*/ 173729 h 822102"/>
                <a:gd name="connsiteX44" fmla="*/ 137910 w 1021424"/>
                <a:gd name="connsiteY44" fmla="*/ 161823 h 822102"/>
                <a:gd name="connsiteX45" fmla="*/ 150312 w 1021424"/>
                <a:gd name="connsiteY45" fmla="*/ 151405 h 822102"/>
                <a:gd name="connsiteX46" fmla="*/ 160729 w 1021424"/>
                <a:gd name="connsiteY46" fmla="*/ 139003 h 822102"/>
                <a:gd name="connsiteX47" fmla="*/ 173627 w 1021424"/>
                <a:gd name="connsiteY47" fmla="*/ 129082 h 822102"/>
                <a:gd name="connsiteX48" fmla="*/ 186029 w 1021424"/>
                <a:gd name="connsiteY48" fmla="*/ 118664 h 822102"/>
                <a:gd name="connsiteX49" fmla="*/ 198927 w 1021424"/>
                <a:gd name="connsiteY49" fmla="*/ 109238 h 822102"/>
                <a:gd name="connsiteX50" fmla="*/ 210337 w 1021424"/>
                <a:gd name="connsiteY50" fmla="*/ 97829 h 822102"/>
                <a:gd name="connsiteX51" fmla="*/ 223731 w 1021424"/>
                <a:gd name="connsiteY51" fmla="*/ 88899 h 822102"/>
                <a:gd name="connsiteX52" fmla="*/ 237125 w 1021424"/>
                <a:gd name="connsiteY52" fmla="*/ 79970 h 822102"/>
                <a:gd name="connsiteX53" fmla="*/ 250519 w 1021424"/>
                <a:gd name="connsiteY53" fmla="*/ 71040 h 822102"/>
                <a:gd name="connsiteX54" fmla="*/ 265402 w 1021424"/>
                <a:gd name="connsiteY54" fmla="*/ 65087 h 822102"/>
                <a:gd name="connsiteX55" fmla="*/ 278796 w 1021424"/>
                <a:gd name="connsiteY55" fmla="*/ 55662 h 822102"/>
                <a:gd name="connsiteX56" fmla="*/ 293679 w 1021424"/>
                <a:gd name="connsiteY56" fmla="*/ 49213 h 822102"/>
                <a:gd name="connsiteX57" fmla="*/ 308561 w 1021424"/>
                <a:gd name="connsiteY57" fmla="*/ 43260 h 822102"/>
                <a:gd name="connsiteX58" fmla="*/ 323443 w 1021424"/>
                <a:gd name="connsiteY58" fmla="*/ 37307 h 822102"/>
                <a:gd name="connsiteX59" fmla="*/ 338326 w 1021424"/>
                <a:gd name="connsiteY59" fmla="*/ 31354 h 822102"/>
                <a:gd name="connsiteX60" fmla="*/ 353208 w 1021424"/>
                <a:gd name="connsiteY60" fmla="*/ 24409 h 822102"/>
                <a:gd name="connsiteX61" fmla="*/ 369082 w 1021424"/>
                <a:gd name="connsiteY61" fmla="*/ 20937 h 822102"/>
                <a:gd name="connsiteX62" fmla="*/ 384460 w 1021424"/>
                <a:gd name="connsiteY62" fmla="*/ 15480 h 822102"/>
                <a:gd name="connsiteX63" fmla="*/ 400335 w 1021424"/>
                <a:gd name="connsiteY63" fmla="*/ 11511 h 822102"/>
                <a:gd name="connsiteX64" fmla="*/ 416210 w 1021424"/>
                <a:gd name="connsiteY64" fmla="*/ 8535 h 822102"/>
                <a:gd name="connsiteX65" fmla="*/ 432084 w 1021424"/>
                <a:gd name="connsiteY65" fmla="*/ 5062 h 822102"/>
                <a:gd name="connsiteX66" fmla="*/ 448455 w 1021424"/>
                <a:gd name="connsiteY66" fmla="*/ 4070 h 822102"/>
                <a:gd name="connsiteX67" fmla="*/ 464329 w 1021424"/>
                <a:gd name="connsiteY67" fmla="*/ 2086 h 822102"/>
                <a:gd name="connsiteX68" fmla="*/ 480204 w 1021424"/>
                <a:gd name="connsiteY68" fmla="*/ 597 h 822102"/>
                <a:gd name="connsiteX69" fmla="*/ 496574 w 1021424"/>
                <a:gd name="connsiteY69" fmla="*/ 597 h 822102"/>
                <a:gd name="connsiteX70" fmla="*/ 512449 w 1021424"/>
                <a:gd name="connsiteY70" fmla="*/ 101 h 822102"/>
                <a:gd name="connsiteX71" fmla="*/ 528323 w 1021424"/>
                <a:gd name="connsiteY71" fmla="*/ 1093 h 822102"/>
                <a:gd name="connsiteX72" fmla="*/ 544694 w 1021424"/>
                <a:gd name="connsiteY72" fmla="*/ 101 h 822102"/>
                <a:gd name="connsiteX73" fmla="*/ 560568 w 1021424"/>
                <a:gd name="connsiteY73" fmla="*/ 3078 h 822102"/>
                <a:gd name="connsiteX74" fmla="*/ 576939 w 1021424"/>
                <a:gd name="connsiteY74" fmla="*/ 3078 h 822102"/>
                <a:gd name="connsiteX75" fmla="*/ 592813 w 1021424"/>
                <a:gd name="connsiteY75" fmla="*/ 6054 h 822102"/>
                <a:gd name="connsiteX76" fmla="*/ 608688 w 1021424"/>
                <a:gd name="connsiteY76" fmla="*/ 9031 h 822102"/>
                <a:gd name="connsiteX77" fmla="*/ 624562 w 1021424"/>
                <a:gd name="connsiteY77" fmla="*/ 12007 h 822102"/>
                <a:gd name="connsiteX78" fmla="*/ 640437 w 1021424"/>
                <a:gd name="connsiteY78" fmla="*/ 15480 h 822102"/>
                <a:gd name="connsiteX79" fmla="*/ 656311 w 1021424"/>
                <a:gd name="connsiteY79" fmla="*/ 18952 h 822102"/>
                <a:gd name="connsiteX80" fmla="*/ 671194 w 1021424"/>
                <a:gd name="connsiteY80" fmla="*/ 25401 h 822102"/>
                <a:gd name="connsiteX81" fmla="*/ 687068 w 1021424"/>
                <a:gd name="connsiteY81" fmla="*/ 28874 h 822102"/>
                <a:gd name="connsiteX82" fmla="*/ 702446 w 1021424"/>
                <a:gd name="connsiteY82" fmla="*/ 33835 h 822102"/>
                <a:gd name="connsiteX83" fmla="*/ 717329 w 1021424"/>
                <a:gd name="connsiteY83" fmla="*/ 40780 h 822102"/>
                <a:gd name="connsiteX84" fmla="*/ 731715 w 1021424"/>
                <a:gd name="connsiteY84" fmla="*/ 48221 h 822102"/>
                <a:gd name="connsiteX85" fmla="*/ 745605 w 1021424"/>
                <a:gd name="connsiteY85" fmla="*/ 56158 h 822102"/>
                <a:gd name="connsiteX86" fmla="*/ 760488 w 1021424"/>
                <a:gd name="connsiteY86" fmla="*/ 62111 h 822102"/>
                <a:gd name="connsiteX87" fmla="*/ 774874 w 1021424"/>
                <a:gd name="connsiteY87" fmla="*/ 69552 h 822102"/>
                <a:gd name="connsiteX88" fmla="*/ 788268 w 1021424"/>
                <a:gd name="connsiteY88" fmla="*/ 77985 h 822102"/>
                <a:gd name="connsiteX89" fmla="*/ 800670 w 1021424"/>
                <a:gd name="connsiteY89" fmla="*/ 88403 h 822102"/>
                <a:gd name="connsiteX90" fmla="*/ 814560 w 1021424"/>
                <a:gd name="connsiteY90" fmla="*/ 96836 h 822102"/>
                <a:gd name="connsiteX91" fmla="*/ 827954 w 1021424"/>
                <a:gd name="connsiteY91" fmla="*/ 105766 h 822102"/>
                <a:gd name="connsiteX92" fmla="*/ 839860 w 1021424"/>
                <a:gd name="connsiteY92" fmla="*/ 116680 h 822102"/>
                <a:gd name="connsiteX93" fmla="*/ 852262 w 1021424"/>
                <a:gd name="connsiteY93" fmla="*/ 127097 h 822102"/>
                <a:gd name="connsiteX94" fmla="*/ 863672 w 1021424"/>
                <a:gd name="connsiteY94" fmla="*/ 138507 h 822102"/>
                <a:gd name="connsiteX95" fmla="*/ 876074 w 1021424"/>
                <a:gd name="connsiteY95" fmla="*/ 148925 h 822102"/>
                <a:gd name="connsiteX96" fmla="*/ 887484 w 1021424"/>
                <a:gd name="connsiteY96" fmla="*/ 160334 h 822102"/>
                <a:gd name="connsiteX97" fmla="*/ 896909 w 1021424"/>
                <a:gd name="connsiteY97" fmla="*/ 173729 h 822102"/>
                <a:gd name="connsiteX98" fmla="*/ 907327 w 1021424"/>
                <a:gd name="connsiteY98" fmla="*/ 185634 h 822102"/>
                <a:gd name="connsiteX99" fmla="*/ 918240 w 1021424"/>
                <a:gd name="connsiteY99" fmla="*/ 197540 h 822102"/>
                <a:gd name="connsiteX100" fmla="*/ 927666 w 1021424"/>
                <a:gd name="connsiteY100" fmla="*/ 210438 h 822102"/>
                <a:gd name="connsiteX101" fmla="*/ 937587 w 1021424"/>
                <a:gd name="connsiteY101" fmla="*/ 223336 h 822102"/>
                <a:gd name="connsiteX102" fmla="*/ 945028 w 1021424"/>
                <a:gd name="connsiteY102" fmla="*/ 237723 h 822102"/>
                <a:gd name="connsiteX103" fmla="*/ 954454 w 1021424"/>
                <a:gd name="connsiteY103" fmla="*/ 250621 h 822102"/>
                <a:gd name="connsiteX104" fmla="*/ 961895 w 1021424"/>
                <a:gd name="connsiteY104" fmla="*/ 265007 h 822102"/>
                <a:gd name="connsiteX105" fmla="*/ 968840 w 1021424"/>
                <a:gd name="connsiteY105" fmla="*/ 279393 h 822102"/>
                <a:gd name="connsiteX106" fmla="*/ 977274 w 1021424"/>
                <a:gd name="connsiteY106" fmla="*/ 293283 h 822102"/>
                <a:gd name="connsiteX107" fmla="*/ 983723 w 1021424"/>
                <a:gd name="connsiteY107" fmla="*/ 308166 h 822102"/>
                <a:gd name="connsiteX108" fmla="*/ 990171 w 1021424"/>
                <a:gd name="connsiteY108" fmla="*/ 323048 h 822102"/>
                <a:gd name="connsiteX109" fmla="*/ 995132 w 1021424"/>
                <a:gd name="connsiteY109" fmla="*/ 338426 h 822102"/>
                <a:gd name="connsiteX110" fmla="*/ 1000590 w 1021424"/>
                <a:gd name="connsiteY110" fmla="*/ 353805 h 822102"/>
                <a:gd name="connsiteX111" fmla="*/ 1005550 w 1021424"/>
                <a:gd name="connsiteY111" fmla="*/ 369183 h 822102"/>
                <a:gd name="connsiteX112" fmla="*/ 1010015 w 1021424"/>
                <a:gd name="connsiteY112" fmla="*/ 384562 h 822102"/>
                <a:gd name="connsiteX113" fmla="*/ 1012992 w 1021424"/>
                <a:gd name="connsiteY113" fmla="*/ 400436 h 822102"/>
                <a:gd name="connsiteX114" fmla="*/ 1016464 w 1021424"/>
                <a:gd name="connsiteY114" fmla="*/ 416311 h 822102"/>
                <a:gd name="connsiteX115" fmla="*/ 1021425 w 1021424"/>
                <a:gd name="connsiteY115" fmla="*/ 431689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0171 w 1016464"/>
                <a:gd name="connsiteY108" fmla="*/ 323048 h 822102"/>
                <a:gd name="connsiteX109" fmla="*/ 995132 w 1016464"/>
                <a:gd name="connsiteY109" fmla="*/ 338426 h 822102"/>
                <a:gd name="connsiteX110" fmla="*/ 1000590 w 1016464"/>
                <a:gd name="connsiteY110" fmla="*/ 353805 h 822102"/>
                <a:gd name="connsiteX111" fmla="*/ 1005550 w 1016464"/>
                <a:gd name="connsiteY111" fmla="*/ 369183 h 822102"/>
                <a:gd name="connsiteX112" fmla="*/ 1010015 w 1016464"/>
                <a:gd name="connsiteY112" fmla="*/ 384562 h 822102"/>
                <a:gd name="connsiteX113" fmla="*/ 1012992 w 1016464"/>
                <a:gd name="connsiteY113" fmla="*/ 400436 h 822102"/>
                <a:gd name="connsiteX114" fmla="*/ 1016464 w 1016464"/>
                <a:gd name="connsiteY11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5132 w 1016464"/>
                <a:gd name="connsiteY108" fmla="*/ 338426 h 822102"/>
                <a:gd name="connsiteX109" fmla="*/ 1000590 w 1016464"/>
                <a:gd name="connsiteY109" fmla="*/ 353805 h 822102"/>
                <a:gd name="connsiteX110" fmla="*/ 1005550 w 1016464"/>
                <a:gd name="connsiteY110" fmla="*/ 369183 h 822102"/>
                <a:gd name="connsiteX111" fmla="*/ 1010015 w 1016464"/>
                <a:gd name="connsiteY111" fmla="*/ 384562 h 822102"/>
                <a:gd name="connsiteX112" fmla="*/ 1012992 w 1016464"/>
                <a:gd name="connsiteY112" fmla="*/ 400436 h 822102"/>
                <a:gd name="connsiteX113" fmla="*/ 1016464 w 1016464"/>
                <a:gd name="connsiteY11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83723 w 1016464"/>
                <a:gd name="connsiteY106" fmla="*/ 308166 h 822102"/>
                <a:gd name="connsiteX107" fmla="*/ 995132 w 1016464"/>
                <a:gd name="connsiteY107" fmla="*/ 338426 h 822102"/>
                <a:gd name="connsiteX108" fmla="*/ 1000590 w 1016464"/>
                <a:gd name="connsiteY108" fmla="*/ 353805 h 822102"/>
                <a:gd name="connsiteX109" fmla="*/ 1005550 w 1016464"/>
                <a:gd name="connsiteY109" fmla="*/ 369183 h 822102"/>
                <a:gd name="connsiteX110" fmla="*/ 1010015 w 1016464"/>
                <a:gd name="connsiteY110" fmla="*/ 384562 h 822102"/>
                <a:gd name="connsiteX111" fmla="*/ 1012992 w 1016464"/>
                <a:gd name="connsiteY111" fmla="*/ 400436 h 822102"/>
                <a:gd name="connsiteX112" fmla="*/ 1016464 w 1016464"/>
                <a:gd name="connsiteY11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83723 w 1016464"/>
                <a:gd name="connsiteY105" fmla="*/ 308166 h 822102"/>
                <a:gd name="connsiteX106" fmla="*/ 995132 w 1016464"/>
                <a:gd name="connsiteY106" fmla="*/ 338426 h 822102"/>
                <a:gd name="connsiteX107" fmla="*/ 1000590 w 1016464"/>
                <a:gd name="connsiteY107" fmla="*/ 353805 h 822102"/>
                <a:gd name="connsiteX108" fmla="*/ 1005550 w 1016464"/>
                <a:gd name="connsiteY108" fmla="*/ 369183 h 822102"/>
                <a:gd name="connsiteX109" fmla="*/ 1010015 w 1016464"/>
                <a:gd name="connsiteY109" fmla="*/ 384562 h 822102"/>
                <a:gd name="connsiteX110" fmla="*/ 1012992 w 1016464"/>
                <a:gd name="connsiteY110" fmla="*/ 400436 h 822102"/>
                <a:gd name="connsiteX111" fmla="*/ 1016464 w 1016464"/>
                <a:gd name="connsiteY11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83723 w 1016464"/>
                <a:gd name="connsiteY104" fmla="*/ 308166 h 822102"/>
                <a:gd name="connsiteX105" fmla="*/ 995132 w 1016464"/>
                <a:gd name="connsiteY105" fmla="*/ 338426 h 822102"/>
                <a:gd name="connsiteX106" fmla="*/ 1000590 w 1016464"/>
                <a:gd name="connsiteY106" fmla="*/ 353805 h 822102"/>
                <a:gd name="connsiteX107" fmla="*/ 1005550 w 1016464"/>
                <a:gd name="connsiteY107" fmla="*/ 369183 h 822102"/>
                <a:gd name="connsiteX108" fmla="*/ 1010015 w 1016464"/>
                <a:gd name="connsiteY108" fmla="*/ 384562 h 822102"/>
                <a:gd name="connsiteX109" fmla="*/ 1012992 w 1016464"/>
                <a:gd name="connsiteY109" fmla="*/ 400436 h 822102"/>
                <a:gd name="connsiteX110" fmla="*/ 1016464 w 1016464"/>
                <a:gd name="connsiteY11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83723 w 1016464"/>
                <a:gd name="connsiteY103" fmla="*/ 308166 h 822102"/>
                <a:gd name="connsiteX104" fmla="*/ 995132 w 1016464"/>
                <a:gd name="connsiteY104" fmla="*/ 338426 h 822102"/>
                <a:gd name="connsiteX105" fmla="*/ 1000590 w 1016464"/>
                <a:gd name="connsiteY105" fmla="*/ 353805 h 822102"/>
                <a:gd name="connsiteX106" fmla="*/ 1005550 w 1016464"/>
                <a:gd name="connsiteY106" fmla="*/ 369183 h 822102"/>
                <a:gd name="connsiteX107" fmla="*/ 1010015 w 1016464"/>
                <a:gd name="connsiteY107" fmla="*/ 384562 h 822102"/>
                <a:gd name="connsiteX108" fmla="*/ 1012992 w 1016464"/>
                <a:gd name="connsiteY108" fmla="*/ 400436 h 822102"/>
                <a:gd name="connsiteX109" fmla="*/ 1016464 w 1016464"/>
                <a:gd name="connsiteY10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83723 w 1016464"/>
                <a:gd name="connsiteY102" fmla="*/ 308166 h 822102"/>
                <a:gd name="connsiteX103" fmla="*/ 995132 w 1016464"/>
                <a:gd name="connsiteY103" fmla="*/ 338426 h 822102"/>
                <a:gd name="connsiteX104" fmla="*/ 1000590 w 1016464"/>
                <a:gd name="connsiteY104" fmla="*/ 353805 h 822102"/>
                <a:gd name="connsiteX105" fmla="*/ 1005550 w 1016464"/>
                <a:gd name="connsiteY105" fmla="*/ 369183 h 822102"/>
                <a:gd name="connsiteX106" fmla="*/ 1010015 w 1016464"/>
                <a:gd name="connsiteY106" fmla="*/ 384562 h 822102"/>
                <a:gd name="connsiteX107" fmla="*/ 1012992 w 1016464"/>
                <a:gd name="connsiteY107" fmla="*/ 400436 h 822102"/>
                <a:gd name="connsiteX108" fmla="*/ 1016464 w 1016464"/>
                <a:gd name="connsiteY10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83723 w 1016464"/>
                <a:gd name="connsiteY101" fmla="*/ 308166 h 822102"/>
                <a:gd name="connsiteX102" fmla="*/ 995132 w 1016464"/>
                <a:gd name="connsiteY102" fmla="*/ 338426 h 822102"/>
                <a:gd name="connsiteX103" fmla="*/ 1000590 w 1016464"/>
                <a:gd name="connsiteY103" fmla="*/ 353805 h 822102"/>
                <a:gd name="connsiteX104" fmla="*/ 1005550 w 1016464"/>
                <a:gd name="connsiteY104" fmla="*/ 369183 h 822102"/>
                <a:gd name="connsiteX105" fmla="*/ 1010015 w 1016464"/>
                <a:gd name="connsiteY105" fmla="*/ 384562 h 822102"/>
                <a:gd name="connsiteX106" fmla="*/ 1012992 w 1016464"/>
                <a:gd name="connsiteY106" fmla="*/ 400436 h 822102"/>
                <a:gd name="connsiteX107" fmla="*/ 1016464 w 1016464"/>
                <a:gd name="connsiteY10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83723 w 1016464"/>
                <a:gd name="connsiteY100" fmla="*/ 308166 h 822102"/>
                <a:gd name="connsiteX101" fmla="*/ 995132 w 1016464"/>
                <a:gd name="connsiteY101" fmla="*/ 338426 h 822102"/>
                <a:gd name="connsiteX102" fmla="*/ 1000590 w 1016464"/>
                <a:gd name="connsiteY102" fmla="*/ 353805 h 822102"/>
                <a:gd name="connsiteX103" fmla="*/ 1005550 w 1016464"/>
                <a:gd name="connsiteY103" fmla="*/ 369183 h 822102"/>
                <a:gd name="connsiteX104" fmla="*/ 1010015 w 1016464"/>
                <a:gd name="connsiteY104" fmla="*/ 384562 h 822102"/>
                <a:gd name="connsiteX105" fmla="*/ 1012992 w 1016464"/>
                <a:gd name="connsiteY105" fmla="*/ 400436 h 822102"/>
                <a:gd name="connsiteX106" fmla="*/ 1016464 w 1016464"/>
                <a:gd name="connsiteY10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18240 w 1016464"/>
                <a:gd name="connsiteY98" fmla="*/ 197540 h 822102"/>
                <a:gd name="connsiteX99" fmla="*/ 983723 w 1016464"/>
                <a:gd name="connsiteY99" fmla="*/ 308166 h 822102"/>
                <a:gd name="connsiteX100" fmla="*/ 995132 w 1016464"/>
                <a:gd name="connsiteY100" fmla="*/ 338426 h 822102"/>
                <a:gd name="connsiteX101" fmla="*/ 1000590 w 1016464"/>
                <a:gd name="connsiteY101" fmla="*/ 353805 h 822102"/>
                <a:gd name="connsiteX102" fmla="*/ 1005550 w 1016464"/>
                <a:gd name="connsiteY102" fmla="*/ 369183 h 822102"/>
                <a:gd name="connsiteX103" fmla="*/ 1010015 w 1016464"/>
                <a:gd name="connsiteY103" fmla="*/ 384562 h 822102"/>
                <a:gd name="connsiteX104" fmla="*/ 1012992 w 1016464"/>
                <a:gd name="connsiteY104" fmla="*/ 400436 h 822102"/>
                <a:gd name="connsiteX105" fmla="*/ 1016464 w 1016464"/>
                <a:gd name="connsiteY10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918240 w 1016464"/>
                <a:gd name="connsiteY97" fmla="*/ 197540 h 822102"/>
                <a:gd name="connsiteX98" fmla="*/ 983723 w 1016464"/>
                <a:gd name="connsiteY98" fmla="*/ 308166 h 822102"/>
                <a:gd name="connsiteX99" fmla="*/ 995132 w 1016464"/>
                <a:gd name="connsiteY99" fmla="*/ 338426 h 822102"/>
                <a:gd name="connsiteX100" fmla="*/ 1000590 w 1016464"/>
                <a:gd name="connsiteY100" fmla="*/ 353805 h 822102"/>
                <a:gd name="connsiteX101" fmla="*/ 1005550 w 1016464"/>
                <a:gd name="connsiteY101" fmla="*/ 369183 h 822102"/>
                <a:gd name="connsiteX102" fmla="*/ 1010015 w 1016464"/>
                <a:gd name="connsiteY102" fmla="*/ 384562 h 822102"/>
                <a:gd name="connsiteX103" fmla="*/ 1012992 w 1016464"/>
                <a:gd name="connsiteY103" fmla="*/ 400436 h 822102"/>
                <a:gd name="connsiteX104" fmla="*/ 1016464 w 1016464"/>
                <a:gd name="connsiteY10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918240 w 1016464"/>
                <a:gd name="connsiteY96" fmla="*/ 197540 h 822102"/>
                <a:gd name="connsiteX97" fmla="*/ 983723 w 1016464"/>
                <a:gd name="connsiteY97" fmla="*/ 308166 h 822102"/>
                <a:gd name="connsiteX98" fmla="*/ 995132 w 1016464"/>
                <a:gd name="connsiteY98" fmla="*/ 338426 h 822102"/>
                <a:gd name="connsiteX99" fmla="*/ 1000590 w 1016464"/>
                <a:gd name="connsiteY99" fmla="*/ 353805 h 822102"/>
                <a:gd name="connsiteX100" fmla="*/ 1005550 w 1016464"/>
                <a:gd name="connsiteY100" fmla="*/ 369183 h 822102"/>
                <a:gd name="connsiteX101" fmla="*/ 1010015 w 1016464"/>
                <a:gd name="connsiteY101" fmla="*/ 384562 h 822102"/>
                <a:gd name="connsiteX102" fmla="*/ 1012992 w 1016464"/>
                <a:gd name="connsiteY102" fmla="*/ 400436 h 822102"/>
                <a:gd name="connsiteX103" fmla="*/ 1016464 w 1016464"/>
                <a:gd name="connsiteY10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918240 w 1016464"/>
                <a:gd name="connsiteY95" fmla="*/ 197540 h 822102"/>
                <a:gd name="connsiteX96" fmla="*/ 983723 w 1016464"/>
                <a:gd name="connsiteY96" fmla="*/ 308166 h 822102"/>
                <a:gd name="connsiteX97" fmla="*/ 995132 w 1016464"/>
                <a:gd name="connsiteY97" fmla="*/ 338426 h 822102"/>
                <a:gd name="connsiteX98" fmla="*/ 1000590 w 1016464"/>
                <a:gd name="connsiteY98" fmla="*/ 353805 h 822102"/>
                <a:gd name="connsiteX99" fmla="*/ 1005550 w 1016464"/>
                <a:gd name="connsiteY99" fmla="*/ 369183 h 822102"/>
                <a:gd name="connsiteX100" fmla="*/ 1010015 w 1016464"/>
                <a:gd name="connsiteY100" fmla="*/ 384562 h 822102"/>
                <a:gd name="connsiteX101" fmla="*/ 1012992 w 1016464"/>
                <a:gd name="connsiteY101" fmla="*/ 400436 h 822102"/>
                <a:gd name="connsiteX102" fmla="*/ 1016464 w 1016464"/>
                <a:gd name="connsiteY10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788268 w 1016464"/>
                <a:gd name="connsiteY87" fmla="*/ 77985 h 822102"/>
                <a:gd name="connsiteX88" fmla="*/ 800670 w 1016464"/>
                <a:gd name="connsiteY88" fmla="*/ 88403 h 822102"/>
                <a:gd name="connsiteX89" fmla="*/ 814560 w 1016464"/>
                <a:gd name="connsiteY89" fmla="*/ 96836 h 822102"/>
                <a:gd name="connsiteX90" fmla="*/ 827954 w 1016464"/>
                <a:gd name="connsiteY90" fmla="*/ 105766 h 822102"/>
                <a:gd name="connsiteX91" fmla="*/ 839860 w 1016464"/>
                <a:gd name="connsiteY91" fmla="*/ 116680 h 822102"/>
                <a:gd name="connsiteX92" fmla="*/ 852262 w 1016464"/>
                <a:gd name="connsiteY92" fmla="*/ 127097 h 822102"/>
                <a:gd name="connsiteX93" fmla="*/ 863672 w 1016464"/>
                <a:gd name="connsiteY93" fmla="*/ 138507 h 822102"/>
                <a:gd name="connsiteX94" fmla="*/ 918240 w 1016464"/>
                <a:gd name="connsiteY94" fmla="*/ 197540 h 822102"/>
                <a:gd name="connsiteX95" fmla="*/ 983723 w 1016464"/>
                <a:gd name="connsiteY95" fmla="*/ 308166 h 822102"/>
                <a:gd name="connsiteX96" fmla="*/ 995132 w 1016464"/>
                <a:gd name="connsiteY96" fmla="*/ 338426 h 822102"/>
                <a:gd name="connsiteX97" fmla="*/ 1000590 w 1016464"/>
                <a:gd name="connsiteY97" fmla="*/ 353805 h 822102"/>
                <a:gd name="connsiteX98" fmla="*/ 1005550 w 1016464"/>
                <a:gd name="connsiteY98" fmla="*/ 369183 h 822102"/>
                <a:gd name="connsiteX99" fmla="*/ 1010015 w 1016464"/>
                <a:gd name="connsiteY99" fmla="*/ 384562 h 822102"/>
                <a:gd name="connsiteX100" fmla="*/ 1012992 w 1016464"/>
                <a:gd name="connsiteY100" fmla="*/ 400436 h 822102"/>
                <a:gd name="connsiteX101" fmla="*/ 1016464 w 1016464"/>
                <a:gd name="connsiteY10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800670 w 1016464"/>
                <a:gd name="connsiteY87" fmla="*/ 88403 h 822102"/>
                <a:gd name="connsiteX88" fmla="*/ 814560 w 1016464"/>
                <a:gd name="connsiteY88" fmla="*/ 96836 h 822102"/>
                <a:gd name="connsiteX89" fmla="*/ 827954 w 1016464"/>
                <a:gd name="connsiteY89" fmla="*/ 105766 h 822102"/>
                <a:gd name="connsiteX90" fmla="*/ 839860 w 1016464"/>
                <a:gd name="connsiteY90" fmla="*/ 116680 h 822102"/>
                <a:gd name="connsiteX91" fmla="*/ 852262 w 1016464"/>
                <a:gd name="connsiteY91" fmla="*/ 127097 h 822102"/>
                <a:gd name="connsiteX92" fmla="*/ 863672 w 1016464"/>
                <a:gd name="connsiteY92" fmla="*/ 138507 h 822102"/>
                <a:gd name="connsiteX93" fmla="*/ 918240 w 1016464"/>
                <a:gd name="connsiteY93" fmla="*/ 197540 h 822102"/>
                <a:gd name="connsiteX94" fmla="*/ 983723 w 1016464"/>
                <a:gd name="connsiteY94" fmla="*/ 308166 h 822102"/>
                <a:gd name="connsiteX95" fmla="*/ 995132 w 1016464"/>
                <a:gd name="connsiteY95" fmla="*/ 338426 h 822102"/>
                <a:gd name="connsiteX96" fmla="*/ 1000590 w 1016464"/>
                <a:gd name="connsiteY96" fmla="*/ 353805 h 822102"/>
                <a:gd name="connsiteX97" fmla="*/ 1005550 w 1016464"/>
                <a:gd name="connsiteY97" fmla="*/ 369183 h 822102"/>
                <a:gd name="connsiteX98" fmla="*/ 1010015 w 1016464"/>
                <a:gd name="connsiteY98" fmla="*/ 384562 h 822102"/>
                <a:gd name="connsiteX99" fmla="*/ 1012992 w 1016464"/>
                <a:gd name="connsiteY99" fmla="*/ 400436 h 822102"/>
                <a:gd name="connsiteX100" fmla="*/ 1016464 w 1016464"/>
                <a:gd name="connsiteY10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800670 w 1016464"/>
                <a:gd name="connsiteY86" fmla="*/ 88403 h 822102"/>
                <a:gd name="connsiteX87" fmla="*/ 814560 w 1016464"/>
                <a:gd name="connsiteY87" fmla="*/ 96836 h 822102"/>
                <a:gd name="connsiteX88" fmla="*/ 827954 w 1016464"/>
                <a:gd name="connsiteY88" fmla="*/ 105766 h 822102"/>
                <a:gd name="connsiteX89" fmla="*/ 839860 w 1016464"/>
                <a:gd name="connsiteY89" fmla="*/ 116680 h 822102"/>
                <a:gd name="connsiteX90" fmla="*/ 852262 w 1016464"/>
                <a:gd name="connsiteY90" fmla="*/ 127097 h 822102"/>
                <a:gd name="connsiteX91" fmla="*/ 863672 w 1016464"/>
                <a:gd name="connsiteY91" fmla="*/ 138507 h 822102"/>
                <a:gd name="connsiteX92" fmla="*/ 918240 w 1016464"/>
                <a:gd name="connsiteY92" fmla="*/ 197540 h 822102"/>
                <a:gd name="connsiteX93" fmla="*/ 983723 w 1016464"/>
                <a:gd name="connsiteY93" fmla="*/ 308166 h 822102"/>
                <a:gd name="connsiteX94" fmla="*/ 995132 w 1016464"/>
                <a:gd name="connsiteY94" fmla="*/ 338426 h 822102"/>
                <a:gd name="connsiteX95" fmla="*/ 1000590 w 1016464"/>
                <a:gd name="connsiteY95" fmla="*/ 353805 h 822102"/>
                <a:gd name="connsiteX96" fmla="*/ 1005550 w 1016464"/>
                <a:gd name="connsiteY96" fmla="*/ 369183 h 822102"/>
                <a:gd name="connsiteX97" fmla="*/ 1010015 w 1016464"/>
                <a:gd name="connsiteY97" fmla="*/ 384562 h 822102"/>
                <a:gd name="connsiteX98" fmla="*/ 1012992 w 1016464"/>
                <a:gd name="connsiteY98" fmla="*/ 400436 h 822102"/>
                <a:gd name="connsiteX99" fmla="*/ 1016464 w 1016464"/>
                <a:gd name="connsiteY9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800670 w 1016464"/>
                <a:gd name="connsiteY85" fmla="*/ 88403 h 822102"/>
                <a:gd name="connsiteX86" fmla="*/ 814560 w 1016464"/>
                <a:gd name="connsiteY86" fmla="*/ 96836 h 822102"/>
                <a:gd name="connsiteX87" fmla="*/ 827954 w 1016464"/>
                <a:gd name="connsiteY87" fmla="*/ 105766 h 822102"/>
                <a:gd name="connsiteX88" fmla="*/ 839860 w 1016464"/>
                <a:gd name="connsiteY88" fmla="*/ 116680 h 822102"/>
                <a:gd name="connsiteX89" fmla="*/ 852262 w 1016464"/>
                <a:gd name="connsiteY89" fmla="*/ 127097 h 822102"/>
                <a:gd name="connsiteX90" fmla="*/ 863672 w 1016464"/>
                <a:gd name="connsiteY90" fmla="*/ 138507 h 822102"/>
                <a:gd name="connsiteX91" fmla="*/ 918240 w 1016464"/>
                <a:gd name="connsiteY91" fmla="*/ 197540 h 822102"/>
                <a:gd name="connsiteX92" fmla="*/ 983723 w 1016464"/>
                <a:gd name="connsiteY92" fmla="*/ 308166 h 822102"/>
                <a:gd name="connsiteX93" fmla="*/ 995132 w 1016464"/>
                <a:gd name="connsiteY93" fmla="*/ 338426 h 822102"/>
                <a:gd name="connsiteX94" fmla="*/ 1000590 w 1016464"/>
                <a:gd name="connsiteY94" fmla="*/ 353805 h 822102"/>
                <a:gd name="connsiteX95" fmla="*/ 1005550 w 1016464"/>
                <a:gd name="connsiteY95" fmla="*/ 369183 h 822102"/>
                <a:gd name="connsiteX96" fmla="*/ 1010015 w 1016464"/>
                <a:gd name="connsiteY96" fmla="*/ 384562 h 822102"/>
                <a:gd name="connsiteX97" fmla="*/ 1012992 w 1016464"/>
                <a:gd name="connsiteY97" fmla="*/ 400436 h 822102"/>
                <a:gd name="connsiteX98" fmla="*/ 1016464 w 1016464"/>
                <a:gd name="connsiteY9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800670 w 1016464"/>
                <a:gd name="connsiteY84" fmla="*/ 88403 h 822102"/>
                <a:gd name="connsiteX85" fmla="*/ 814560 w 1016464"/>
                <a:gd name="connsiteY85" fmla="*/ 96836 h 822102"/>
                <a:gd name="connsiteX86" fmla="*/ 827954 w 1016464"/>
                <a:gd name="connsiteY86" fmla="*/ 105766 h 822102"/>
                <a:gd name="connsiteX87" fmla="*/ 839860 w 1016464"/>
                <a:gd name="connsiteY87" fmla="*/ 116680 h 822102"/>
                <a:gd name="connsiteX88" fmla="*/ 852262 w 1016464"/>
                <a:gd name="connsiteY88" fmla="*/ 127097 h 822102"/>
                <a:gd name="connsiteX89" fmla="*/ 863672 w 1016464"/>
                <a:gd name="connsiteY89" fmla="*/ 138507 h 822102"/>
                <a:gd name="connsiteX90" fmla="*/ 918240 w 1016464"/>
                <a:gd name="connsiteY90" fmla="*/ 197540 h 822102"/>
                <a:gd name="connsiteX91" fmla="*/ 983723 w 1016464"/>
                <a:gd name="connsiteY91" fmla="*/ 308166 h 822102"/>
                <a:gd name="connsiteX92" fmla="*/ 995132 w 1016464"/>
                <a:gd name="connsiteY92" fmla="*/ 338426 h 822102"/>
                <a:gd name="connsiteX93" fmla="*/ 1000590 w 1016464"/>
                <a:gd name="connsiteY93" fmla="*/ 353805 h 822102"/>
                <a:gd name="connsiteX94" fmla="*/ 1005550 w 1016464"/>
                <a:gd name="connsiteY94" fmla="*/ 369183 h 822102"/>
                <a:gd name="connsiteX95" fmla="*/ 1010015 w 1016464"/>
                <a:gd name="connsiteY95" fmla="*/ 384562 h 822102"/>
                <a:gd name="connsiteX96" fmla="*/ 1012992 w 1016464"/>
                <a:gd name="connsiteY96" fmla="*/ 400436 h 822102"/>
                <a:gd name="connsiteX97" fmla="*/ 1016464 w 1016464"/>
                <a:gd name="connsiteY9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17329 w 1016464"/>
                <a:gd name="connsiteY82" fmla="*/ 40780 h 822102"/>
                <a:gd name="connsiteX83" fmla="*/ 800670 w 1016464"/>
                <a:gd name="connsiteY83" fmla="*/ 88403 h 822102"/>
                <a:gd name="connsiteX84" fmla="*/ 814560 w 1016464"/>
                <a:gd name="connsiteY84" fmla="*/ 96836 h 822102"/>
                <a:gd name="connsiteX85" fmla="*/ 827954 w 1016464"/>
                <a:gd name="connsiteY85" fmla="*/ 105766 h 822102"/>
                <a:gd name="connsiteX86" fmla="*/ 839860 w 1016464"/>
                <a:gd name="connsiteY86" fmla="*/ 116680 h 822102"/>
                <a:gd name="connsiteX87" fmla="*/ 852262 w 1016464"/>
                <a:gd name="connsiteY87" fmla="*/ 127097 h 822102"/>
                <a:gd name="connsiteX88" fmla="*/ 863672 w 1016464"/>
                <a:gd name="connsiteY88" fmla="*/ 138507 h 822102"/>
                <a:gd name="connsiteX89" fmla="*/ 918240 w 1016464"/>
                <a:gd name="connsiteY89" fmla="*/ 197540 h 822102"/>
                <a:gd name="connsiteX90" fmla="*/ 983723 w 1016464"/>
                <a:gd name="connsiteY90" fmla="*/ 308166 h 822102"/>
                <a:gd name="connsiteX91" fmla="*/ 995132 w 1016464"/>
                <a:gd name="connsiteY91" fmla="*/ 338426 h 822102"/>
                <a:gd name="connsiteX92" fmla="*/ 1000590 w 1016464"/>
                <a:gd name="connsiteY92" fmla="*/ 353805 h 822102"/>
                <a:gd name="connsiteX93" fmla="*/ 1005550 w 1016464"/>
                <a:gd name="connsiteY93" fmla="*/ 369183 h 822102"/>
                <a:gd name="connsiteX94" fmla="*/ 1010015 w 1016464"/>
                <a:gd name="connsiteY94" fmla="*/ 384562 h 822102"/>
                <a:gd name="connsiteX95" fmla="*/ 1012992 w 1016464"/>
                <a:gd name="connsiteY95" fmla="*/ 400436 h 822102"/>
                <a:gd name="connsiteX96" fmla="*/ 1016464 w 1016464"/>
                <a:gd name="connsiteY9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717329 w 1016464"/>
                <a:gd name="connsiteY81" fmla="*/ 40780 h 822102"/>
                <a:gd name="connsiteX82" fmla="*/ 800670 w 1016464"/>
                <a:gd name="connsiteY82" fmla="*/ 88403 h 822102"/>
                <a:gd name="connsiteX83" fmla="*/ 814560 w 1016464"/>
                <a:gd name="connsiteY83" fmla="*/ 96836 h 822102"/>
                <a:gd name="connsiteX84" fmla="*/ 827954 w 1016464"/>
                <a:gd name="connsiteY84" fmla="*/ 105766 h 822102"/>
                <a:gd name="connsiteX85" fmla="*/ 839860 w 1016464"/>
                <a:gd name="connsiteY85" fmla="*/ 116680 h 822102"/>
                <a:gd name="connsiteX86" fmla="*/ 852262 w 1016464"/>
                <a:gd name="connsiteY86" fmla="*/ 127097 h 822102"/>
                <a:gd name="connsiteX87" fmla="*/ 863672 w 1016464"/>
                <a:gd name="connsiteY87" fmla="*/ 138507 h 822102"/>
                <a:gd name="connsiteX88" fmla="*/ 918240 w 1016464"/>
                <a:gd name="connsiteY88" fmla="*/ 197540 h 822102"/>
                <a:gd name="connsiteX89" fmla="*/ 983723 w 1016464"/>
                <a:gd name="connsiteY89" fmla="*/ 308166 h 822102"/>
                <a:gd name="connsiteX90" fmla="*/ 995132 w 1016464"/>
                <a:gd name="connsiteY90" fmla="*/ 338426 h 822102"/>
                <a:gd name="connsiteX91" fmla="*/ 1000590 w 1016464"/>
                <a:gd name="connsiteY91" fmla="*/ 353805 h 822102"/>
                <a:gd name="connsiteX92" fmla="*/ 1005550 w 1016464"/>
                <a:gd name="connsiteY92" fmla="*/ 369183 h 822102"/>
                <a:gd name="connsiteX93" fmla="*/ 1010015 w 1016464"/>
                <a:gd name="connsiteY93" fmla="*/ 384562 h 822102"/>
                <a:gd name="connsiteX94" fmla="*/ 1012992 w 1016464"/>
                <a:gd name="connsiteY94" fmla="*/ 400436 h 822102"/>
                <a:gd name="connsiteX95" fmla="*/ 1016464 w 1016464"/>
                <a:gd name="connsiteY9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717329 w 1016464"/>
                <a:gd name="connsiteY80" fmla="*/ 40780 h 822102"/>
                <a:gd name="connsiteX81" fmla="*/ 800670 w 1016464"/>
                <a:gd name="connsiteY81" fmla="*/ 88403 h 822102"/>
                <a:gd name="connsiteX82" fmla="*/ 814560 w 1016464"/>
                <a:gd name="connsiteY82" fmla="*/ 96836 h 822102"/>
                <a:gd name="connsiteX83" fmla="*/ 827954 w 1016464"/>
                <a:gd name="connsiteY83" fmla="*/ 105766 h 822102"/>
                <a:gd name="connsiteX84" fmla="*/ 839860 w 1016464"/>
                <a:gd name="connsiteY84" fmla="*/ 116680 h 822102"/>
                <a:gd name="connsiteX85" fmla="*/ 852262 w 1016464"/>
                <a:gd name="connsiteY85" fmla="*/ 127097 h 822102"/>
                <a:gd name="connsiteX86" fmla="*/ 863672 w 1016464"/>
                <a:gd name="connsiteY86" fmla="*/ 138507 h 822102"/>
                <a:gd name="connsiteX87" fmla="*/ 918240 w 1016464"/>
                <a:gd name="connsiteY87" fmla="*/ 197540 h 822102"/>
                <a:gd name="connsiteX88" fmla="*/ 983723 w 1016464"/>
                <a:gd name="connsiteY88" fmla="*/ 308166 h 822102"/>
                <a:gd name="connsiteX89" fmla="*/ 995132 w 1016464"/>
                <a:gd name="connsiteY89" fmla="*/ 338426 h 822102"/>
                <a:gd name="connsiteX90" fmla="*/ 1000590 w 1016464"/>
                <a:gd name="connsiteY90" fmla="*/ 353805 h 822102"/>
                <a:gd name="connsiteX91" fmla="*/ 1005550 w 1016464"/>
                <a:gd name="connsiteY91" fmla="*/ 369183 h 822102"/>
                <a:gd name="connsiteX92" fmla="*/ 1010015 w 1016464"/>
                <a:gd name="connsiteY92" fmla="*/ 384562 h 822102"/>
                <a:gd name="connsiteX93" fmla="*/ 1012992 w 1016464"/>
                <a:gd name="connsiteY93" fmla="*/ 400436 h 822102"/>
                <a:gd name="connsiteX94" fmla="*/ 1016464 w 1016464"/>
                <a:gd name="connsiteY9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717329 w 1016464"/>
                <a:gd name="connsiteY79" fmla="*/ 40780 h 822102"/>
                <a:gd name="connsiteX80" fmla="*/ 800670 w 1016464"/>
                <a:gd name="connsiteY80" fmla="*/ 88403 h 822102"/>
                <a:gd name="connsiteX81" fmla="*/ 814560 w 1016464"/>
                <a:gd name="connsiteY81" fmla="*/ 96836 h 822102"/>
                <a:gd name="connsiteX82" fmla="*/ 827954 w 1016464"/>
                <a:gd name="connsiteY82" fmla="*/ 105766 h 822102"/>
                <a:gd name="connsiteX83" fmla="*/ 839860 w 1016464"/>
                <a:gd name="connsiteY83" fmla="*/ 116680 h 822102"/>
                <a:gd name="connsiteX84" fmla="*/ 852262 w 1016464"/>
                <a:gd name="connsiteY84" fmla="*/ 127097 h 822102"/>
                <a:gd name="connsiteX85" fmla="*/ 863672 w 1016464"/>
                <a:gd name="connsiteY85" fmla="*/ 138507 h 822102"/>
                <a:gd name="connsiteX86" fmla="*/ 918240 w 1016464"/>
                <a:gd name="connsiteY86" fmla="*/ 197540 h 822102"/>
                <a:gd name="connsiteX87" fmla="*/ 983723 w 1016464"/>
                <a:gd name="connsiteY87" fmla="*/ 308166 h 822102"/>
                <a:gd name="connsiteX88" fmla="*/ 995132 w 1016464"/>
                <a:gd name="connsiteY88" fmla="*/ 338426 h 822102"/>
                <a:gd name="connsiteX89" fmla="*/ 1000590 w 1016464"/>
                <a:gd name="connsiteY89" fmla="*/ 353805 h 822102"/>
                <a:gd name="connsiteX90" fmla="*/ 1005550 w 1016464"/>
                <a:gd name="connsiteY90" fmla="*/ 369183 h 822102"/>
                <a:gd name="connsiteX91" fmla="*/ 1010015 w 1016464"/>
                <a:gd name="connsiteY91" fmla="*/ 384562 h 822102"/>
                <a:gd name="connsiteX92" fmla="*/ 1012992 w 1016464"/>
                <a:gd name="connsiteY92" fmla="*/ 400436 h 822102"/>
                <a:gd name="connsiteX93" fmla="*/ 1016464 w 1016464"/>
                <a:gd name="connsiteY9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717329 w 1016464"/>
                <a:gd name="connsiteY78" fmla="*/ 40780 h 822102"/>
                <a:gd name="connsiteX79" fmla="*/ 800670 w 1016464"/>
                <a:gd name="connsiteY79" fmla="*/ 88403 h 822102"/>
                <a:gd name="connsiteX80" fmla="*/ 814560 w 1016464"/>
                <a:gd name="connsiteY80" fmla="*/ 96836 h 822102"/>
                <a:gd name="connsiteX81" fmla="*/ 827954 w 1016464"/>
                <a:gd name="connsiteY81" fmla="*/ 105766 h 822102"/>
                <a:gd name="connsiteX82" fmla="*/ 839860 w 1016464"/>
                <a:gd name="connsiteY82" fmla="*/ 116680 h 822102"/>
                <a:gd name="connsiteX83" fmla="*/ 852262 w 1016464"/>
                <a:gd name="connsiteY83" fmla="*/ 127097 h 822102"/>
                <a:gd name="connsiteX84" fmla="*/ 863672 w 1016464"/>
                <a:gd name="connsiteY84" fmla="*/ 138507 h 822102"/>
                <a:gd name="connsiteX85" fmla="*/ 918240 w 1016464"/>
                <a:gd name="connsiteY85" fmla="*/ 197540 h 822102"/>
                <a:gd name="connsiteX86" fmla="*/ 983723 w 1016464"/>
                <a:gd name="connsiteY86" fmla="*/ 308166 h 822102"/>
                <a:gd name="connsiteX87" fmla="*/ 995132 w 1016464"/>
                <a:gd name="connsiteY87" fmla="*/ 338426 h 822102"/>
                <a:gd name="connsiteX88" fmla="*/ 1000590 w 1016464"/>
                <a:gd name="connsiteY88" fmla="*/ 353805 h 822102"/>
                <a:gd name="connsiteX89" fmla="*/ 1005550 w 1016464"/>
                <a:gd name="connsiteY89" fmla="*/ 369183 h 822102"/>
                <a:gd name="connsiteX90" fmla="*/ 1010015 w 1016464"/>
                <a:gd name="connsiteY90" fmla="*/ 384562 h 822102"/>
                <a:gd name="connsiteX91" fmla="*/ 1012992 w 1016464"/>
                <a:gd name="connsiteY91" fmla="*/ 400436 h 822102"/>
                <a:gd name="connsiteX92" fmla="*/ 1016464 w 1016464"/>
                <a:gd name="connsiteY9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717329 w 1016464"/>
                <a:gd name="connsiteY77" fmla="*/ 40780 h 822102"/>
                <a:gd name="connsiteX78" fmla="*/ 800670 w 1016464"/>
                <a:gd name="connsiteY78" fmla="*/ 88403 h 822102"/>
                <a:gd name="connsiteX79" fmla="*/ 814560 w 1016464"/>
                <a:gd name="connsiteY79" fmla="*/ 96836 h 822102"/>
                <a:gd name="connsiteX80" fmla="*/ 827954 w 1016464"/>
                <a:gd name="connsiteY80" fmla="*/ 105766 h 822102"/>
                <a:gd name="connsiteX81" fmla="*/ 839860 w 1016464"/>
                <a:gd name="connsiteY81" fmla="*/ 116680 h 822102"/>
                <a:gd name="connsiteX82" fmla="*/ 852262 w 1016464"/>
                <a:gd name="connsiteY82" fmla="*/ 127097 h 822102"/>
                <a:gd name="connsiteX83" fmla="*/ 863672 w 1016464"/>
                <a:gd name="connsiteY83" fmla="*/ 138507 h 822102"/>
                <a:gd name="connsiteX84" fmla="*/ 918240 w 1016464"/>
                <a:gd name="connsiteY84" fmla="*/ 197540 h 822102"/>
                <a:gd name="connsiteX85" fmla="*/ 983723 w 1016464"/>
                <a:gd name="connsiteY85" fmla="*/ 308166 h 822102"/>
                <a:gd name="connsiteX86" fmla="*/ 995132 w 1016464"/>
                <a:gd name="connsiteY86" fmla="*/ 338426 h 822102"/>
                <a:gd name="connsiteX87" fmla="*/ 1000590 w 1016464"/>
                <a:gd name="connsiteY87" fmla="*/ 353805 h 822102"/>
                <a:gd name="connsiteX88" fmla="*/ 1005550 w 1016464"/>
                <a:gd name="connsiteY88" fmla="*/ 369183 h 822102"/>
                <a:gd name="connsiteX89" fmla="*/ 1010015 w 1016464"/>
                <a:gd name="connsiteY89" fmla="*/ 384562 h 822102"/>
                <a:gd name="connsiteX90" fmla="*/ 1012992 w 1016464"/>
                <a:gd name="connsiteY90" fmla="*/ 400436 h 822102"/>
                <a:gd name="connsiteX91" fmla="*/ 1016464 w 1016464"/>
                <a:gd name="connsiteY9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717329 w 1016464"/>
                <a:gd name="connsiteY75" fmla="*/ 40780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14560 w 1016464"/>
                <a:gd name="connsiteY76" fmla="*/ 96836 h 822102"/>
                <a:gd name="connsiteX77" fmla="*/ 827954 w 1016464"/>
                <a:gd name="connsiteY77" fmla="*/ 105766 h 822102"/>
                <a:gd name="connsiteX78" fmla="*/ 839860 w 1016464"/>
                <a:gd name="connsiteY78" fmla="*/ 116680 h 822102"/>
                <a:gd name="connsiteX79" fmla="*/ 852262 w 1016464"/>
                <a:gd name="connsiteY79" fmla="*/ 127097 h 822102"/>
                <a:gd name="connsiteX80" fmla="*/ 863672 w 1016464"/>
                <a:gd name="connsiteY80" fmla="*/ 138507 h 822102"/>
                <a:gd name="connsiteX81" fmla="*/ 918240 w 1016464"/>
                <a:gd name="connsiteY81" fmla="*/ 197540 h 822102"/>
                <a:gd name="connsiteX82" fmla="*/ 983723 w 1016464"/>
                <a:gd name="connsiteY82" fmla="*/ 308166 h 822102"/>
                <a:gd name="connsiteX83" fmla="*/ 995132 w 1016464"/>
                <a:gd name="connsiteY83" fmla="*/ 338426 h 822102"/>
                <a:gd name="connsiteX84" fmla="*/ 1000590 w 1016464"/>
                <a:gd name="connsiteY84" fmla="*/ 353805 h 822102"/>
                <a:gd name="connsiteX85" fmla="*/ 1005550 w 1016464"/>
                <a:gd name="connsiteY85" fmla="*/ 369183 h 822102"/>
                <a:gd name="connsiteX86" fmla="*/ 1010015 w 1016464"/>
                <a:gd name="connsiteY86" fmla="*/ 384562 h 822102"/>
                <a:gd name="connsiteX87" fmla="*/ 1012992 w 1016464"/>
                <a:gd name="connsiteY87" fmla="*/ 400436 h 822102"/>
                <a:gd name="connsiteX88" fmla="*/ 1016464 w 1016464"/>
                <a:gd name="connsiteY88" fmla="*/ 416311 h 822102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863672 w 1016464"/>
                <a:gd name="connsiteY79" fmla="*/ 142264 h 825859"/>
                <a:gd name="connsiteX80" fmla="*/ 918240 w 1016464"/>
                <a:gd name="connsiteY80" fmla="*/ 201297 h 825859"/>
                <a:gd name="connsiteX81" fmla="*/ 983723 w 1016464"/>
                <a:gd name="connsiteY81" fmla="*/ 311923 h 825859"/>
                <a:gd name="connsiteX82" fmla="*/ 995132 w 1016464"/>
                <a:gd name="connsiteY82" fmla="*/ 342183 h 825859"/>
                <a:gd name="connsiteX83" fmla="*/ 1000590 w 1016464"/>
                <a:gd name="connsiteY83" fmla="*/ 357562 h 825859"/>
                <a:gd name="connsiteX84" fmla="*/ 1005550 w 1016464"/>
                <a:gd name="connsiteY84" fmla="*/ 372940 h 825859"/>
                <a:gd name="connsiteX85" fmla="*/ 1010015 w 1016464"/>
                <a:gd name="connsiteY85" fmla="*/ 388319 h 825859"/>
                <a:gd name="connsiteX86" fmla="*/ 1012992 w 1016464"/>
                <a:gd name="connsiteY86" fmla="*/ 404193 h 825859"/>
                <a:gd name="connsiteX87" fmla="*/ 1016464 w 1016464"/>
                <a:gd name="connsiteY87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918240 w 1016464"/>
                <a:gd name="connsiteY79" fmla="*/ 201297 h 825859"/>
                <a:gd name="connsiteX80" fmla="*/ 983723 w 1016464"/>
                <a:gd name="connsiteY80" fmla="*/ 311923 h 825859"/>
                <a:gd name="connsiteX81" fmla="*/ 995132 w 1016464"/>
                <a:gd name="connsiteY81" fmla="*/ 342183 h 825859"/>
                <a:gd name="connsiteX82" fmla="*/ 1000590 w 1016464"/>
                <a:gd name="connsiteY82" fmla="*/ 357562 h 825859"/>
                <a:gd name="connsiteX83" fmla="*/ 1005550 w 1016464"/>
                <a:gd name="connsiteY83" fmla="*/ 372940 h 825859"/>
                <a:gd name="connsiteX84" fmla="*/ 1010015 w 1016464"/>
                <a:gd name="connsiteY84" fmla="*/ 388319 h 825859"/>
                <a:gd name="connsiteX85" fmla="*/ 1012992 w 1016464"/>
                <a:gd name="connsiteY85" fmla="*/ 404193 h 825859"/>
                <a:gd name="connsiteX86" fmla="*/ 1016464 w 1016464"/>
                <a:gd name="connsiteY86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918240 w 1016464"/>
                <a:gd name="connsiteY78" fmla="*/ 201297 h 825859"/>
                <a:gd name="connsiteX79" fmla="*/ 983723 w 1016464"/>
                <a:gd name="connsiteY79" fmla="*/ 311923 h 825859"/>
                <a:gd name="connsiteX80" fmla="*/ 995132 w 1016464"/>
                <a:gd name="connsiteY80" fmla="*/ 342183 h 825859"/>
                <a:gd name="connsiteX81" fmla="*/ 1000590 w 1016464"/>
                <a:gd name="connsiteY81" fmla="*/ 357562 h 825859"/>
                <a:gd name="connsiteX82" fmla="*/ 1005550 w 1016464"/>
                <a:gd name="connsiteY82" fmla="*/ 372940 h 825859"/>
                <a:gd name="connsiteX83" fmla="*/ 1010015 w 1016464"/>
                <a:gd name="connsiteY83" fmla="*/ 388319 h 825859"/>
                <a:gd name="connsiteX84" fmla="*/ 1012992 w 1016464"/>
                <a:gd name="connsiteY84" fmla="*/ 404193 h 825859"/>
                <a:gd name="connsiteX85" fmla="*/ 1016464 w 1016464"/>
                <a:gd name="connsiteY85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18240 w 1016464"/>
                <a:gd name="connsiteY77" fmla="*/ 201297 h 825859"/>
                <a:gd name="connsiteX78" fmla="*/ 983723 w 1016464"/>
                <a:gd name="connsiteY78" fmla="*/ 311923 h 825859"/>
                <a:gd name="connsiteX79" fmla="*/ 995132 w 1016464"/>
                <a:gd name="connsiteY79" fmla="*/ 342183 h 825859"/>
                <a:gd name="connsiteX80" fmla="*/ 1000590 w 1016464"/>
                <a:gd name="connsiteY80" fmla="*/ 357562 h 825859"/>
                <a:gd name="connsiteX81" fmla="*/ 1005550 w 1016464"/>
                <a:gd name="connsiteY81" fmla="*/ 372940 h 825859"/>
                <a:gd name="connsiteX82" fmla="*/ 1010015 w 1016464"/>
                <a:gd name="connsiteY82" fmla="*/ 388319 h 825859"/>
                <a:gd name="connsiteX83" fmla="*/ 1012992 w 1016464"/>
                <a:gd name="connsiteY83" fmla="*/ 404193 h 825859"/>
                <a:gd name="connsiteX84" fmla="*/ 1016464 w 1016464"/>
                <a:gd name="connsiteY84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83723 w 1016464"/>
                <a:gd name="connsiteY77" fmla="*/ 311923 h 825859"/>
                <a:gd name="connsiteX78" fmla="*/ 995132 w 1016464"/>
                <a:gd name="connsiteY78" fmla="*/ 342183 h 825859"/>
                <a:gd name="connsiteX79" fmla="*/ 1000590 w 1016464"/>
                <a:gd name="connsiteY79" fmla="*/ 357562 h 825859"/>
                <a:gd name="connsiteX80" fmla="*/ 1005550 w 1016464"/>
                <a:gd name="connsiteY80" fmla="*/ 372940 h 825859"/>
                <a:gd name="connsiteX81" fmla="*/ 1010015 w 1016464"/>
                <a:gd name="connsiteY81" fmla="*/ 388319 h 825859"/>
                <a:gd name="connsiteX82" fmla="*/ 1012992 w 1016464"/>
                <a:gd name="connsiteY82" fmla="*/ 404193 h 825859"/>
                <a:gd name="connsiteX83" fmla="*/ 1016464 w 1016464"/>
                <a:gd name="connsiteY83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0015 w 1016464"/>
                <a:gd name="connsiteY80" fmla="*/ 388319 h 825859"/>
                <a:gd name="connsiteX81" fmla="*/ 1012992 w 1016464"/>
                <a:gd name="connsiteY81" fmla="*/ 404193 h 825859"/>
                <a:gd name="connsiteX82" fmla="*/ 1016464 w 1016464"/>
                <a:gd name="connsiteY82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2992 w 1016464"/>
                <a:gd name="connsiteY80" fmla="*/ 404193 h 825859"/>
                <a:gd name="connsiteX81" fmla="*/ 1016464 w 1016464"/>
                <a:gd name="connsiteY81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1000590 w 1016464"/>
                <a:gd name="connsiteY77" fmla="*/ 357562 h 825859"/>
                <a:gd name="connsiteX78" fmla="*/ 1005550 w 1016464"/>
                <a:gd name="connsiteY78" fmla="*/ 372940 h 825859"/>
                <a:gd name="connsiteX79" fmla="*/ 1012992 w 1016464"/>
                <a:gd name="connsiteY79" fmla="*/ 404193 h 825859"/>
                <a:gd name="connsiteX80" fmla="*/ 1016464 w 1016464"/>
                <a:gd name="connsiteY80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1000590 w 1016464"/>
                <a:gd name="connsiteY76" fmla="*/ 357562 h 825859"/>
                <a:gd name="connsiteX77" fmla="*/ 1005550 w 1016464"/>
                <a:gd name="connsiteY77" fmla="*/ 372940 h 825859"/>
                <a:gd name="connsiteX78" fmla="*/ 1012992 w 1016464"/>
                <a:gd name="connsiteY78" fmla="*/ 404193 h 825859"/>
                <a:gd name="connsiteX79" fmla="*/ 1016464 w 1016464"/>
                <a:gd name="connsiteY79" fmla="*/ 420068 h 825859"/>
                <a:gd name="connsiteX0" fmla="*/ 103184 w 1015622"/>
                <a:gd name="connsiteY0" fmla="*/ 825859 h 825859"/>
                <a:gd name="connsiteX1" fmla="*/ 92767 w 1015622"/>
                <a:gd name="connsiteY1" fmla="*/ 812961 h 825859"/>
                <a:gd name="connsiteX2" fmla="*/ 82845 w 1015622"/>
                <a:gd name="connsiteY2" fmla="*/ 799567 h 825859"/>
                <a:gd name="connsiteX3" fmla="*/ 74412 w 1015622"/>
                <a:gd name="connsiteY3" fmla="*/ 785181 h 825859"/>
                <a:gd name="connsiteX4" fmla="*/ 67466 w 1015622"/>
                <a:gd name="connsiteY4" fmla="*/ 770299 h 825859"/>
                <a:gd name="connsiteX5" fmla="*/ 59529 w 1015622"/>
                <a:gd name="connsiteY5" fmla="*/ 755912 h 825859"/>
                <a:gd name="connsiteX6" fmla="*/ 51096 w 1015622"/>
                <a:gd name="connsiteY6" fmla="*/ 741526 h 825859"/>
                <a:gd name="connsiteX7" fmla="*/ 44647 w 1015622"/>
                <a:gd name="connsiteY7" fmla="*/ 726148 h 825859"/>
                <a:gd name="connsiteX8" fmla="*/ 39190 w 1015622"/>
                <a:gd name="connsiteY8" fmla="*/ 710273 h 825859"/>
                <a:gd name="connsiteX9" fmla="*/ 31253 w 1015622"/>
                <a:gd name="connsiteY9" fmla="*/ 695391 h 825859"/>
                <a:gd name="connsiteX10" fmla="*/ 25796 w 1015622"/>
                <a:gd name="connsiteY10" fmla="*/ 679516 h 825859"/>
                <a:gd name="connsiteX11" fmla="*/ 20836 w 1015622"/>
                <a:gd name="connsiteY11" fmla="*/ 663642 h 825859"/>
                <a:gd name="connsiteX12" fmla="*/ 17859 w 1015622"/>
                <a:gd name="connsiteY12" fmla="*/ 647271 h 825859"/>
                <a:gd name="connsiteX13" fmla="*/ 12402 w 1015622"/>
                <a:gd name="connsiteY13" fmla="*/ 631397 h 825859"/>
                <a:gd name="connsiteX14" fmla="*/ 8930 w 1015622"/>
                <a:gd name="connsiteY14" fmla="*/ 615026 h 825859"/>
                <a:gd name="connsiteX15" fmla="*/ 5953 w 1015622"/>
                <a:gd name="connsiteY15" fmla="*/ 598656 h 825859"/>
                <a:gd name="connsiteX16" fmla="*/ 3969 w 1015622"/>
                <a:gd name="connsiteY16" fmla="*/ 582285 h 825859"/>
                <a:gd name="connsiteX17" fmla="*/ 2480 w 1015622"/>
                <a:gd name="connsiteY17" fmla="*/ 565915 h 825859"/>
                <a:gd name="connsiteX18" fmla="*/ 993 w 1015622"/>
                <a:gd name="connsiteY18" fmla="*/ 549544 h 825859"/>
                <a:gd name="connsiteX19" fmla="*/ 1488 w 1015622"/>
                <a:gd name="connsiteY19" fmla="*/ 532677 h 825859"/>
                <a:gd name="connsiteX20" fmla="*/ 0 w 1015622"/>
                <a:gd name="connsiteY20" fmla="*/ 516307 h 825859"/>
                <a:gd name="connsiteX21" fmla="*/ 993 w 1015622"/>
                <a:gd name="connsiteY21" fmla="*/ 500432 h 825859"/>
                <a:gd name="connsiteX22" fmla="*/ 1984 w 1015622"/>
                <a:gd name="connsiteY22" fmla="*/ 484558 h 825859"/>
                <a:gd name="connsiteX23" fmla="*/ 3969 w 1015622"/>
                <a:gd name="connsiteY23" fmla="*/ 468683 h 825859"/>
                <a:gd name="connsiteX24" fmla="*/ 3473 w 1015622"/>
                <a:gd name="connsiteY24" fmla="*/ 452313 h 825859"/>
                <a:gd name="connsiteX25" fmla="*/ 6449 w 1015622"/>
                <a:gd name="connsiteY25" fmla="*/ 436438 h 825859"/>
                <a:gd name="connsiteX26" fmla="*/ 8434 w 1015622"/>
                <a:gd name="connsiteY26" fmla="*/ 420564 h 825859"/>
                <a:gd name="connsiteX27" fmla="*/ 11410 w 1015622"/>
                <a:gd name="connsiteY27" fmla="*/ 404689 h 825859"/>
                <a:gd name="connsiteX28" fmla="*/ 14882 w 1015622"/>
                <a:gd name="connsiteY28" fmla="*/ 388815 h 825859"/>
                <a:gd name="connsiteX29" fmla="*/ 19347 w 1015622"/>
                <a:gd name="connsiteY29" fmla="*/ 373436 h 825859"/>
                <a:gd name="connsiteX30" fmla="*/ 25796 w 1015622"/>
                <a:gd name="connsiteY30" fmla="*/ 358554 h 825859"/>
                <a:gd name="connsiteX31" fmla="*/ 30261 w 1015622"/>
                <a:gd name="connsiteY31" fmla="*/ 343176 h 825859"/>
                <a:gd name="connsiteX32" fmla="*/ 36710 w 1015622"/>
                <a:gd name="connsiteY32" fmla="*/ 328293 h 825859"/>
                <a:gd name="connsiteX33" fmla="*/ 41671 w 1015622"/>
                <a:gd name="connsiteY33" fmla="*/ 312915 h 825859"/>
                <a:gd name="connsiteX34" fmla="*/ 48616 w 1015622"/>
                <a:gd name="connsiteY34" fmla="*/ 298529 h 825859"/>
                <a:gd name="connsiteX35" fmla="*/ 56057 w 1015622"/>
                <a:gd name="connsiteY35" fmla="*/ 284142 h 825859"/>
                <a:gd name="connsiteX36" fmla="*/ 63498 w 1015622"/>
                <a:gd name="connsiteY36" fmla="*/ 269756 h 825859"/>
                <a:gd name="connsiteX37" fmla="*/ 70939 w 1015622"/>
                <a:gd name="connsiteY37" fmla="*/ 255370 h 825859"/>
                <a:gd name="connsiteX38" fmla="*/ 79868 w 1015622"/>
                <a:gd name="connsiteY38" fmla="*/ 241976 h 825859"/>
                <a:gd name="connsiteX39" fmla="*/ 88798 w 1015622"/>
                <a:gd name="connsiteY39" fmla="*/ 228582 h 825859"/>
                <a:gd name="connsiteX40" fmla="*/ 98720 w 1015622"/>
                <a:gd name="connsiteY40" fmla="*/ 215684 h 825859"/>
                <a:gd name="connsiteX41" fmla="*/ 107153 w 1015622"/>
                <a:gd name="connsiteY41" fmla="*/ 202289 h 825859"/>
                <a:gd name="connsiteX42" fmla="*/ 116578 w 1015622"/>
                <a:gd name="connsiteY42" fmla="*/ 189391 h 825859"/>
                <a:gd name="connsiteX43" fmla="*/ 126996 w 1015622"/>
                <a:gd name="connsiteY43" fmla="*/ 177486 h 825859"/>
                <a:gd name="connsiteX44" fmla="*/ 137910 w 1015622"/>
                <a:gd name="connsiteY44" fmla="*/ 165580 h 825859"/>
                <a:gd name="connsiteX45" fmla="*/ 150312 w 1015622"/>
                <a:gd name="connsiteY45" fmla="*/ 155162 h 825859"/>
                <a:gd name="connsiteX46" fmla="*/ 160729 w 1015622"/>
                <a:gd name="connsiteY46" fmla="*/ 142760 h 825859"/>
                <a:gd name="connsiteX47" fmla="*/ 173627 w 1015622"/>
                <a:gd name="connsiteY47" fmla="*/ 132839 h 825859"/>
                <a:gd name="connsiteX48" fmla="*/ 186029 w 1015622"/>
                <a:gd name="connsiteY48" fmla="*/ 122421 h 825859"/>
                <a:gd name="connsiteX49" fmla="*/ 198927 w 1015622"/>
                <a:gd name="connsiteY49" fmla="*/ 112995 h 825859"/>
                <a:gd name="connsiteX50" fmla="*/ 210337 w 1015622"/>
                <a:gd name="connsiteY50" fmla="*/ 101586 h 825859"/>
                <a:gd name="connsiteX51" fmla="*/ 223731 w 1015622"/>
                <a:gd name="connsiteY51" fmla="*/ 92656 h 825859"/>
                <a:gd name="connsiteX52" fmla="*/ 237125 w 1015622"/>
                <a:gd name="connsiteY52" fmla="*/ 83727 h 825859"/>
                <a:gd name="connsiteX53" fmla="*/ 250519 w 1015622"/>
                <a:gd name="connsiteY53" fmla="*/ 74797 h 825859"/>
                <a:gd name="connsiteX54" fmla="*/ 265402 w 1015622"/>
                <a:gd name="connsiteY54" fmla="*/ 68844 h 825859"/>
                <a:gd name="connsiteX55" fmla="*/ 278796 w 1015622"/>
                <a:gd name="connsiteY55" fmla="*/ 59419 h 825859"/>
                <a:gd name="connsiteX56" fmla="*/ 293679 w 1015622"/>
                <a:gd name="connsiteY56" fmla="*/ 52970 h 825859"/>
                <a:gd name="connsiteX57" fmla="*/ 308561 w 1015622"/>
                <a:gd name="connsiteY57" fmla="*/ 47017 h 825859"/>
                <a:gd name="connsiteX58" fmla="*/ 323443 w 1015622"/>
                <a:gd name="connsiteY58" fmla="*/ 41064 h 825859"/>
                <a:gd name="connsiteX59" fmla="*/ 338326 w 1015622"/>
                <a:gd name="connsiteY59" fmla="*/ 35111 h 825859"/>
                <a:gd name="connsiteX60" fmla="*/ 353208 w 1015622"/>
                <a:gd name="connsiteY60" fmla="*/ 28166 h 825859"/>
                <a:gd name="connsiteX61" fmla="*/ 369082 w 1015622"/>
                <a:gd name="connsiteY61" fmla="*/ 24694 h 825859"/>
                <a:gd name="connsiteX62" fmla="*/ 384460 w 1015622"/>
                <a:gd name="connsiteY62" fmla="*/ 19237 h 825859"/>
                <a:gd name="connsiteX63" fmla="*/ 400335 w 1015622"/>
                <a:gd name="connsiteY63" fmla="*/ 15268 h 825859"/>
                <a:gd name="connsiteX64" fmla="*/ 416210 w 1015622"/>
                <a:gd name="connsiteY64" fmla="*/ 12292 h 825859"/>
                <a:gd name="connsiteX65" fmla="*/ 432084 w 1015622"/>
                <a:gd name="connsiteY65" fmla="*/ 8819 h 825859"/>
                <a:gd name="connsiteX66" fmla="*/ 448455 w 1015622"/>
                <a:gd name="connsiteY66" fmla="*/ 7827 h 825859"/>
                <a:gd name="connsiteX67" fmla="*/ 464329 w 1015622"/>
                <a:gd name="connsiteY67" fmla="*/ 5843 h 825859"/>
                <a:gd name="connsiteX68" fmla="*/ 480204 w 1015622"/>
                <a:gd name="connsiteY68" fmla="*/ 4354 h 825859"/>
                <a:gd name="connsiteX69" fmla="*/ 496574 w 1015622"/>
                <a:gd name="connsiteY69" fmla="*/ 4354 h 825859"/>
                <a:gd name="connsiteX70" fmla="*/ 512449 w 1015622"/>
                <a:gd name="connsiteY70" fmla="*/ 3858 h 825859"/>
                <a:gd name="connsiteX71" fmla="*/ 528323 w 1015622"/>
                <a:gd name="connsiteY71" fmla="*/ 4850 h 825859"/>
                <a:gd name="connsiteX72" fmla="*/ 544694 w 1015622"/>
                <a:gd name="connsiteY72" fmla="*/ 3858 h 825859"/>
                <a:gd name="connsiteX73" fmla="*/ 560568 w 1015622"/>
                <a:gd name="connsiteY73" fmla="*/ 6835 h 825859"/>
                <a:gd name="connsiteX74" fmla="*/ 576939 w 1015622"/>
                <a:gd name="connsiteY74" fmla="*/ 6835 h 825859"/>
                <a:gd name="connsiteX75" fmla="*/ 814560 w 1015622"/>
                <a:gd name="connsiteY75" fmla="*/ 100593 h 825859"/>
                <a:gd name="connsiteX76" fmla="*/ 1000590 w 1015622"/>
                <a:gd name="connsiteY76" fmla="*/ 357562 h 825859"/>
                <a:gd name="connsiteX77" fmla="*/ 1005550 w 1015622"/>
                <a:gd name="connsiteY77" fmla="*/ 372940 h 825859"/>
                <a:gd name="connsiteX78" fmla="*/ 1012992 w 1015622"/>
                <a:gd name="connsiteY78" fmla="*/ 404193 h 825859"/>
                <a:gd name="connsiteX0" fmla="*/ 103184 w 1015622"/>
                <a:gd name="connsiteY0" fmla="*/ 844893 h 844893"/>
                <a:gd name="connsiteX1" fmla="*/ 92767 w 1015622"/>
                <a:gd name="connsiteY1" fmla="*/ 831995 h 844893"/>
                <a:gd name="connsiteX2" fmla="*/ 82845 w 1015622"/>
                <a:gd name="connsiteY2" fmla="*/ 818601 h 844893"/>
                <a:gd name="connsiteX3" fmla="*/ 74412 w 1015622"/>
                <a:gd name="connsiteY3" fmla="*/ 804215 h 844893"/>
                <a:gd name="connsiteX4" fmla="*/ 67466 w 1015622"/>
                <a:gd name="connsiteY4" fmla="*/ 789333 h 844893"/>
                <a:gd name="connsiteX5" fmla="*/ 59529 w 1015622"/>
                <a:gd name="connsiteY5" fmla="*/ 774946 h 844893"/>
                <a:gd name="connsiteX6" fmla="*/ 51096 w 1015622"/>
                <a:gd name="connsiteY6" fmla="*/ 760560 h 844893"/>
                <a:gd name="connsiteX7" fmla="*/ 44647 w 1015622"/>
                <a:gd name="connsiteY7" fmla="*/ 745182 h 844893"/>
                <a:gd name="connsiteX8" fmla="*/ 39190 w 1015622"/>
                <a:gd name="connsiteY8" fmla="*/ 729307 h 844893"/>
                <a:gd name="connsiteX9" fmla="*/ 31253 w 1015622"/>
                <a:gd name="connsiteY9" fmla="*/ 714425 h 844893"/>
                <a:gd name="connsiteX10" fmla="*/ 25796 w 1015622"/>
                <a:gd name="connsiteY10" fmla="*/ 698550 h 844893"/>
                <a:gd name="connsiteX11" fmla="*/ 20836 w 1015622"/>
                <a:gd name="connsiteY11" fmla="*/ 682676 h 844893"/>
                <a:gd name="connsiteX12" fmla="*/ 17859 w 1015622"/>
                <a:gd name="connsiteY12" fmla="*/ 666305 h 844893"/>
                <a:gd name="connsiteX13" fmla="*/ 12402 w 1015622"/>
                <a:gd name="connsiteY13" fmla="*/ 650431 h 844893"/>
                <a:gd name="connsiteX14" fmla="*/ 8930 w 1015622"/>
                <a:gd name="connsiteY14" fmla="*/ 634060 h 844893"/>
                <a:gd name="connsiteX15" fmla="*/ 5953 w 1015622"/>
                <a:gd name="connsiteY15" fmla="*/ 617690 h 844893"/>
                <a:gd name="connsiteX16" fmla="*/ 3969 w 1015622"/>
                <a:gd name="connsiteY16" fmla="*/ 601319 h 844893"/>
                <a:gd name="connsiteX17" fmla="*/ 2480 w 1015622"/>
                <a:gd name="connsiteY17" fmla="*/ 584949 h 844893"/>
                <a:gd name="connsiteX18" fmla="*/ 993 w 1015622"/>
                <a:gd name="connsiteY18" fmla="*/ 568578 h 844893"/>
                <a:gd name="connsiteX19" fmla="*/ 1488 w 1015622"/>
                <a:gd name="connsiteY19" fmla="*/ 551711 h 844893"/>
                <a:gd name="connsiteX20" fmla="*/ 0 w 1015622"/>
                <a:gd name="connsiteY20" fmla="*/ 535341 h 844893"/>
                <a:gd name="connsiteX21" fmla="*/ 993 w 1015622"/>
                <a:gd name="connsiteY21" fmla="*/ 519466 h 844893"/>
                <a:gd name="connsiteX22" fmla="*/ 1984 w 1015622"/>
                <a:gd name="connsiteY22" fmla="*/ 503592 h 844893"/>
                <a:gd name="connsiteX23" fmla="*/ 3969 w 1015622"/>
                <a:gd name="connsiteY23" fmla="*/ 487717 h 844893"/>
                <a:gd name="connsiteX24" fmla="*/ 3473 w 1015622"/>
                <a:gd name="connsiteY24" fmla="*/ 471347 h 844893"/>
                <a:gd name="connsiteX25" fmla="*/ 6449 w 1015622"/>
                <a:gd name="connsiteY25" fmla="*/ 455472 h 844893"/>
                <a:gd name="connsiteX26" fmla="*/ 8434 w 1015622"/>
                <a:gd name="connsiteY26" fmla="*/ 439598 h 844893"/>
                <a:gd name="connsiteX27" fmla="*/ 11410 w 1015622"/>
                <a:gd name="connsiteY27" fmla="*/ 423723 h 844893"/>
                <a:gd name="connsiteX28" fmla="*/ 14882 w 1015622"/>
                <a:gd name="connsiteY28" fmla="*/ 407849 h 844893"/>
                <a:gd name="connsiteX29" fmla="*/ 19347 w 1015622"/>
                <a:gd name="connsiteY29" fmla="*/ 392470 h 844893"/>
                <a:gd name="connsiteX30" fmla="*/ 25796 w 1015622"/>
                <a:gd name="connsiteY30" fmla="*/ 377588 h 844893"/>
                <a:gd name="connsiteX31" fmla="*/ 30261 w 1015622"/>
                <a:gd name="connsiteY31" fmla="*/ 362210 h 844893"/>
                <a:gd name="connsiteX32" fmla="*/ 36710 w 1015622"/>
                <a:gd name="connsiteY32" fmla="*/ 347327 h 844893"/>
                <a:gd name="connsiteX33" fmla="*/ 41671 w 1015622"/>
                <a:gd name="connsiteY33" fmla="*/ 331949 h 844893"/>
                <a:gd name="connsiteX34" fmla="*/ 48616 w 1015622"/>
                <a:gd name="connsiteY34" fmla="*/ 317563 h 844893"/>
                <a:gd name="connsiteX35" fmla="*/ 56057 w 1015622"/>
                <a:gd name="connsiteY35" fmla="*/ 303176 h 844893"/>
                <a:gd name="connsiteX36" fmla="*/ 63498 w 1015622"/>
                <a:gd name="connsiteY36" fmla="*/ 288790 h 844893"/>
                <a:gd name="connsiteX37" fmla="*/ 70939 w 1015622"/>
                <a:gd name="connsiteY37" fmla="*/ 274404 h 844893"/>
                <a:gd name="connsiteX38" fmla="*/ 79868 w 1015622"/>
                <a:gd name="connsiteY38" fmla="*/ 261010 h 844893"/>
                <a:gd name="connsiteX39" fmla="*/ 88798 w 1015622"/>
                <a:gd name="connsiteY39" fmla="*/ 247616 h 844893"/>
                <a:gd name="connsiteX40" fmla="*/ 98720 w 1015622"/>
                <a:gd name="connsiteY40" fmla="*/ 234718 h 844893"/>
                <a:gd name="connsiteX41" fmla="*/ 107153 w 1015622"/>
                <a:gd name="connsiteY41" fmla="*/ 221323 h 844893"/>
                <a:gd name="connsiteX42" fmla="*/ 116578 w 1015622"/>
                <a:gd name="connsiteY42" fmla="*/ 208425 h 844893"/>
                <a:gd name="connsiteX43" fmla="*/ 126996 w 1015622"/>
                <a:gd name="connsiteY43" fmla="*/ 196520 h 844893"/>
                <a:gd name="connsiteX44" fmla="*/ 137910 w 1015622"/>
                <a:gd name="connsiteY44" fmla="*/ 184614 h 844893"/>
                <a:gd name="connsiteX45" fmla="*/ 150312 w 1015622"/>
                <a:gd name="connsiteY45" fmla="*/ 174196 h 844893"/>
                <a:gd name="connsiteX46" fmla="*/ 160729 w 1015622"/>
                <a:gd name="connsiteY46" fmla="*/ 161794 h 844893"/>
                <a:gd name="connsiteX47" fmla="*/ 173627 w 1015622"/>
                <a:gd name="connsiteY47" fmla="*/ 151873 h 844893"/>
                <a:gd name="connsiteX48" fmla="*/ 186029 w 1015622"/>
                <a:gd name="connsiteY48" fmla="*/ 141455 h 844893"/>
                <a:gd name="connsiteX49" fmla="*/ 198927 w 1015622"/>
                <a:gd name="connsiteY49" fmla="*/ 132029 h 844893"/>
                <a:gd name="connsiteX50" fmla="*/ 210337 w 1015622"/>
                <a:gd name="connsiteY50" fmla="*/ 120620 h 844893"/>
                <a:gd name="connsiteX51" fmla="*/ 223731 w 1015622"/>
                <a:gd name="connsiteY51" fmla="*/ 111690 h 844893"/>
                <a:gd name="connsiteX52" fmla="*/ 237125 w 1015622"/>
                <a:gd name="connsiteY52" fmla="*/ 102761 h 844893"/>
                <a:gd name="connsiteX53" fmla="*/ 250519 w 1015622"/>
                <a:gd name="connsiteY53" fmla="*/ 93831 h 844893"/>
                <a:gd name="connsiteX54" fmla="*/ 265402 w 1015622"/>
                <a:gd name="connsiteY54" fmla="*/ 87878 h 844893"/>
                <a:gd name="connsiteX55" fmla="*/ 278796 w 1015622"/>
                <a:gd name="connsiteY55" fmla="*/ 78453 h 844893"/>
                <a:gd name="connsiteX56" fmla="*/ 293679 w 1015622"/>
                <a:gd name="connsiteY56" fmla="*/ 72004 h 844893"/>
                <a:gd name="connsiteX57" fmla="*/ 308561 w 1015622"/>
                <a:gd name="connsiteY57" fmla="*/ 66051 h 844893"/>
                <a:gd name="connsiteX58" fmla="*/ 323443 w 1015622"/>
                <a:gd name="connsiteY58" fmla="*/ 60098 h 844893"/>
                <a:gd name="connsiteX59" fmla="*/ 338326 w 1015622"/>
                <a:gd name="connsiteY59" fmla="*/ 54145 h 844893"/>
                <a:gd name="connsiteX60" fmla="*/ 353208 w 1015622"/>
                <a:gd name="connsiteY60" fmla="*/ 47200 h 844893"/>
                <a:gd name="connsiteX61" fmla="*/ 369082 w 1015622"/>
                <a:gd name="connsiteY61" fmla="*/ 43728 h 844893"/>
                <a:gd name="connsiteX62" fmla="*/ 384460 w 1015622"/>
                <a:gd name="connsiteY62" fmla="*/ 38271 h 844893"/>
                <a:gd name="connsiteX63" fmla="*/ 400335 w 1015622"/>
                <a:gd name="connsiteY63" fmla="*/ 34302 h 844893"/>
                <a:gd name="connsiteX64" fmla="*/ 416210 w 1015622"/>
                <a:gd name="connsiteY64" fmla="*/ 31326 h 844893"/>
                <a:gd name="connsiteX65" fmla="*/ 432084 w 1015622"/>
                <a:gd name="connsiteY65" fmla="*/ 27853 h 844893"/>
                <a:gd name="connsiteX66" fmla="*/ 448455 w 1015622"/>
                <a:gd name="connsiteY66" fmla="*/ 26861 h 844893"/>
                <a:gd name="connsiteX67" fmla="*/ 464329 w 1015622"/>
                <a:gd name="connsiteY67" fmla="*/ 24877 h 844893"/>
                <a:gd name="connsiteX68" fmla="*/ 480204 w 1015622"/>
                <a:gd name="connsiteY68" fmla="*/ 23388 h 844893"/>
                <a:gd name="connsiteX69" fmla="*/ 496574 w 1015622"/>
                <a:gd name="connsiteY69" fmla="*/ 23388 h 844893"/>
                <a:gd name="connsiteX70" fmla="*/ 512449 w 1015622"/>
                <a:gd name="connsiteY70" fmla="*/ 22892 h 844893"/>
                <a:gd name="connsiteX71" fmla="*/ 528323 w 1015622"/>
                <a:gd name="connsiteY71" fmla="*/ 23884 h 844893"/>
                <a:gd name="connsiteX72" fmla="*/ 544694 w 1015622"/>
                <a:gd name="connsiteY72" fmla="*/ 22892 h 844893"/>
                <a:gd name="connsiteX73" fmla="*/ 560568 w 1015622"/>
                <a:gd name="connsiteY73" fmla="*/ 25869 h 844893"/>
                <a:gd name="connsiteX74" fmla="*/ 576939 w 1015622"/>
                <a:gd name="connsiteY74" fmla="*/ 25869 h 844893"/>
                <a:gd name="connsiteX75" fmla="*/ 1000590 w 1015622"/>
                <a:gd name="connsiteY75" fmla="*/ 376596 h 844893"/>
                <a:gd name="connsiteX76" fmla="*/ 1005550 w 1015622"/>
                <a:gd name="connsiteY76" fmla="*/ 391974 h 844893"/>
                <a:gd name="connsiteX77" fmla="*/ 1012992 w 1015622"/>
                <a:gd name="connsiteY77" fmla="*/ 423227 h 844893"/>
                <a:gd name="connsiteX0" fmla="*/ 103184 w 1035776"/>
                <a:gd name="connsiteY0" fmla="*/ 844893 h 844893"/>
                <a:gd name="connsiteX1" fmla="*/ 92767 w 1035776"/>
                <a:gd name="connsiteY1" fmla="*/ 831995 h 844893"/>
                <a:gd name="connsiteX2" fmla="*/ 82845 w 1035776"/>
                <a:gd name="connsiteY2" fmla="*/ 818601 h 844893"/>
                <a:gd name="connsiteX3" fmla="*/ 74412 w 1035776"/>
                <a:gd name="connsiteY3" fmla="*/ 804215 h 844893"/>
                <a:gd name="connsiteX4" fmla="*/ 67466 w 1035776"/>
                <a:gd name="connsiteY4" fmla="*/ 789333 h 844893"/>
                <a:gd name="connsiteX5" fmla="*/ 59529 w 1035776"/>
                <a:gd name="connsiteY5" fmla="*/ 774946 h 844893"/>
                <a:gd name="connsiteX6" fmla="*/ 51096 w 1035776"/>
                <a:gd name="connsiteY6" fmla="*/ 760560 h 844893"/>
                <a:gd name="connsiteX7" fmla="*/ 44647 w 1035776"/>
                <a:gd name="connsiteY7" fmla="*/ 745182 h 844893"/>
                <a:gd name="connsiteX8" fmla="*/ 39190 w 1035776"/>
                <a:gd name="connsiteY8" fmla="*/ 729307 h 844893"/>
                <a:gd name="connsiteX9" fmla="*/ 31253 w 1035776"/>
                <a:gd name="connsiteY9" fmla="*/ 714425 h 844893"/>
                <a:gd name="connsiteX10" fmla="*/ 25796 w 1035776"/>
                <a:gd name="connsiteY10" fmla="*/ 698550 h 844893"/>
                <a:gd name="connsiteX11" fmla="*/ 20836 w 1035776"/>
                <a:gd name="connsiteY11" fmla="*/ 682676 h 844893"/>
                <a:gd name="connsiteX12" fmla="*/ 17859 w 1035776"/>
                <a:gd name="connsiteY12" fmla="*/ 666305 h 844893"/>
                <a:gd name="connsiteX13" fmla="*/ 12402 w 1035776"/>
                <a:gd name="connsiteY13" fmla="*/ 650431 h 844893"/>
                <a:gd name="connsiteX14" fmla="*/ 8930 w 1035776"/>
                <a:gd name="connsiteY14" fmla="*/ 634060 h 844893"/>
                <a:gd name="connsiteX15" fmla="*/ 5953 w 1035776"/>
                <a:gd name="connsiteY15" fmla="*/ 617690 h 844893"/>
                <a:gd name="connsiteX16" fmla="*/ 3969 w 1035776"/>
                <a:gd name="connsiteY16" fmla="*/ 601319 h 844893"/>
                <a:gd name="connsiteX17" fmla="*/ 2480 w 1035776"/>
                <a:gd name="connsiteY17" fmla="*/ 584949 h 844893"/>
                <a:gd name="connsiteX18" fmla="*/ 993 w 1035776"/>
                <a:gd name="connsiteY18" fmla="*/ 568578 h 844893"/>
                <a:gd name="connsiteX19" fmla="*/ 1488 w 1035776"/>
                <a:gd name="connsiteY19" fmla="*/ 551711 h 844893"/>
                <a:gd name="connsiteX20" fmla="*/ 0 w 1035776"/>
                <a:gd name="connsiteY20" fmla="*/ 535341 h 844893"/>
                <a:gd name="connsiteX21" fmla="*/ 993 w 1035776"/>
                <a:gd name="connsiteY21" fmla="*/ 519466 h 844893"/>
                <a:gd name="connsiteX22" fmla="*/ 1984 w 1035776"/>
                <a:gd name="connsiteY22" fmla="*/ 503592 h 844893"/>
                <a:gd name="connsiteX23" fmla="*/ 3969 w 1035776"/>
                <a:gd name="connsiteY23" fmla="*/ 487717 h 844893"/>
                <a:gd name="connsiteX24" fmla="*/ 3473 w 1035776"/>
                <a:gd name="connsiteY24" fmla="*/ 471347 h 844893"/>
                <a:gd name="connsiteX25" fmla="*/ 6449 w 1035776"/>
                <a:gd name="connsiteY25" fmla="*/ 455472 h 844893"/>
                <a:gd name="connsiteX26" fmla="*/ 8434 w 1035776"/>
                <a:gd name="connsiteY26" fmla="*/ 439598 h 844893"/>
                <a:gd name="connsiteX27" fmla="*/ 11410 w 1035776"/>
                <a:gd name="connsiteY27" fmla="*/ 423723 h 844893"/>
                <a:gd name="connsiteX28" fmla="*/ 14882 w 1035776"/>
                <a:gd name="connsiteY28" fmla="*/ 407849 h 844893"/>
                <a:gd name="connsiteX29" fmla="*/ 19347 w 1035776"/>
                <a:gd name="connsiteY29" fmla="*/ 392470 h 844893"/>
                <a:gd name="connsiteX30" fmla="*/ 25796 w 1035776"/>
                <a:gd name="connsiteY30" fmla="*/ 377588 h 844893"/>
                <a:gd name="connsiteX31" fmla="*/ 30261 w 1035776"/>
                <a:gd name="connsiteY31" fmla="*/ 362210 h 844893"/>
                <a:gd name="connsiteX32" fmla="*/ 36710 w 1035776"/>
                <a:gd name="connsiteY32" fmla="*/ 347327 h 844893"/>
                <a:gd name="connsiteX33" fmla="*/ 41671 w 1035776"/>
                <a:gd name="connsiteY33" fmla="*/ 331949 h 844893"/>
                <a:gd name="connsiteX34" fmla="*/ 48616 w 1035776"/>
                <a:gd name="connsiteY34" fmla="*/ 317563 h 844893"/>
                <a:gd name="connsiteX35" fmla="*/ 56057 w 1035776"/>
                <a:gd name="connsiteY35" fmla="*/ 303176 h 844893"/>
                <a:gd name="connsiteX36" fmla="*/ 63498 w 1035776"/>
                <a:gd name="connsiteY36" fmla="*/ 288790 h 844893"/>
                <a:gd name="connsiteX37" fmla="*/ 70939 w 1035776"/>
                <a:gd name="connsiteY37" fmla="*/ 274404 h 844893"/>
                <a:gd name="connsiteX38" fmla="*/ 79868 w 1035776"/>
                <a:gd name="connsiteY38" fmla="*/ 261010 h 844893"/>
                <a:gd name="connsiteX39" fmla="*/ 88798 w 1035776"/>
                <a:gd name="connsiteY39" fmla="*/ 247616 h 844893"/>
                <a:gd name="connsiteX40" fmla="*/ 98720 w 1035776"/>
                <a:gd name="connsiteY40" fmla="*/ 234718 h 844893"/>
                <a:gd name="connsiteX41" fmla="*/ 107153 w 1035776"/>
                <a:gd name="connsiteY41" fmla="*/ 221323 h 844893"/>
                <a:gd name="connsiteX42" fmla="*/ 116578 w 1035776"/>
                <a:gd name="connsiteY42" fmla="*/ 208425 h 844893"/>
                <a:gd name="connsiteX43" fmla="*/ 126996 w 1035776"/>
                <a:gd name="connsiteY43" fmla="*/ 196520 h 844893"/>
                <a:gd name="connsiteX44" fmla="*/ 137910 w 1035776"/>
                <a:gd name="connsiteY44" fmla="*/ 184614 h 844893"/>
                <a:gd name="connsiteX45" fmla="*/ 150312 w 1035776"/>
                <a:gd name="connsiteY45" fmla="*/ 174196 h 844893"/>
                <a:gd name="connsiteX46" fmla="*/ 160729 w 1035776"/>
                <a:gd name="connsiteY46" fmla="*/ 161794 h 844893"/>
                <a:gd name="connsiteX47" fmla="*/ 173627 w 1035776"/>
                <a:gd name="connsiteY47" fmla="*/ 151873 h 844893"/>
                <a:gd name="connsiteX48" fmla="*/ 186029 w 1035776"/>
                <a:gd name="connsiteY48" fmla="*/ 141455 h 844893"/>
                <a:gd name="connsiteX49" fmla="*/ 198927 w 1035776"/>
                <a:gd name="connsiteY49" fmla="*/ 132029 h 844893"/>
                <a:gd name="connsiteX50" fmla="*/ 210337 w 1035776"/>
                <a:gd name="connsiteY50" fmla="*/ 120620 h 844893"/>
                <a:gd name="connsiteX51" fmla="*/ 223731 w 1035776"/>
                <a:gd name="connsiteY51" fmla="*/ 111690 h 844893"/>
                <a:gd name="connsiteX52" fmla="*/ 237125 w 1035776"/>
                <a:gd name="connsiteY52" fmla="*/ 102761 h 844893"/>
                <a:gd name="connsiteX53" fmla="*/ 250519 w 1035776"/>
                <a:gd name="connsiteY53" fmla="*/ 93831 h 844893"/>
                <a:gd name="connsiteX54" fmla="*/ 265402 w 1035776"/>
                <a:gd name="connsiteY54" fmla="*/ 87878 h 844893"/>
                <a:gd name="connsiteX55" fmla="*/ 278796 w 1035776"/>
                <a:gd name="connsiteY55" fmla="*/ 78453 h 844893"/>
                <a:gd name="connsiteX56" fmla="*/ 293679 w 1035776"/>
                <a:gd name="connsiteY56" fmla="*/ 72004 h 844893"/>
                <a:gd name="connsiteX57" fmla="*/ 308561 w 1035776"/>
                <a:gd name="connsiteY57" fmla="*/ 66051 h 844893"/>
                <a:gd name="connsiteX58" fmla="*/ 323443 w 1035776"/>
                <a:gd name="connsiteY58" fmla="*/ 60098 h 844893"/>
                <a:gd name="connsiteX59" fmla="*/ 338326 w 1035776"/>
                <a:gd name="connsiteY59" fmla="*/ 54145 h 844893"/>
                <a:gd name="connsiteX60" fmla="*/ 353208 w 1035776"/>
                <a:gd name="connsiteY60" fmla="*/ 47200 h 844893"/>
                <a:gd name="connsiteX61" fmla="*/ 369082 w 1035776"/>
                <a:gd name="connsiteY61" fmla="*/ 43728 h 844893"/>
                <a:gd name="connsiteX62" fmla="*/ 384460 w 1035776"/>
                <a:gd name="connsiteY62" fmla="*/ 38271 h 844893"/>
                <a:gd name="connsiteX63" fmla="*/ 400335 w 1035776"/>
                <a:gd name="connsiteY63" fmla="*/ 34302 h 844893"/>
                <a:gd name="connsiteX64" fmla="*/ 416210 w 1035776"/>
                <a:gd name="connsiteY64" fmla="*/ 31326 h 844893"/>
                <a:gd name="connsiteX65" fmla="*/ 432084 w 1035776"/>
                <a:gd name="connsiteY65" fmla="*/ 27853 h 844893"/>
                <a:gd name="connsiteX66" fmla="*/ 448455 w 1035776"/>
                <a:gd name="connsiteY66" fmla="*/ 26861 h 844893"/>
                <a:gd name="connsiteX67" fmla="*/ 464329 w 1035776"/>
                <a:gd name="connsiteY67" fmla="*/ 24877 h 844893"/>
                <a:gd name="connsiteX68" fmla="*/ 480204 w 1035776"/>
                <a:gd name="connsiteY68" fmla="*/ 23388 h 844893"/>
                <a:gd name="connsiteX69" fmla="*/ 496574 w 1035776"/>
                <a:gd name="connsiteY69" fmla="*/ 23388 h 844893"/>
                <a:gd name="connsiteX70" fmla="*/ 512449 w 1035776"/>
                <a:gd name="connsiteY70" fmla="*/ 22892 h 844893"/>
                <a:gd name="connsiteX71" fmla="*/ 528323 w 1035776"/>
                <a:gd name="connsiteY71" fmla="*/ 23884 h 844893"/>
                <a:gd name="connsiteX72" fmla="*/ 544694 w 1035776"/>
                <a:gd name="connsiteY72" fmla="*/ 22892 h 844893"/>
                <a:gd name="connsiteX73" fmla="*/ 560568 w 1035776"/>
                <a:gd name="connsiteY73" fmla="*/ 25869 h 844893"/>
                <a:gd name="connsiteX74" fmla="*/ 576939 w 1035776"/>
                <a:gd name="connsiteY74" fmla="*/ 25869 h 844893"/>
                <a:gd name="connsiteX75" fmla="*/ 1000590 w 1035776"/>
                <a:gd name="connsiteY75" fmla="*/ 376596 h 844893"/>
                <a:gd name="connsiteX76" fmla="*/ 1012992 w 1035776"/>
                <a:gd name="connsiteY76" fmla="*/ 423227 h 844893"/>
                <a:gd name="connsiteX0" fmla="*/ 103184 w 1000590"/>
                <a:gd name="connsiteY0" fmla="*/ 844893 h 844893"/>
                <a:gd name="connsiteX1" fmla="*/ 92767 w 1000590"/>
                <a:gd name="connsiteY1" fmla="*/ 831995 h 844893"/>
                <a:gd name="connsiteX2" fmla="*/ 82845 w 1000590"/>
                <a:gd name="connsiteY2" fmla="*/ 818601 h 844893"/>
                <a:gd name="connsiteX3" fmla="*/ 74412 w 1000590"/>
                <a:gd name="connsiteY3" fmla="*/ 804215 h 844893"/>
                <a:gd name="connsiteX4" fmla="*/ 67466 w 1000590"/>
                <a:gd name="connsiteY4" fmla="*/ 789333 h 844893"/>
                <a:gd name="connsiteX5" fmla="*/ 59529 w 1000590"/>
                <a:gd name="connsiteY5" fmla="*/ 774946 h 844893"/>
                <a:gd name="connsiteX6" fmla="*/ 51096 w 1000590"/>
                <a:gd name="connsiteY6" fmla="*/ 760560 h 844893"/>
                <a:gd name="connsiteX7" fmla="*/ 44647 w 1000590"/>
                <a:gd name="connsiteY7" fmla="*/ 745182 h 844893"/>
                <a:gd name="connsiteX8" fmla="*/ 39190 w 1000590"/>
                <a:gd name="connsiteY8" fmla="*/ 729307 h 844893"/>
                <a:gd name="connsiteX9" fmla="*/ 31253 w 1000590"/>
                <a:gd name="connsiteY9" fmla="*/ 714425 h 844893"/>
                <a:gd name="connsiteX10" fmla="*/ 25796 w 1000590"/>
                <a:gd name="connsiteY10" fmla="*/ 698550 h 844893"/>
                <a:gd name="connsiteX11" fmla="*/ 20836 w 1000590"/>
                <a:gd name="connsiteY11" fmla="*/ 682676 h 844893"/>
                <a:gd name="connsiteX12" fmla="*/ 17859 w 1000590"/>
                <a:gd name="connsiteY12" fmla="*/ 666305 h 844893"/>
                <a:gd name="connsiteX13" fmla="*/ 12402 w 1000590"/>
                <a:gd name="connsiteY13" fmla="*/ 650431 h 844893"/>
                <a:gd name="connsiteX14" fmla="*/ 8930 w 1000590"/>
                <a:gd name="connsiteY14" fmla="*/ 634060 h 844893"/>
                <a:gd name="connsiteX15" fmla="*/ 5953 w 1000590"/>
                <a:gd name="connsiteY15" fmla="*/ 617690 h 844893"/>
                <a:gd name="connsiteX16" fmla="*/ 3969 w 1000590"/>
                <a:gd name="connsiteY16" fmla="*/ 601319 h 844893"/>
                <a:gd name="connsiteX17" fmla="*/ 2480 w 1000590"/>
                <a:gd name="connsiteY17" fmla="*/ 584949 h 844893"/>
                <a:gd name="connsiteX18" fmla="*/ 993 w 1000590"/>
                <a:gd name="connsiteY18" fmla="*/ 568578 h 844893"/>
                <a:gd name="connsiteX19" fmla="*/ 1488 w 1000590"/>
                <a:gd name="connsiteY19" fmla="*/ 551711 h 844893"/>
                <a:gd name="connsiteX20" fmla="*/ 0 w 1000590"/>
                <a:gd name="connsiteY20" fmla="*/ 535341 h 844893"/>
                <a:gd name="connsiteX21" fmla="*/ 993 w 1000590"/>
                <a:gd name="connsiteY21" fmla="*/ 519466 h 844893"/>
                <a:gd name="connsiteX22" fmla="*/ 1984 w 1000590"/>
                <a:gd name="connsiteY22" fmla="*/ 503592 h 844893"/>
                <a:gd name="connsiteX23" fmla="*/ 3969 w 1000590"/>
                <a:gd name="connsiteY23" fmla="*/ 487717 h 844893"/>
                <a:gd name="connsiteX24" fmla="*/ 3473 w 1000590"/>
                <a:gd name="connsiteY24" fmla="*/ 471347 h 844893"/>
                <a:gd name="connsiteX25" fmla="*/ 6449 w 1000590"/>
                <a:gd name="connsiteY25" fmla="*/ 455472 h 844893"/>
                <a:gd name="connsiteX26" fmla="*/ 8434 w 1000590"/>
                <a:gd name="connsiteY26" fmla="*/ 439598 h 844893"/>
                <a:gd name="connsiteX27" fmla="*/ 11410 w 1000590"/>
                <a:gd name="connsiteY27" fmla="*/ 423723 h 844893"/>
                <a:gd name="connsiteX28" fmla="*/ 14882 w 1000590"/>
                <a:gd name="connsiteY28" fmla="*/ 407849 h 844893"/>
                <a:gd name="connsiteX29" fmla="*/ 19347 w 1000590"/>
                <a:gd name="connsiteY29" fmla="*/ 392470 h 844893"/>
                <a:gd name="connsiteX30" fmla="*/ 25796 w 1000590"/>
                <a:gd name="connsiteY30" fmla="*/ 377588 h 844893"/>
                <a:gd name="connsiteX31" fmla="*/ 30261 w 1000590"/>
                <a:gd name="connsiteY31" fmla="*/ 362210 h 844893"/>
                <a:gd name="connsiteX32" fmla="*/ 36710 w 1000590"/>
                <a:gd name="connsiteY32" fmla="*/ 347327 h 844893"/>
                <a:gd name="connsiteX33" fmla="*/ 41671 w 1000590"/>
                <a:gd name="connsiteY33" fmla="*/ 331949 h 844893"/>
                <a:gd name="connsiteX34" fmla="*/ 48616 w 1000590"/>
                <a:gd name="connsiteY34" fmla="*/ 317563 h 844893"/>
                <a:gd name="connsiteX35" fmla="*/ 56057 w 1000590"/>
                <a:gd name="connsiteY35" fmla="*/ 303176 h 844893"/>
                <a:gd name="connsiteX36" fmla="*/ 63498 w 1000590"/>
                <a:gd name="connsiteY36" fmla="*/ 288790 h 844893"/>
                <a:gd name="connsiteX37" fmla="*/ 70939 w 1000590"/>
                <a:gd name="connsiteY37" fmla="*/ 274404 h 844893"/>
                <a:gd name="connsiteX38" fmla="*/ 79868 w 1000590"/>
                <a:gd name="connsiteY38" fmla="*/ 261010 h 844893"/>
                <a:gd name="connsiteX39" fmla="*/ 88798 w 1000590"/>
                <a:gd name="connsiteY39" fmla="*/ 247616 h 844893"/>
                <a:gd name="connsiteX40" fmla="*/ 98720 w 1000590"/>
                <a:gd name="connsiteY40" fmla="*/ 234718 h 844893"/>
                <a:gd name="connsiteX41" fmla="*/ 107153 w 1000590"/>
                <a:gd name="connsiteY41" fmla="*/ 221323 h 844893"/>
                <a:gd name="connsiteX42" fmla="*/ 116578 w 1000590"/>
                <a:gd name="connsiteY42" fmla="*/ 208425 h 844893"/>
                <a:gd name="connsiteX43" fmla="*/ 126996 w 1000590"/>
                <a:gd name="connsiteY43" fmla="*/ 196520 h 844893"/>
                <a:gd name="connsiteX44" fmla="*/ 137910 w 1000590"/>
                <a:gd name="connsiteY44" fmla="*/ 184614 h 844893"/>
                <a:gd name="connsiteX45" fmla="*/ 150312 w 1000590"/>
                <a:gd name="connsiteY45" fmla="*/ 174196 h 844893"/>
                <a:gd name="connsiteX46" fmla="*/ 160729 w 1000590"/>
                <a:gd name="connsiteY46" fmla="*/ 161794 h 844893"/>
                <a:gd name="connsiteX47" fmla="*/ 173627 w 1000590"/>
                <a:gd name="connsiteY47" fmla="*/ 151873 h 844893"/>
                <a:gd name="connsiteX48" fmla="*/ 186029 w 1000590"/>
                <a:gd name="connsiteY48" fmla="*/ 141455 h 844893"/>
                <a:gd name="connsiteX49" fmla="*/ 198927 w 1000590"/>
                <a:gd name="connsiteY49" fmla="*/ 132029 h 844893"/>
                <a:gd name="connsiteX50" fmla="*/ 210337 w 1000590"/>
                <a:gd name="connsiteY50" fmla="*/ 120620 h 844893"/>
                <a:gd name="connsiteX51" fmla="*/ 223731 w 1000590"/>
                <a:gd name="connsiteY51" fmla="*/ 111690 h 844893"/>
                <a:gd name="connsiteX52" fmla="*/ 237125 w 1000590"/>
                <a:gd name="connsiteY52" fmla="*/ 102761 h 844893"/>
                <a:gd name="connsiteX53" fmla="*/ 250519 w 1000590"/>
                <a:gd name="connsiteY53" fmla="*/ 93831 h 844893"/>
                <a:gd name="connsiteX54" fmla="*/ 265402 w 1000590"/>
                <a:gd name="connsiteY54" fmla="*/ 87878 h 844893"/>
                <a:gd name="connsiteX55" fmla="*/ 278796 w 1000590"/>
                <a:gd name="connsiteY55" fmla="*/ 78453 h 844893"/>
                <a:gd name="connsiteX56" fmla="*/ 293679 w 1000590"/>
                <a:gd name="connsiteY56" fmla="*/ 72004 h 844893"/>
                <a:gd name="connsiteX57" fmla="*/ 308561 w 1000590"/>
                <a:gd name="connsiteY57" fmla="*/ 66051 h 844893"/>
                <a:gd name="connsiteX58" fmla="*/ 323443 w 1000590"/>
                <a:gd name="connsiteY58" fmla="*/ 60098 h 844893"/>
                <a:gd name="connsiteX59" fmla="*/ 338326 w 1000590"/>
                <a:gd name="connsiteY59" fmla="*/ 54145 h 844893"/>
                <a:gd name="connsiteX60" fmla="*/ 353208 w 1000590"/>
                <a:gd name="connsiteY60" fmla="*/ 47200 h 844893"/>
                <a:gd name="connsiteX61" fmla="*/ 369082 w 1000590"/>
                <a:gd name="connsiteY61" fmla="*/ 43728 h 844893"/>
                <a:gd name="connsiteX62" fmla="*/ 384460 w 1000590"/>
                <a:gd name="connsiteY62" fmla="*/ 38271 h 844893"/>
                <a:gd name="connsiteX63" fmla="*/ 400335 w 1000590"/>
                <a:gd name="connsiteY63" fmla="*/ 34302 h 844893"/>
                <a:gd name="connsiteX64" fmla="*/ 416210 w 1000590"/>
                <a:gd name="connsiteY64" fmla="*/ 31326 h 844893"/>
                <a:gd name="connsiteX65" fmla="*/ 432084 w 1000590"/>
                <a:gd name="connsiteY65" fmla="*/ 27853 h 844893"/>
                <a:gd name="connsiteX66" fmla="*/ 448455 w 1000590"/>
                <a:gd name="connsiteY66" fmla="*/ 26861 h 844893"/>
                <a:gd name="connsiteX67" fmla="*/ 464329 w 1000590"/>
                <a:gd name="connsiteY67" fmla="*/ 24877 h 844893"/>
                <a:gd name="connsiteX68" fmla="*/ 480204 w 1000590"/>
                <a:gd name="connsiteY68" fmla="*/ 23388 h 844893"/>
                <a:gd name="connsiteX69" fmla="*/ 496574 w 1000590"/>
                <a:gd name="connsiteY69" fmla="*/ 23388 h 844893"/>
                <a:gd name="connsiteX70" fmla="*/ 512449 w 1000590"/>
                <a:gd name="connsiteY70" fmla="*/ 22892 h 844893"/>
                <a:gd name="connsiteX71" fmla="*/ 528323 w 1000590"/>
                <a:gd name="connsiteY71" fmla="*/ 23884 h 844893"/>
                <a:gd name="connsiteX72" fmla="*/ 544694 w 1000590"/>
                <a:gd name="connsiteY72" fmla="*/ 22892 h 844893"/>
                <a:gd name="connsiteX73" fmla="*/ 560568 w 1000590"/>
                <a:gd name="connsiteY73" fmla="*/ 25869 h 844893"/>
                <a:gd name="connsiteX74" fmla="*/ 576939 w 1000590"/>
                <a:gd name="connsiteY74" fmla="*/ 25869 h 844893"/>
                <a:gd name="connsiteX75" fmla="*/ 1000590 w 1000590"/>
                <a:gd name="connsiteY75" fmla="*/ 376596 h 844893"/>
                <a:gd name="connsiteX0" fmla="*/ 103184 w 576939"/>
                <a:gd name="connsiteY0" fmla="*/ 844893 h 844893"/>
                <a:gd name="connsiteX1" fmla="*/ 92767 w 576939"/>
                <a:gd name="connsiteY1" fmla="*/ 831995 h 844893"/>
                <a:gd name="connsiteX2" fmla="*/ 82845 w 576939"/>
                <a:gd name="connsiteY2" fmla="*/ 818601 h 844893"/>
                <a:gd name="connsiteX3" fmla="*/ 74412 w 576939"/>
                <a:gd name="connsiteY3" fmla="*/ 804215 h 844893"/>
                <a:gd name="connsiteX4" fmla="*/ 67466 w 576939"/>
                <a:gd name="connsiteY4" fmla="*/ 789333 h 844893"/>
                <a:gd name="connsiteX5" fmla="*/ 59529 w 576939"/>
                <a:gd name="connsiteY5" fmla="*/ 774946 h 844893"/>
                <a:gd name="connsiteX6" fmla="*/ 51096 w 576939"/>
                <a:gd name="connsiteY6" fmla="*/ 760560 h 844893"/>
                <a:gd name="connsiteX7" fmla="*/ 44647 w 576939"/>
                <a:gd name="connsiteY7" fmla="*/ 745182 h 844893"/>
                <a:gd name="connsiteX8" fmla="*/ 39190 w 576939"/>
                <a:gd name="connsiteY8" fmla="*/ 729307 h 844893"/>
                <a:gd name="connsiteX9" fmla="*/ 31253 w 576939"/>
                <a:gd name="connsiteY9" fmla="*/ 714425 h 844893"/>
                <a:gd name="connsiteX10" fmla="*/ 25796 w 576939"/>
                <a:gd name="connsiteY10" fmla="*/ 698550 h 844893"/>
                <a:gd name="connsiteX11" fmla="*/ 20836 w 576939"/>
                <a:gd name="connsiteY11" fmla="*/ 682676 h 844893"/>
                <a:gd name="connsiteX12" fmla="*/ 17859 w 576939"/>
                <a:gd name="connsiteY12" fmla="*/ 666305 h 844893"/>
                <a:gd name="connsiteX13" fmla="*/ 12402 w 576939"/>
                <a:gd name="connsiteY13" fmla="*/ 650431 h 844893"/>
                <a:gd name="connsiteX14" fmla="*/ 8930 w 576939"/>
                <a:gd name="connsiteY14" fmla="*/ 634060 h 844893"/>
                <a:gd name="connsiteX15" fmla="*/ 5953 w 576939"/>
                <a:gd name="connsiteY15" fmla="*/ 617690 h 844893"/>
                <a:gd name="connsiteX16" fmla="*/ 3969 w 576939"/>
                <a:gd name="connsiteY16" fmla="*/ 601319 h 844893"/>
                <a:gd name="connsiteX17" fmla="*/ 2480 w 576939"/>
                <a:gd name="connsiteY17" fmla="*/ 584949 h 844893"/>
                <a:gd name="connsiteX18" fmla="*/ 993 w 576939"/>
                <a:gd name="connsiteY18" fmla="*/ 568578 h 844893"/>
                <a:gd name="connsiteX19" fmla="*/ 1488 w 576939"/>
                <a:gd name="connsiteY19" fmla="*/ 551711 h 844893"/>
                <a:gd name="connsiteX20" fmla="*/ 0 w 576939"/>
                <a:gd name="connsiteY20" fmla="*/ 535341 h 844893"/>
                <a:gd name="connsiteX21" fmla="*/ 993 w 576939"/>
                <a:gd name="connsiteY21" fmla="*/ 519466 h 844893"/>
                <a:gd name="connsiteX22" fmla="*/ 1984 w 576939"/>
                <a:gd name="connsiteY22" fmla="*/ 503592 h 844893"/>
                <a:gd name="connsiteX23" fmla="*/ 3969 w 576939"/>
                <a:gd name="connsiteY23" fmla="*/ 487717 h 844893"/>
                <a:gd name="connsiteX24" fmla="*/ 3473 w 576939"/>
                <a:gd name="connsiteY24" fmla="*/ 471347 h 844893"/>
                <a:gd name="connsiteX25" fmla="*/ 6449 w 576939"/>
                <a:gd name="connsiteY25" fmla="*/ 455472 h 844893"/>
                <a:gd name="connsiteX26" fmla="*/ 8434 w 576939"/>
                <a:gd name="connsiteY26" fmla="*/ 439598 h 844893"/>
                <a:gd name="connsiteX27" fmla="*/ 11410 w 576939"/>
                <a:gd name="connsiteY27" fmla="*/ 423723 h 844893"/>
                <a:gd name="connsiteX28" fmla="*/ 14882 w 576939"/>
                <a:gd name="connsiteY28" fmla="*/ 407849 h 844893"/>
                <a:gd name="connsiteX29" fmla="*/ 19347 w 576939"/>
                <a:gd name="connsiteY29" fmla="*/ 392470 h 844893"/>
                <a:gd name="connsiteX30" fmla="*/ 25796 w 576939"/>
                <a:gd name="connsiteY30" fmla="*/ 377588 h 844893"/>
                <a:gd name="connsiteX31" fmla="*/ 30261 w 576939"/>
                <a:gd name="connsiteY31" fmla="*/ 362210 h 844893"/>
                <a:gd name="connsiteX32" fmla="*/ 36710 w 576939"/>
                <a:gd name="connsiteY32" fmla="*/ 347327 h 844893"/>
                <a:gd name="connsiteX33" fmla="*/ 41671 w 576939"/>
                <a:gd name="connsiteY33" fmla="*/ 331949 h 844893"/>
                <a:gd name="connsiteX34" fmla="*/ 48616 w 576939"/>
                <a:gd name="connsiteY34" fmla="*/ 317563 h 844893"/>
                <a:gd name="connsiteX35" fmla="*/ 56057 w 576939"/>
                <a:gd name="connsiteY35" fmla="*/ 303176 h 844893"/>
                <a:gd name="connsiteX36" fmla="*/ 63498 w 576939"/>
                <a:gd name="connsiteY36" fmla="*/ 288790 h 844893"/>
                <a:gd name="connsiteX37" fmla="*/ 70939 w 576939"/>
                <a:gd name="connsiteY37" fmla="*/ 274404 h 844893"/>
                <a:gd name="connsiteX38" fmla="*/ 79868 w 576939"/>
                <a:gd name="connsiteY38" fmla="*/ 261010 h 844893"/>
                <a:gd name="connsiteX39" fmla="*/ 88798 w 576939"/>
                <a:gd name="connsiteY39" fmla="*/ 247616 h 844893"/>
                <a:gd name="connsiteX40" fmla="*/ 98720 w 576939"/>
                <a:gd name="connsiteY40" fmla="*/ 234718 h 844893"/>
                <a:gd name="connsiteX41" fmla="*/ 107153 w 576939"/>
                <a:gd name="connsiteY41" fmla="*/ 221323 h 844893"/>
                <a:gd name="connsiteX42" fmla="*/ 116578 w 576939"/>
                <a:gd name="connsiteY42" fmla="*/ 208425 h 844893"/>
                <a:gd name="connsiteX43" fmla="*/ 126996 w 576939"/>
                <a:gd name="connsiteY43" fmla="*/ 196520 h 844893"/>
                <a:gd name="connsiteX44" fmla="*/ 137910 w 576939"/>
                <a:gd name="connsiteY44" fmla="*/ 184614 h 844893"/>
                <a:gd name="connsiteX45" fmla="*/ 150312 w 576939"/>
                <a:gd name="connsiteY45" fmla="*/ 174196 h 844893"/>
                <a:gd name="connsiteX46" fmla="*/ 160729 w 576939"/>
                <a:gd name="connsiteY46" fmla="*/ 161794 h 844893"/>
                <a:gd name="connsiteX47" fmla="*/ 173627 w 576939"/>
                <a:gd name="connsiteY47" fmla="*/ 151873 h 844893"/>
                <a:gd name="connsiteX48" fmla="*/ 186029 w 576939"/>
                <a:gd name="connsiteY48" fmla="*/ 141455 h 844893"/>
                <a:gd name="connsiteX49" fmla="*/ 198927 w 576939"/>
                <a:gd name="connsiteY49" fmla="*/ 132029 h 844893"/>
                <a:gd name="connsiteX50" fmla="*/ 210337 w 576939"/>
                <a:gd name="connsiteY50" fmla="*/ 120620 h 844893"/>
                <a:gd name="connsiteX51" fmla="*/ 223731 w 576939"/>
                <a:gd name="connsiteY51" fmla="*/ 111690 h 844893"/>
                <a:gd name="connsiteX52" fmla="*/ 237125 w 576939"/>
                <a:gd name="connsiteY52" fmla="*/ 102761 h 844893"/>
                <a:gd name="connsiteX53" fmla="*/ 250519 w 576939"/>
                <a:gd name="connsiteY53" fmla="*/ 93831 h 844893"/>
                <a:gd name="connsiteX54" fmla="*/ 265402 w 576939"/>
                <a:gd name="connsiteY54" fmla="*/ 87878 h 844893"/>
                <a:gd name="connsiteX55" fmla="*/ 278796 w 576939"/>
                <a:gd name="connsiteY55" fmla="*/ 78453 h 844893"/>
                <a:gd name="connsiteX56" fmla="*/ 293679 w 576939"/>
                <a:gd name="connsiteY56" fmla="*/ 72004 h 844893"/>
                <a:gd name="connsiteX57" fmla="*/ 308561 w 576939"/>
                <a:gd name="connsiteY57" fmla="*/ 66051 h 844893"/>
                <a:gd name="connsiteX58" fmla="*/ 323443 w 576939"/>
                <a:gd name="connsiteY58" fmla="*/ 60098 h 844893"/>
                <a:gd name="connsiteX59" fmla="*/ 338326 w 576939"/>
                <a:gd name="connsiteY59" fmla="*/ 54145 h 844893"/>
                <a:gd name="connsiteX60" fmla="*/ 353208 w 576939"/>
                <a:gd name="connsiteY60" fmla="*/ 47200 h 844893"/>
                <a:gd name="connsiteX61" fmla="*/ 369082 w 576939"/>
                <a:gd name="connsiteY61" fmla="*/ 43728 h 844893"/>
                <a:gd name="connsiteX62" fmla="*/ 384460 w 576939"/>
                <a:gd name="connsiteY62" fmla="*/ 38271 h 844893"/>
                <a:gd name="connsiteX63" fmla="*/ 400335 w 576939"/>
                <a:gd name="connsiteY63" fmla="*/ 34302 h 844893"/>
                <a:gd name="connsiteX64" fmla="*/ 416210 w 576939"/>
                <a:gd name="connsiteY64" fmla="*/ 31326 h 844893"/>
                <a:gd name="connsiteX65" fmla="*/ 432084 w 576939"/>
                <a:gd name="connsiteY65" fmla="*/ 27853 h 844893"/>
                <a:gd name="connsiteX66" fmla="*/ 448455 w 576939"/>
                <a:gd name="connsiteY66" fmla="*/ 26861 h 844893"/>
                <a:gd name="connsiteX67" fmla="*/ 464329 w 576939"/>
                <a:gd name="connsiteY67" fmla="*/ 24877 h 844893"/>
                <a:gd name="connsiteX68" fmla="*/ 480204 w 576939"/>
                <a:gd name="connsiteY68" fmla="*/ 23388 h 844893"/>
                <a:gd name="connsiteX69" fmla="*/ 496574 w 576939"/>
                <a:gd name="connsiteY69" fmla="*/ 23388 h 844893"/>
                <a:gd name="connsiteX70" fmla="*/ 512449 w 576939"/>
                <a:gd name="connsiteY70" fmla="*/ 22892 h 844893"/>
                <a:gd name="connsiteX71" fmla="*/ 528323 w 576939"/>
                <a:gd name="connsiteY71" fmla="*/ 23884 h 844893"/>
                <a:gd name="connsiteX72" fmla="*/ 544694 w 576939"/>
                <a:gd name="connsiteY72" fmla="*/ 22892 h 844893"/>
                <a:gd name="connsiteX73" fmla="*/ 560568 w 576939"/>
                <a:gd name="connsiteY73" fmla="*/ 25869 h 844893"/>
                <a:gd name="connsiteX74" fmla="*/ 576939 w 576939"/>
                <a:gd name="connsiteY74" fmla="*/ 25869 h 844893"/>
                <a:gd name="connsiteX0" fmla="*/ 103184 w 560568"/>
                <a:gd name="connsiteY0" fmla="*/ 822103 h 822103"/>
                <a:gd name="connsiteX1" fmla="*/ 92767 w 560568"/>
                <a:gd name="connsiteY1" fmla="*/ 809205 h 822103"/>
                <a:gd name="connsiteX2" fmla="*/ 82845 w 560568"/>
                <a:gd name="connsiteY2" fmla="*/ 795811 h 822103"/>
                <a:gd name="connsiteX3" fmla="*/ 74412 w 560568"/>
                <a:gd name="connsiteY3" fmla="*/ 781425 h 822103"/>
                <a:gd name="connsiteX4" fmla="*/ 67466 w 560568"/>
                <a:gd name="connsiteY4" fmla="*/ 766543 h 822103"/>
                <a:gd name="connsiteX5" fmla="*/ 59529 w 560568"/>
                <a:gd name="connsiteY5" fmla="*/ 752156 h 822103"/>
                <a:gd name="connsiteX6" fmla="*/ 51096 w 560568"/>
                <a:gd name="connsiteY6" fmla="*/ 737770 h 822103"/>
                <a:gd name="connsiteX7" fmla="*/ 44647 w 560568"/>
                <a:gd name="connsiteY7" fmla="*/ 722392 h 822103"/>
                <a:gd name="connsiteX8" fmla="*/ 39190 w 560568"/>
                <a:gd name="connsiteY8" fmla="*/ 706517 h 822103"/>
                <a:gd name="connsiteX9" fmla="*/ 31253 w 560568"/>
                <a:gd name="connsiteY9" fmla="*/ 691635 h 822103"/>
                <a:gd name="connsiteX10" fmla="*/ 25796 w 560568"/>
                <a:gd name="connsiteY10" fmla="*/ 675760 h 822103"/>
                <a:gd name="connsiteX11" fmla="*/ 20836 w 560568"/>
                <a:gd name="connsiteY11" fmla="*/ 659886 h 822103"/>
                <a:gd name="connsiteX12" fmla="*/ 17859 w 560568"/>
                <a:gd name="connsiteY12" fmla="*/ 643515 h 822103"/>
                <a:gd name="connsiteX13" fmla="*/ 12402 w 560568"/>
                <a:gd name="connsiteY13" fmla="*/ 627641 h 822103"/>
                <a:gd name="connsiteX14" fmla="*/ 8930 w 560568"/>
                <a:gd name="connsiteY14" fmla="*/ 611270 h 822103"/>
                <a:gd name="connsiteX15" fmla="*/ 5953 w 560568"/>
                <a:gd name="connsiteY15" fmla="*/ 594900 h 822103"/>
                <a:gd name="connsiteX16" fmla="*/ 3969 w 560568"/>
                <a:gd name="connsiteY16" fmla="*/ 578529 h 822103"/>
                <a:gd name="connsiteX17" fmla="*/ 2480 w 560568"/>
                <a:gd name="connsiteY17" fmla="*/ 562159 h 822103"/>
                <a:gd name="connsiteX18" fmla="*/ 993 w 560568"/>
                <a:gd name="connsiteY18" fmla="*/ 545788 h 822103"/>
                <a:gd name="connsiteX19" fmla="*/ 1488 w 560568"/>
                <a:gd name="connsiteY19" fmla="*/ 528921 h 822103"/>
                <a:gd name="connsiteX20" fmla="*/ 0 w 560568"/>
                <a:gd name="connsiteY20" fmla="*/ 512551 h 822103"/>
                <a:gd name="connsiteX21" fmla="*/ 993 w 560568"/>
                <a:gd name="connsiteY21" fmla="*/ 496676 h 822103"/>
                <a:gd name="connsiteX22" fmla="*/ 1984 w 560568"/>
                <a:gd name="connsiteY22" fmla="*/ 480802 h 822103"/>
                <a:gd name="connsiteX23" fmla="*/ 3969 w 560568"/>
                <a:gd name="connsiteY23" fmla="*/ 464927 h 822103"/>
                <a:gd name="connsiteX24" fmla="*/ 3473 w 560568"/>
                <a:gd name="connsiteY24" fmla="*/ 448557 h 822103"/>
                <a:gd name="connsiteX25" fmla="*/ 6449 w 560568"/>
                <a:gd name="connsiteY25" fmla="*/ 432682 h 822103"/>
                <a:gd name="connsiteX26" fmla="*/ 8434 w 560568"/>
                <a:gd name="connsiteY26" fmla="*/ 416808 h 822103"/>
                <a:gd name="connsiteX27" fmla="*/ 11410 w 560568"/>
                <a:gd name="connsiteY27" fmla="*/ 400933 h 822103"/>
                <a:gd name="connsiteX28" fmla="*/ 14882 w 560568"/>
                <a:gd name="connsiteY28" fmla="*/ 385059 h 822103"/>
                <a:gd name="connsiteX29" fmla="*/ 19347 w 560568"/>
                <a:gd name="connsiteY29" fmla="*/ 369680 h 822103"/>
                <a:gd name="connsiteX30" fmla="*/ 25796 w 560568"/>
                <a:gd name="connsiteY30" fmla="*/ 354798 h 822103"/>
                <a:gd name="connsiteX31" fmla="*/ 30261 w 560568"/>
                <a:gd name="connsiteY31" fmla="*/ 339420 h 822103"/>
                <a:gd name="connsiteX32" fmla="*/ 36710 w 560568"/>
                <a:gd name="connsiteY32" fmla="*/ 324537 h 822103"/>
                <a:gd name="connsiteX33" fmla="*/ 41671 w 560568"/>
                <a:gd name="connsiteY33" fmla="*/ 309159 h 822103"/>
                <a:gd name="connsiteX34" fmla="*/ 48616 w 560568"/>
                <a:gd name="connsiteY34" fmla="*/ 294773 h 822103"/>
                <a:gd name="connsiteX35" fmla="*/ 56057 w 560568"/>
                <a:gd name="connsiteY35" fmla="*/ 280386 h 822103"/>
                <a:gd name="connsiteX36" fmla="*/ 63498 w 560568"/>
                <a:gd name="connsiteY36" fmla="*/ 266000 h 822103"/>
                <a:gd name="connsiteX37" fmla="*/ 70939 w 560568"/>
                <a:gd name="connsiteY37" fmla="*/ 251614 h 822103"/>
                <a:gd name="connsiteX38" fmla="*/ 79868 w 560568"/>
                <a:gd name="connsiteY38" fmla="*/ 238220 h 822103"/>
                <a:gd name="connsiteX39" fmla="*/ 88798 w 560568"/>
                <a:gd name="connsiteY39" fmla="*/ 224826 h 822103"/>
                <a:gd name="connsiteX40" fmla="*/ 98720 w 560568"/>
                <a:gd name="connsiteY40" fmla="*/ 211928 h 822103"/>
                <a:gd name="connsiteX41" fmla="*/ 107153 w 560568"/>
                <a:gd name="connsiteY41" fmla="*/ 198533 h 822103"/>
                <a:gd name="connsiteX42" fmla="*/ 116578 w 560568"/>
                <a:gd name="connsiteY42" fmla="*/ 185635 h 822103"/>
                <a:gd name="connsiteX43" fmla="*/ 126996 w 560568"/>
                <a:gd name="connsiteY43" fmla="*/ 173730 h 822103"/>
                <a:gd name="connsiteX44" fmla="*/ 137910 w 560568"/>
                <a:gd name="connsiteY44" fmla="*/ 161824 h 822103"/>
                <a:gd name="connsiteX45" fmla="*/ 150312 w 560568"/>
                <a:gd name="connsiteY45" fmla="*/ 151406 h 822103"/>
                <a:gd name="connsiteX46" fmla="*/ 160729 w 560568"/>
                <a:gd name="connsiteY46" fmla="*/ 139004 h 822103"/>
                <a:gd name="connsiteX47" fmla="*/ 173627 w 560568"/>
                <a:gd name="connsiteY47" fmla="*/ 129083 h 822103"/>
                <a:gd name="connsiteX48" fmla="*/ 186029 w 560568"/>
                <a:gd name="connsiteY48" fmla="*/ 118665 h 822103"/>
                <a:gd name="connsiteX49" fmla="*/ 198927 w 560568"/>
                <a:gd name="connsiteY49" fmla="*/ 109239 h 822103"/>
                <a:gd name="connsiteX50" fmla="*/ 210337 w 560568"/>
                <a:gd name="connsiteY50" fmla="*/ 97830 h 822103"/>
                <a:gd name="connsiteX51" fmla="*/ 223731 w 560568"/>
                <a:gd name="connsiteY51" fmla="*/ 88900 h 822103"/>
                <a:gd name="connsiteX52" fmla="*/ 237125 w 560568"/>
                <a:gd name="connsiteY52" fmla="*/ 79971 h 822103"/>
                <a:gd name="connsiteX53" fmla="*/ 250519 w 560568"/>
                <a:gd name="connsiteY53" fmla="*/ 71041 h 822103"/>
                <a:gd name="connsiteX54" fmla="*/ 265402 w 560568"/>
                <a:gd name="connsiteY54" fmla="*/ 65088 h 822103"/>
                <a:gd name="connsiteX55" fmla="*/ 278796 w 560568"/>
                <a:gd name="connsiteY55" fmla="*/ 55663 h 822103"/>
                <a:gd name="connsiteX56" fmla="*/ 293679 w 560568"/>
                <a:gd name="connsiteY56" fmla="*/ 49214 h 822103"/>
                <a:gd name="connsiteX57" fmla="*/ 308561 w 560568"/>
                <a:gd name="connsiteY57" fmla="*/ 43261 h 822103"/>
                <a:gd name="connsiteX58" fmla="*/ 323443 w 560568"/>
                <a:gd name="connsiteY58" fmla="*/ 37308 h 822103"/>
                <a:gd name="connsiteX59" fmla="*/ 338326 w 560568"/>
                <a:gd name="connsiteY59" fmla="*/ 31355 h 822103"/>
                <a:gd name="connsiteX60" fmla="*/ 353208 w 560568"/>
                <a:gd name="connsiteY60" fmla="*/ 24410 h 822103"/>
                <a:gd name="connsiteX61" fmla="*/ 369082 w 560568"/>
                <a:gd name="connsiteY61" fmla="*/ 20938 h 822103"/>
                <a:gd name="connsiteX62" fmla="*/ 384460 w 560568"/>
                <a:gd name="connsiteY62" fmla="*/ 15481 h 822103"/>
                <a:gd name="connsiteX63" fmla="*/ 400335 w 560568"/>
                <a:gd name="connsiteY63" fmla="*/ 11512 h 822103"/>
                <a:gd name="connsiteX64" fmla="*/ 416210 w 560568"/>
                <a:gd name="connsiteY64" fmla="*/ 8536 h 822103"/>
                <a:gd name="connsiteX65" fmla="*/ 432084 w 560568"/>
                <a:gd name="connsiteY65" fmla="*/ 5063 h 822103"/>
                <a:gd name="connsiteX66" fmla="*/ 448455 w 560568"/>
                <a:gd name="connsiteY66" fmla="*/ 4071 h 822103"/>
                <a:gd name="connsiteX67" fmla="*/ 464329 w 560568"/>
                <a:gd name="connsiteY67" fmla="*/ 2087 h 822103"/>
                <a:gd name="connsiteX68" fmla="*/ 480204 w 560568"/>
                <a:gd name="connsiteY68" fmla="*/ 598 h 822103"/>
                <a:gd name="connsiteX69" fmla="*/ 496574 w 560568"/>
                <a:gd name="connsiteY69" fmla="*/ 598 h 822103"/>
                <a:gd name="connsiteX70" fmla="*/ 512449 w 560568"/>
                <a:gd name="connsiteY70" fmla="*/ 102 h 822103"/>
                <a:gd name="connsiteX71" fmla="*/ 528323 w 560568"/>
                <a:gd name="connsiteY71" fmla="*/ 1094 h 822103"/>
                <a:gd name="connsiteX72" fmla="*/ 544694 w 560568"/>
                <a:gd name="connsiteY72" fmla="*/ 102 h 822103"/>
                <a:gd name="connsiteX73" fmla="*/ 560568 w 560568"/>
                <a:gd name="connsiteY73" fmla="*/ 3079 h 822103"/>
                <a:gd name="connsiteX0" fmla="*/ 103184 w 544694"/>
                <a:gd name="connsiteY0" fmla="*/ 822103 h 822103"/>
                <a:gd name="connsiteX1" fmla="*/ 92767 w 544694"/>
                <a:gd name="connsiteY1" fmla="*/ 809205 h 822103"/>
                <a:gd name="connsiteX2" fmla="*/ 82845 w 544694"/>
                <a:gd name="connsiteY2" fmla="*/ 795811 h 822103"/>
                <a:gd name="connsiteX3" fmla="*/ 74412 w 544694"/>
                <a:gd name="connsiteY3" fmla="*/ 781425 h 822103"/>
                <a:gd name="connsiteX4" fmla="*/ 67466 w 544694"/>
                <a:gd name="connsiteY4" fmla="*/ 766543 h 822103"/>
                <a:gd name="connsiteX5" fmla="*/ 59529 w 544694"/>
                <a:gd name="connsiteY5" fmla="*/ 752156 h 822103"/>
                <a:gd name="connsiteX6" fmla="*/ 51096 w 544694"/>
                <a:gd name="connsiteY6" fmla="*/ 737770 h 822103"/>
                <a:gd name="connsiteX7" fmla="*/ 44647 w 544694"/>
                <a:gd name="connsiteY7" fmla="*/ 722392 h 822103"/>
                <a:gd name="connsiteX8" fmla="*/ 39190 w 544694"/>
                <a:gd name="connsiteY8" fmla="*/ 706517 h 822103"/>
                <a:gd name="connsiteX9" fmla="*/ 31253 w 544694"/>
                <a:gd name="connsiteY9" fmla="*/ 691635 h 822103"/>
                <a:gd name="connsiteX10" fmla="*/ 25796 w 544694"/>
                <a:gd name="connsiteY10" fmla="*/ 675760 h 822103"/>
                <a:gd name="connsiteX11" fmla="*/ 20836 w 544694"/>
                <a:gd name="connsiteY11" fmla="*/ 659886 h 822103"/>
                <a:gd name="connsiteX12" fmla="*/ 17859 w 544694"/>
                <a:gd name="connsiteY12" fmla="*/ 643515 h 822103"/>
                <a:gd name="connsiteX13" fmla="*/ 12402 w 544694"/>
                <a:gd name="connsiteY13" fmla="*/ 627641 h 822103"/>
                <a:gd name="connsiteX14" fmla="*/ 8930 w 544694"/>
                <a:gd name="connsiteY14" fmla="*/ 611270 h 822103"/>
                <a:gd name="connsiteX15" fmla="*/ 5953 w 544694"/>
                <a:gd name="connsiteY15" fmla="*/ 594900 h 822103"/>
                <a:gd name="connsiteX16" fmla="*/ 3969 w 544694"/>
                <a:gd name="connsiteY16" fmla="*/ 578529 h 822103"/>
                <a:gd name="connsiteX17" fmla="*/ 2480 w 544694"/>
                <a:gd name="connsiteY17" fmla="*/ 562159 h 822103"/>
                <a:gd name="connsiteX18" fmla="*/ 993 w 544694"/>
                <a:gd name="connsiteY18" fmla="*/ 545788 h 822103"/>
                <a:gd name="connsiteX19" fmla="*/ 1488 w 544694"/>
                <a:gd name="connsiteY19" fmla="*/ 528921 h 822103"/>
                <a:gd name="connsiteX20" fmla="*/ 0 w 544694"/>
                <a:gd name="connsiteY20" fmla="*/ 512551 h 822103"/>
                <a:gd name="connsiteX21" fmla="*/ 993 w 544694"/>
                <a:gd name="connsiteY21" fmla="*/ 496676 h 822103"/>
                <a:gd name="connsiteX22" fmla="*/ 1984 w 544694"/>
                <a:gd name="connsiteY22" fmla="*/ 480802 h 822103"/>
                <a:gd name="connsiteX23" fmla="*/ 3969 w 544694"/>
                <a:gd name="connsiteY23" fmla="*/ 464927 h 822103"/>
                <a:gd name="connsiteX24" fmla="*/ 3473 w 544694"/>
                <a:gd name="connsiteY24" fmla="*/ 448557 h 822103"/>
                <a:gd name="connsiteX25" fmla="*/ 6449 w 544694"/>
                <a:gd name="connsiteY25" fmla="*/ 432682 h 822103"/>
                <a:gd name="connsiteX26" fmla="*/ 8434 w 544694"/>
                <a:gd name="connsiteY26" fmla="*/ 416808 h 822103"/>
                <a:gd name="connsiteX27" fmla="*/ 11410 w 544694"/>
                <a:gd name="connsiteY27" fmla="*/ 400933 h 822103"/>
                <a:gd name="connsiteX28" fmla="*/ 14882 w 544694"/>
                <a:gd name="connsiteY28" fmla="*/ 385059 h 822103"/>
                <a:gd name="connsiteX29" fmla="*/ 19347 w 544694"/>
                <a:gd name="connsiteY29" fmla="*/ 369680 h 822103"/>
                <a:gd name="connsiteX30" fmla="*/ 25796 w 544694"/>
                <a:gd name="connsiteY30" fmla="*/ 354798 h 822103"/>
                <a:gd name="connsiteX31" fmla="*/ 30261 w 544694"/>
                <a:gd name="connsiteY31" fmla="*/ 339420 h 822103"/>
                <a:gd name="connsiteX32" fmla="*/ 36710 w 544694"/>
                <a:gd name="connsiteY32" fmla="*/ 324537 h 822103"/>
                <a:gd name="connsiteX33" fmla="*/ 41671 w 544694"/>
                <a:gd name="connsiteY33" fmla="*/ 309159 h 822103"/>
                <a:gd name="connsiteX34" fmla="*/ 48616 w 544694"/>
                <a:gd name="connsiteY34" fmla="*/ 294773 h 822103"/>
                <a:gd name="connsiteX35" fmla="*/ 56057 w 544694"/>
                <a:gd name="connsiteY35" fmla="*/ 280386 h 822103"/>
                <a:gd name="connsiteX36" fmla="*/ 63498 w 544694"/>
                <a:gd name="connsiteY36" fmla="*/ 266000 h 822103"/>
                <a:gd name="connsiteX37" fmla="*/ 70939 w 544694"/>
                <a:gd name="connsiteY37" fmla="*/ 251614 h 822103"/>
                <a:gd name="connsiteX38" fmla="*/ 79868 w 544694"/>
                <a:gd name="connsiteY38" fmla="*/ 238220 h 822103"/>
                <a:gd name="connsiteX39" fmla="*/ 88798 w 544694"/>
                <a:gd name="connsiteY39" fmla="*/ 224826 h 822103"/>
                <a:gd name="connsiteX40" fmla="*/ 98720 w 544694"/>
                <a:gd name="connsiteY40" fmla="*/ 211928 h 822103"/>
                <a:gd name="connsiteX41" fmla="*/ 107153 w 544694"/>
                <a:gd name="connsiteY41" fmla="*/ 198533 h 822103"/>
                <a:gd name="connsiteX42" fmla="*/ 116578 w 544694"/>
                <a:gd name="connsiteY42" fmla="*/ 185635 h 822103"/>
                <a:gd name="connsiteX43" fmla="*/ 126996 w 544694"/>
                <a:gd name="connsiteY43" fmla="*/ 173730 h 822103"/>
                <a:gd name="connsiteX44" fmla="*/ 137910 w 544694"/>
                <a:gd name="connsiteY44" fmla="*/ 161824 h 822103"/>
                <a:gd name="connsiteX45" fmla="*/ 150312 w 544694"/>
                <a:gd name="connsiteY45" fmla="*/ 151406 h 822103"/>
                <a:gd name="connsiteX46" fmla="*/ 160729 w 544694"/>
                <a:gd name="connsiteY46" fmla="*/ 139004 h 822103"/>
                <a:gd name="connsiteX47" fmla="*/ 173627 w 544694"/>
                <a:gd name="connsiteY47" fmla="*/ 129083 h 822103"/>
                <a:gd name="connsiteX48" fmla="*/ 186029 w 544694"/>
                <a:gd name="connsiteY48" fmla="*/ 118665 h 822103"/>
                <a:gd name="connsiteX49" fmla="*/ 198927 w 544694"/>
                <a:gd name="connsiteY49" fmla="*/ 109239 h 822103"/>
                <a:gd name="connsiteX50" fmla="*/ 210337 w 544694"/>
                <a:gd name="connsiteY50" fmla="*/ 97830 h 822103"/>
                <a:gd name="connsiteX51" fmla="*/ 223731 w 544694"/>
                <a:gd name="connsiteY51" fmla="*/ 88900 h 822103"/>
                <a:gd name="connsiteX52" fmla="*/ 237125 w 544694"/>
                <a:gd name="connsiteY52" fmla="*/ 79971 h 822103"/>
                <a:gd name="connsiteX53" fmla="*/ 250519 w 544694"/>
                <a:gd name="connsiteY53" fmla="*/ 71041 h 822103"/>
                <a:gd name="connsiteX54" fmla="*/ 265402 w 544694"/>
                <a:gd name="connsiteY54" fmla="*/ 65088 h 822103"/>
                <a:gd name="connsiteX55" fmla="*/ 278796 w 544694"/>
                <a:gd name="connsiteY55" fmla="*/ 55663 h 822103"/>
                <a:gd name="connsiteX56" fmla="*/ 293679 w 544694"/>
                <a:gd name="connsiteY56" fmla="*/ 49214 h 822103"/>
                <a:gd name="connsiteX57" fmla="*/ 308561 w 544694"/>
                <a:gd name="connsiteY57" fmla="*/ 43261 h 822103"/>
                <a:gd name="connsiteX58" fmla="*/ 323443 w 544694"/>
                <a:gd name="connsiteY58" fmla="*/ 37308 h 822103"/>
                <a:gd name="connsiteX59" fmla="*/ 338326 w 544694"/>
                <a:gd name="connsiteY59" fmla="*/ 31355 h 822103"/>
                <a:gd name="connsiteX60" fmla="*/ 353208 w 544694"/>
                <a:gd name="connsiteY60" fmla="*/ 24410 h 822103"/>
                <a:gd name="connsiteX61" fmla="*/ 369082 w 544694"/>
                <a:gd name="connsiteY61" fmla="*/ 20938 h 822103"/>
                <a:gd name="connsiteX62" fmla="*/ 384460 w 544694"/>
                <a:gd name="connsiteY62" fmla="*/ 15481 h 822103"/>
                <a:gd name="connsiteX63" fmla="*/ 400335 w 544694"/>
                <a:gd name="connsiteY63" fmla="*/ 11512 h 822103"/>
                <a:gd name="connsiteX64" fmla="*/ 416210 w 544694"/>
                <a:gd name="connsiteY64" fmla="*/ 8536 h 822103"/>
                <a:gd name="connsiteX65" fmla="*/ 432084 w 544694"/>
                <a:gd name="connsiteY65" fmla="*/ 5063 h 822103"/>
                <a:gd name="connsiteX66" fmla="*/ 448455 w 544694"/>
                <a:gd name="connsiteY66" fmla="*/ 4071 h 822103"/>
                <a:gd name="connsiteX67" fmla="*/ 464329 w 544694"/>
                <a:gd name="connsiteY67" fmla="*/ 2087 h 822103"/>
                <a:gd name="connsiteX68" fmla="*/ 480204 w 544694"/>
                <a:gd name="connsiteY68" fmla="*/ 598 h 822103"/>
                <a:gd name="connsiteX69" fmla="*/ 496574 w 544694"/>
                <a:gd name="connsiteY69" fmla="*/ 598 h 822103"/>
                <a:gd name="connsiteX70" fmla="*/ 512449 w 544694"/>
                <a:gd name="connsiteY70" fmla="*/ 102 h 822103"/>
                <a:gd name="connsiteX71" fmla="*/ 528323 w 544694"/>
                <a:gd name="connsiteY71" fmla="*/ 1094 h 822103"/>
                <a:gd name="connsiteX72" fmla="*/ 544694 w 544694"/>
                <a:gd name="connsiteY72" fmla="*/ 102 h 822103"/>
                <a:gd name="connsiteX0" fmla="*/ 103184 w 528323"/>
                <a:gd name="connsiteY0" fmla="*/ 822001 h 822001"/>
                <a:gd name="connsiteX1" fmla="*/ 92767 w 528323"/>
                <a:gd name="connsiteY1" fmla="*/ 809103 h 822001"/>
                <a:gd name="connsiteX2" fmla="*/ 82845 w 528323"/>
                <a:gd name="connsiteY2" fmla="*/ 795709 h 822001"/>
                <a:gd name="connsiteX3" fmla="*/ 74412 w 528323"/>
                <a:gd name="connsiteY3" fmla="*/ 781323 h 822001"/>
                <a:gd name="connsiteX4" fmla="*/ 67466 w 528323"/>
                <a:gd name="connsiteY4" fmla="*/ 766441 h 822001"/>
                <a:gd name="connsiteX5" fmla="*/ 59529 w 528323"/>
                <a:gd name="connsiteY5" fmla="*/ 752054 h 822001"/>
                <a:gd name="connsiteX6" fmla="*/ 51096 w 528323"/>
                <a:gd name="connsiteY6" fmla="*/ 737668 h 822001"/>
                <a:gd name="connsiteX7" fmla="*/ 44647 w 528323"/>
                <a:gd name="connsiteY7" fmla="*/ 722290 h 822001"/>
                <a:gd name="connsiteX8" fmla="*/ 39190 w 528323"/>
                <a:gd name="connsiteY8" fmla="*/ 706415 h 822001"/>
                <a:gd name="connsiteX9" fmla="*/ 31253 w 528323"/>
                <a:gd name="connsiteY9" fmla="*/ 691533 h 822001"/>
                <a:gd name="connsiteX10" fmla="*/ 25796 w 528323"/>
                <a:gd name="connsiteY10" fmla="*/ 675658 h 822001"/>
                <a:gd name="connsiteX11" fmla="*/ 20836 w 528323"/>
                <a:gd name="connsiteY11" fmla="*/ 659784 h 822001"/>
                <a:gd name="connsiteX12" fmla="*/ 17859 w 528323"/>
                <a:gd name="connsiteY12" fmla="*/ 643413 h 822001"/>
                <a:gd name="connsiteX13" fmla="*/ 12402 w 528323"/>
                <a:gd name="connsiteY13" fmla="*/ 627539 h 822001"/>
                <a:gd name="connsiteX14" fmla="*/ 8930 w 528323"/>
                <a:gd name="connsiteY14" fmla="*/ 611168 h 822001"/>
                <a:gd name="connsiteX15" fmla="*/ 5953 w 528323"/>
                <a:gd name="connsiteY15" fmla="*/ 594798 h 822001"/>
                <a:gd name="connsiteX16" fmla="*/ 3969 w 528323"/>
                <a:gd name="connsiteY16" fmla="*/ 578427 h 822001"/>
                <a:gd name="connsiteX17" fmla="*/ 2480 w 528323"/>
                <a:gd name="connsiteY17" fmla="*/ 562057 h 822001"/>
                <a:gd name="connsiteX18" fmla="*/ 993 w 528323"/>
                <a:gd name="connsiteY18" fmla="*/ 545686 h 822001"/>
                <a:gd name="connsiteX19" fmla="*/ 1488 w 528323"/>
                <a:gd name="connsiteY19" fmla="*/ 528819 h 822001"/>
                <a:gd name="connsiteX20" fmla="*/ 0 w 528323"/>
                <a:gd name="connsiteY20" fmla="*/ 512449 h 822001"/>
                <a:gd name="connsiteX21" fmla="*/ 993 w 528323"/>
                <a:gd name="connsiteY21" fmla="*/ 496574 h 822001"/>
                <a:gd name="connsiteX22" fmla="*/ 1984 w 528323"/>
                <a:gd name="connsiteY22" fmla="*/ 480700 h 822001"/>
                <a:gd name="connsiteX23" fmla="*/ 3969 w 528323"/>
                <a:gd name="connsiteY23" fmla="*/ 464825 h 822001"/>
                <a:gd name="connsiteX24" fmla="*/ 3473 w 528323"/>
                <a:gd name="connsiteY24" fmla="*/ 448455 h 822001"/>
                <a:gd name="connsiteX25" fmla="*/ 6449 w 528323"/>
                <a:gd name="connsiteY25" fmla="*/ 432580 h 822001"/>
                <a:gd name="connsiteX26" fmla="*/ 8434 w 528323"/>
                <a:gd name="connsiteY26" fmla="*/ 416706 h 822001"/>
                <a:gd name="connsiteX27" fmla="*/ 11410 w 528323"/>
                <a:gd name="connsiteY27" fmla="*/ 400831 h 822001"/>
                <a:gd name="connsiteX28" fmla="*/ 14882 w 528323"/>
                <a:gd name="connsiteY28" fmla="*/ 384957 h 822001"/>
                <a:gd name="connsiteX29" fmla="*/ 19347 w 528323"/>
                <a:gd name="connsiteY29" fmla="*/ 369578 h 822001"/>
                <a:gd name="connsiteX30" fmla="*/ 25796 w 528323"/>
                <a:gd name="connsiteY30" fmla="*/ 354696 h 822001"/>
                <a:gd name="connsiteX31" fmla="*/ 30261 w 528323"/>
                <a:gd name="connsiteY31" fmla="*/ 339318 h 822001"/>
                <a:gd name="connsiteX32" fmla="*/ 36710 w 528323"/>
                <a:gd name="connsiteY32" fmla="*/ 324435 h 822001"/>
                <a:gd name="connsiteX33" fmla="*/ 41671 w 528323"/>
                <a:gd name="connsiteY33" fmla="*/ 309057 h 822001"/>
                <a:gd name="connsiteX34" fmla="*/ 48616 w 528323"/>
                <a:gd name="connsiteY34" fmla="*/ 294671 h 822001"/>
                <a:gd name="connsiteX35" fmla="*/ 56057 w 528323"/>
                <a:gd name="connsiteY35" fmla="*/ 280284 h 822001"/>
                <a:gd name="connsiteX36" fmla="*/ 63498 w 528323"/>
                <a:gd name="connsiteY36" fmla="*/ 265898 h 822001"/>
                <a:gd name="connsiteX37" fmla="*/ 70939 w 528323"/>
                <a:gd name="connsiteY37" fmla="*/ 251512 h 822001"/>
                <a:gd name="connsiteX38" fmla="*/ 79868 w 528323"/>
                <a:gd name="connsiteY38" fmla="*/ 238118 h 822001"/>
                <a:gd name="connsiteX39" fmla="*/ 88798 w 528323"/>
                <a:gd name="connsiteY39" fmla="*/ 224724 h 822001"/>
                <a:gd name="connsiteX40" fmla="*/ 98720 w 528323"/>
                <a:gd name="connsiteY40" fmla="*/ 211826 h 822001"/>
                <a:gd name="connsiteX41" fmla="*/ 107153 w 528323"/>
                <a:gd name="connsiteY41" fmla="*/ 198431 h 822001"/>
                <a:gd name="connsiteX42" fmla="*/ 116578 w 528323"/>
                <a:gd name="connsiteY42" fmla="*/ 185533 h 822001"/>
                <a:gd name="connsiteX43" fmla="*/ 126996 w 528323"/>
                <a:gd name="connsiteY43" fmla="*/ 173628 h 822001"/>
                <a:gd name="connsiteX44" fmla="*/ 137910 w 528323"/>
                <a:gd name="connsiteY44" fmla="*/ 161722 h 822001"/>
                <a:gd name="connsiteX45" fmla="*/ 150312 w 528323"/>
                <a:gd name="connsiteY45" fmla="*/ 151304 h 822001"/>
                <a:gd name="connsiteX46" fmla="*/ 160729 w 528323"/>
                <a:gd name="connsiteY46" fmla="*/ 138902 h 822001"/>
                <a:gd name="connsiteX47" fmla="*/ 173627 w 528323"/>
                <a:gd name="connsiteY47" fmla="*/ 128981 h 822001"/>
                <a:gd name="connsiteX48" fmla="*/ 186029 w 528323"/>
                <a:gd name="connsiteY48" fmla="*/ 118563 h 822001"/>
                <a:gd name="connsiteX49" fmla="*/ 198927 w 528323"/>
                <a:gd name="connsiteY49" fmla="*/ 109137 h 822001"/>
                <a:gd name="connsiteX50" fmla="*/ 210337 w 528323"/>
                <a:gd name="connsiteY50" fmla="*/ 97728 h 822001"/>
                <a:gd name="connsiteX51" fmla="*/ 223731 w 528323"/>
                <a:gd name="connsiteY51" fmla="*/ 88798 h 822001"/>
                <a:gd name="connsiteX52" fmla="*/ 237125 w 528323"/>
                <a:gd name="connsiteY52" fmla="*/ 79869 h 822001"/>
                <a:gd name="connsiteX53" fmla="*/ 250519 w 528323"/>
                <a:gd name="connsiteY53" fmla="*/ 70939 h 822001"/>
                <a:gd name="connsiteX54" fmla="*/ 265402 w 528323"/>
                <a:gd name="connsiteY54" fmla="*/ 64986 h 822001"/>
                <a:gd name="connsiteX55" fmla="*/ 278796 w 528323"/>
                <a:gd name="connsiteY55" fmla="*/ 55561 h 822001"/>
                <a:gd name="connsiteX56" fmla="*/ 293679 w 528323"/>
                <a:gd name="connsiteY56" fmla="*/ 49112 h 822001"/>
                <a:gd name="connsiteX57" fmla="*/ 308561 w 528323"/>
                <a:gd name="connsiteY57" fmla="*/ 43159 h 822001"/>
                <a:gd name="connsiteX58" fmla="*/ 323443 w 528323"/>
                <a:gd name="connsiteY58" fmla="*/ 37206 h 822001"/>
                <a:gd name="connsiteX59" fmla="*/ 338326 w 528323"/>
                <a:gd name="connsiteY59" fmla="*/ 31253 h 822001"/>
                <a:gd name="connsiteX60" fmla="*/ 353208 w 528323"/>
                <a:gd name="connsiteY60" fmla="*/ 24308 h 822001"/>
                <a:gd name="connsiteX61" fmla="*/ 369082 w 528323"/>
                <a:gd name="connsiteY61" fmla="*/ 20836 h 822001"/>
                <a:gd name="connsiteX62" fmla="*/ 384460 w 528323"/>
                <a:gd name="connsiteY62" fmla="*/ 15379 h 822001"/>
                <a:gd name="connsiteX63" fmla="*/ 400335 w 528323"/>
                <a:gd name="connsiteY63" fmla="*/ 11410 h 822001"/>
                <a:gd name="connsiteX64" fmla="*/ 416210 w 528323"/>
                <a:gd name="connsiteY64" fmla="*/ 8434 h 822001"/>
                <a:gd name="connsiteX65" fmla="*/ 432084 w 528323"/>
                <a:gd name="connsiteY65" fmla="*/ 4961 h 822001"/>
                <a:gd name="connsiteX66" fmla="*/ 448455 w 528323"/>
                <a:gd name="connsiteY66" fmla="*/ 3969 h 822001"/>
                <a:gd name="connsiteX67" fmla="*/ 464329 w 528323"/>
                <a:gd name="connsiteY67" fmla="*/ 1985 h 822001"/>
                <a:gd name="connsiteX68" fmla="*/ 480204 w 528323"/>
                <a:gd name="connsiteY68" fmla="*/ 496 h 822001"/>
                <a:gd name="connsiteX69" fmla="*/ 496574 w 528323"/>
                <a:gd name="connsiteY69" fmla="*/ 496 h 822001"/>
                <a:gd name="connsiteX70" fmla="*/ 512449 w 528323"/>
                <a:gd name="connsiteY70" fmla="*/ 0 h 822001"/>
                <a:gd name="connsiteX71" fmla="*/ 528323 w 528323"/>
                <a:gd name="connsiteY71" fmla="*/ 992 h 8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8323" h="822001">
                  <a:moveTo>
                    <a:pt x="103184" y="822001"/>
                  </a:moveTo>
                  <a:cubicBezTo>
                    <a:pt x="99712" y="817537"/>
                    <a:pt x="95743" y="813568"/>
                    <a:pt x="92767" y="809103"/>
                  </a:cubicBezTo>
                  <a:cubicBezTo>
                    <a:pt x="89790" y="804639"/>
                    <a:pt x="85822" y="800174"/>
                    <a:pt x="82845" y="795709"/>
                  </a:cubicBezTo>
                  <a:cubicBezTo>
                    <a:pt x="79868" y="791245"/>
                    <a:pt x="77388" y="786284"/>
                    <a:pt x="74412" y="781323"/>
                  </a:cubicBezTo>
                  <a:cubicBezTo>
                    <a:pt x="71435" y="776362"/>
                    <a:pt x="69947" y="770905"/>
                    <a:pt x="67466" y="766441"/>
                  </a:cubicBezTo>
                  <a:cubicBezTo>
                    <a:pt x="64490" y="761480"/>
                    <a:pt x="62010" y="757015"/>
                    <a:pt x="59529" y="752054"/>
                  </a:cubicBezTo>
                  <a:cubicBezTo>
                    <a:pt x="57049" y="747094"/>
                    <a:pt x="53081" y="742629"/>
                    <a:pt x="51096" y="737668"/>
                  </a:cubicBezTo>
                  <a:cubicBezTo>
                    <a:pt x="48616" y="732707"/>
                    <a:pt x="46631" y="727251"/>
                    <a:pt x="44647" y="722290"/>
                  </a:cubicBezTo>
                  <a:cubicBezTo>
                    <a:pt x="42167" y="717329"/>
                    <a:pt x="41175" y="711872"/>
                    <a:pt x="39190" y="706415"/>
                  </a:cubicBezTo>
                  <a:cubicBezTo>
                    <a:pt x="37206" y="701454"/>
                    <a:pt x="33238" y="696990"/>
                    <a:pt x="31253" y="691533"/>
                  </a:cubicBezTo>
                  <a:cubicBezTo>
                    <a:pt x="29269" y="686572"/>
                    <a:pt x="27780" y="681115"/>
                    <a:pt x="25796" y="675658"/>
                  </a:cubicBezTo>
                  <a:cubicBezTo>
                    <a:pt x="23812" y="670202"/>
                    <a:pt x="22324" y="665241"/>
                    <a:pt x="20836" y="659784"/>
                  </a:cubicBezTo>
                  <a:cubicBezTo>
                    <a:pt x="19347" y="654327"/>
                    <a:pt x="19347" y="648870"/>
                    <a:pt x="17859" y="643413"/>
                  </a:cubicBezTo>
                  <a:cubicBezTo>
                    <a:pt x="16371" y="637957"/>
                    <a:pt x="13890" y="632996"/>
                    <a:pt x="12402" y="627539"/>
                  </a:cubicBezTo>
                  <a:cubicBezTo>
                    <a:pt x="10914" y="622082"/>
                    <a:pt x="9922" y="616625"/>
                    <a:pt x="8930" y="611168"/>
                  </a:cubicBezTo>
                  <a:lnTo>
                    <a:pt x="5953" y="594798"/>
                  </a:lnTo>
                  <a:cubicBezTo>
                    <a:pt x="4961" y="589341"/>
                    <a:pt x="4465" y="583884"/>
                    <a:pt x="3969" y="578427"/>
                  </a:cubicBezTo>
                  <a:lnTo>
                    <a:pt x="2480" y="562057"/>
                  </a:lnTo>
                  <a:cubicBezTo>
                    <a:pt x="1984" y="556600"/>
                    <a:pt x="993" y="551143"/>
                    <a:pt x="993" y="545686"/>
                  </a:cubicBezTo>
                  <a:cubicBezTo>
                    <a:pt x="496" y="540229"/>
                    <a:pt x="1488" y="534772"/>
                    <a:pt x="1488" y="528819"/>
                  </a:cubicBezTo>
                  <a:cubicBezTo>
                    <a:pt x="1488" y="523362"/>
                    <a:pt x="0" y="517906"/>
                    <a:pt x="0" y="512449"/>
                  </a:cubicBezTo>
                  <a:cubicBezTo>
                    <a:pt x="0" y="506992"/>
                    <a:pt x="496" y="501535"/>
                    <a:pt x="993" y="496574"/>
                  </a:cubicBezTo>
                  <a:cubicBezTo>
                    <a:pt x="993" y="491117"/>
                    <a:pt x="1488" y="485661"/>
                    <a:pt x="1984" y="480700"/>
                  </a:cubicBezTo>
                  <a:cubicBezTo>
                    <a:pt x="2480" y="475243"/>
                    <a:pt x="3473" y="470282"/>
                    <a:pt x="3969" y="464825"/>
                  </a:cubicBezTo>
                  <a:cubicBezTo>
                    <a:pt x="4465" y="459368"/>
                    <a:pt x="2976" y="453912"/>
                    <a:pt x="3473" y="448455"/>
                  </a:cubicBezTo>
                  <a:cubicBezTo>
                    <a:pt x="3969" y="442998"/>
                    <a:pt x="5457" y="438037"/>
                    <a:pt x="6449" y="432580"/>
                  </a:cubicBezTo>
                  <a:cubicBezTo>
                    <a:pt x="7441" y="427123"/>
                    <a:pt x="7441" y="421666"/>
                    <a:pt x="8434" y="416706"/>
                  </a:cubicBezTo>
                  <a:cubicBezTo>
                    <a:pt x="9426" y="411249"/>
                    <a:pt x="10418" y="406288"/>
                    <a:pt x="11410" y="400831"/>
                  </a:cubicBezTo>
                  <a:cubicBezTo>
                    <a:pt x="12402" y="395374"/>
                    <a:pt x="13394" y="390414"/>
                    <a:pt x="14882" y="384957"/>
                  </a:cubicBezTo>
                  <a:cubicBezTo>
                    <a:pt x="16371" y="379500"/>
                    <a:pt x="17859" y="374539"/>
                    <a:pt x="19347" y="369578"/>
                  </a:cubicBezTo>
                  <a:cubicBezTo>
                    <a:pt x="20836" y="364618"/>
                    <a:pt x="23812" y="359657"/>
                    <a:pt x="25796" y="354696"/>
                  </a:cubicBezTo>
                  <a:cubicBezTo>
                    <a:pt x="27284" y="349735"/>
                    <a:pt x="28277" y="344278"/>
                    <a:pt x="30261" y="339318"/>
                  </a:cubicBezTo>
                  <a:cubicBezTo>
                    <a:pt x="32245" y="334357"/>
                    <a:pt x="34725" y="329396"/>
                    <a:pt x="36710" y="324435"/>
                  </a:cubicBezTo>
                  <a:cubicBezTo>
                    <a:pt x="38694" y="319474"/>
                    <a:pt x="39686" y="314018"/>
                    <a:pt x="41671" y="309057"/>
                  </a:cubicBezTo>
                  <a:cubicBezTo>
                    <a:pt x="43655" y="304096"/>
                    <a:pt x="46135" y="299135"/>
                    <a:pt x="48616" y="294671"/>
                  </a:cubicBezTo>
                  <a:cubicBezTo>
                    <a:pt x="51096" y="289710"/>
                    <a:pt x="53577" y="285245"/>
                    <a:pt x="56057" y="280284"/>
                  </a:cubicBezTo>
                  <a:cubicBezTo>
                    <a:pt x="58537" y="275324"/>
                    <a:pt x="61018" y="270859"/>
                    <a:pt x="63498" y="265898"/>
                  </a:cubicBezTo>
                  <a:cubicBezTo>
                    <a:pt x="65979" y="261433"/>
                    <a:pt x="68459" y="255976"/>
                    <a:pt x="70939" y="251512"/>
                  </a:cubicBezTo>
                  <a:lnTo>
                    <a:pt x="79868" y="238118"/>
                  </a:lnTo>
                  <a:lnTo>
                    <a:pt x="88798" y="224724"/>
                  </a:lnTo>
                  <a:cubicBezTo>
                    <a:pt x="91774" y="220259"/>
                    <a:pt x="95743" y="216290"/>
                    <a:pt x="98720" y="211826"/>
                  </a:cubicBezTo>
                  <a:cubicBezTo>
                    <a:pt x="101696" y="207361"/>
                    <a:pt x="104176" y="202400"/>
                    <a:pt x="107153" y="198431"/>
                  </a:cubicBezTo>
                  <a:cubicBezTo>
                    <a:pt x="110626" y="193967"/>
                    <a:pt x="113106" y="189502"/>
                    <a:pt x="116578" y="185533"/>
                  </a:cubicBezTo>
                  <a:lnTo>
                    <a:pt x="126996" y="173628"/>
                  </a:lnTo>
                  <a:cubicBezTo>
                    <a:pt x="130469" y="169659"/>
                    <a:pt x="133941" y="165690"/>
                    <a:pt x="137910" y="161722"/>
                  </a:cubicBezTo>
                  <a:cubicBezTo>
                    <a:pt x="141382" y="157753"/>
                    <a:pt x="146343" y="154777"/>
                    <a:pt x="150312" y="151304"/>
                  </a:cubicBezTo>
                  <a:cubicBezTo>
                    <a:pt x="154280" y="147831"/>
                    <a:pt x="156761" y="142375"/>
                    <a:pt x="160729" y="138902"/>
                  </a:cubicBezTo>
                  <a:cubicBezTo>
                    <a:pt x="164698" y="135430"/>
                    <a:pt x="169659" y="132453"/>
                    <a:pt x="173627" y="128981"/>
                  </a:cubicBezTo>
                  <a:cubicBezTo>
                    <a:pt x="177596" y="125508"/>
                    <a:pt x="181564" y="122035"/>
                    <a:pt x="186029" y="118563"/>
                  </a:cubicBezTo>
                  <a:cubicBezTo>
                    <a:pt x="189998" y="115090"/>
                    <a:pt x="194959" y="112610"/>
                    <a:pt x="198927" y="109137"/>
                  </a:cubicBezTo>
                  <a:cubicBezTo>
                    <a:pt x="203392" y="105665"/>
                    <a:pt x="206368" y="100704"/>
                    <a:pt x="210337" y="97728"/>
                  </a:cubicBezTo>
                  <a:lnTo>
                    <a:pt x="223731" y="88798"/>
                  </a:lnTo>
                  <a:lnTo>
                    <a:pt x="237125" y="79869"/>
                  </a:lnTo>
                  <a:lnTo>
                    <a:pt x="250519" y="70939"/>
                  </a:lnTo>
                  <a:cubicBezTo>
                    <a:pt x="254984" y="67963"/>
                    <a:pt x="260937" y="67467"/>
                    <a:pt x="265402" y="64986"/>
                  </a:cubicBezTo>
                  <a:cubicBezTo>
                    <a:pt x="269867" y="62506"/>
                    <a:pt x="273835" y="58041"/>
                    <a:pt x="278796" y="55561"/>
                  </a:cubicBezTo>
                  <a:cubicBezTo>
                    <a:pt x="283757" y="53081"/>
                    <a:pt x="288718" y="51592"/>
                    <a:pt x="293679" y="49112"/>
                  </a:cubicBezTo>
                  <a:cubicBezTo>
                    <a:pt x="298639" y="46632"/>
                    <a:pt x="303600" y="45143"/>
                    <a:pt x="308561" y="43159"/>
                  </a:cubicBezTo>
                  <a:lnTo>
                    <a:pt x="323443" y="37206"/>
                  </a:lnTo>
                  <a:cubicBezTo>
                    <a:pt x="328404" y="35222"/>
                    <a:pt x="333365" y="32741"/>
                    <a:pt x="338326" y="31253"/>
                  </a:cubicBezTo>
                  <a:cubicBezTo>
                    <a:pt x="343286" y="29269"/>
                    <a:pt x="347751" y="26292"/>
                    <a:pt x="353208" y="24308"/>
                  </a:cubicBezTo>
                  <a:cubicBezTo>
                    <a:pt x="358169" y="22820"/>
                    <a:pt x="364121" y="22324"/>
                    <a:pt x="369082" y="20836"/>
                  </a:cubicBezTo>
                  <a:cubicBezTo>
                    <a:pt x="374043" y="19347"/>
                    <a:pt x="379004" y="16867"/>
                    <a:pt x="384460" y="15379"/>
                  </a:cubicBezTo>
                  <a:cubicBezTo>
                    <a:pt x="389421" y="13890"/>
                    <a:pt x="394878" y="12898"/>
                    <a:pt x="400335" y="11410"/>
                  </a:cubicBezTo>
                  <a:lnTo>
                    <a:pt x="416210" y="8434"/>
                  </a:lnTo>
                  <a:cubicBezTo>
                    <a:pt x="421666" y="7441"/>
                    <a:pt x="426627" y="5953"/>
                    <a:pt x="432084" y="4961"/>
                  </a:cubicBezTo>
                  <a:cubicBezTo>
                    <a:pt x="437541" y="3969"/>
                    <a:pt x="442998" y="4961"/>
                    <a:pt x="448455" y="3969"/>
                  </a:cubicBezTo>
                  <a:cubicBezTo>
                    <a:pt x="453911" y="3473"/>
                    <a:pt x="458872" y="2481"/>
                    <a:pt x="464329" y="1985"/>
                  </a:cubicBezTo>
                  <a:cubicBezTo>
                    <a:pt x="469786" y="1488"/>
                    <a:pt x="474747" y="496"/>
                    <a:pt x="480204" y="496"/>
                  </a:cubicBezTo>
                  <a:cubicBezTo>
                    <a:pt x="485660" y="0"/>
                    <a:pt x="491117" y="496"/>
                    <a:pt x="496574" y="496"/>
                  </a:cubicBezTo>
                  <a:cubicBezTo>
                    <a:pt x="502031" y="496"/>
                    <a:pt x="507488" y="0"/>
                    <a:pt x="512449" y="0"/>
                  </a:cubicBezTo>
                  <a:cubicBezTo>
                    <a:pt x="517905" y="0"/>
                    <a:pt x="523362" y="992"/>
                    <a:pt x="528323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BDC5EF14-7B91-74B5-CBDB-1C69A662706A}"/>
                </a:ext>
              </a:extLst>
            </p:cNvPr>
            <p:cNvSpPr/>
            <p:nvPr/>
          </p:nvSpPr>
          <p:spPr>
            <a:xfrm>
              <a:off x="6307501" y="1613245"/>
              <a:ext cx="85821" cy="34229"/>
            </a:xfrm>
            <a:custGeom>
              <a:avLst/>
              <a:gdLst>
                <a:gd name="connsiteX0" fmla="*/ 85821 w 85821"/>
                <a:gd name="connsiteY0" fmla="*/ 0 h 34229"/>
                <a:gd name="connsiteX1" fmla="*/ 71931 w 85821"/>
                <a:gd name="connsiteY1" fmla="*/ 6449 h 34229"/>
                <a:gd name="connsiteX2" fmla="*/ 57545 w 85821"/>
                <a:gd name="connsiteY2" fmla="*/ 11410 h 34229"/>
                <a:gd name="connsiteX3" fmla="*/ 43159 w 85821"/>
                <a:gd name="connsiteY3" fmla="*/ 17363 h 34229"/>
                <a:gd name="connsiteX4" fmla="*/ 28276 w 85821"/>
                <a:gd name="connsiteY4" fmla="*/ 21827 h 34229"/>
                <a:gd name="connsiteX5" fmla="*/ 13890 w 85821"/>
                <a:gd name="connsiteY5" fmla="*/ 27284 h 34229"/>
                <a:gd name="connsiteX6" fmla="*/ 0 w 85821"/>
                <a:gd name="connsiteY6" fmla="*/ 34229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21" h="34229">
                  <a:moveTo>
                    <a:pt x="85821" y="0"/>
                  </a:moveTo>
                  <a:cubicBezTo>
                    <a:pt x="78876" y="2976"/>
                    <a:pt x="78876" y="3472"/>
                    <a:pt x="71931" y="6449"/>
                  </a:cubicBezTo>
                  <a:cubicBezTo>
                    <a:pt x="64986" y="9425"/>
                    <a:pt x="64490" y="8929"/>
                    <a:pt x="57545" y="11410"/>
                  </a:cubicBezTo>
                  <a:cubicBezTo>
                    <a:pt x="50600" y="14386"/>
                    <a:pt x="50600" y="14386"/>
                    <a:pt x="43159" y="17363"/>
                  </a:cubicBezTo>
                  <a:cubicBezTo>
                    <a:pt x="36213" y="20339"/>
                    <a:pt x="35717" y="19347"/>
                    <a:pt x="28276" y="21827"/>
                  </a:cubicBezTo>
                  <a:cubicBezTo>
                    <a:pt x="21331" y="24804"/>
                    <a:pt x="21331" y="24804"/>
                    <a:pt x="13890" y="27284"/>
                  </a:cubicBezTo>
                  <a:cubicBezTo>
                    <a:pt x="6945" y="30261"/>
                    <a:pt x="7441" y="31253"/>
                    <a:pt x="0" y="342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ADE47077-E98F-6671-62C6-847B7D5DA957}"/>
                </a:ext>
              </a:extLst>
            </p:cNvPr>
            <p:cNvSpPr/>
            <p:nvPr/>
          </p:nvSpPr>
          <p:spPr>
            <a:xfrm>
              <a:off x="5999932" y="1466822"/>
              <a:ext cx="360152" cy="11095"/>
            </a:xfrm>
            <a:custGeom>
              <a:avLst/>
              <a:gdLst>
                <a:gd name="connsiteX0" fmla="*/ 360152 w 360152"/>
                <a:gd name="connsiteY0" fmla="*/ 80 h 11095"/>
                <a:gd name="connsiteX1" fmla="*/ 343782 w 360152"/>
                <a:gd name="connsiteY1" fmla="*/ 1072 h 11095"/>
                <a:gd name="connsiteX2" fmla="*/ 327411 w 360152"/>
                <a:gd name="connsiteY2" fmla="*/ 80 h 11095"/>
                <a:gd name="connsiteX3" fmla="*/ 311041 w 360152"/>
                <a:gd name="connsiteY3" fmla="*/ 2561 h 11095"/>
                <a:gd name="connsiteX4" fmla="*/ 294670 w 360152"/>
                <a:gd name="connsiteY4" fmla="*/ 2561 h 11095"/>
                <a:gd name="connsiteX5" fmla="*/ 278300 w 360152"/>
                <a:gd name="connsiteY5" fmla="*/ 2561 h 11095"/>
                <a:gd name="connsiteX6" fmla="*/ 261929 w 360152"/>
                <a:gd name="connsiteY6" fmla="*/ 1568 h 11095"/>
                <a:gd name="connsiteX7" fmla="*/ 245559 w 360152"/>
                <a:gd name="connsiteY7" fmla="*/ 2065 h 11095"/>
                <a:gd name="connsiteX8" fmla="*/ 229188 w 360152"/>
                <a:gd name="connsiteY8" fmla="*/ 4545 h 11095"/>
                <a:gd name="connsiteX9" fmla="*/ 212817 w 360152"/>
                <a:gd name="connsiteY9" fmla="*/ 3553 h 11095"/>
                <a:gd name="connsiteX10" fmla="*/ 196447 w 360152"/>
                <a:gd name="connsiteY10" fmla="*/ 4049 h 11095"/>
                <a:gd name="connsiteX11" fmla="*/ 180076 w 360152"/>
                <a:gd name="connsiteY11" fmla="*/ 5537 h 11095"/>
                <a:gd name="connsiteX12" fmla="*/ 163706 w 360152"/>
                <a:gd name="connsiteY12" fmla="*/ 7025 h 11095"/>
                <a:gd name="connsiteX13" fmla="*/ 147335 w 360152"/>
                <a:gd name="connsiteY13" fmla="*/ 7025 h 11095"/>
                <a:gd name="connsiteX14" fmla="*/ 130964 w 360152"/>
                <a:gd name="connsiteY14" fmla="*/ 5537 h 11095"/>
                <a:gd name="connsiteX15" fmla="*/ 114594 w 360152"/>
                <a:gd name="connsiteY15" fmla="*/ 7521 h 11095"/>
                <a:gd name="connsiteX16" fmla="*/ 98223 w 360152"/>
                <a:gd name="connsiteY16" fmla="*/ 8514 h 11095"/>
                <a:gd name="connsiteX17" fmla="*/ 81853 w 360152"/>
                <a:gd name="connsiteY17" fmla="*/ 7521 h 11095"/>
                <a:gd name="connsiteX18" fmla="*/ 65482 w 360152"/>
                <a:gd name="connsiteY18" fmla="*/ 9010 h 11095"/>
                <a:gd name="connsiteX19" fmla="*/ 49111 w 360152"/>
                <a:gd name="connsiteY19" fmla="*/ 9506 h 11095"/>
                <a:gd name="connsiteX20" fmla="*/ 32741 w 360152"/>
                <a:gd name="connsiteY20" fmla="*/ 8514 h 11095"/>
                <a:gd name="connsiteX21" fmla="*/ 16370 w 360152"/>
                <a:gd name="connsiteY21" fmla="*/ 10994 h 11095"/>
                <a:gd name="connsiteX22" fmla="*/ 0 w 360152"/>
                <a:gd name="connsiteY22" fmla="*/ 10002 h 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0152" h="11095">
                  <a:moveTo>
                    <a:pt x="360152" y="80"/>
                  </a:moveTo>
                  <a:cubicBezTo>
                    <a:pt x="351719" y="576"/>
                    <a:pt x="352215" y="576"/>
                    <a:pt x="343782" y="1072"/>
                  </a:cubicBezTo>
                  <a:cubicBezTo>
                    <a:pt x="335349" y="1568"/>
                    <a:pt x="335349" y="-416"/>
                    <a:pt x="327411" y="80"/>
                  </a:cubicBezTo>
                  <a:cubicBezTo>
                    <a:pt x="318978" y="576"/>
                    <a:pt x="319474" y="2065"/>
                    <a:pt x="311041" y="2561"/>
                  </a:cubicBezTo>
                  <a:cubicBezTo>
                    <a:pt x="302608" y="3057"/>
                    <a:pt x="302608" y="2561"/>
                    <a:pt x="294670" y="2561"/>
                  </a:cubicBezTo>
                  <a:cubicBezTo>
                    <a:pt x="286237" y="3057"/>
                    <a:pt x="286237" y="2561"/>
                    <a:pt x="278300" y="2561"/>
                  </a:cubicBezTo>
                  <a:cubicBezTo>
                    <a:pt x="269866" y="3057"/>
                    <a:pt x="269866" y="1072"/>
                    <a:pt x="261929" y="1568"/>
                  </a:cubicBezTo>
                  <a:cubicBezTo>
                    <a:pt x="253496" y="2065"/>
                    <a:pt x="253496" y="2065"/>
                    <a:pt x="245559" y="2065"/>
                  </a:cubicBezTo>
                  <a:cubicBezTo>
                    <a:pt x="237125" y="2561"/>
                    <a:pt x="237621" y="4049"/>
                    <a:pt x="229188" y="4545"/>
                  </a:cubicBezTo>
                  <a:cubicBezTo>
                    <a:pt x="220755" y="5041"/>
                    <a:pt x="220755" y="3057"/>
                    <a:pt x="212817" y="3553"/>
                  </a:cubicBezTo>
                  <a:cubicBezTo>
                    <a:pt x="204384" y="4049"/>
                    <a:pt x="204384" y="4049"/>
                    <a:pt x="196447" y="4049"/>
                  </a:cubicBezTo>
                  <a:cubicBezTo>
                    <a:pt x="188013" y="4545"/>
                    <a:pt x="188510" y="5041"/>
                    <a:pt x="180076" y="5537"/>
                  </a:cubicBezTo>
                  <a:cubicBezTo>
                    <a:pt x="171643" y="6033"/>
                    <a:pt x="172139" y="6529"/>
                    <a:pt x="163706" y="7025"/>
                  </a:cubicBezTo>
                  <a:cubicBezTo>
                    <a:pt x="155272" y="7521"/>
                    <a:pt x="155272" y="7025"/>
                    <a:pt x="147335" y="7025"/>
                  </a:cubicBezTo>
                  <a:cubicBezTo>
                    <a:pt x="138902" y="7521"/>
                    <a:pt x="138902" y="5537"/>
                    <a:pt x="130964" y="5537"/>
                  </a:cubicBezTo>
                  <a:cubicBezTo>
                    <a:pt x="122531" y="6033"/>
                    <a:pt x="123027" y="7521"/>
                    <a:pt x="114594" y="7521"/>
                  </a:cubicBezTo>
                  <a:cubicBezTo>
                    <a:pt x="106160" y="7521"/>
                    <a:pt x="106160" y="8514"/>
                    <a:pt x="98223" y="8514"/>
                  </a:cubicBezTo>
                  <a:cubicBezTo>
                    <a:pt x="89790" y="9010"/>
                    <a:pt x="89790" y="7025"/>
                    <a:pt x="81853" y="7521"/>
                  </a:cubicBezTo>
                  <a:cubicBezTo>
                    <a:pt x="73419" y="8017"/>
                    <a:pt x="73915" y="9010"/>
                    <a:pt x="65482" y="9010"/>
                  </a:cubicBezTo>
                  <a:cubicBezTo>
                    <a:pt x="57049" y="9506"/>
                    <a:pt x="57049" y="9010"/>
                    <a:pt x="49111" y="9506"/>
                  </a:cubicBezTo>
                  <a:cubicBezTo>
                    <a:pt x="40678" y="10002"/>
                    <a:pt x="40678" y="8017"/>
                    <a:pt x="32741" y="8514"/>
                  </a:cubicBezTo>
                  <a:cubicBezTo>
                    <a:pt x="24307" y="9010"/>
                    <a:pt x="24804" y="10498"/>
                    <a:pt x="16370" y="10994"/>
                  </a:cubicBezTo>
                  <a:cubicBezTo>
                    <a:pt x="7937" y="11490"/>
                    <a:pt x="7937" y="10002"/>
                    <a:pt x="0" y="100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9A3BCD94-84EE-6E74-DE45-2EE4023E73DD}"/>
                </a:ext>
              </a:extLst>
            </p:cNvPr>
            <p:cNvSpPr/>
            <p:nvPr/>
          </p:nvSpPr>
          <p:spPr>
            <a:xfrm>
              <a:off x="5665080" y="1254581"/>
              <a:ext cx="701454" cy="34229"/>
            </a:xfrm>
            <a:custGeom>
              <a:avLst/>
              <a:gdLst>
                <a:gd name="connsiteX0" fmla="*/ 701454 w 701454"/>
                <a:gd name="connsiteY0" fmla="*/ 33733 h 34229"/>
                <a:gd name="connsiteX1" fmla="*/ 685580 w 701454"/>
                <a:gd name="connsiteY1" fmla="*/ 34229 h 34229"/>
                <a:gd name="connsiteX2" fmla="*/ 669706 w 701454"/>
                <a:gd name="connsiteY2" fmla="*/ 33733 h 34229"/>
                <a:gd name="connsiteX3" fmla="*/ 653831 w 701454"/>
                <a:gd name="connsiteY3" fmla="*/ 32741 h 34229"/>
                <a:gd name="connsiteX4" fmla="*/ 637956 w 701454"/>
                <a:gd name="connsiteY4" fmla="*/ 31253 h 34229"/>
                <a:gd name="connsiteX5" fmla="*/ 622082 w 701454"/>
                <a:gd name="connsiteY5" fmla="*/ 30757 h 34229"/>
                <a:gd name="connsiteX6" fmla="*/ 606207 w 701454"/>
                <a:gd name="connsiteY6" fmla="*/ 29269 h 34229"/>
                <a:gd name="connsiteX7" fmla="*/ 590333 w 701454"/>
                <a:gd name="connsiteY7" fmla="*/ 29269 h 34229"/>
                <a:gd name="connsiteX8" fmla="*/ 574458 w 701454"/>
                <a:gd name="connsiteY8" fmla="*/ 27780 h 34229"/>
                <a:gd name="connsiteX9" fmla="*/ 558584 w 701454"/>
                <a:gd name="connsiteY9" fmla="*/ 26292 h 34229"/>
                <a:gd name="connsiteX10" fmla="*/ 542213 w 701454"/>
                <a:gd name="connsiteY10" fmla="*/ 27284 h 34229"/>
                <a:gd name="connsiteX11" fmla="*/ 526339 w 701454"/>
                <a:gd name="connsiteY11" fmla="*/ 26292 h 34229"/>
                <a:gd name="connsiteX12" fmla="*/ 510464 w 701454"/>
                <a:gd name="connsiteY12" fmla="*/ 25300 h 34229"/>
                <a:gd name="connsiteX13" fmla="*/ 494590 w 701454"/>
                <a:gd name="connsiteY13" fmla="*/ 24308 h 34229"/>
                <a:gd name="connsiteX14" fmla="*/ 478716 w 701454"/>
                <a:gd name="connsiteY14" fmla="*/ 22820 h 34229"/>
                <a:gd name="connsiteX15" fmla="*/ 462841 w 701454"/>
                <a:gd name="connsiteY15" fmla="*/ 21331 h 34229"/>
                <a:gd name="connsiteX16" fmla="*/ 446966 w 701454"/>
                <a:gd name="connsiteY16" fmla="*/ 21827 h 34229"/>
                <a:gd name="connsiteX17" fmla="*/ 431092 w 701454"/>
                <a:gd name="connsiteY17" fmla="*/ 20339 h 34229"/>
                <a:gd name="connsiteX18" fmla="*/ 414721 w 701454"/>
                <a:gd name="connsiteY18" fmla="*/ 21331 h 34229"/>
                <a:gd name="connsiteX19" fmla="*/ 398846 w 701454"/>
                <a:gd name="connsiteY19" fmla="*/ 19347 h 34229"/>
                <a:gd name="connsiteX20" fmla="*/ 382972 w 701454"/>
                <a:gd name="connsiteY20" fmla="*/ 18851 h 34229"/>
                <a:gd name="connsiteX21" fmla="*/ 367098 w 701454"/>
                <a:gd name="connsiteY21" fmla="*/ 18355 h 34229"/>
                <a:gd name="connsiteX22" fmla="*/ 351223 w 701454"/>
                <a:gd name="connsiteY22" fmla="*/ 17363 h 34229"/>
                <a:gd name="connsiteX23" fmla="*/ 335349 w 701454"/>
                <a:gd name="connsiteY23" fmla="*/ 15875 h 34229"/>
                <a:gd name="connsiteX24" fmla="*/ 319474 w 701454"/>
                <a:gd name="connsiteY24" fmla="*/ 15875 h 34229"/>
                <a:gd name="connsiteX25" fmla="*/ 303600 w 701454"/>
                <a:gd name="connsiteY25" fmla="*/ 13890 h 34229"/>
                <a:gd name="connsiteX26" fmla="*/ 287726 w 701454"/>
                <a:gd name="connsiteY26" fmla="*/ 13890 h 34229"/>
                <a:gd name="connsiteX27" fmla="*/ 271851 w 701454"/>
                <a:gd name="connsiteY27" fmla="*/ 11410 h 34229"/>
                <a:gd name="connsiteX28" fmla="*/ 255976 w 701454"/>
                <a:gd name="connsiteY28" fmla="*/ 11410 h 34229"/>
                <a:gd name="connsiteX29" fmla="*/ 240102 w 701454"/>
                <a:gd name="connsiteY29" fmla="*/ 11410 h 34229"/>
                <a:gd name="connsiteX30" fmla="*/ 224227 w 701454"/>
                <a:gd name="connsiteY30" fmla="*/ 11410 h 34229"/>
                <a:gd name="connsiteX31" fmla="*/ 208353 w 701454"/>
                <a:gd name="connsiteY31" fmla="*/ 9922 h 34229"/>
                <a:gd name="connsiteX32" fmla="*/ 192478 w 701454"/>
                <a:gd name="connsiteY32" fmla="*/ 7937 h 34229"/>
                <a:gd name="connsiteX33" fmla="*/ 176604 w 701454"/>
                <a:gd name="connsiteY33" fmla="*/ 6945 h 34229"/>
                <a:gd name="connsiteX34" fmla="*/ 160233 w 701454"/>
                <a:gd name="connsiteY34" fmla="*/ 7937 h 34229"/>
                <a:gd name="connsiteX35" fmla="*/ 144359 w 701454"/>
                <a:gd name="connsiteY35" fmla="*/ 7937 h 34229"/>
                <a:gd name="connsiteX36" fmla="*/ 128484 w 701454"/>
                <a:gd name="connsiteY36" fmla="*/ 4961 h 34229"/>
                <a:gd name="connsiteX37" fmla="*/ 112610 w 701454"/>
                <a:gd name="connsiteY37" fmla="*/ 4465 h 34229"/>
                <a:gd name="connsiteX38" fmla="*/ 96239 w 701454"/>
                <a:gd name="connsiteY38" fmla="*/ 4961 h 34229"/>
                <a:gd name="connsiteX39" fmla="*/ 80365 w 701454"/>
                <a:gd name="connsiteY39" fmla="*/ 3473 h 34229"/>
                <a:gd name="connsiteX40" fmla="*/ 63994 w 701454"/>
                <a:gd name="connsiteY40" fmla="*/ 4465 h 34229"/>
                <a:gd name="connsiteX41" fmla="*/ 48120 w 701454"/>
                <a:gd name="connsiteY41" fmla="*/ 3473 h 34229"/>
                <a:gd name="connsiteX42" fmla="*/ 32245 w 701454"/>
                <a:gd name="connsiteY42" fmla="*/ 992 h 34229"/>
                <a:gd name="connsiteX43" fmla="*/ 15875 w 701454"/>
                <a:gd name="connsiteY43" fmla="*/ 1488 h 34229"/>
                <a:gd name="connsiteX44" fmla="*/ 0 w 701454"/>
                <a:gd name="connsiteY44" fmla="*/ 0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01454" h="34229">
                  <a:moveTo>
                    <a:pt x="701454" y="33733"/>
                  </a:moveTo>
                  <a:cubicBezTo>
                    <a:pt x="693517" y="33237"/>
                    <a:pt x="693517" y="34229"/>
                    <a:pt x="685580" y="34229"/>
                  </a:cubicBezTo>
                  <a:cubicBezTo>
                    <a:pt x="677643" y="33733"/>
                    <a:pt x="677643" y="34229"/>
                    <a:pt x="669706" y="33733"/>
                  </a:cubicBezTo>
                  <a:cubicBezTo>
                    <a:pt x="661768" y="33237"/>
                    <a:pt x="661768" y="32741"/>
                    <a:pt x="653831" y="32741"/>
                  </a:cubicBezTo>
                  <a:cubicBezTo>
                    <a:pt x="645894" y="32245"/>
                    <a:pt x="645894" y="31749"/>
                    <a:pt x="637956" y="31253"/>
                  </a:cubicBezTo>
                  <a:cubicBezTo>
                    <a:pt x="630019" y="30757"/>
                    <a:pt x="630019" y="30757"/>
                    <a:pt x="622082" y="30757"/>
                  </a:cubicBezTo>
                  <a:cubicBezTo>
                    <a:pt x="614144" y="30261"/>
                    <a:pt x="614144" y="29765"/>
                    <a:pt x="606207" y="29269"/>
                  </a:cubicBezTo>
                  <a:cubicBezTo>
                    <a:pt x="598270" y="28773"/>
                    <a:pt x="598270" y="29765"/>
                    <a:pt x="590333" y="29269"/>
                  </a:cubicBezTo>
                  <a:cubicBezTo>
                    <a:pt x="582395" y="28773"/>
                    <a:pt x="582395" y="28277"/>
                    <a:pt x="574458" y="27780"/>
                  </a:cubicBezTo>
                  <a:cubicBezTo>
                    <a:pt x="566521" y="27284"/>
                    <a:pt x="566521" y="26788"/>
                    <a:pt x="558584" y="26292"/>
                  </a:cubicBezTo>
                  <a:cubicBezTo>
                    <a:pt x="550647" y="25796"/>
                    <a:pt x="550647" y="27780"/>
                    <a:pt x="542213" y="27284"/>
                  </a:cubicBezTo>
                  <a:cubicBezTo>
                    <a:pt x="534276" y="26788"/>
                    <a:pt x="534276" y="26788"/>
                    <a:pt x="526339" y="26292"/>
                  </a:cubicBezTo>
                  <a:cubicBezTo>
                    <a:pt x="518402" y="25796"/>
                    <a:pt x="518402" y="25796"/>
                    <a:pt x="510464" y="25300"/>
                  </a:cubicBezTo>
                  <a:cubicBezTo>
                    <a:pt x="502527" y="24804"/>
                    <a:pt x="502527" y="24804"/>
                    <a:pt x="494590" y="24308"/>
                  </a:cubicBezTo>
                  <a:cubicBezTo>
                    <a:pt x="486653" y="23812"/>
                    <a:pt x="486653" y="23316"/>
                    <a:pt x="478716" y="22820"/>
                  </a:cubicBezTo>
                  <a:cubicBezTo>
                    <a:pt x="470778" y="22324"/>
                    <a:pt x="470778" y="21827"/>
                    <a:pt x="462841" y="21331"/>
                  </a:cubicBezTo>
                  <a:cubicBezTo>
                    <a:pt x="454904" y="20835"/>
                    <a:pt x="454904" y="21827"/>
                    <a:pt x="446966" y="21827"/>
                  </a:cubicBezTo>
                  <a:cubicBezTo>
                    <a:pt x="439029" y="21331"/>
                    <a:pt x="439029" y="20835"/>
                    <a:pt x="431092" y="20339"/>
                  </a:cubicBezTo>
                  <a:cubicBezTo>
                    <a:pt x="423154" y="19843"/>
                    <a:pt x="423154" y="21827"/>
                    <a:pt x="414721" y="21331"/>
                  </a:cubicBezTo>
                  <a:cubicBezTo>
                    <a:pt x="406784" y="20835"/>
                    <a:pt x="406784" y="19843"/>
                    <a:pt x="398846" y="19347"/>
                  </a:cubicBezTo>
                  <a:cubicBezTo>
                    <a:pt x="390909" y="18851"/>
                    <a:pt x="390909" y="19347"/>
                    <a:pt x="382972" y="18851"/>
                  </a:cubicBezTo>
                  <a:cubicBezTo>
                    <a:pt x="375035" y="18355"/>
                    <a:pt x="375035" y="18851"/>
                    <a:pt x="367098" y="18355"/>
                  </a:cubicBezTo>
                  <a:cubicBezTo>
                    <a:pt x="359160" y="17859"/>
                    <a:pt x="359160" y="17363"/>
                    <a:pt x="351223" y="17363"/>
                  </a:cubicBezTo>
                  <a:cubicBezTo>
                    <a:pt x="343286" y="16867"/>
                    <a:pt x="343286" y="16371"/>
                    <a:pt x="335349" y="15875"/>
                  </a:cubicBezTo>
                  <a:cubicBezTo>
                    <a:pt x="327412" y="15378"/>
                    <a:pt x="327412" y="16371"/>
                    <a:pt x="319474" y="15875"/>
                  </a:cubicBezTo>
                  <a:cubicBezTo>
                    <a:pt x="311537" y="15378"/>
                    <a:pt x="311537" y="14386"/>
                    <a:pt x="303600" y="13890"/>
                  </a:cubicBezTo>
                  <a:cubicBezTo>
                    <a:pt x="295663" y="13394"/>
                    <a:pt x="295663" y="14386"/>
                    <a:pt x="287726" y="13890"/>
                  </a:cubicBezTo>
                  <a:cubicBezTo>
                    <a:pt x="279788" y="13394"/>
                    <a:pt x="279788" y="11906"/>
                    <a:pt x="271851" y="11410"/>
                  </a:cubicBezTo>
                  <a:cubicBezTo>
                    <a:pt x="263914" y="10914"/>
                    <a:pt x="263914" y="11906"/>
                    <a:pt x="255976" y="11410"/>
                  </a:cubicBezTo>
                  <a:cubicBezTo>
                    <a:pt x="248039" y="10914"/>
                    <a:pt x="248039" y="11906"/>
                    <a:pt x="240102" y="11410"/>
                  </a:cubicBezTo>
                  <a:cubicBezTo>
                    <a:pt x="232164" y="10914"/>
                    <a:pt x="232164" y="11906"/>
                    <a:pt x="224227" y="11410"/>
                  </a:cubicBezTo>
                  <a:cubicBezTo>
                    <a:pt x="216290" y="10914"/>
                    <a:pt x="216290" y="10418"/>
                    <a:pt x="208353" y="9922"/>
                  </a:cubicBezTo>
                  <a:cubicBezTo>
                    <a:pt x="200415" y="9426"/>
                    <a:pt x="200415" y="8433"/>
                    <a:pt x="192478" y="7937"/>
                  </a:cubicBezTo>
                  <a:cubicBezTo>
                    <a:pt x="184541" y="7441"/>
                    <a:pt x="184541" y="6945"/>
                    <a:pt x="176604" y="6945"/>
                  </a:cubicBezTo>
                  <a:cubicBezTo>
                    <a:pt x="168667" y="6449"/>
                    <a:pt x="168667" y="8433"/>
                    <a:pt x="160233" y="7937"/>
                  </a:cubicBezTo>
                  <a:cubicBezTo>
                    <a:pt x="152296" y="7441"/>
                    <a:pt x="152296" y="7937"/>
                    <a:pt x="144359" y="7937"/>
                  </a:cubicBezTo>
                  <a:cubicBezTo>
                    <a:pt x="136422" y="7441"/>
                    <a:pt x="136422" y="5457"/>
                    <a:pt x="128484" y="4961"/>
                  </a:cubicBezTo>
                  <a:cubicBezTo>
                    <a:pt x="120547" y="4465"/>
                    <a:pt x="120547" y="4961"/>
                    <a:pt x="112610" y="4465"/>
                  </a:cubicBezTo>
                  <a:cubicBezTo>
                    <a:pt x="104673" y="3969"/>
                    <a:pt x="104673" y="5457"/>
                    <a:pt x="96239" y="4961"/>
                  </a:cubicBezTo>
                  <a:cubicBezTo>
                    <a:pt x="88302" y="4465"/>
                    <a:pt x="88302" y="3473"/>
                    <a:pt x="80365" y="3473"/>
                  </a:cubicBezTo>
                  <a:cubicBezTo>
                    <a:pt x="72428" y="2976"/>
                    <a:pt x="72428" y="4961"/>
                    <a:pt x="63994" y="4465"/>
                  </a:cubicBezTo>
                  <a:cubicBezTo>
                    <a:pt x="56057" y="3969"/>
                    <a:pt x="56057" y="3969"/>
                    <a:pt x="48120" y="3473"/>
                  </a:cubicBezTo>
                  <a:cubicBezTo>
                    <a:pt x="40182" y="2976"/>
                    <a:pt x="40182" y="1488"/>
                    <a:pt x="32245" y="992"/>
                  </a:cubicBezTo>
                  <a:cubicBezTo>
                    <a:pt x="24308" y="496"/>
                    <a:pt x="24308" y="1488"/>
                    <a:pt x="15875" y="1488"/>
                  </a:cubicBezTo>
                  <a:cubicBezTo>
                    <a:pt x="7937" y="992"/>
                    <a:pt x="7937" y="496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8F7EC86B-6FDC-DE9B-74BC-E9CD81AD47A6}"/>
                </a:ext>
              </a:extLst>
            </p:cNvPr>
            <p:cNvSpPr/>
            <p:nvPr/>
          </p:nvSpPr>
          <p:spPr>
            <a:xfrm>
              <a:off x="5584219" y="970824"/>
              <a:ext cx="830434" cy="169162"/>
            </a:xfrm>
            <a:custGeom>
              <a:avLst/>
              <a:gdLst>
                <a:gd name="connsiteX0" fmla="*/ 830435 w 830434"/>
                <a:gd name="connsiteY0" fmla="*/ 169163 h 169162"/>
                <a:gd name="connsiteX1" fmla="*/ 814560 w 830434"/>
                <a:gd name="connsiteY1" fmla="*/ 165194 h 169162"/>
                <a:gd name="connsiteX2" fmla="*/ 798685 w 830434"/>
                <a:gd name="connsiteY2" fmla="*/ 161225 h 169162"/>
                <a:gd name="connsiteX3" fmla="*/ 782811 w 830434"/>
                <a:gd name="connsiteY3" fmla="*/ 158249 h 169162"/>
                <a:gd name="connsiteX4" fmla="*/ 766440 w 830434"/>
                <a:gd name="connsiteY4" fmla="*/ 155769 h 169162"/>
                <a:gd name="connsiteX5" fmla="*/ 750566 w 830434"/>
                <a:gd name="connsiteY5" fmla="*/ 151304 h 169162"/>
                <a:gd name="connsiteX6" fmla="*/ 734691 w 830434"/>
                <a:gd name="connsiteY6" fmla="*/ 148327 h 169162"/>
                <a:gd name="connsiteX7" fmla="*/ 718817 w 830434"/>
                <a:gd name="connsiteY7" fmla="*/ 145351 h 169162"/>
                <a:gd name="connsiteX8" fmla="*/ 702942 w 830434"/>
                <a:gd name="connsiteY8" fmla="*/ 141878 h 169162"/>
                <a:gd name="connsiteX9" fmla="*/ 686572 w 830434"/>
                <a:gd name="connsiteY9" fmla="*/ 139398 h 169162"/>
                <a:gd name="connsiteX10" fmla="*/ 670697 w 830434"/>
                <a:gd name="connsiteY10" fmla="*/ 136421 h 169162"/>
                <a:gd name="connsiteX11" fmla="*/ 654823 w 830434"/>
                <a:gd name="connsiteY11" fmla="*/ 131957 h 169162"/>
                <a:gd name="connsiteX12" fmla="*/ 638452 w 830434"/>
                <a:gd name="connsiteY12" fmla="*/ 129972 h 169162"/>
                <a:gd name="connsiteX13" fmla="*/ 622578 w 830434"/>
                <a:gd name="connsiteY13" fmla="*/ 125508 h 169162"/>
                <a:gd name="connsiteX14" fmla="*/ 606207 w 830434"/>
                <a:gd name="connsiteY14" fmla="*/ 123027 h 169162"/>
                <a:gd name="connsiteX15" fmla="*/ 590333 w 830434"/>
                <a:gd name="connsiteY15" fmla="*/ 120547 h 169162"/>
                <a:gd name="connsiteX16" fmla="*/ 574459 w 830434"/>
                <a:gd name="connsiteY16" fmla="*/ 117570 h 169162"/>
                <a:gd name="connsiteX17" fmla="*/ 558584 w 830434"/>
                <a:gd name="connsiteY17" fmla="*/ 114098 h 169162"/>
                <a:gd name="connsiteX18" fmla="*/ 543205 w 830434"/>
                <a:gd name="connsiteY18" fmla="*/ 109137 h 169162"/>
                <a:gd name="connsiteX19" fmla="*/ 526835 w 830434"/>
                <a:gd name="connsiteY19" fmla="*/ 107153 h 169162"/>
                <a:gd name="connsiteX20" fmla="*/ 510960 w 830434"/>
                <a:gd name="connsiteY20" fmla="*/ 103184 h 169162"/>
                <a:gd name="connsiteX21" fmla="*/ 495086 w 830434"/>
                <a:gd name="connsiteY21" fmla="*/ 99712 h 169162"/>
                <a:gd name="connsiteX22" fmla="*/ 479211 w 830434"/>
                <a:gd name="connsiteY22" fmla="*/ 97231 h 169162"/>
                <a:gd name="connsiteX23" fmla="*/ 463337 w 830434"/>
                <a:gd name="connsiteY23" fmla="*/ 92767 h 169162"/>
                <a:gd name="connsiteX24" fmla="*/ 447462 w 830434"/>
                <a:gd name="connsiteY24" fmla="*/ 89294 h 169162"/>
                <a:gd name="connsiteX25" fmla="*/ 431588 w 830434"/>
                <a:gd name="connsiteY25" fmla="*/ 86814 h 169162"/>
                <a:gd name="connsiteX26" fmla="*/ 415714 w 830434"/>
                <a:gd name="connsiteY26" fmla="*/ 83341 h 169162"/>
                <a:gd name="connsiteX27" fmla="*/ 399343 w 830434"/>
                <a:gd name="connsiteY27" fmla="*/ 81357 h 169162"/>
                <a:gd name="connsiteX28" fmla="*/ 383468 w 830434"/>
                <a:gd name="connsiteY28" fmla="*/ 78380 h 169162"/>
                <a:gd name="connsiteX29" fmla="*/ 367594 w 830434"/>
                <a:gd name="connsiteY29" fmla="*/ 74908 h 169162"/>
                <a:gd name="connsiteX30" fmla="*/ 351719 w 830434"/>
                <a:gd name="connsiteY30" fmla="*/ 70939 h 169162"/>
                <a:gd name="connsiteX31" fmla="*/ 335845 w 830434"/>
                <a:gd name="connsiteY31" fmla="*/ 67467 h 169162"/>
                <a:gd name="connsiteX32" fmla="*/ 319474 w 830434"/>
                <a:gd name="connsiteY32" fmla="*/ 64986 h 169162"/>
                <a:gd name="connsiteX33" fmla="*/ 303599 w 830434"/>
                <a:gd name="connsiteY33" fmla="*/ 62010 h 169162"/>
                <a:gd name="connsiteX34" fmla="*/ 288221 w 830434"/>
                <a:gd name="connsiteY34" fmla="*/ 56553 h 169162"/>
                <a:gd name="connsiteX35" fmla="*/ 271851 w 830434"/>
                <a:gd name="connsiteY35" fmla="*/ 54569 h 169162"/>
                <a:gd name="connsiteX36" fmla="*/ 255976 w 830434"/>
                <a:gd name="connsiteY36" fmla="*/ 52088 h 169162"/>
                <a:gd name="connsiteX37" fmla="*/ 240102 w 830434"/>
                <a:gd name="connsiteY37" fmla="*/ 47624 h 169162"/>
                <a:gd name="connsiteX38" fmla="*/ 223731 w 830434"/>
                <a:gd name="connsiteY38" fmla="*/ 46135 h 169162"/>
                <a:gd name="connsiteX39" fmla="*/ 208353 w 830434"/>
                <a:gd name="connsiteY39" fmla="*/ 41174 h 169162"/>
                <a:gd name="connsiteX40" fmla="*/ 192478 w 830434"/>
                <a:gd name="connsiteY40" fmla="*/ 37702 h 169162"/>
                <a:gd name="connsiteX41" fmla="*/ 176108 w 830434"/>
                <a:gd name="connsiteY41" fmla="*/ 36214 h 169162"/>
                <a:gd name="connsiteX42" fmla="*/ 160233 w 830434"/>
                <a:gd name="connsiteY42" fmla="*/ 31253 h 169162"/>
                <a:gd name="connsiteX43" fmla="*/ 143863 w 830434"/>
                <a:gd name="connsiteY43" fmla="*/ 29765 h 169162"/>
                <a:gd name="connsiteX44" fmla="*/ 127988 w 830434"/>
                <a:gd name="connsiteY44" fmla="*/ 25300 h 169162"/>
                <a:gd name="connsiteX45" fmla="*/ 111618 w 830434"/>
                <a:gd name="connsiteY45" fmla="*/ 22820 h 169162"/>
                <a:gd name="connsiteX46" fmla="*/ 95743 w 830434"/>
                <a:gd name="connsiteY46" fmla="*/ 18851 h 169162"/>
                <a:gd name="connsiteX47" fmla="*/ 79868 w 830434"/>
                <a:gd name="connsiteY47" fmla="*/ 15874 h 169162"/>
                <a:gd name="connsiteX48" fmla="*/ 63498 w 830434"/>
                <a:gd name="connsiteY48" fmla="*/ 13394 h 169162"/>
                <a:gd name="connsiteX49" fmla="*/ 47623 w 830434"/>
                <a:gd name="connsiteY49" fmla="*/ 10914 h 169162"/>
                <a:gd name="connsiteX50" fmla="*/ 31749 w 830434"/>
                <a:gd name="connsiteY50" fmla="*/ 7441 h 169162"/>
                <a:gd name="connsiteX51" fmla="*/ 15875 w 830434"/>
                <a:gd name="connsiteY51" fmla="*/ 3473 h 169162"/>
                <a:gd name="connsiteX52" fmla="*/ 0 w 830434"/>
                <a:gd name="connsiteY52" fmla="*/ 0 h 1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30434" h="169162">
                  <a:moveTo>
                    <a:pt x="830435" y="169163"/>
                  </a:moveTo>
                  <a:cubicBezTo>
                    <a:pt x="822497" y="167674"/>
                    <a:pt x="822497" y="166682"/>
                    <a:pt x="814560" y="165194"/>
                  </a:cubicBezTo>
                  <a:cubicBezTo>
                    <a:pt x="806623" y="163706"/>
                    <a:pt x="806623" y="162714"/>
                    <a:pt x="798685" y="161225"/>
                  </a:cubicBezTo>
                  <a:cubicBezTo>
                    <a:pt x="790748" y="159737"/>
                    <a:pt x="790748" y="159737"/>
                    <a:pt x="782811" y="158249"/>
                  </a:cubicBezTo>
                  <a:cubicBezTo>
                    <a:pt x="774874" y="156761"/>
                    <a:pt x="774874" y="157753"/>
                    <a:pt x="766440" y="155769"/>
                  </a:cubicBezTo>
                  <a:cubicBezTo>
                    <a:pt x="758503" y="154280"/>
                    <a:pt x="758503" y="153288"/>
                    <a:pt x="750566" y="151304"/>
                  </a:cubicBezTo>
                  <a:cubicBezTo>
                    <a:pt x="742628" y="149816"/>
                    <a:pt x="742628" y="149816"/>
                    <a:pt x="734691" y="148327"/>
                  </a:cubicBezTo>
                  <a:cubicBezTo>
                    <a:pt x="726754" y="146839"/>
                    <a:pt x="726754" y="146839"/>
                    <a:pt x="718817" y="145351"/>
                  </a:cubicBezTo>
                  <a:cubicBezTo>
                    <a:pt x="710880" y="143863"/>
                    <a:pt x="710880" y="143367"/>
                    <a:pt x="702942" y="141878"/>
                  </a:cubicBezTo>
                  <a:cubicBezTo>
                    <a:pt x="695005" y="140390"/>
                    <a:pt x="695005" y="141382"/>
                    <a:pt x="686572" y="139398"/>
                  </a:cubicBezTo>
                  <a:cubicBezTo>
                    <a:pt x="678635" y="137910"/>
                    <a:pt x="678635" y="137910"/>
                    <a:pt x="670697" y="136421"/>
                  </a:cubicBezTo>
                  <a:cubicBezTo>
                    <a:pt x="662760" y="134933"/>
                    <a:pt x="662760" y="133445"/>
                    <a:pt x="654823" y="131957"/>
                  </a:cubicBezTo>
                  <a:cubicBezTo>
                    <a:pt x="646886" y="130469"/>
                    <a:pt x="646390" y="131957"/>
                    <a:pt x="638452" y="129972"/>
                  </a:cubicBezTo>
                  <a:cubicBezTo>
                    <a:pt x="630515" y="128484"/>
                    <a:pt x="630515" y="126996"/>
                    <a:pt x="622578" y="125508"/>
                  </a:cubicBezTo>
                  <a:cubicBezTo>
                    <a:pt x="614641" y="124019"/>
                    <a:pt x="614641" y="125012"/>
                    <a:pt x="606207" y="123027"/>
                  </a:cubicBezTo>
                  <a:cubicBezTo>
                    <a:pt x="598270" y="121539"/>
                    <a:pt x="598270" y="122035"/>
                    <a:pt x="590333" y="120547"/>
                  </a:cubicBezTo>
                  <a:cubicBezTo>
                    <a:pt x="582396" y="119059"/>
                    <a:pt x="582396" y="119059"/>
                    <a:pt x="574459" y="117570"/>
                  </a:cubicBezTo>
                  <a:cubicBezTo>
                    <a:pt x="566521" y="116082"/>
                    <a:pt x="566521" y="116082"/>
                    <a:pt x="558584" y="114098"/>
                  </a:cubicBezTo>
                  <a:cubicBezTo>
                    <a:pt x="550647" y="112610"/>
                    <a:pt x="551142" y="110625"/>
                    <a:pt x="543205" y="109137"/>
                  </a:cubicBezTo>
                  <a:cubicBezTo>
                    <a:pt x="535268" y="107649"/>
                    <a:pt x="534772" y="108641"/>
                    <a:pt x="526835" y="107153"/>
                  </a:cubicBezTo>
                  <a:cubicBezTo>
                    <a:pt x="518897" y="105665"/>
                    <a:pt x="518897" y="105169"/>
                    <a:pt x="510960" y="103184"/>
                  </a:cubicBezTo>
                  <a:cubicBezTo>
                    <a:pt x="503023" y="101200"/>
                    <a:pt x="503023" y="101696"/>
                    <a:pt x="495086" y="99712"/>
                  </a:cubicBezTo>
                  <a:cubicBezTo>
                    <a:pt x="487148" y="98223"/>
                    <a:pt x="487148" y="98720"/>
                    <a:pt x="479211" y="97231"/>
                  </a:cubicBezTo>
                  <a:cubicBezTo>
                    <a:pt x="471274" y="95743"/>
                    <a:pt x="471274" y="94255"/>
                    <a:pt x="463337" y="92767"/>
                  </a:cubicBezTo>
                  <a:cubicBezTo>
                    <a:pt x="455400" y="91278"/>
                    <a:pt x="455400" y="90782"/>
                    <a:pt x="447462" y="89294"/>
                  </a:cubicBezTo>
                  <a:cubicBezTo>
                    <a:pt x="439525" y="87806"/>
                    <a:pt x="439525" y="88302"/>
                    <a:pt x="431588" y="86814"/>
                  </a:cubicBezTo>
                  <a:cubicBezTo>
                    <a:pt x="423651" y="85325"/>
                    <a:pt x="423651" y="84829"/>
                    <a:pt x="415714" y="83341"/>
                  </a:cubicBezTo>
                  <a:cubicBezTo>
                    <a:pt x="407776" y="81853"/>
                    <a:pt x="407280" y="82845"/>
                    <a:pt x="399343" y="81357"/>
                  </a:cubicBezTo>
                  <a:cubicBezTo>
                    <a:pt x="391406" y="79869"/>
                    <a:pt x="391406" y="79869"/>
                    <a:pt x="383468" y="78380"/>
                  </a:cubicBezTo>
                  <a:cubicBezTo>
                    <a:pt x="375531" y="76892"/>
                    <a:pt x="375531" y="76396"/>
                    <a:pt x="367594" y="74908"/>
                  </a:cubicBezTo>
                  <a:cubicBezTo>
                    <a:pt x="359657" y="73420"/>
                    <a:pt x="359657" y="72427"/>
                    <a:pt x="351719" y="70939"/>
                  </a:cubicBezTo>
                  <a:cubicBezTo>
                    <a:pt x="343782" y="69451"/>
                    <a:pt x="343782" y="69451"/>
                    <a:pt x="335845" y="67467"/>
                  </a:cubicBezTo>
                  <a:cubicBezTo>
                    <a:pt x="327907" y="65978"/>
                    <a:pt x="327907" y="66474"/>
                    <a:pt x="319474" y="64986"/>
                  </a:cubicBezTo>
                  <a:cubicBezTo>
                    <a:pt x="311537" y="63498"/>
                    <a:pt x="311537" y="63994"/>
                    <a:pt x="303599" y="62010"/>
                  </a:cubicBezTo>
                  <a:cubicBezTo>
                    <a:pt x="295662" y="60521"/>
                    <a:pt x="296158" y="58041"/>
                    <a:pt x="288221" y="56553"/>
                  </a:cubicBezTo>
                  <a:cubicBezTo>
                    <a:pt x="280284" y="55065"/>
                    <a:pt x="279788" y="56553"/>
                    <a:pt x="271851" y="54569"/>
                  </a:cubicBezTo>
                  <a:cubicBezTo>
                    <a:pt x="263913" y="53080"/>
                    <a:pt x="263913" y="53576"/>
                    <a:pt x="255976" y="52088"/>
                  </a:cubicBezTo>
                  <a:cubicBezTo>
                    <a:pt x="248039" y="50600"/>
                    <a:pt x="248039" y="49112"/>
                    <a:pt x="240102" y="47624"/>
                  </a:cubicBezTo>
                  <a:cubicBezTo>
                    <a:pt x="232165" y="46135"/>
                    <a:pt x="231668" y="47624"/>
                    <a:pt x="223731" y="46135"/>
                  </a:cubicBezTo>
                  <a:cubicBezTo>
                    <a:pt x="215794" y="44647"/>
                    <a:pt x="216290" y="42663"/>
                    <a:pt x="208353" y="41174"/>
                  </a:cubicBezTo>
                  <a:cubicBezTo>
                    <a:pt x="200416" y="39686"/>
                    <a:pt x="200416" y="39190"/>
                    <a:pt x="192478" y="37702"/>
                  </a:cubicBezTo>
                  <a:cubicBezTo>
                    <a:pt x="184541" y="36214"/>
                    <a:pt x="184045" y="37702"/>
                    <a:pt x="176108" y="36214"/>
                  </a:cubicBezTo>
                  <a:cubicBezTo>
                    <a:pt x="168171" y="34725"/>
                    <a:pt x="168667" y="32741"/>
                    <a:pt x="160233" y="31253"/>
                  </a:cubicBezTo>
                  <a:cubicBezTo>
                    <a:pt x="152296" y="29765"/>
                    <a:pt x="151800" y="31253"/>
                    <a:pt x="143863" y="29765"/>
                  </a:cubicBezTo>
                  <a:cubicBezTo>
                    <a:pt x="135925" y="28276"/>
                    <a:pt x="135925" y="26788"/>
                    <a:pt x="127988" y="25300"/>
                  </a:cubicBezTo>
                  <a:cubicBezTo>
                    <a:pt x="120051" y="23812"/>
                    <a:pt x="120051" y="24308"/>
                    <a:pt x="111618" y="22820"/>
                  </a:cubicBezTo>
                  <a:cubicBezTo>
                    <a:pt x="103184" y="21331"/>
                    <a:pt x="103680" y="20339"/>
                    <a:pt x="95743" y="18851"/>
                  </a:cubicBezTo>
                  <a:cubicBezTo>
                    <a:pt x="87806" y="17363"/>
                    <a:pt x="87806" y="17363"/>
                    <a:pt x="79868" y="15874"/>
                  </a:cubicBezTo>
                  <a:cubicBezTo>
                    <a:pt x="71931" y="14386"/>
                    <a:pt x="71931" y="14882"/>
                    <a:pt x="63498" y="13394"/>
                  </a:cubicBezTo>
                  <a:cubicBezTo>
                    <a:pt x="55561" y="11906"/>
                    <a:pt x="55561" y="12402"/>
                    <a:pt x="47623" y="10914"/>
                  </a:cubicBezTo>
                  <a:cubicBezTo>
                    <a:pt x="39686" y="9426"/>
                    <a:pt x="39686" y="9426"/>
                    <a:pt x="31749" y="7441"/>
                  </a:cubicBezTo>
                  <a:cubicBezTo>
                    <a:pt x="23812" y="5953"/>
                    <a:pt x="23812" y="4961"/>
                    <a:pt x="15875" y="3473"/>
                  </a:cubicBezTo>
                  <a:cubicBezTo>
                    <a:pt x="7937" y="1984"/>
                    <a:pt x="7937" y="1488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AAB2061-F450-1554-9C13-7F8F4A65EE9A}"/>
                </a:ext>
              </a:extLst>
            </p:cNvPr>
            <p:cNvSpPr/>
            <p:nvPr/>
          </p:nvSpPr>
          <p:spPr>
            <a:xfrm>
              <a:off x="5682442" y="434564"/>
              <a:ext cx="832914" cy="554615"/>
            </a:xfrm>
            <a:custGeom>
              <a:avLst/>
              <a:gdLst>
                <a:gd name="connsiteX0" fmla="*/ 832915 w 832914"/>
                <a:gd name="connsiteY0" fmla="*/ 554615 h 554615"/>
                <a:gd name="connsiteX1" fmla="*/ 818529 w 832914"/>
                <a:gd name="connsiteY1" fmla="*/ 547174 h 554615"/>
                <a:gd name="connsiteX2" fmla="*/ 805134 w 832914"/>
                <a:gd name="connsiteY2" fmla="*/ 538245 h 554615"/>
                <a:gd name="connsiteX3" fmla="*/ 792732 w 832914"/>
                <a:gd name="connsiteY3" fmla="*/ 527827 h 554615"/>
                <a:gd name="connsiteX4" fmla="*/ 779339 w 832914"/>
                <a:gd name="connsiteY4" fmla="*/ 519394 h 554615"/>
                <a:gd name="connsiteX5" fmla="*/ 765944 w 832914"/>
                <a:gd name="connsiteY5" fmla="*/ 510960 h 554615"/>
                <a:gd name="connsiteX6" fmla="*/ 753046 w 832914"/>
                <a:gd name="connsiteY6" fmla="*/ 501039 h 554615"/>
                <a:gd name="connsiteX7" fmla="*/ 738660 w 832914"/>
                <a:gd name="connsiteY7" fmla="*/ 493598 h 554615"/>
                <a:gd name="connsiteX8" fmla="*/ 725762 w 832914"/>
                <a:gd name="connsiteY8" fmla="*/ 484172 h 554615"/>
                <a:gd name="connsiteX9" fmla="*/ 711872 w 832914"/>
                <a:gd name="connsiteY9" fmla="*/ 475739 h 554615"/>
                <a:gd name="connsiteX10" fmla="*/ 697982 w 832914"/>
                <a:gd name="connsiteY10" fmla="*/ 467305 h 554615"/>
                <a:gd name="connsiteX11" fmla="*/ 684588 w 832914"/>
                <a:gd name="connsiteY11" fmla="*/ 458376 h 554615"/>
                <a:gd name="connsiteX12" fmla="*/ 671689 w 832914"/>
                <a:gd name="connsiteY12" fmla="*/ 448454 h 554615"/>
                <a:gd name="connsiteX13" fmla="*/ 658296 w 832914"/>
                <a:gd name="connsiteY13" fmla="*/ 439525 h 554615"/>
                <a:gd name="connsiteX14" fmla="*/ 644902 w 832914"/>
                <a:gd name="connsiteY14" fmla="*/ 430596 h 554615"/>
                <a:gd name="connsiteX15" fmla="*/ 632003 w 832914"/>
                <a:gd name="connsiteY15" fmla="*/ 420674 h 554615"/>
                <a:gd name="connsiteX16" fmla="*/ 618113 w 832914"/>
                <a:gd name="connsiteY16" fmla="*/ 412241 h 554615"/>
                <a:gd name="connsiteX17" fmla="*/ 604719 w 832914"/>
                <a:gd name="connsiteY17" fmla="*/ 403311 h 554615"/>
                <a:gd name="connsiteX18" fmla="*/ 591325 w 832914"/>
                <a:gd name="connsiteY18" fmla="*/ 394382 h 554615"/>
                <a:gd name="connsiteX19" fmla="*/ 577435 w 832914"/>
                <a:gd name="connsiteY19" fmla="*/ 386445 h 554615"/>
                <a:gd name="connsiteX20" fmla="*/ 565033 w 832914"/>
                <a:gd name="connsiteY20" fmla="*/ 376027 h 554615"/>
                <a:gd name="connsiteX21" fmla="*/ 551143 w 832914"/>
                <a:gd name="connsiteY21" fmla="*/ 367594 h 554615"/>
                <a:gd name="connsiteX22" fmla="*/ 537252 w 832914"/>
                <a:gd name="connsiteY22" fmla="*/ 359160 h 554615"/>
                <a:gd name="connsiteX23" fmla="*/ 523363 w 832914"/>
                <a:gd name="connsiteY23" fmla="*/ 350727 h 554615"/>
                <a:gd name="connsiteX24" fmla="*/ 509968 w 832914"/>
                <a:gd name="connsiteY24" fmla="*/ 341798 h 554615"/>
                <a:gd name="connsiteX25" fmla="*/ 497070 w 832914"/>
                <a:gd name="connsiteY25" fmla="*/ 331876 h 554615"/>
                <a:gd name="connsiteX26" fmla="*/ 483676 w 832914"/>
                <a:gd name="connsiteY26" fmla="*/ 322947 h 554615"/>
                <a:gd name="connsiteX27" fmla="*/ 469786 w 832914"/>
                <a:gd name="connsiteY27" fmla="*/ 314513 h 554615"/>
                <a:gd name="connsiteX28" fmla="*/ 456392 w 832914"/>
                <a:gd name="connsiteY28" fmla="*/ 305584 h 554615"/>
                <a:gd name="connsiteX29" fmla="*/ 443494 w 832914"/>
                <a:gd name="connsiteY29" fmla="*/ 295662 h 554615"/>
                <a:gd name="connsiteX30" fmla="*/ 430596 w 832914"/>
                <a:gd name="connsiteY30" fmla="*/ 286237 h 554615"/>
                <a:gd name="connsiteX31" fmla="*/ 416706 w 832914"/>
                <a:gd name="connsiteY31" fmla="*/ 277804 h 554615"/>
                <a:gd name="connsiteX32" fmla="*/ 403807 w 832914"/>
                <a:gd name="connsiteY32" fmla="*/ 268378 h 554615"/>
                <a:gd name="connsiteX33" fmla="*/ 390413 w 832914"/>
                <a:gd name="connsiteY33" fmla="*/ 259449 h 554615"/>
                <a:gd name="connsiteX34" fmla="*/ 376523 w 832914"/>
                <a:gd name="connsiteY34" fmla="*/ 251015 h 554615"/>
                <a:gd name="connsiteX35" fmla="*/ 362137 w 832914"/>
                <a:gd name="connsiteY35" fmla="*/ 243574 h 554615"/>
                <a:gd name="connsiteX36" fmla="*/ 348743 w 832914"/>
                <a:gd name="connsiteY36" fmla="*/ 234645 h 554615"/>
                <a:gd name="connsiteX37" fmla="*/ 335845 w 832914"/>
                <a:gd name="connsiteY37" fmla="*/ 224723 h 554615"/>
                <a:gd name="connsiteX38" fmla="*/ 322947 w 832914"/>
                <a:gd name="connsiteY38" fmla="*/ 215298 h 554615"/>
                <a:gd name="connsiteX39" fmla="*/ 308561 w 832914"/>
                <a:gd name="connsiteY39" fmla="*/ 207857 h 554615"/>
                <a:gd name="connsiteX40" fmla="*/ 295663 w 832914"/>
                <a:gd name="connsiteY40" fmla="*/ 197935 h 554615"/>
                <a:gd name="connsiteX41" fmla="*/ 281276 w 832914"/>
                <a:gd name="connsiteY41" fmla="*/ 189998 h 554615"/>
                <a:gd name="connsiteX42" fmla="*/ 268874 w 832914"/>
                <a:gd name="connsiteY42" fmla="*/ 179580 h 554615"/>
                <a:gd name="connsiteX43" fmla="*/ 254488 w 832914"/>
                <a:gd name="connsiteY43" fmla="*/ 172139 h 554615"/>
                <a:gd name="connsiteX44" fmla="*/ 240598 w 832914"/>
                <a:gd name="connsiteY44" fmla="*/ 163706 h 554615"/>
                <a:gd name="connsiteX45" fmla="*/ 228196 w 832914"/>
                <a:gd name="connsiteY45" fmla="*/ 153288 h 554615"/>
                <a:gd name="connsiteX46" fmla="*/ 214306 w 832914"/>
                <a:gd name="connsiteY46" fmla="*/ 144855 h 554615"/>
                <a:gd name="connsiteX47" fmla="*/ 201408 w 832914"/>
                <a:gd name="connsiteY47" fmla="*/ 134933 h 554615"/>
                <a:gd name="connsiteX48" fmla="*/ 188013 w 832914"/>
                <a:gd name="connsiteY48" fmla="*/ 125508 h 554615"/>
                <a:gd name="connsiteX49" fmla="*/ 173628 w 832914"/>
                <a:gd name="connsiteY49" fmla="*/ 118067 h 554615"/>
                <a:gd name="connsiteX50" fmla="*/ 160729 w 832914"/>
                <a:gd name="connsiteY50" fmla="*/ 108641 h 554615"/>
                <a:gd name="connsiteX51" fmla="*/ 147335 w 832914"/>
                <a:gd name="connsiteY51" fmla="*/ 99216 h 554615"/>
                <a:gd name="connsiteX52" fmla="*/ 133445 w 832914"/>
                <a:gd name="connsiteY52" fmla="*/ 91278 h 554615"/>
                <a:gd name="connsiteX53" fmla="*/ 121043 w 832914"/>
                <a:gd name="connsiteY53" fmla="*/ 80861 h 554615"/>
                <a:gd name="connsiteX54" fmla="*/ 107649 w 832914"/>
                <a:gd name="connsiteY54" fmla="*/ 71931 h 554615"/>
                <a:gd name="connsiteX55" fmla="*/ 93263 w 832914"/>
                <a:gd name="connsiteY55" fmla="*/ 63994 h 554615"/>
                <a:gd name="connsiteX56" fmla="*/ 79869 w 832914"/>
                <a:gd name="connsiteY56" fmla="*/ 55065 h 554615"/>
                <a:gd name="connsiteX57" fmla="*/ 66475 w 832914"/>
                <a:gd name="connsiteY57" fmla="*/ 46135 h 554615"/>
                <a:gd name="connsiteX58" fmla="*/ 53080 w 832914"/>
                <a:gd name="connsiteY58" fmla="*/ 37206 h 554615"/>
                <a:gd name="connsiteX59" fmla="*/ 39190 w 832914"/>
                <a:gd name="connsiteY59" fmla="*/ 28773 h 554615"/>
                <a:gd name="connsiteX60" fmla="*/ 26788 w 832914"/>
                <a:gd name="connsiteY60" fmla="*/ 18355 h 554615"/>
                <a:gd name="connsiteX61" fmla="*/ 13394 w 832914"/>
                <a:gd name="connsiteY61" fmla="*/ 8929 h 554615"/>
                <a:gd name="connsiteX62" fmla="*/ 0 w 832914"/>
                <a:gd name="connsiteY62" fmla="*/ 0 h 55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32914" h="554615">
                  <a:moveTo>
                    <a:pt x="832915" y="554615"/>
                  </a:moveTo>
                  <a:cubicBezTo>
                    <a:pt x="825970" y="550150"/>
                    <a:pt x="824978" y="551639"/>
                    <a:pt x="818529" y="547174"/>
                  </a:cubicBezTo>
                  <a:cubicBezTo>
                    <a:pt x="811584" y="542709"/>
                    <a:pt x="812080" y="542709"/>
                    <a:pt x="805134" y="538245"/>
                  </a:cubicBezTo>
                  <a:cubicBezTo>
                    <a:pt x="798189" y="533780"/>
                    <a:pt x="799182" y="532292"/>
                    <a:pt x="792732" y="527827"/>
                  </a:cubicBezTo>
                  <a:cubicBezTo>
                    <a:pt x="785787" y="523362"/>
                    <a:pt x="785787" y="523858"/>
                    <a:pt x="779339" y="519394"/>
                  </a:cubicBezTo>
                  <a:cubicBezTo>
                    <a:pt x="772393" y="514929"/>
                    <a:pt x="772393" y="515425"/>
                    <a:pt x="765944" y="510960"/>
                  </a:cubicBezTo>
                  <a:cubicBezTo>
                    <a:pt x="759000" y="506496"/>
                    <a:pt x="759991" y="505503"/>
                    <a:pt x="753046" y="501039"/>
                  </a:cubicBezTo>
                  <a:cubicBezTo>
                    <a:pt x="746101" y="496574"/>
                    <a:pt x="745605" y="498062"/>
                    <a:pt x="738660" y="493598"/>
                  </a:cubicBezTo>
                  <a:cubicBezTo>
                    <a:pt x="731715" y="489133"/>
                    <a:pt x="732211" y="488637"/>
                    <a:pt x="725762" y="484172"/>
                  </a:cubicBezTo>
                  <a:cubicBezTo>
                    <a:pt x="718817" y="479707"/>
                    <a:pt x="718817" y="480203"/>
                    <a:pt x="711872" y="475739"/>
                  </a:cubicBezTo>
                  <a:cubicBezTo>
                    <a:pt x="704927" y="471274"/>
                    <a:pt x="704927" y="471770"/>
                    <a:pt x="697982" y="467305"/>
                  </a:cubicBezTo>
                  <a:cubicBezTo>
                    <a:pt x="691037" y="462841"/>
                    <a:pt x="691037" y="462841"/>
                    <a:pt x="684588" y="458376"/>
                  </a:cubicBezTo>
                  <a:cubicBezTo>
                    <a:pt x="677643" y="453911"/>
                    <a:pt x="678635" y="452919"/>
                    <a:pt x="671689" y="448454"/>
                  </a:cubicBezTo>
                  <a:cubicBezTo>
                    <a:pt x="664745" y="443990"/>
                    <a:pt x="664745" y="443990"/>
                    <a:pt x="658296" y="439525"/>
                  </a:cubicBezTo>
                  <a:cubicBezTo>
                    <a:pt x="651350" y="435060"/>
                    <a:pt x="651350" y="435060"/>
                    <a:pt x="644902" y="430596"/>
                  </a:cubicBezTo>
                  <a:cubicBezTo>
                    <a:pt x="637956" y="426131"/>
                    <a:pt x="638948" y="425139"/>
                    <a:pt x="632003" y="420674"/>
                  </a:cubicBezTo>
                  <a:cubicBezTo>
                    <a:pt x="625059" y="416209"/>
                    <a:pt x="625059" y="416706"/>
                    <a:pt x="618113" y="412241"/>
                  </a:cubicBezTo>
                  <a:cubicBezTo>
                    <a:pt x="611168" y="407776"/>
                    <a:pt x="611168" y="407776"/>
                    <a:pt x="604719" y="403311"/>
                  </a:cubicBezTo>
                  <a:cubicBezTo>
                    <a:pt x="597774" y="398847"/>
                    <a:pt x="598270" y="398847"/>
                    <a:pt x="591325" y="394382"/>
                  </a:cubicBezTo>
                  <a:cubicBezTo>
                    <a:pt x="584380" y="389917"/>
                    <a:pt x="583884" y="390909"/>
                    <a:pt x="577435" y="386445"/>
                  </a:cubicBezTo>
                  <a:cubicBezTo>
                    <a:pt x="570490" y="381980"/>
                    <a:pt x="571482" y="380492"/>
                    <a:pt x="565033" y="376027"/>
                  </a:cubicBezTo>
                  <a:cubicBezTo>
                    <a:pt x="558088" y="371562"/>
                    <a:pt x="558088" y="372058"/>
                    <a:pt x="551143" y="367594"/>
                  </a:cubicBezTo>
                  <a:cubicBezTo>
                    <a:pt x="544198" y="363129"/>
                    <a:pt x="544198" y="363625"/>
                    <a:pt x="537252" y="359160"/>
                  </a:cubicBezTo>
                  <a:cubicBezTo>
                    <a:pt x="530307" y="354696"/>
                    <a:pt x="530307" y="355192"/>
                    <a:pt x="523363" y="350727"/>
                  </a:cubicBezTo>
                  <a:cubicBezTo>
                    <a:pt x="516417" y="346262"/>
                    <a:pt x="516417" y="346262"/>
                    <a:pt x="509968" y="341798"/>
                  </a:cubicBezTo>
                  <a:cubicBezTo>
                    <a:pt x="503023" y="337333"/>
                    <a:pt x="504015" y="336341"/>
                    <a:pt x="497070" y="331876"/>
                  </a:cubicBezTo>
                  <a:cubicBezTo>
                    <a:pt x="490125" y="327411"/>
                    <a:pt x="490125" y="327411"/>
                    <a:pt x="483676" y="322947"/>
                  </a:cubicBezTo>
                  <a:cubicBezTo>
                    <a:pt x="476731" y="318482"/>
                    <a:pt x="476731" y="318978"/>
                    <a:pt x="469786" y="314513"/>
                  </a:cubicBezTo>
                  <a:cubicBezTo>
                    <a:pt x="462841" y="310049"/>
                    <a:pt x="463337" y="310049"/>
                    <a:pt x="456392" y="305584"/>
                  </a:cubicBezTo>
                  <a:cubicBezTo>
                    <a:pt x="449447" y="301119"/>
                    <a:pt x="450439" y="300127"/>
                    <a:pt x="443494" y="295662"/>
                  </a:cubicBezTo>
                  <a:cubicBezTo>
                    <a:pt x="436549" y="291198"/>
                    <a:pt x="437045" y="290702"/>
                    <a:pt x="430596" y="286237"/>
                  </a:cubicBezTo>
                  <a:cubicBezTo>
                    <a:pt x="423650" y="281772"/>
                    <a:pt x="423650" y="282268"/>
                    <a:pt x="416706" y="277804"/>
                  </a:cubicBezTo>
                  <a:cubicBezTo>
                    <a:pt x="409761" y="273339"/>
                    <a:pt x="410257" y="272843"/>
                    <a:pt x="403807" y="268378"/>
                  </a:cubicBezTo>
                  <a:cubicBezTo>
                    <a:pt x="396863" y="263913"/>
                    <a:pt x="396863" y="263913"/>
                    <a:pt x="390413" y="259449"/>
                  </a:cubicBezTo>
                  <a:cubicBezTo>
                    <a:pt x="383468" y="254984"/>
                    <a:pt x="383468" y="255480"/>
                    <a:pt x="376523" y="251015"/>
                  </a:cubicBezTo>
                  <a:cubicBezTo>
                    <a:pt x="369578" y="246551"/>
                    <a:pt x="369082" y="248039"/>
                    <a:pt x="362137" y="243574"/>
                  </a:cubicBezTo>
                  <a:cubicBezTo>
                    <a:pt x="355192" y="239110"/>
                    <a:pt x="355688" y="239110"/>
                    <a:pt x="348743" y="234645"/>
                  </a:cubicBezTo>
                  <a:cubicBezTo>
                    <a:pt x="341798" y="230180"/>
                    <a:pt x="342790" y="229188"/>
                    <a:pt x="335845" y="224723"/>
                  </a:cubicBezTo>
                  <a:cubicBezTo>
                    <a:pt x="328900" y="220259"/>
                    <a:pt x="329396" y="219763"/>
                    <a:pt x="322947" y="215298"/>
                  </a:cubicBezTo>
                  <a:cubicBezTo>
                    <a:pt x="316002" y="210833"/>
                    <a:pt x="315506" y="212321"/>
                    <a:pt x="308561" y="207857"/>
                  </a:cubicBezTo>
                  <a:cubicBezTo>
                    <a:pt x="301615" y="203392"/>
                    <a:pt x="302608" y="202400"/>
                    <a:pt x="295663" y="197935"/>
                  </a:cubicBezTo>
                  <a:cubicBezTo>
                    <a:pt x="288717" y="193470"/>
                    <a:pt x="288221" y="194463"/>
                    <a:pt x="281276" y="189998"/>
                  </a:cubicBezTo>
                  <a:cubicBezTo>
                    <a:pt x="274331" y="185533"/>
                    <a:pt x="275820" y="184045"/>
                    <a:pt x="268874" y="179580"/>
                  </a:cubicBezTo>
                  <a:cubicBezTo>
                    <a:pt x="261929" y="175116"/>
                    <a:pt x="261433" y="176604"/>
                    <a:pt x="254488" y="172139"/>
                  </a:cubicBezTo>
                  <a:cubicBezTo>
                    <a:pt x="247543" y="167674"/>
                    <a:pt x="247543" y="168170"/>
                    <a:pt x="240598" y="163706"/>
                  </a:cubicBezTo>
                  <a:cubicBezTo>
                    <a:pt x="233653" y="159241"/>
                    <a:pt x="234645" y="157753"/>
                    <a:pt x="228196" y="153288"/>
                  </a:cubicBezTo>
                  <a:cubicBezTo>
                    <a:pt x="221251" y="148823"/>
                    <a:pt x="221251" y="149319"/>
                    <a:pt x="214306" y="144855"/>
                  </a:cubicBezTo>
                  <a:cubicBezTo>
                    <a:pt x="207361" y="140390"/>
                    <a:pt x="208353" y="139398"/>
                    <a:pt x="201408" y="134933"/>
                  </a:cubicBezTo>
                  <a:cubicBezTo>
                    <a:pt x="194463" y="130469"/>
                    <a:pt x="194959" y="129972"/>
                    <a:pt x="188013" y="125508"/>
                  </a:cubicBezTo>
                  <a:cubicBezTo>
                    <a:pt x="181069" y="121043"/>
                    <a:pt x="180076" y="122531"/>
                    <a:pt x="173628" y="118067"/>
                  </a:cubicBezTo>
                  <a:cubicBezTo>
                    <a:pt x="166682" y="113602"/>
                    <a:pt x="167178" y="113106"/>
                    <a:pt x="160729" y="108641"/>
                  </a:cubicBezTo>
                  <a:cubicBezTo>
                    <a:pt x="153784" y="104176"/>
                    <a:pt x="154280" y="103680"/>
                    <a:pt x="147335" y="99216"/>
                  </a:cubicBezTo>
                  <a:cubicBezTo>
                    <a:pt x="140390" y="94751"/>
                    <a:pt x="139894" y="95743"/>
                    <a:pt x="133445" y="91278"/>
                  </a:cubicBezTo>
                  <a:cubicBezTo>
                    <a:pt x="126500" y="86814"/>
                    <a:pt x="127492" y="85325"/>
                    <a:pt x="121043" y="80861"/>
                  </a:cubicBezTo>
                  <a:cubicBezTo>
                    <a:pt x="114098" y="76396"/>
                    <a:pt x="114098" y="76396"/>
                    <a:pt x="107649" y="71931"/>
                  </a:cubicBezTo>
                  <a:cubicBezTo>
                    <a:pt x="100704" y="67467"/>
                    <a:pt x="100208" y="68459"/>
                    <a:pt x="93263" y="63994"/>
                  </a:cubicBezTo>
                  <a:cubicBezTo>
                    <a:pt x="86318" y="59529"/>
                    <a:pt x="86814" y="59529"/>
                    <a:pt x="79869" y="55065"/>
                  </a:cubicBezTo>
                  <a:cubicBezTo>
                    <a:pt x="72924" y="50600"/>
                    <a:pt x="73419" y="50600"/>
                    <a:pt x="66475" y="46135"/>
                  </a:cubicBezTo>
                  <a:cubicBezTo>
                    <a:pt x="59529" y="41671"/>
                    <a:pt x="59529" y="41671"/>
                    <a:pt x="53080" y="37206"/>
                  </a:cubicBezTo>
                  <a:cubicBezTo>
                    <a:pt x="46135" y="32741"/>
                    <a:pt x="46135" y="33237"/>
                    <a:pt x="39190" y="28773"/>
                  </a:cubicBezTo>
                  <a:cubicBezTo>
                    <a:pt x="32245" y="24308"/>
                    <a:pt x="33237" y="22820"/>
                    <a:pt x="26788" y="18355"/>
                  </a:cubicBezTo>
                  <a:cubicBezTo>
                    <a:pt x="19843" y="13890"/>
                    <a:pt x="20339" y="13394"/>
                    <a:pt x="13394" y="8929"/>
                  </a:cubicBezTo>
                  <a:cubicBezTo>
                    <a:pt x="6449" y="4465"/>
                    <a:pt x="6945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F8B48D8F-7E89-0D67-961B-FDBD6301A7B5}"/>
                </a:ext>
              </a:extLst>
            </p:cNvPr>
            <p:cNvSpPr/>
            <p:nvPr/>
          </p:nvSpPr>
          <p:spPr>
            <a:xfrm>
              <a:off x="6317422" y="443989"/>
              <a:ext cx="313521" cy="445974"/>
            </a:xfrm>
            <a:custGeom>
              <a:avLst/>
              <a:gdLst>
                <a:gd name="connsiteX0" fmla="*/ 313521 w 313521"/>
                <a:gd name="connsiteY0" fmla="*/ 445974 h 445974"/>
                <a:gd name="connsiteX1" fmla="*/ 304095 w 313521"/>
                <a:gd name="connsiteY1" fmla="*/ 433076 h 445974"/>
                <a:gd name="connsiteX2" fmla="*/ 294670 w 313521"/>
                <a:gd name="connsiteY2" fmla="*/ 420178 h 445974"/>
                <a:gd name="connsiteX3" fmla="*/ 286237 w 313521"/>
                <a:gd name="connsiteY3" fmla="*/ 406288 h 445974"/>
                <a:gd name="connsiteX4" fmla="*/ 276811 w 313521"/>
                <a:gd name="connsiteY4" fmla="*/ 393390 h 445974"/>
                <a:gd name="connsiteX5" fmla="*/ 267386 w 313521"/>
                <a:gd name="connsiteY5" fmla="*/ 380492 h 445974"/>
                <a:gd name="connsiteX6" fmla="*/ 256968 w 313521"/>
                <a:gd name="connsiteY6" fmla="*/ 368090 h 445974"/>
                <a:gd name="connsiteX7" fmla="*/ 247542 w 313521"/>
                <a:gd name="connsiteY7" fmla="*/ 354696 h 445974"/>
                <a:gd name="connsiteX8" fmla="*/ 238117 w 313521"/>
                <a:gd name="connsiteY8" fmla="*/ 341798 h 445974"/>
                <a:gd name="connsiteX9" fmla="*/ 228692 w 313521"/>
                <a:gd name="connsiteY9" fmla="*/ 328900 h 445974"/>
                <a:gd name="connsiteX10" fmla="*/ 219762 w 313521"/>
                <a:gd name="connsiteY10" fmla="*/ 315506 h 445974"/>
                <a:gd name="connsiteX11" fmla="*/ 210337 w 313521"/>
                <a:gd name="connsiteY11" fmla="*/ 302608 h 445974"/>
                <a:gd name="connsiteX12" fmla="*/ 201408 w 313521"/>
                <a:gd name="connsiteY12" fmla="*/ 289213 h 445974"/>
                <a:gd name="connsiteX13" fmla="*/ 193470 w 313521"/>
                <a:gd name="connsiteY13" fmla="*/ 275323 h 445974"/>
                <a:gd name="connsiteX14" fmla="*/ 182556 w 313521"/>
                <a:gd name="connsiteY14" fmla="*/ 263417 h 445974"/>
                <a:gd name="connsiteX15" fmla="*/ 173627 w 313521"/>
                <a:gd name="connsiteY15" fmla="*/ 250023 h 445974"/>
                <a:gd name="connsiteX16" fmla="*/ 164202 w 313521"/>
                <a:gd name="connsiteY16" fmla="*/ 237125 h 445974"/>
                <a:gd name="connsiteX17" fmla="*/ 156265 w 313521"/>
                <a:gd name="connsiteY17" fmla="*/ 223235 h 445974"/>
                <a:gd name="connsiteX18" fmla="*/ 145846 w 313521"/>
                <a:gd name="connsiteY18" fmla="*/ 210833 h 445974"/>
                <a:gd name="connsiteX19" fmla="*/ 136421 w 313521"/>
                <a:gd name="connsiteY19" fmla="*/ 197935 h 445974"/>
                <a:gd name="connsiteX20" fmla="*/ 128484 w 313521"/>
                <a:gd name="connsiteY20" fmla="*/ 184045 h 445974"/>
                <a:gd name="connsiteX21" fmla="*/ 119555 w 313521"/>
                <a:gd name="connsiteY21" fmla="*/ 170651 h 445974"/>
                <a:gd name="connsiteX22" fmla="*/ 110625 w 313521"/>
                <a:gd name="connsiteY22" fmla="*/ 157257 h 445974"/>
                <a:gd name="connsiteX23" fmla="*/ 100208 w 313521"/>
                <a:gd name="connsiteY23" fmla="*/ 144855 h 445974"/>
                <a:gd name="connsiteX24" fmla="*/ 91774 w 313521"/>
                <a:gd name="connsiteY24" fmla="*/ 131461 h 445974"/>
                <a:gd name="connsiteX25" fmla="*/ 82845 w 313521"/>
                <a:gd name="connsiteY25" fmla="*/ 118067 h 445974"/>
                <a:gd name="connsiteX26" fmla="*/ 73419 w 313521"/>
                <a:gd name="connsiteY26" fmla="*/ 105169 h 445974"/>
                <a:gd name="connsiteX27" fmla="*/ 63498 w 313521"/>
                <a:gd name="connsiteY27" fmla="*/ 92767 h 445974"/>
                <a:gd name="connsiteX28" fmla="*/ 54072 w 313521"/>
                <a:gd name="connsiteY28" fmla="*/ 79869 h 445974"/>
                <a:gd name="connsiteX29" fmla="*/ 45639 w 313521"/>
                <a:gd name="connsiteY29" fmla="*/ 65978 h 445974"/>
                <a:gd name="connsiteX30" fmla="*/ 35221 w 313521"/>
                <a:gd name="connsiteY30" fmla="*/ 53576 h 445974"/>
                <a:gd name="connsiteX31" fmla="*/ 26292 w 313521"/>
                <a:gd name="connsiteY31" fmla="*/ 40182 h 445974"/>
                <a:gd name="connsiteX32" fmla="*/ 18355 w 313521"/>
                <a:gd name="connsiteY32" fmla="*/ 26292 h 445974"/>
                <a:gd name="connsiteX33" fmla="*/ 7441 w 313521"/>
                <a:gd name="connsiteY33" fmla="*/ 14386 h 445974"/>
                <a:gd name="connsiteX34" fmla="*/ 0 w 313521"/>
                <a:gd name="connsiteY34" fmla="*/ 0 h 44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3521" h="445974">
                  <a:moveTo>
                    <a:pt x="313521" y="445974"/>
                  </a:moveTo>
                  <a:cubicBezTo>
                    <a:pt x="309056" y="439525"/>
                    <a:pt x="308560" y="439525"/>
                    <a:pt x="304095" y="433076"/>
                  </a:cubicBezTo>
                  <a:cubicBezTo>
                    <a:pt x="299631" y="426627"/>
                    <a:pt x="299135" y="426627"/>
                    <a:pt x="294670" y="420178"/>
                  </a:cubicBezTo>
                  <a:cubicBezTo>
                    <a:pt x="290206" y="413729"/>
                    <a:pt x="291198" y="412737"/>
                    <a:pt x="286237" y="406288"/>
                  </a:cubicBezTo>
                  <a:cubicBezTo>
                    <a:pt x="281772" y="399839"/>
                    <a:pt x="281276" y="399839"/>
                    <a:pt x="276811" y="393390"/>
                  </a:cubicBezTo>
                  <a:cubicBezTo>
                    <a:pt x="272346" y="386941"/>
                    <a:pt x="271850" y="386941"/>
                    <a:pt x="267386" y="380492"/>
                  </a:cubicBezTo>
                  <a:cubicBezTo>
                    <a:pt x="262921" y="374043"/>
                    <a:pt x="261433" y="375035"/>
                    <a:pt x="256968" y="368090"/>
                  </a:cubicBezTo>
                  <a:cubicBezTo>
                    <a:pt x="252503" y="361641"/>
                    <a:pt x="252503" y="361641"/>
                    <a:pt x="247542" y="354696"/>
                  </a:cubicBezTo>
                  <a:cubicBezTo>
                    <a:pt x="243078" y="348247"/>
                    <a:pt x="243078" y="348247"/>
                    <a:pt x="238117" y="341798"/>
                  </a:cubicBezTo>
                  <a:cubicBezTo>
                    <a:pt x="233653" y="335349"/>
                    <a:pt x="233653" y="335349"/>
                    <a:pt x="228692" y="328900"/>
                  </a:cubicBezTo>
                  <a:cubicBezTo>
                    <a:pt x="224227" y="322451"/>
                    <a:pt x="224723" y="321955"/>
                    <a:pt x="219762" y="315506"/>
                  </a:cubicBezTo>
                  <a:cubicBezTo>
                    <a:pt x="215297" y="309057"/>
                    <a:pt x="215297" y="309057"/>
                    <a:pt x="210337" y="302608"/>
                  </a:cubicBezTo>
                  <a:cubicBezTo>
                    <a:pt x="205872" y="296159"/>
                    <a:pt x="205872" y="296159"/>
                    <a:pt x="201408" y="289213"/>
                  </a:cubicBezTo>
                  <a:cubicBezTo>
                    <a:pt x="196943" y="282764"/>
                    <a:pt x="198431" y="281772"/>
                    <a:pt x="193470" y="275323"/>
                  </a:cubicBezTo>
                  <a:cubicBezTo>
                    <a:pt x="189006" y="268874"/>
                    <a:pt x="187021" y="269866"/>
                    <a:pt x="182556" y="263417"/>
                  </a:cubicBezTo>
                  <a:cubicBezTo>
                    <a:pt x="178091" y="256968"/>
                    <a:pt x="178091" y="256968"/>
                    <a:pt x="173627" y="250023"/>
                  </a:cubicBezTo>
                  <a:cubicBezTo>
                    <a:pt x="169162" y="243574"/>
                    <a:pt x="169162" y="243574"/>
                    <a:pt x="164202" y="237125"/>
                  </a:cubicBezTo>
                  <a:cubicBezTo>
                    <a:pt x="159737" y="230676"/>
                    <a:pt x="160729" y="229684"/>
                    <a:pt x="156265" y="223235"/>
                  </a:cubicBezTo>
                  <a:cubicBezTo>
                    <a:pt x="151800" y="216786"/>
                    <a:pt x="150807" y="217282"/>
                    <a:pt x="145846" y="210833"/>
                  </a:cubicBezTo>
                  <a:cubicBezTo>
                    <a:pt x="141382" y="204384"/>
                    <a:pt x="140886" y="204384"/>
                    <a:pt x="136421" y="197935"/>
                  </a:cubicBezTo>
                  <a:cubicBezTo>
                    <a:pt x="131957" y="191486"/>
                    <a:pt x="132949" y="190494"/>
                    <a:pt x="128484" y="184045"/>
                  </a:cubicBezTo>
                  <a:cubicBezTo>
                    <a:pt x="124019" y="177596"/>
                    <a:pt x="124019" y="177596"/>
                    <a:pt x="119555" y="170651"/>
                  </a:cubicBezTo>
                  <a:cubicBezTo>
                    <a:pt x="115090" y="164202"/>
                    <a:pt x="115586" y="163706"/>
                    <a:pt x="110625" y="157257"/>
                  </a:cubicBezTo>
                  <a:cubicBezTo>
                    <a:pt x="106160" y="150808"/>
                    <a:pt x="105168" y="151304"/>
                    <a:pt x="100208" y="144855"/>
                  </a:cubicBezTo>
                  <a:cubicBezTo>
                    <a:pt x="95743" y="138406"/>
                    <a:pt x="96239" y="137910"/>
                    <a:pt x="91774" y="131461"/>
                  </a:cubicBezTo>
                  <a:cubicBezTo>
                    <a:pt x="87310" y="125012"/>
                    <a:pt x="87310" y="124516"/>
                    <a:pt x="82845" y="118067"/>
                  </a:cubicBezTo>
                  <a:cubicBezTo>
                    <a:pt x="78380" y="111618"/>
                    <a:pt x="77884" y="111618"/>
                    <a:pt x="73419" y="105169"/>
                  </a:cubicBezTo>
                  <a:cubicBezTo>
                    <a:pt x="68954" y="98720"/>
                    <a:pt x="67962" y="99216"/>
                    <a:pt x="63498" y="92767"/>
                  </a:cubicBezTo>
                  <a:cubicBezTo>
                    <a:pt x="59033" y="86318"/>
                    <a:pt x="59033" y="86318"/>
                    <a:pt x="54072" y="79869"/>
                  </a:cubicBezTo>
                  <a:cubicBezTo>
                    <a:pt x="49608" y="73420"/>
                    <a:pt x="50104" y="72923"/>
                    <a:pt x="45639" y="65978"/>
                  </a:cubicBezTo>
                  <a:cubicBezTo>
                    <a:pt x="41174" y="59529"/>
                    <a:pt x="40182" y="60025"/>
                    <a:pt x="35221" y="53576"/>
                  </a:cubicBezTo>
                  <a:cubicBezTo>
                    <a:pt x="30757" y="47127"/>
                    <a:pt x="31253" y="46631"/>
                    <a:pt x="26292" y="40182"/>
                  </a:cubicBezTo>
                  <a:cubicBezTo>
                    <a:pt x="21827" y="33733"/>
                    <a:pt x="22819" y="32741"/>
                    <a:pt x="18355" y="26292"/>
                  </a:cubicBezTo>
                  <a:cubicBezTo>
                    <a:pt x="13890" y="19843"/>
                    <a:pt x="11905" y="20835"/>
                    <a:pt x="7441" y="14386"/>
                  </a:cubicBezTo>
                  <a:cubicBezTo>
                    <a:pt x="2976" y="7937"/>
                    <a:pt x="4464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EB4464BF-98E0-9E26-2502-648CB4AD8636}"/>
                </a:ext>
              </a:extLst>
            </p:cNvPr>
            <p:cNvSpPr/>
            <p:nvPr/>
          </p:nvSpPr>
          <p:spPr>
            <a:xfrm>
              <a:off x="6628463" y="471770"/>
              <a:ext cx="126499" cy="351719"/>
            </a:xfrm>
            <a:custGeom>
              <a:avLst/>
              <a:gdLst>
                <a:gd name="connsiteX0" fmla="*/ 126500 w 126499"/>
                <a:gd name="connsiteY0" fmla="*/ 351719 h 351719"/>
                <a:gd name="connsiteX1" fmla="*/ 121043 w 126499"/>
                <a:gd name="connsiteY1" fmla="*/ 336341 h 351719"/>
                <a:gd name="connsiteX2" fmla="*/ 115586 w 126499"/>
                <a:gd name="connsiteY2" fmla="*/ 320962 h 351719"/>
                <a:gd name="connsiteX3" fmla="*/ 108641 w 126499"/>
                <a:gd name="connsiteY3" fmla="*/ 306080 h 351719"/>
                <a:gd name="connsiteX4" fmla="*/ 103184 w 126499"/>
                <a:gd name="connsiteY4" fmla="*/ 290702 h 351719"/>
                <a:gd name="connsiteX5" fmla="*/ 98720 w 126499"/>
                <a:gd name="connsiteY5" fmla="*/ 274827 h 351719"/>
                <a:gd name="connsiteX6" fmla="*/ 92270 w 126499"/>
                <a:gd name="connsiteY6" fmla="*/ 259945 h 351719"/>
                <a:gd name="connsiteX7" fmla="*/ 87310 w 126499"/>
                <a:gd name="connsiteY7" fmla="*/ 244566 h 351719"/>
                <a:gd name="connsiteX8" fmla="*/ 83341 w 126499"/>
                <a:gd name="connsiteY8" fmla="*/ 228692 h 351719"/>
                <a:gd name="connsiteX9" fmla="*/ 77388 w 126499"/>
                <a:gd name="connsiteY9" fmla="*/ 213810 h 351719"/>
                <a:gd name="connsiteX10" fmla="*/ 71931 w 126499"/>
                <a:gd name="connsiteY10" fmla="*/ 198431 h 351719"/>
                <a:gd name="connsiteX11" fmla="*/ 67466 w 126499"/>
                <a:gd name="connsiteY11" fmla="*/ 183053 h 351719"/>
                <a:gd name="connsiteX12" fmla="*/ 61514 w 126499"/>
                <a:gd name="connsiteY12" fmla="*/ 168170 h 351719"/>
                <a:gd name="connsiteX13" fmla="*/ 56057 w 126499"/>
                <a:gd name="connsiteY13" fmla="*/ 152792 h 351719"/>
                <a:gd name="connsiteX14" fmla="*/ 50600 w 126499"/>
                <a:gd name="connsiteY14" fmla="*/ 137414 h 351719"/>
                <a:gd name="connsiteX15" fmla="*/ 45639 w 126499"/>
                <a:gd name="connsiteY15" fmla="*/ 122035 h 351719"/>
                <a:gd name="connsiteX16" fmla="*/ 39190 w 126499"/>
                <a:gd name="connsiteY16" fmla="*/ 107153 h 351719"/>
                <a:gd name="connsiteX17" fmla="*/ 33237 w 126499"/>
                <a:gd name="connsiteY17" fmla="*/ 91774 h 351719"/>
                <a:gd name="connsiteX18" fmla="*/ 29269 w 126499"/>
                <a:gd name="connsiteY18" fmla="*/ 75900 h 351719"/>
                <a:gd name="connsiteX19" fmla="*/ 23315 w 126499"/>
                <a:gd name="connsiteY19" fmla="*/ 60522 h 351719"/>
                <a:gd name="connsiteX20" fmla="*/ 17363 w 126499"/>
                <a:gd name="connsiteY20" fmla="*/ 45639 h 351719"/>
                <a:gd name="connsiteX21" fmla="*/ 11906 w 126499"/>
                <a:gd name="connsiteY21" fmla="*/ 30261 h 351719"/>
                <a:gd name="connsiteX22" fmla="*/ 5953 w 126499"/>
                <a:gd name="connsiteY22" fmla="*/ 14882 h 351719"/>
                <a:gd name="connsiteX23" fmla="*/ 0 w 126499"/>
                <a:gd name="connsiteY23" fmla="*/ 0 h 35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499" h="351719">
                  <a:moveTo>
                    <a:pt x="126500" y="351719"/>
                  </a:moveTo>
                  <a:cubicBezTo>
                    <a:pt x="124019" y="344278"/>
                    <a:pt x="123524" y="344278"/>
                    <a:pt x="121043" y="336341"/>
                  </a:cubicBezTo>
                  <a:cubicBezTo>
                    <a:pt x="118563" y="328900"/>
                    <a:pt x="118067" y="328900"/>
                    <a:pt x="115586" y="320962"/>
                  </a:cubicBezTo>
                  <a:cubicBezTo>
                    <a:pt x="113106" y="313521"/>
                    <a:pt x="111122" y="314017"/>
                    <a:pt x="108641" y="306080"/>
                  </a:cubicBezTo>
                  <a:cubicBezTo>
                    <a:pt x="106161" y="298639"/>
                    <a:pt x="105665" y="298639"/>
                    <a:pt x="103184" y="290702"/>
                  </a:cubicBezTo>
                  <a:cubicBezTo>
                    <a:pt x="100704" y="283260"/>
                    <a:pt x="101696" y="282764"/>
                    <a:pt x="98720" y="274827"/>
                  </a:cubicBezTo>
                  <a:cubicBezTo>
                    <a:pt x="96239" y="267386"/>
                    <a:pt x="94751" y="267386"/>
                    <a:pt x="92270" y="259945"/>
                  </a:cubicBezTo>
                  <a:cubicBezTo>
                    <a:pt x="89790" y="252504"/>
                    <a:pt x="89790" y="252008"/>
                    <a:pt x="87310" y="244566"/>
                  </a:cubicBezTo>
                  <a:cubicBezTo>
                    <a:pt x="84829" y="237125"/>
                    <a:pt x="85822" y="236629"/>
                    <a:pt x="83341" y="228692"/>
                  </a:cubicBezTo>
                  <a:cubicBezTo>
                    <a:pt x="80861" y="221251"/>
                    <a:pt x="79868" y="221251"/>
                    <a:pt x="77388" y="213810"/>
                  </a:cubicBezTo>
                  <a:cubicBezTo>
                    <a:pt x="74908" y="206368"/>
                    <a:pt x="74412" y="206368"/>
                    <a:pt x="71931" y="198431"/>
                  </a:cubicBezTo>
                  <a:cubicBezTo>
                    <a:pt x="69451" y="190990"/>
                    <a:pt x="69947" y="190494"/>
                    <a:pt x="67466" y="183053"/>
                  </a:cubicBezTo>
                  <a:cubicBezTo>
                    <a:pt x="64986" y="175612"/>
                    <a:pt x="63994" y="175612"/>
                    <a:pt x="61514" y="168170"/>
                  </a:cubicBezTo>
                  <a:cubicBezTo>
                    <a:pt x="59033" y="160729"/>
                    <a:pt x="58537" y="160729"/>
                    <a:pt x="56057" y="152792"/>
                  </a:cubicBezTo>
                  <a:cubicBezTo>
                    <a:pt x="53577" y="145351"/>
                    <a:pt x="53080" y="145351"/>
                    <a:pt x="50600" y="137414"/>
                  </a:cubicBezTo>
                  <a:cubicBezTo>
                    <a:pt x="48119" y="129972"/>
                    <a:pt x="48119" y="129476"/>
                    <a:pt x="45639" y="122035"/>
                  </a:cubicBezTo>
                  <a:cubicBezTo>
                    <a:pt x="43159" y="114594"/>
                    <a:pt x="42167" y="114594"/>
                    <a:pt x="39190" y="107153"/>
                  </a:cubicBezTo>
                  <a:cubicBezTo>
                    <a:pt x="36214" y="99712"/>
                    <a:pt x="36214" y="99712"/>
                    <a:pt x="33237" y="91774"/>
                  </a:cubicBezTo>
                  <a:cubicBezTo>
                    <a:pt x="30757" y="84333"/>
                    <a:pt x="32245" y="83341"/>
                    <a:pt x="29269" y="75900"/>
                  </a:cubicBezTo>
                  <a:cubicBezTo>
                    <a:pt x="26788" y="68459"/>
                    <a:pt x="26292" y="68459"/>
                    <a:pt x="23315" y="60522"/>
                  </a:cubicBezTo>
                  <a:cubicBezTo>
                    <a:pt x="20835" y="53080"/>
                    <a:pt x="19843" y="53080"/>
                    <a:pt x="17363" y="45639"/>
                  </a:cubicBezTo>
                  <a:cubicBezTo>
                    <a:pt x="14882" y="38198"/>
                    <a:pt x="14386" y="38198"/>
                    <a:pt x="11906" y="30261"/>
                  </a:cubicBezTo>
                  <a:cubicBezTo>
                    <a:pt x="9426" y="22820"/>
                    <a:pt x="8930" y="22820"/>
                    <a:pt x="5953" y="14882"/>
                  </a:cubicBezTo>
                  <a:cubicBezTo>
                    <a:pt x="3472" y="7441"/>
                    <a:pt x="2480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4970963A-23BF-F8AE-47EF-9C34713D9511}"/>
                </a:ext>
              </a:extLst>
            </p:cNvPr>
            <p:cNvSpPr/>
            <p:nvPr/>
          </p:nvSpPr>
          <p:spPr>
            <a:xfrm>
              <a:off x="6900314" y="539236"/>
              <a:ext cx="39686" cy="250519"/>
            </a:xfrm>
            <a:custGeom>
              <a:avLst/>
              <a:gdLst>
                <a:gd name="connsiteX0" fmla="*/ 39686 w 39686"/>
                <a:gd name="connsiteY0" fmla="*/ 250519 h 250519"/>
                <a:gd name="connsiteX1" fmla="*/ 38198 w 39686"/>
                <a:gd name="connsiteY1" fmla="*/ 234645 h 250519"/>
                <a:gd name="connsiteX2" fmla="*/ 36709 w 39686"/>
                <a:gd name="connsiteY2" fmla="*/ 218770 h 250519"/>
                <a:gd name="connsiteX3" fmla="*/ 33237 w 39686"/>
                <a:gd name="connsiteY3" fmla="*/ 203392 h 250519"/>
                <a:gd name="connsiteX4" fmla="*/ 31253 w 39686"/>
                <a:gd name="connsiteY4" fmla="*/ 187517 h 250519"/>
                <a:gd name="connsiteX5" fmla="*/ 27780 w 39686"/>
                <a:gd name="connsiteY5" fmla="*/ 172139 h 250519"/>
                <a:gd name="connsiteX6" fmla="*/ 24804 w 39686"/>
                <a:gd name="connsiteY6" fmla="*/ 156265 h 250519"/>
                <a:gd name="connsiteX7" fmla="*/ 24804 w 39686"/>
                <a:gd name="connsiteY7" fmla="*/ 140390 h 250519"/>
                <a:gd name="connsiteX8" fmla="*/ 21331 w 39686"/>
                <a:gd name="connsiteY8" fmla="*/ 125012 h 250519"/>
                <a:gd name="connsiteX9" fmla="*/ 19843 w 39686"/>
                <a:gd name="connsiteY9" fmla="*/ 109137 h 250519"/>
                <a:gd name="connsiteX10" fmla="*/ 15378 w 39686"/>
                <a:gd name="connsiteY10" fmla="*/ 93759 h 250519"/>
                <a:gd name="connsiteX11" fmla="*/ 12402 w 39686"/>
                <a:gd name="connsiteY11" fmla="*/ 78380 h 250519"/>
                <a:gd name="connsiteX12" fmla="*/ 10913 w 39686"/>
                <a:gd name="connsiteY12" fmla="*/ 62506 h 250519"/>
                <a:gd name="connsiteX13" fmla="*/ 9425 w 39686"/>
                <a:gd name="connsiteY13" fmla="*/ 46631 h 250519"/>
                <a:gd name="connsiteX14" fmla="*/ 5953 w 39686"/>
                <a:gd name="connsiteY14" fmla="*/ 31253 h 250519"/>
                <a:gd name="connsiteX15" fmla="*/ 4464 w 39686"/>
                <a:gd name="connsiteY15" fmla="*/ 15378 h 250519"/>
                <a:gd name="connsiteX16" fmla="*/ 0 w 39686"/>
                <a:gd name="connsiteY16" fmla="*/ 0 h 2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686" h="250519">
                  <a:moveTo>
                    <a:pt x="39686" y="250519"/>
                  </a:moveTo>
                  <a:cubicBezTo>
                    <a:pt x="38694" y="242582"/>
                    <a:pt x="39190" y="242582"/>
                    <a:pt x="38198" y="234645"/>
                  </a:cubicBezTo>
                  <a:cubicBezTo>
                    <a:pt x="37206" y="226708"/>
                    <a:pt x="37702" y="226708"/>
                    <a:pt x="36709" y="218770"/>
                  </a:cubicBezTo>
                  <a:cubicBezTo>
                    <a:pt x="35717" y="210833"/>
                    <a:pt x="34229" y="211329"/>
                    <a:pt x="33237" y="203392"/>
                  </a:cubicBezTo>
                  <a:cubicBezTo>
                    <a:pt x="32245" y="195455"/>
                    <a:pt x="32245" y="195455"/>
                    <a:pt x="31253" y="187517"/>
                  </a:cubicBezTo>
                  <a:cubicBezTo>
                    <a:pt x="30261" y="179580"/>
                    <a:pt x="29268" y="179580"/>
                    <a:pt x="27780" y="172139"/>
                  </a:cubicBezTo>
                  <a:cubicBezTo>
                    <a:pt x="26788" y="164202"/>
                    <a:pt x="26292" y="164202"/>
                    <a:pt x="24804" y="156265"/>
                  </a:cubicBezTo>
                  <a:cubicBezTo>
                    <a:pt x="23811" y="148327"/>
                    <a:pt x="25796" y="147831"/>
                    <a:pt x="24804" y="140390"/>
                  </a:cubicBezTo>
                  <a:cubicBezTo>
                    <a:pt x="23811" y="132453"/>
                    <a:pt x="22819" y="132453"/>
                    <a:pt x="21331" y="125012"/>
                  </a:cubicBezTo>
                  <a:cubicBezTo>
                    <a:pt x="20339" y="117074"/>
                    <a:pt x="20835" y="117074"/>
                    <a:pt x="19843" y="109137"/>
                  </a:cubicBezTo>
                  <a:cubicBezTo>
                    <a:pt x="18851" y="101200"/>
                    <a:pt x="16866" y="101696"/>
                    <a:pt x="15378" y="93759"/>
                  </a:cubicBezTo>
                  <a:cubicBezTo>
                    <a:pt x="14386" y="85821"/>
                    <a:pt x="13890" y="85821"/>
                    <a:pt x="12402" y="78380"/>
                  </a:cubicBezTo>
                  <a:cubicBezTo>
                    <a:pt x="11409" y="70443"/>
                    <a:pt x="11905" y="70443"/>
                    <a:pt x="10913" y="62506"/>
                  </a:cubicBezTo>
                  <a:cubicBezTo>
                    <a:pt x="9922" y="54569"/>
                    <a:pt x="10913" y="54569"/>
                    <a:pt x="9425" y="46631"/>
                  </a:cubicBezTo>
                  <a:cubicBezTo>
                    <a:pt x="8433" y="38694"/>
                    <a:pt x="7441" y="38694"/>
                    <a:pt x="5953" y="31253"/>
                  </a:cubicBezTo>
                  <a:cubicBezTo>
                    <a:pt x="4961" y="23316"/>
                    <a:pt x="5457" y="23316"/>
                    <a:pt x="4464" y="15378"/>
                  </a:cubicBezTo>
                  <a:cubicBezTo>
                    <a:pt x="3472" y="7441"/>
                    <a:pt x="1488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4446E629-D961-2CF4-FFD5-9D4E13727109}"/>
                </a:ext>
              </a:extLst>
            </p:cNvPr>
            <p:cNvSpPr/>
            <p:nvPr/>
          </p:nvSpPr>
          <p:spPr>
            <a:xfrm>
              <a:off x="6077816" y="4117446"/>
              <a:ext cx="212817" cy="2480"/>
            </a:xfrm>
            <a:custGeom>
              <a:avLst/>
              <a:gdLst>
                <a:gd name="connsiteX0" fmla="*/ 0 w 212817"/>
                <a:gd name="connsiteY0" fmla="*/ 0 h 2480"/>
                <a:gd name="connsiteX1" fmla="*/ 16371 w 212817"/>
                <a:gd name="connsiteY1" fmla="*/ 992 h 2480"/>
                <a:gd name="connsiteX2" fmla="*/ 32741 w 212817"/>
                <a:gd name="connsiteY2" fmla="*/ 1984 h 2480"/>
                <a:gd name="connsiteX3" fmla="*/ 49112 w 212817"/>
                <a:gd name="connsiteY3" fmla="*/ 1488 h 2480"/>
                <a:gd name="connsiteX4" fmla="*/ 65482 w 212817"/>
                <a:gd name="connsiteY4" fmla="*/ 1984 h 2480"/>
                <a:gd name="connsiteX5" fmla="*/ 81853 w 212817"/>
                <a:gd name="connsiteY5" fmla="*/ 1488 h 2480"/>
                <a:gd name="connsiteX6" fmla="*/ 98224 w 212817"/>
                <a:gd name="connsiteY6" fmla="*/ 496 h 2480"/>
                <a:gd name="connsiteX7" fmla="*/ 114594 w 212817"/>
                <a:gd name="connsiteY7" fmla="*/ 1984 h 2480"/>
                <a:gd name="connsiteX8" fmla="*/ 130965 w 212817"/>
                <a:gd name="connsiteY8" fmla="*/ 992 h 2480"/>
                <a:gd name="connsiteX9" fmla="*/ 147335 w 212817"/>
                <a:gd name="connsiteY9" fmla="*/ 1984 h 2480"/>
                <a:gd name="connsiteX10" fmla="*/ 163706 w 212817"/>
                <a:gd name="connsiteY10" fmla="*/ 1984 h 2480"/>
                <a:gd name="connsiteX11" fmla="*/ 180077 w 212817"/>
                <a:gd name="connsiteY11" fmla="*/ 1984 h 2480"/>
                <a:gd name="connsiteX12" fmla="*/ 196447 w 212817"/>
                <a:gd name="connsiteY12" fmla="*/ 496 h 2480"/>
                <a:gd name="connsiteX13" fmla="*/ 212818 w 212817"/>
                <a:gd name="connsiteY13" fmla="*/ 2480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817" h="2480">
                  <a:moveTo>
                    <a:pt x="0" y="0"/>
                  </a:moveTo>
                  <a:cubicBezTo>
                    <a:pt x="7937" y="0"/>
                    <a:pt x="7937" y="992"/>
                    <a:pt x="16371" y="992"/>
                  </a:cubicBezTo>
                  <a:cubicBezTo>
                    <a:pt x="24308" y="992"/>
                    <a:pt x="24308" y="1984"/>
                    <a:pt x="32741" y="1984"/>
                  </a:cubicBezTo>
                  <a:cubicBezTo>
                    <a:pt x="40678" y="1984"/>
                    <a:pt x="40678" y="1488"/>
                    <a:pt x="49112" y="1488"/>
                  </a:cubicBezTo>
                  <a:cubicBezTo>
                    <a:pt x="57049" y="1488"/>
                    <a:pt x="57049" y="1984"/>
                    <a:pt x="65482" y="1984"/>
                  </a:cubicBezTo>
                  <a:cubicBezTo>
                    <a:pt x="73420" y="1984"/>
                    <a:pt x="73420" y="1488"/>
                    <a:pt x="81853" y="1488"/>
                  </a:cubicBezTo>
                  <a:cubicBezTo>
                    <a:pt x="89790" y="1488"/>
                    <a:pt x="89790" y="496"/>
                    <a:pt x="98224" y="496"/>
                  </a:cubicBezTo>
                  <a:cubicBezTo>
                    <a:pt x="106657" y="496"/>
                    <a:pt x="106161" y="1984"/>
                    <a:pt x="114594" y="1984"/>
                  </a:cubicBezTo>
                  <a:cubicBezTo>
                    <a:pt x="122531" y="1984"/>
                    <a:pt x="122531" y="992"/>
                    <a:pt x="130965" y="992"/>
                  </a:cubicBezTo>
                  <a:cubicBezTo>
                    <a:pt x="138902" y="992"/>
                    <a:pt x="138902" y="1984"/>
                    <a:pt x="147335" y="1984"/>
                  </a:cubicBezTo>
                  <a:cubicBezTo>
                    <a:pt x="155273" y="1984"/>
                    <a:pt x="155273" y="1984"/>
                    <a:pt x="163706" y="1984"/>
                  </a:cubicBezTo>
                  <a:cubicBezTo>
                    <a:pt x="171643" y="1984"/>
                    <a:pt x="171643" y="1984"/>
                    <a:pt x="180077" y="1984"/>
                  </a:cubicBezTo>
                  <a:cubicBezTo>
                    <a:pt x="188510" y="1984"/>
                    <a:pt x="188510" y="496"/>
                    <a:pt x="196447" y="496"/>
                  </a:cubicBezTo>
                  <a:cubicBezTo>
                    <a:pt x="204880" y="496"/>
                    <a:pt x="204880" y="2480"/>
                    <a:pt x="212818" y="248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DA3C0BC5-0FC0-382C-67EF-36BC6E0E942E}"/>
                </a:ext>
              </a:extLst>
            </p:cNvPr>
            <p:cNvSpPr/>
            <p:nvPr/>
          </p:nvSpPr>
          <p:spPr>
            <a:xfrm>
              <a:off x="6039122" y="4242458"/>
              <a:ext cx="261929" cy="2480"/>
            </a:xfrm>
            <a:custGeom>
              <a:avLst/>
              <a:gdLst>
                <a:gd name="connsiteX0" fmla="*/ 0 w 261929"/>
                <a:gd name="connsiteY0" fmla="*/ 496 h 2480"/>
                <a:gd name="connsiteX1" fmla="*/ 16371 w 261929"/>
                <a:gd name="connsiteY1" fmla="*/ 992 h 2480"/>
                <a:gd name="connsiteX2" fmla="*/ 32742 w 261929"/>
                <a:gd name="connsiteY2" fmla="*/ 992 h 2480"/>
                <a:gd name="connsiteX3" fmla="*/ 49112 w 261929"/>
                <a:gd name="connsiteY3" fmla="*/ 1488 h 2480"/>
                <a:gd name="connsiteX4" fmla="*/ 65483 w 261929"/>
                <a:gd name="connsiteY4" fmla="*/ 496 h 2480"/>
                <a:gd name="connsiteX5" fmla="*/ 81853 w 261929"/>
                <a:gd name="connsiteY5" fmla="*/ 496 h 2480"/>
                <a:gd name="connsiteX6" fmla="*/ 98224 w 261929"/>
                <a:gd name="connsiteY6" fmla="*/ 992 h 2480"/>
                <a:gd name="connsiteX7" fmla="*/ 114594 w 261929"/>
                <a:gd name="connsiteY7" fmla="*/ 1984 h 2480"/>
                <a:gd name="connsiteX8" fmla="*/ 130965 w 261929"/>
                <a:gd name="connsiteY8" fmla="*/ 0 h 2480"/>
                <a:gd name="connsiteX9" fmla="*/ 147336 w 261929"/>
                <a:gd name="connsiteY9" fmla="*/ 1984 h 2480"/>
                <a:gd name="connsiteX10" fmla="*/ 163706 w 261929"/>
                <a:gd name="connsiteY10" fmla="*/ 0 h 2480"/>
                <a:gd name="connsiteX11" fmla="*/ 180077 w 261929"/>
                <a:gd name="connsiteY11" fmla="*/ 1488 h 2480"/>
                <a:gd name="connsiteX12" fmla="*/ 196447 w 261929"/>
                <a:gd name="connsiteY12" fmla="*/ 496 h 2480"/>
                <a:gd name="connsiteX13" fmla="*/ 212818 w 261929"/>
                <a:gd name="connsiteY13" fmla="*/ 0 h 2480"/>
                <a:gd name="connsiteX14" fmla="*/ 229188 w 261929"/>
                <a:gd name="connsiteY14" fmla="*/ 1984 h 2480"/>
                <a:gd name="connsiteX15" fmla="*/ 245559 w 261929"/>
                <a:gd name="connsiteY15" fmla="*/ 2480 h 2480"/>
                <a:gd name="connsiteX16" fmla="*/ 261929 w 261929"/>
                <a:gd name="connsiteY16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1929" h="2480">
                  <a:moveTo>
                    <a:pt x="0" y="496"/>
                  </a:moveTo>
                  <a:cubicBezTo>
                    <a:pt x="7938" y="496"/>
                    <a:pt x="7938" y="992"/>
                    <a:pt x="16371" y="992"/>
                  </a:cubicBezTo>
                  <a:cubicBezTo>
                    <a:pt x="24308" y="992"/>
                    <a:pt x="24308" y="992"/>
                    <a:pt x="32742" y="992"/>
                  </a:cubicBezTo>
                  <a:cubicBezTo>
                    <a:pt x="40679" y="992"/>
                    <a:pt x="40679" y="1488"/>
                    <a:pt x="49112" y="1488"/>
                  </a:cubicBezTo>
                  <a:cubicBezTo>
                    <a:pt x="57049" y="1488"/>
                    <a:pt x="57049" y="496"/>
                    <a:pt x="65483" y="496"/>
                  </a:cubicBezTo>
                  <a:cubicBezTo>
                    <a:pt x="73420" y="496"/>
                    <a:pt x="73420" y="496"/>
                    <a:pt x="81853" y="496"/>
                  </a:cubicBezTo>
                  <a:cubicBezTo>
                    <a:pt x="89791" y="496"/>
                    <a:pt x="89791" y="992"/>
                    <a:pt x="98224" y="992"/>
                  </a:cubicBezTo>
                  <a:cubicBezTo>
                    <a:pt x="106161" y="992"/>
                    <a:pt x="106161" y="1984"/>
                    <a:pt x="114594" y="1984"/>
                  </a:cubicBezTo>
                  <a:cubicBezTo>
                    <a:pt x="122532" y="1984"/>
                    <a:pt x="122532" y="0"/>
                    <a:pt x="130965" y="0"/>
                  </a:cubicBezTo>
                  <a:cubicBezTo>
                    <a:pt x="138902" y="0"/>
                    <a:pt x="138902" y="1984"/>
                    <a:pt x="147336" y="1984"/>
                  </a:cubicBezTo>
                  <a:cubicBezTo>
                    <a:pt x="155273" y="1984"/>
                    <a:pt x="155273" y="0"/>
                    <a:pt x="163706" y="0"/>
                  </a:cubicBezTo>
                  <a:cubicBezTo>
                    <a:pt x="171643" y="0"/>
                    <a:pt x="171643" y="1488"/>
                    <a:pt x="180077" y="1488"/>
                  </a:cubicBezTo>
                  <a:cubicBezTo>
                    <a:pt x="188014" y="1488"/>
                    <a:pt x="188014" y="496"/>
                    <a:pt x="196447" y="496"/>
                  </a:cubicBezTo>
                  <a:cubicBezTo>
                    <a:pt x="204384" y="496"/>
                    <a:pt x="204384" y="0"/>
                    <a:pt x="212818" y="0"/>
                  </a:cubicBezTo>
                  <a:cubicBezTo>
                    <a:pt x="220755" y="0"/>
                    <a:pt x="220755" y="1984"/>
                    <a:pt x="229188" y="1984"/>
                  </a:cubicBezTo>
                  <a:cubicBezTo>
                    <a:pt x="237125" y="1984"/>
                    <a:pt x="237125" y="2480"/>
                    <a:pt x="245559" y="2480"/>
                  </a:cubicBezTo>
                  <a:cubicBezTo>
                    <a:pt x="253992" y="2480"/>
                    <a:pt x="253496" y="1984"/>
                    <a:pt x="26192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EAE68F81-9EE6-E4F1-095C-DBA7A3AC8282}"/>
                </a:ext>
              </a:extLst>
            </p:cNvPr>
            <p:cNvSpPr/>
            <p:nvPr/>
          </p:nvSpPr>
          <p:spPr>
            <a:xfrm>
              <a:off x="6032177" y="4267758"/>
              <a:ext cx="269865" cy="2976"/>
            </a:xfrm>
            <a:custGeom>
              <a:avLst/>
              <a:gdLst>
                <a:gd name="connsiteX0" fmla="*/ 0 w 269865"/>
                <a:gd name="connsiteY0" fmla="*/ 2480 h 2976"/>
                <a:gd name="connsiteX1" fmla="*/ 15874 w 269865"/>
                <a:gd name="connsiteY1" fmla="*/ 496 h 2976"/>
                <a:gd name="connsiteX2" fmla="*/ 31749 w 269865"/>
                <a:gd name="connsiteY2" fmla="*/ 1984 h 2976"/>
                <a:gd name="connsiteX3" fmla="*/ 47623 w 269865"/>
                <a:gd name="connsiteY3" fmla="*/ 1984 h 2976"/>
                <a:gd name="connsiteX4" fmla="*/ 63498 w 269865"/>
                <a:gd name="connsiteY4" fmla="*/ 1984 h 2976"/>
                <a:gd name="connsiteX5" fmla="*/ 79372 w 269865"/>
                <a:gd name="connsiteY5" fmla="*/ 992 h 2976"/>
                <a:gd name="connsiteX6" fmla="*/ 95247 w 269865"/>
                <a:gd name="connsiteY6" fmla="*/ 1984 h 2976"/>
                <a:gd name="connsiteX7" fmla="*/ 111121 w 269865"/>
                <a:gd name="connsiteY7" fmla="*/ 0 h 2976"/>
                <a:gd name="connsiteX8" fmla="*/ 126996 w 269865"/>
                <a:gd name="connsiteY8" fmla="*/ 992 h 2976"/>
                <a:gd name="connsiteX9" fmla="*/ 142870 w 269865"/>
                <a:gd name="connsiteY9" fmla="*/ 1488 h 2976"/>
                <a:gd name="connsiteX10" fmla="*/ 158745 w 269865"/>
                <a:gd name="connsiteY10" fmla="*/ 1488 h 2976"/>
                <a:gd name="connsiteX11" fmla="*/ 174619 w 269865"/>
                <a:gd name="connsiteY11" fmla="*/ 496 h 2976"/>
                <a:gd name="connsiteX12" fmla="*/ 190493 w 269865"/>
                <a:gd name="connsiteY12" fmla="*/ 2480 h 2976"/>
                <a:gd name="connsiteX13" fmla="*/ 206368 w 269865"/>
                <a:gd name="connsiteY13" fmla="*/ 1488 h 2976"/>
                <a:gd name="connsiteX14" fmla="*/ 222243 w 269865"/>
                <a:gd name="connsiteY14" fmla="*/ 2977 h 2976"/>
                <a:gd name="connsiteX15" fmla="*/ 238117 w 269865"/>
                <a:gd name="connsiteY15" fmla="*/ 1984 h 2976"/>
                <a:gd name="connsiteX16" fmla="*/ 253992 w 269865"/>
                <a:gd name="connsiteY16" fmla="*/ 2977 h 2976"/>
                <a:gd name="connsiteX17" fmla="*/ 269866 w 269865"/>
                <a:gd name="connsiteY17" fmla="*/ 2977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865" h="2976">
                  <a:moveTo>
                    <a:pt x="0" y="2480"/>
                  </a:moveTo>
                  <a:cubicBezTo>
                    <a:pt x="7937" y="2480"/>
                    <a:pt x="7937" y="496"/>
                    <a:pt x="15874" y="496"/>
                  </a:cubicBezTo>
                  <a:cubicBezTo>
                    <a:pt x="23811" y="496"/>
                    <a:pt x="23811" y="1984"/>
                    <a:pt x="31749" y="1984"/>
                  </a:cubicBezTo>
                  <a:cubicBezTo>
                    <a:pt x="39686" y="1984"/>
                    <a:pt x="39686" y="1984"/>
                    <a:pt x="47623" y="1984"/>
                  </a:cubicBezTo>
                  <a:cubicBezTo>
                    <a:pt x="55560" y="1984"/>
                    <a:pt x="55560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984"/>
                    <a:pt x="95247" y="1984"/>
                  </a:cubicBezTo>
                  <a:cubicBezTo>
                    <a:pt x="103184" y="1984"/>
                    <a:pt x="103184" y="0"/>
                    <a:pt x="111121" y="0"/>
                  </a:cubicBezTo>
                  <a:cubicBezTo>
                    <a:pt x="119059" y="0"/>
                    <a:pt x="119059" y="992"/>
                    <a:pt x="126996" y="992"/>
                  </a:cubicBezTo>
                  <a:cubicBezTo>
                    <a:pt x="134933" y="992"/>
                    <a:pt x="134933" y="1488"/>
                    <a:pt x="142870" y="1488"/>
                  </a:cubicBezTo>
                  <a:cubicBezTo>
                    <a:pt x="150807" y="1488"/>
                    <a:pt x="150807" y="1488"/>
                    <a:pt x="158745" y="1488"/>
                  </a:cubicBezTo>
                  <a:cubicBezTo>
                    <a:pt x="166682" y="1488"/>
                    <a:pt x="166682" y="496"/>
                    <a:pt x="174619" y="496"/>
                  </a:cubicBezTo>
                  <a:cubicBezTo>
                    <a:pt x="182556" y="496"/>
                    <a:pt x="182556" y="2480"/>
                    <a:pt x="190493" y="2480"/>
                  </a:cubicBezTo>
                  <a:cubicBezTo>
                    <a:pt x="198431" y="2480"/>
                    <a:pt x="198431" y="1488"/>
                    <a:pt x="206368" y="1488"/>
                  </a:cubicBezTo>
                  <a:cubicBezTo>
                    <a:pt x="214305" y="1488"/>
                    <a:pt x="214305" y="2977"/>
                    <a:pt x="222243" y="2977"/>
                  </a:cubicBezTo>
                  <a:cubicBezTo>
                    <a:pt x="230180" y="2977"/>
                    <a:pt x="230180" y="1984"/>
                    <a:pt x="238117" y="1984"/>
                  </a:cubicBezTo>
                  <a:cubicBezTo>
                    <a:pt x="246055" y="1984"/>
                    <a:pt x="246055" y="2977"/>
                    <a:pt x="253992" y="2977"/>
                  </a:cubicBezTo>
                  <a:cubicBezTo>
                    <a:pt x="261929" y="2977"/>
                    <a:pt x="261929" y="2977"/>
                    <a:pt x="269866" y="297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CED5D182-D7D0-3712-4355-2489191B58EE}"/>
                </a:ext>
              </a:extLst>
            </p:cNvPr>
            <p:cNvSpPr/>
            <p:nvPr/>
          </p:nvSpPr>
          <p:spPr>
            <a:xfrm>
              <a:off x="5901904" y="3631705"/>
              <a:ext cx="822797" cy="799987"/>
            </a:xfrm>
            <a:custGeom>
              <a:avLst/>
              <a:gdLst>
                <a:gd name="connsiteX0" fmla="*/ 822798 w 822797"/>
                <a:gd name="connsiteY0" fmla="*/ 797278 h 799987"/>
                <a:gd name="connsiteX1" fmla="*/ 806427 w 822797"/>
                <a:gd name="connsiteY1" fmla="*/ 797774 h 799987"/>
                <a:gd name="connsiteX2" fmla="*/ 790057 w 822797"/>
                <a:gd name="connsiteY2" fmla="*/ 798270 h 799987"/>
                <a:gd name="connsiteX3" fmla="*/ 773686 w 822797"/>
                <a:gd name="connsiteY3" fmla="*/ 796286 h 799987"/>
                <a:gd name="connsiteX4" fmla="*/ 757315 w 822797"/>
                <a:gd name="connsiteY4" fmla="*/ 796286 h 799987"/>
                <a:gd name="connsiteX5" fmla="*/ 740945 w 822797"/>
                <a:gd name="connsiteY5" fmla="*/ 797774 h 799987"/>
                <a:gd name="connsiteX6" fmla="*/ 724574 w 822797"/>
                <a:gd name="connsiteY6" fmla="*/ 796286 h 799987"/>
                <a:gd name="connsiteX7" fmla="*/ 708204 w 822797"/>
                <a:gd name="connsiteY7" fmla="*/ 797278 h 799987"/>
                <a:gd name="connsiteX8" fmla="*/ 691833 w 822797"/>
                <a:gd name="connsiteY8" fmla="*/ 797278 h 799987"/>
                <a:gd name="connsiteX9" fmla="*/ 675462 w 822797"/>
                <a:gd name="connsiteY9" fmla="*/ 796782 h 799987"/>
                <a:gd name="connsiteX10" fmla="*/ 659092 w 822797"/>
                <a:gd name="connsiteY10" fmla="*/ 797774 h 799987"/>
                <a:gd name="connsiteX11" fmla="*/ 642721 w 822797"/>
                <a:gd name="connsiteY11" fmla="*/ 797774 h 799987"/>
                <a:gd name="connsiteX12" fmla="*/ 626351 w 822797"/>
                <a:gd name="connsiteY12" fmla="*/ 796782 h 799987"/>
                <a:gd name="connsiteX13" fmla="*/ 609980 w 822797"/>
                <a:gd name="connsiteY13" fmla="*/ 796782 h 799987"/>
                <a:gd name="connsiteX14" fmla="*/ 593609 w 822797"/>
                <a:gd name="connsiteY14" fmla="*/ 795790 h 799987"/>
                <a:gd name="connsiteX15" fmla="*/ 577239 w 822797"/>
                <a:gd name="connsiteY15" fmla="*/ 797278 h 799987"/>
                <a:gd name="connsiteX16" fmla="*/ 560868 w 822797"/>
                <a:gd name="connsiteY16" fmla="*/ 795790 h 799987"/>
                <a:gd name="connsiteX17" fmla="*/ 544498 w 822797"/>
                <a:gd name="connsiteY17" fmla="*/ 795294 h 799987"/>
                <a:gd name="connsiteX18" fmla="*/ 528127 w 822797"/>
                <a:gd name="connsiteY18" fmla="*/ 795790 h 799987"/>
                <a:gd name="connsiteX19" fmla="*/ 511756 w 822797"/>
                <a:gd name="connsiteY19" fmla="*/ 796782 h 799987"/>
                <a:gd name="connsiteX20" fmla="*/ 495386 w 822797"/>
                <a:gd name="connsiteY20" fmla="*/ 795294 h 799987"/>
                <a:gd name="connsiteX21" fmla="*/ 479015 w 822797"/>
                <a:gd name="connsiteY21" fmla="*/ 795294 h 799987"/>
                <a:gd name="connsiteX22" fmla="*/ 462645 w 822797"/>
                <a:gd name="connsiteY22" fmla="*/ 795294 h 799987"/>
                <a:gd name="connsiteX23" fmla="*/ 446274 w 822797"/>
                <a:gd name="connsiteY23" fmla="*/ 796782 h 799987"/>
                <a:gd name="connsiteX24" fmla="*/ 429904 w 822797"/>
                <a:gd name="connsiteY24" fmla="*/ 796782 h 799987"/>
                <a:gd name="connsiteX25" fmla="*/ 413533 w 822797"/>
                <a:gd name="connsiteY25" fmla="*/ 796782 h 799987"/>
                <a:gd name="connsiteX26" fmla="*/ 397163 w 822797"/>
                <a:gd name="connsiteY26" fmla="*/ 795790 h 799987"/>
                <a:gd name="connsiteX27" fmla="*/ 380792 w 822797"/>
                <a:gd name="connsiteY27" fmla="*/ 795790 h 799987"/>
                <a:gd name="connsiteX28" fmla="*/ 364422 w 822797"/>
                <a:gd name="connsiteY28" fmla="*/ 795790 h 799987"/>
                <a:gd name="connsiteX29" fmla="*/ 348051 w 822797"/>
                <a:gd name="connsiteY29" fmla="*/ 795294 h 799987"/>
                <a:gd name="connsiteX30" fmla="*/ 331681 w 822797"/>
                <a:gd name="connsiteY30" fmla="*/ 797774 h 799987"/>
                <a:gd name="connsiteX31" fmla="*/ 315310 w 822797"/>
                <a:gd name="connsiteY31" fmla="*/ 797278 h 799987"/>
                <a:gd name="connsiteX32" fmla="*/ 298940 w 822797"/>
                <a:gd name="connsiteY32" fmla="*/ 797278 h 799987"/>
                <a:gd name="connsiteX33" fmla="*/ 282569 w 822797"/>
                <a:gd name="connsiteY33" fmla="*/ 797278 h 799987"/>
                <a:gd name="connsiteX34" fmla="*/ 266198 w 822797"/>
                <a:gd name="connsiteY34" fmla="*/ 795790 h 799987"/>
                <a:gd name="connsiteX35" fmla="*/ 249828 w 822797"/>
                <a:gd name="connsiteY35" fmla="*/ 796782 h 799987"/>
                <a:gd name="connsiteX36" fmla="*/ 233457 w 822797"/>
                <a:gd name="connsiteY36" fmla="*/ 796286 h 799987"/>
                <a:gd name="connsiteX37" fmla="*/ 217087 w 822797"/>
                <a:gd name="connsiteY37" fmla="*/ 795790 h 799987"/>
                <a:gd name="connsiteX38" fmla="*/ 200716 w 822797"/>
                <a:gd name="connsiteY38" fmla="*/ 795294 h 799987"/>
                <a:gd name="connsiteX39" fmla="*/ 184345 w 822797"/>
                <a:gd name="connsiteY39" fmla="*/ 796286 h 799987"/>
                <a:gd name="connsiteX40" fmla="*/ 167975 w 822797"/>
                <a:gd name="connsiteY40" fmla="*/ 796782 h 799987"/>
                <a:gd name="connsiteX41" fmla="*/ 151604 w 822797"/>
                <a:gd name="connsiteY41" fmla="*/ 795790 h 799987"/>
                <a:gd name="connsiteX42" fmla="*/ 135234 w 822797"/>
                <a:gd name="connsiteY42" fmla="*/ 795294 h 799987"/>
                <a:gd name="connsiteX43" fmla="*/ 118863 w 822797"/>
                <a:gd name="connsiteY43" fmla="*/ 795294 h 799987"/>
                <a:gd name="connsiteX44" fmla="*/ 102492 w 822797"/>
                <a:gd name="connsiteY44" fmla="*/ 796286 h 799987"/>
                <a:gd name="connsiteX45" fmla="*/ 86122 w 822797"/>
                <a:gd name="connsiteY45" fmla="*/ 795790 h 799987"/>
                <a:gd name="connsiteX46" fmla="*/ 69751 w 822797"/>
                <a:gd name="connsiteY46" fmla="*/ 796782 h 799987"/>
                <a:gd name="connsiteX47" fmla="*/ 53381 w 822797"/>
                <a:gd name="connsiteY47" fmla="*/ 797774 h 799987"/>
                <a:gd name="connsiteX48" fmla="*/ 37010 w 822797"/>
                <a:gd name="connsiteY48" fmla="*/ 797774 h 799987"/>
                <a:gd name="connsiteX49" fmla="*/ 20639 w 822797"/>
                <a:gd name="connsiteY49" fmla="*/ 795790 h 799987"/>
                <a:gd name="connsiteX50" fmla="*/ 3277 w 822797"/>
                <a:gd name="connsiteY50" fmla="*/ 797774 h 799987"/>
                <a:gd name="connsiteX51" fmla="*/ 5261 w 822797"/>
                <a:gd name="connsiteY51" fmla="*/ 780907 h 799987"/>
                <a:gd name="connsiteX52" fmla="*/ 2781 w 822797"/>
                <a:gd name="connsiteY52" fmla="*/ 764537 h 799987"/>
                <a:gd name="connsiteX53" fmla="*/ 4269 w 822797"/>
                <a:gd name="connsiteY53" fmla="*/ 748662 h 799987"/>
                <a:gd name="connsiteX54" fmla="*/ 4765 w 822797"/>
                <a:gd name="connsiteY54" fmla="*/ 732788 h 799987"/>
                <a:gd name="connsiteX55" fmla="*/ 4269 w 822797"/>
                <a:gd name="connsiteY55" fmla="*/ 716913 h 799987"/>
                <a:gd name="connsiteX56" fmla="*/ 4765 w 822797"/>
                <a:gd name="connsiteY56" fmla="*/ 701039 h 799987"/>
                <a:gd name="connsiteX57" fmla="*/ 4269 w 822797"/>
                <a:gd name="connsiteY57" fmla="*/ 685164 h 799987"/>
                <a:gd name="connsiteX58" fmla="*/ 2781 w 822797"/>
                <a:gd name="connsiteY58" fmla="*/ 669290 h 799987"/>
                <a:gd name="connsiteX59" fmla="*/ 3773 w 822797"/>
                <a:gd name="connsiteY59" fmla="*/ 652919 h 799987"/>
                <a:gd name="connsiteX60" fmla="*/ 2781 w 822797"/>
                <a:gd name="connsiteY60" fmla="*/ 636549 h 799987"/>
                <a:gd name="connsiteX61" fmla="*/ 3277 w 822797"/>
                <a:gd name="connsiteY61" fmla="*/ 620674 h 799987"/>
                <a:gd name="connsiteX62" fmla="*/ 2781 w 822797"/>
                <a:gd name="connsiteY62" fmla="*/ 604800 h 799987"/>
                <a:gd name="connsiteX63" fmla="*/ 3277 w 822797"/>
                <a:gd name="connsiteY63" fmla="*/ 588925 h 799987"/>
                <a:gd name="connsiteX64" fmla="*/ 3277 w 822797"/>
                <a:gd name="connsiteY64" fmla="*/ 573050 h 799987"/>
                <a:gd name="connsiteX65" fmla="*/ 2781 w 822797"/>
                <a:gd name="connsiteY65" fmla="*/ 556680 h 799987"/>
                <a:gd name="connsiteX66" fmla="*/ 3773 w 822797"/>
                <a:gd name="connsiteY66" fmla="*/ 540309 h 799987"/>
                <a:gd name="connsiteX67" fmla="*/ 2285 w 822797"/>
                <a:gd name="connsiteY67" fmla="*/ 524435 h 799987"/>
                <a:gd name="connsiteX68" fmla="*/ 2781 w 822797"/>
                <a:gd name="connsiteY68" fmla="*/ 508560 h 799987"/>
                <a:gd name="connsiteX69" fmla="*/ 1789 w 822797"/>
                <a:gd name="connsiteY69" fmla="*/ 492190 h 799987"/>
                <a:gd name="connsiteX70" fmla="*/ 3277 w 822797"/>
                <a:gd name="connsiteY70" fmla="*/ 475819 h 799987"/>
                <a:gd name="connsiteX71" fmla="*/ 3277 w 822797"/>
                <a:gd name="connsiteY71" fmla="*/ 459449 h 799987"/>
                <a:gd name="connsiteX72" fmla="*/ 2285 w 822797"/>
                <a:gd name="connsiteY72" fmla="*/ 443078 h 799987"/>
                <a:gd name="connsiteX73" fmla="*/ 1789 w 822797"/>
                <a:gd name="connsiteY73" fmla="*/ 426707 h 799987"/>
                <a:gd name="connsiteX74" fmla="*/ 2781 w 822797"/>
                <a:gd name="connsiteY74" fmla="*/ 410337 h 799987"/>
                <a:gd name="connsiteX75" fmla="*/ 2781 w 822797"/>
                <a:gd name="connsiteY75" fmla="*/ 393966 h 799987"/>
                <a:gd name="connsiteX76" fmla="*/ 2781 w 822797"/>
                <a:gd name="connsiteY76" fmla="*/ 377596 h 799987"/>
                <a:gd name="connsiteX77" fmla="*/ 2285 w 822797"/>
                <a:gd name="connsiteY77" fmla="*/ 361225 h 799987"/>
                <a:gd name="connsiteX78" fmla="*/ 2285 w 822797"/>
                <a:gd name="connsiteY78" fmla="*/ 344855 h 799987"/>
                <a:gd name="connsiteX79" fmla="*/ 2781 w 822797"/>
                <a:gd name="connsiteY79" fmla="*/ 328484 h 799987"/>
                <a:gd name="connsiteX80" fmla="*/ 2285 w 822797"/>
                <a:gd name="connsiteY80" fmla="*/ 312114 h 799987"/>
                <a:gd name="connsiteX81" fmla="*/ 2285 w 822797"/>
                <a:gd name="connsiteY81" fmla="*/ 295743 h 799987"/>
                <a:gd name="connsiteX82" fmla="*/ 2285 w 822797"/>
                <a:gd name="connsiteY82" fmla="*/ 279373 h 799987"/>
                <a:gd name="connsiteX83" fmla="*/ 2285 w 822797"/>
                <a:gd name="connsiteY83" fmla="*/ 263498 h 799987"/>
                <a:gd name="connsiteX84" fmla="*/ 3773 w 822797"/>
                <a:gd name="connsiteY84" fmla="*/ 247623 h 799987"/>
                <a:gd name="connsiteX85" fmla="*/ 2781 w 822797"/>
                <a:gd name="connsiteY85" fmla="*/ 231253 h 799987"/>
                <a:gd name="connsiteX86" fmla="*/ 2285 w 822797"/>
                <a:gd name="connsiteY86" fmla="*/ 215378 h 799987"/>
                <a:gd name="connsiteX87" fmla="*/ 2781 w 822797"/>
                <a:gd name="connsiteY87" fmla="*/ 199008 h 799987"/>
                <a:gd name="connsiteX88" fmla="*/ 2285 w 822797"/>
                <a:gd name="connsiteY88" fmla="*/ 182637 h 799987"/>
                <a:gd name="connsiteX89" fmla="*/ 3277 w 822797"/>
                <a:gd name="connsiteY89" fmla="*/ 166267 h 799987"/>
                <a:gd name="connsiteX90" fmla="*/ 3773 w 822797"/>
                <a:gd name="connsiteY90" fmla="*/ 149896 h 799987"/>
                <a:gd name="connsiteX91" fmla="*/ 3277 w 822797"/>
                <a:gd name="connsiteY91" fmla="*/ 133526 h 799987"/>
                <a:gd name="connsiteX92" fmla="*/ 3277 w 822797"/>
                <a:gd name="connsiteY92" fmla="*/ 117155 h 799987"/>
                <a:gd name="connsiteX93" fmla="*/ 3773 w 822797"/>
                <a:gd name="connsiteY93" fmla="*/ 100785 h 799987"/>
                <a:gd name="connsiteX94" fmla="*/ 3277 w 822797"/>
                <a:gd name="connsiteY94" fmla="*/ 84414 h 799987"/>
                <a:gd name="connsiteX95" fmla="*/ 3277 w 822797"/>
                <a:gd name="connsiteY95" fmla="*/ 68043 h 799987"/>
                <a:gd name="connsiteX96" fmla="*/ 3277 w 822797"/>
                <a:gd name="connsiteY96" fmla="*/ 51673 h 799987"/>
                <a:gd name="connsiteX97" fmla="*/ 2285 w 822797"/>
                <a:gd name="connsiteY97" fmla="*/ 35302 h 799987"/>
                <a:gd name="connsiteX98" fmla="*/ 2285 w 822797"/>
                <a:gd name="connsiteY98" fmla="*/ 18932 h 799987"/>
                <a:gd name="connsiteX99" fmla="*/ 2781 w 822797"/>
                <a:gd name="connsiteY99" fmla="*/ 2561 h 799987"/>
                <a:gd name="connsiteX100" fmla="*/ 19151 w 822797"/>
                <a:gd name="connsiteY100" fmla="*/ 2065 h 799987"/>
                <a:gd name="connsiteX101" fmla="*/ 35026 w 822797"/>
                <a:gd name="connsiteY101" fmla="*/ 2561 h 799987"/>
                <a:gd name="connsiteX102" fmla="*/ 50901 w 822797"/>
                <a:gd name="connsiteY102" fmla="*/ 1569 h 799987"/>
                <a:gd name="connsiteX103" fmla="*/ 66775 w 822797"/>
                <a:gd name="connsiteY103" fmla="*/ 1569 h 799987"/>
                <a:gd name="connsiteX104" fmla="*/ 82649 w 822797"/>
                <a:gd name="connsiteY104" fmla="*/ 2065 h 799987"/>
                <a:gd name="connsiteX105" fmla="*/ 98524 w 822797"/>
                <a:gd name="connsiteY105" fmla="*/ 3553 h 799987"/>
                <a:gd name="connsiteX106" fmla="*/ 114398 w 822797"/>
                <a:gd name="connsiteY106" fmla="*/ 3057 h 799987"/>
                <a:gd name="connsiteX107" fmla="*/ 130273 w 822797"/>
                <a:gd name="connsiteY107" fmla="*/ 2561 h 799987"/>
                <a:gd name="connsiteX108" fmla="*/ 146147 w 822797"/>
                <a:gd name="connsiteY108" fmla="*/ 3057 h 799987"/>
                <a:gd name="connsiteX109" fmla="*/ 162022 w 822797"/>
                <a:gd name="connsiteY109" fmla="*/ 2561 h 799987"/>
                <a:gd name="connsiteX110" fmla="*/ 177896 w 822797"/>
                <a:gd name="connsiteY110" fmla="*/ 1569 h 799987"/>
                <a:gd name="connsiteX111" fmla="*/ 193771 w 822797"/>
                <a:gd name="connsiteY111" fmla="*/ 4049 h 799987"/>
                <a:gd name="connsiteX112" fmla="*/ 209646 w 822797"/>
                <a:gd name="connsiteY112" fmla="*/ 4049 h 799987"/>
                <a:gd name="connsiteX113" fmla="*/ 225520 w 822797"/>
                <a:gd name="connsiteY113" fmla="*/ 3553 h 799987"/>
                <a:gd name="connsiteX114" fmla="*/ 241394 w 822797"/>
                <a:gd name="connsiteY114" fmla="*/ 3553 h 799987"/>
                <a:gd name="connsiteX115" fmla="*/ 257269 w 822797"/>
                <a:gd name="connsiteY115" fmla="*/ 3553 h 799987"/>
                <a:gd name="connsiteX116" fmla="*/ 273143 w 822797"/>
                <a:gd name="connsiteY116" fmla="*/ 3057 h 799987"/>
                <a:gd name="connsiteX117" fmla="*/ 289018 w 822797"/>
                <a:gd name="connsiteY117" fmla="*/ 3553 h 799987"/>
                <a:gd name="connsiteX118" fmla="*/ 304892 w 822797"/>
                <a:gd name="connsiteY118" fmla="*/ 3057 h 799987"/>
                <a:gd name="connsiteX119" fmla="*/ 320766 w 822797"/>
                <a:gd name="connsiteY119" fmla="*/ 1073 h 799987"/>
                <a:gd name="connsiteX120" fmla="*/ 336641 w 822797"/>
                <a:gd name="connsiteY120" fmla="*/ 3057 h 799987"/>
                <a:gd name="connsiteX121" fmla="*/ 352516 w 822797"/>
                <a:gd name="connsiteY121" fmla="*/ 2065 h 799987"/>
                <a:gd name="connsiteX122" fmla="*/ 368390 w 822797"/>
                <a:gd name="connsiteY122" fmla="*/ 1569 h 799987"/>
                <a:gd name="connsiteX123" fmla="*/ 384265 w 822797"/>
                <a:gd name="connsiteY123" fmla="*/ 3553 h 799987"/>
                <a:gd name="connsiteX124" fmla="*/ 400139 w 822797"/>
                <a:gd name="connsiteY124" fmla="*/ 1569 h 799987"/>
                <a:gd name="connsiteX125" fmla="*/ 416014 w 822797"/>
                <a:gd name="connsiteY125" fmla="*/ 3553 h 799987"/>
                <a:gd name="connsiteX126" fmla="*/ 431888 w 822797"/>
                <a:gd name="connsiteY126" fmla="*/ 2561 h 79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822797" h="799987">
                  <a:moveTo>
                    <a:pt x="822798" y="797278"/>
                  </a:moveTo>
                  <a:cubicBezTo>
                    <a:pt x="814861" y="797278"/>
                    <a:pt x="814861" y="797774"/>
                    <a:pt x="806427" y="797774"/>
                  </a:cubicBezTo>
                  <a:cubicBezTo>
                    <a:pt x="797994" y="797774"/>
                    <a:pt x="797994" y="798270"/>
                    <a:pt x="790057" y="798270"/>
                  </a:cubicBezTo>
                  <a:cubicBezTo>
                    <a:pt x="781623" y="798270"/>
                    <a:pt x="781623" y="796286"/>
                    <a:pt x="773686" y="796286"/>
                  </a:cubicBezTo>
                  <a:cubicBezTo>
                    <a:pt x="765253" y="796286"/>
                    <a:pt x="765253" y="796286"/>
                    <a:pt x="757315" y="796286"/>
                  </a:cubicBezTo>
                  <a:cubicBezTo>
                    <a:pt x="748882" y="796286"/>
                    <a:pt x="748882" y="797774"/>
                    <a:pt x="740945" y="797774"/>
                  </a:cubicBezTo>
                  <a:cubicBezTo>
                    <a:pt x="733008" y="797774"/>
                    <a:pt x="733008" y="796286"/>
                    <a:pt x="724574" y="796286"/>
                  </a:cubicBezTo>
                  <a:cubicBezTo>
                    <a:pt x="716637" y="796286"/>
                    <a:pt x="716637" y="797278"/>
                    <a:pt x="708204" y="797278"/>
                  </a:cubicBezTo>
                  <a:cubicBezTo>
                    <a:pt x="700266" y="797278"/>
                    <a:pt x="700266" y="797278"/>
                    <a:pt x="691833" y="797278"/>
                  </a:cubicBezTo>
                  <a:cubicBezTo>
                    <a:pt x="683400" y="797278"/>
                    <a:pt x="683400" y="796782"/>
                    <a:pt x="675462" y="796782"/>
                  </a:cubicBezTo>
                  <a:cubicBezTo>
                    <a:pt x="667029" y="796782"/>
                    <a:pt x="667029" y="797774"/>
                    <a:pt x="659092" y="797774"/>
                  </a:cubicBezTo>
                  <a:cubicBezTo>
                    <a:pt x="650658" y="797774"/>
                    <a:pt x="650658" y="797774"/>
                    <a:pt x="642721" y="797774"/>
                  </a:cubicBezTo>
                  <a:cubicBezTo>
                    <a:pt x="634288" y="797774"/>
                    <a:pt x="634288" y="796782"/>
                    <a:pt x="626351" y="796782"/>
                  </a:cubicBezTo>
                  <a:cubicBezTo>
                    <a:pt x="617917" y="796782"/>
                    <a:pt x="617917" y="796782"/>
                    <a:pt x="609980" y="796782"/>
                  </a:cubicBezTo>
                  <a:cubicBezTo>
                    <a:pt x="602043" y="796782"/>
                    <a:pt x="601547" y="795790"/>
                    <a:pt x="593609" y="795790"/>
                  </a:cubicBezTo>
                  <a:cubicBezTo>
                    <a:pt x="585176" y="795790"/>
                    <a:pt x="585176" y="797278"/>
                    <a:pt x="577239" y="797278"/>
                  </a:cubicBezTo>
                  <a:cubicBezTo>
                    <a:pt x="568805" y="797278"/>
                    <a:pt x="568805" y="795790"/>
                    <a:pt x="560868" y="795790"/>
                  </a:cubicBezTo>
                  <a:cubicBezTo>
                    <a:pt x="552435" y="795790"/>
                    <a:pt x="552435" y="795294"/>
                    <a:pt x="544498" y="795294"/>
                  </a:cubicBezTo>
                  <a:cubicBezTo>
                    <a:pt x="536064" y="795294"/>
                    <a:pt x="536064" y="795790"/>
                    <a:pt x="528127" y="795790"/>
                  </a:cubicBezTo>
                  <a:cubicBezTo>
                    <a:pt x="520190" y="795790"/>
                    <a:pt x="519694" y="796782"/>
                    <a:pt x="511756" y="796782"/>
                  </a:cubicBezTo>
                  <a:cubicBezTo>
                    <a:pt x="503323" y="796782"/>
                    <a:pt x="503323" y="795294"/>
                    <a:pt x="495386" y="795294"/>
                  </a:cubicBezTo>
                  <a:cubicBezTo>
                    <a:pt x="486953" y="795294"/>
                    <a:pt x="486953" y="795294"/>
                    <a:pt x="479015" y="795294"/>
                  </a:cubicBezTo>
                  <a:cubicBezTo>
                    <a:pt x="470582" y="795294"/>
                    <a:pt x="470582" y="795294"/>
                    <a:pt x="462645" y="795294"/>
                  </a:cubicBezTo>
                  <a:cubicBezTo>
                    <a:pt x="454212" y="795294"/>
                    <a:pt x="454212" y="796782"/>
                    <a:pt x="446274" y="796782"/>
                  </a:cubicBezTo>
                  <a:cubicBezTo>
                    <a:pt x="437841" y="796782"/>
                    <a:pt x="437841" y="796782"/>
                    <a:pt x="429904" y="796782"/>
                  </a:cubicBezTo>
                  <a:cubicBezTo>
                    <a:pt x="421471" y="796782"/>
                    <a:pt x="421471" y="796782"/>
                    <a:pt x="413533" y="796782"/>
                  </a:cubicBezTo>
                  <a:cubicBezTo>
                    <a:pt x="405100" y="796782"/>
                    <a:pt x="405100" y="795790"/>
                    <a:pt x="397163" y="795790"/>
                  </a:cubicBezTo>
                  <a:cubicBezTo>
                    <a:pt x="388730" y="795790"/>
                    <a:pt x="388730" y="795790"/>
                    <a:pt x="380792" y="795790"/>
                  </a:cubicBezTo>
                  <a:cubicBezTo>
                    <a:pt x="372359" y="795790"/>
                    <a:pt x="372359" y="795790"/>
                    <a:pt x="364422" y="795790"/>
                  </a:cubicBezTo>
                  <a:cubicBezTo>
                    <a:pt x="355989" y="795790"/>
                    <a:pt x="355989" y="795294"/>
                    <a:pt x="348051" y="795294"/>
                  </a:cubicBezTo>
                  <a:cubicBezTo>
                    <a:pt x="339618" y="795294"/>
                    <a:pt x="339618" y="797774"/>
                    <a:pt x="331681" y="797774"/>
                  </a:cubicBezTo>
                  <a:cubicBezTo>
                    <a:pt x="323247" y="797774"/>
                    <a:pt x="323247" y="797278"/>
                    <a:pt x="315310" y="797278"/>
                  </a:cubicBezTo>
                  <a:cubicBezTo>
                    <a:pt x="306877" y="797278"/>
                    <a:pt x="306877" y="797278"/>
                    <a:pt x="298940" y="797278"/>
                  </a:cubicBezTo>
                  <a:cubicBezTo>
                    <a:pt x="290506" y="797278"/>
                    <a:pt x="290506" y="797278"/>
                    <a:pt x="282569" y="797278"/>
                  </a:cubicBezTo>
                  <a:cubicBezTo>
                    <a:pt x="274136" y="797278"/>
                    <a:pt x="274136" y="795790"/>
                    <a:pt x="266198" y="795790"/>
                  </a:cubicBezTo>
                  <a:cubicBezTo>
                    <a:pt x="257765" y="795790"/>
                    <a:pt x="257765" y="796782"/>
                    <a:pt x="249828" y="796782"/>
                  </a:cubicBezTo>
                  <a:cubicBezTo>
                    <a:pt x="241394" y="796782"/>
                    <a:pt x="241394" y="796286"/>
                    <a:pt x="233457" y="796286"/>
                  </a:cubicBezTo>
                  <a:cubicBezTo>
                    <a:pt x="225024" y="796286"/>
                    <a:pt x="225024" y="795790"/>
                    <a:pt x="217087" y="795790"/>
                  </a:cubicBezTo>
                  <a:cubicBezTo>
                    <a:pt x="208653" y="795790"/>
                    <a:pt x="208653" y="795294"/>
                    <a:pt x="200716" y="795294"/>
                  </a:cubicBezTo>
                  <a:cubicBezTo>
                    <a:pt x="192283" y="795294"/>
                    <a:pt x="192283" y="796286"/>
                    <a:pt x="184345" y="796286"/>
                  </a:cubicBezTo>
                  <a:cubicBezTo>
                    <a:pt x="175912" y="796286"/>
                    <a:pt x="175912" y="796782"/>
                    <a:pt x="167975" y="796782"/>
                  </a:cubicBezTo>
                  <a:cubicBezTo>
                    <a:pt x="159541" y="796782"/>
                    <a:pt x="159541" y="795790"/>
                    <a:pt x="151604" y="795790"/>
                  </a:cubicBezTo>
                  <a:cubicBezTo>
                    <a:pt x="143171" y="795790"/>
                    <a:pt x="143171" y="795294"/>
                    <a:pt x="135234" y="795294"/>
                  </a:cubicBezTo>
                  <a:cubicBezTo>
                    <a:pt x="126800" y="795294"/>
                    <a:pt x="126800" y="795294"/>
                    <a:pt x="118863" y="795294"/>
                  </a:cubicBezTo>
                  <a:cubicBezTo>
                    <a:pt x="110430" y="795294"/>
                    <a:pt x="110430" y="796286"/>
                    <a:pt x="102492" y="796286"/>
                  </a:cubicBezTo>
                  <a:cubicBezTo>
                    <a:pt x="94059" y="796286"/>
                    <a:pt x="94059" y="795790"/>
                    <a:pt x="86122" y="795790"/>
                  </a:cubicBezTo>
                  <a:cubicBezTo>
                    <a:pt x="77688" y="795790"/>
                    <a:pt x="77688" y="796782"/>
                    <a:pt x="69751" y="796782"/>
                  </a:cubicBezTo>
                  <a:cubicBezTo>
                    <a:pt x="61318" y="796782"/>
                    <a:pt x="61318" y="797774"/>
                    <a:pt x="53381" y="797774"/>
                  </a:cubicBezTo>
                  <a:cubicBezTo>
                    <a:pt x="44947" y="797774"/>
                    <a:pt x="44947" y="797774"/>
                    <a:pt x="37010" y="797774"/>
                  </a:cubicBezTo>
                  <a:cubicBezTo>
                    <a:pt x="28577" y="797774"/>
                    <a:pt x="28577" y="795790"/>
                    <a:pt x="20639" y="795790"/>
                  </a:cubicBezTo>
                  <a:cubicBezTo>
                    <a:pt x="12702" y="795790"/>
                    <a:pt x="9230" y="803727"/>
                    <a:pt x="3277" y="797774"/>
                  </a:cubicBezTo>
                  <a:cubicBezTo>
                    <a:pt x="-2676" y="792317"/>
                    <a:pt x="5261" y="788844"/>
                    <a:pt x="5261" y="780907"/>
                  </a:cubicBezTo>
                  <a:cubicBezTo>
                    <a:pt x="5261" y="772970"/>
                    <a:pt x="2781" y="772970"/>
                    <a:pt x="2781" y="764537"/>
                  </a:cubicBezTo>
                  <a:cubicBezTo>
                    <a:pt x="2781" y="756599"/>
                    <a:pt x="4269" y="756599"/>
                    <a:pt x="4269" y="748662"/>
                  </a:cubicBezTo>
                  <a:cubicBezTo>
                    <a:pt x="4269" y="740725"/>
                    <a:pt x="4765" y="740725"/>
                    <a:pt x="4765" y="732788"/>
                  </a:cubicBezTo>
                  <a:cubicBezTo>
                    <a:pt x="4765" y="724850"/>
                    <a:pt x="4269" y="724850"/>
                    <a:pt x="4269" y="716913"/>
                  </a:cubicBezTo>
                  <a:cubicBezTo>
                    <a:pt x="4269" y="708976"/>
                    <a:pt x="4765" y="708976"/>
                    <a:pt x="4765" y="701039"/>
                  </a:cubicBezTo>
                  <a:cubicBezTo>
                    <a:pt x="4765" y="693101"/>
                    <a:pt x="4269" y="693101"/>
                    <a:pt x="4269" y="685164"/>
                  </a:cubicBezTo>
                  <a:cubicBezTo>
                    <a:pt x="4269" y="677227"/>
                    <a:pt x="2781" y="677227"/>
                    <a:pt x="2781" y="669290"/>
                  </a:cubicBezTo>
                  <a:cubicBezTo>
                    <a:pt x="2781" y="661353"/>
                    <a:pt x="3773" y="661353"/>
                    <a:pt x="3773" y="652919"/>
                  </a:cubicBezTo>
                  <a:cubicBezTo>
                    <a:pt x="3773" y="644982"/>
                    <a:pt x="2781" y="644982"/>
                    <a:pt x="2781" y="636549"/>
                  </a:cubicBezTo>
                  <a:cubicBezTo>
                    <a:pt x="2781" y="628611"/>
                    <a:pt x="3277" y="628611"/>
                    <a:pt x="3277" y="620674"/>
                  </a:cubicBezTo>
                  <a:cubicBezTo>
                    <a:pt x="3277" y="612737"/>
                    <a:pt x="2781" y="612737"/>
                    <a:pt x="2781" y="604800"/>
                  </a:cubicBezTo>
                  <a:cubicBezTo>
                    <a:pt x="2781" y="596862"/>
                    <a:pt x="3277" y="596862"/>
                    <a:pt x="3277" y="588925"/>
                  </a:cubicBezTo>
                  <a:cubicBezTo>
                    <a:pt x="3277" y="580988"/>
                    <a:pt x="3277" y="580988"/>
                    <a:pt x="3277" y="573050"/>
                  </a:cubicBezTo>
                  <a:cubicBezTo>
                    <a:pt x="3277" y="565113"/>
                    <a:pt x="2781" y="565113"/>
                    <a:pt x="2781" y="556680"/>
                  </a:cubicBezTo>
                  <a:cubicBezTo>
                    <a:pt x="2781" y="548743"/>
                    <a:pt x="3773" y="548743"/>
                    <a:pt x="3773" y="540309"/>
                  </a:cubicBezTo>
                  <a:cubicBezTo>
                    <a:pt x="3773" y="532372"/>
                    <a:pt x="2285" y="532372"/>
                    <a:pt x="2285" y="524435"/>
                  </a:cubicBezTo>
                  <a:cubicBezTo>
                    <a:pt x="2285" y="516498"/>
                    <a:pt x="2781" y="516498"/>
                    <a:pt x="2781" y="508560"/>
                  </a:cubicBezTo>
                  <a:cubicBezTo>
                    <a:pt x="2781" y="500623"/>
                    <a:pt x="1789" y="500623"/>
                    <a:pt x="1789" y="492190"/>
                  </a:cubicBezTo>
                  <a:cubicBezTo>
                    <a:pt x="1789" y="484253"/>
                    <a:pt x="3277" y="484253"/>
                    <a:pt x="3277" y="475819"/>
                  </a:cubicBezTo>
                  <a:cubicBezTo>
                    <a:pt x="3277" y="467882"/>
                    <a:pt x="3277" y="467882"/>
                    <a:pt x="3277" y="459449"/>
                  </a:cubicBezTo>
                  <a:cubicBezTo>
                    <a:pt x="3277" y="451511"/>
                    <a:pt x="2285" y="451511"/>
                    <a:pt x="2285" y="443078"/>
                  </a:cubicBezTo>
                  <a:cubicBezTo>
                    <a:pt x="2285" y="435141"/>
                    <a:pt x="1789" y="435141"/>
                    <a:pt x="1789" y="426707"/>
                  </a:cubicBezTo>
                  <a:cubicBezTo>
                    <a:pt x="1789" y="418770"/>
                    <a:pt x="2781" y="418770"/>
                    <a:pt x="2781" y="410337"/>
                  </a:cubicBezTo>
                  <a:cubicBezTo>
                    <a:pt x="2781" y="402400"/>
                    <a:pt x="2781" y="402400"/>
                    <a:pt x="2781" y="393966"/>
                  </a:cubicBezTo>
                  <a:cubicBezTo>
                    <a:pt x="2781" y="386029"/>
                    <a:pt x="2781" y="386029"/>
                    <a:pt x="2781" y="377596"/>
                  </a:cubicBezTo>
                  <a:cubicBezTo>
                    <a:pt x="2781" y="369659"/>
                    <a:pt x="2285" y="369659"/>
                    <a:pt x="2285" y="361225"/>
                  </a:cubicBezTo>
                  <a:cubicBezTo>
                    <a:pt x="2285" y="353288"/>
                    <a:pt x="2285" y="353288"/>
                    <a:pt x="2285" y="344855"/>
                  </a:cubicBezTo>
                  <a:cubicBezTo>
                    <a:pt x="2285" y="336917"/>
                    <a:pt x="2781" y="336917"/>
                    <a:pt x="2781" y="328484"/>
                  </a:cubicBezTo>
                  <a:cubicBezTo>
                    <a:pt x="2781" y="320547"/>
                    <a:pt x="2285" y="320547"/>
                    <a:pt x="2285" y="312114"/>
                  </a:cubicBezTo>
                  <a:cubicBezTo>
                    <a:pt x="2285" y="304176"/>
                    <a:pt x="2285" y="304176"/>
                    <a:pt x="2285" y="295743"/>
                  </a:cubicBezTo>
                  <a:cubicBezTo>
                    <a:pt x="2285" y="287806"/>
                    <a:pt x="2285" y="287806"/>
                    <a:pt x="2285" y="279373"/>
                  </a:cubicBezTo>
                  <a:cubicBezTo>
                    <a:pt x="2285" y="271435"/>
                    <a:pt x="2285" y="271435"/>
                    <a:pt x="2285" y="263498"/>
                  </a:cubicBezTo>
                  <a:cubicBezTo>
                    <a:pt x="2285" y="255561"/>
                    <a:pt x="3773" y="255561"/>
                    <a:pt x="3773" y="247623"/>
                  </a:cubicBezTo>
                  <a:cubicBezTo>
                    <a:pt x="3773" y="239686"/>
                    <a:pt x="2781" y="239686"/>
                    <a:pt x="2781" y="231253"/>
                  </a:cubicBezTo>
                  <a:cubicBezTo>
                    <a:pt x="2781" y="223316"/>
                    <a:pt x="2285" y="223316"/>
                    <a:pt x="2285" y="215378"/>
                  </a:cubicBezTo>
                  <a:cubicBezTo>
                    <a:pt x="2285" y="207441"/>
                    <a:pt x="2781" y="207441"/>
                    <a:pt x="2781" y="199008"/>
                  </a:cubicBezTo>
                  <a:cubicBezTo>
                    <a:pt x="2781" y="191070"/>
                    <a:pt x="2285" y="191070"/>
                    <a:pt x="2285" y="182637"/>
                  </a:cubicBezTo>
                  <a:cubicBezTo>
                    <a:pt x="2285" y="174700"/>
                    <a:pt x="3277" y="174700"/>
                    <a:pt x="3277" y="166267"/>
                  </a:cubicBezTo>
                  <a:cubicBezTo>
                    <a:pt x="3277" y="158329"/>
                    <a:pt x="3773" y="158329"/>
                    <a:pt x="3773" y="149896"/>
                  </a:cubicBezTo>
                  <a:cubicBezTo>
                    <a:pt x="3773" y="141959"/>
                    <a:pt x="3277" y="141959"/>
                    <a:pt x="3277" y="133526"/>
                  </a:cubicBezTo>
                  <a:cubicBezTo>
                    <a:pt x="3277" y="125588"/>
                    <a:pt x="3277" y="125588"/>
                    <a:pt x="3277" y="117155"/>
                  </a:cubicBezTo>
                  <a:cubicBezTo>
                    <a:pt x="3277" y="108722"/>
                    <a:pt x="3773" y="109218"/>
                    <a:pt x="3773" y="100785"/>
                  </a:cubicBezTo>
                  <a:cubicBezTo>
                    <a:pt x="3773" y="92847"/>
                    <a:pt x="3277" y="92847"/>
                    <a:pt x="3277" y="84414"/>
                  </a:cubicBezTo>
                  <a:cubicBezTo>
                    <a:pt x="3277" y="76477"/>
                    <a:pt x="3277" y="76477"/>
                    <a:pt x="3277" y="68043"/>
                  </a:cubicBezTo>
                  <a:cubicBezTo>
                    <a:pt x="3277" y="60106"/>
                    <a:pt x="3277" y="60106"/>
                    <a:pt x="3277" y="51673"/>
                  </a:cubicBezTo>
                  <a:cubicBezTo>
                    <a:pt x="3277" y="43736"/>
                    <a:pt x="2285" y="43736"/>
                    <a:pt x="2285" y="35302"/>
                  </a:cubicBezTo>
                  <a:cubicBezTo>
                    <a:pt x="2285" y="27365"/>
                    <a:pt x="2285" y="27365"/>
                    <a:pt x="2285" y="18932"/>
                  </a:cubicBezTo>
                  <a:cubicBezTo>
                    <a:pt x="2285" y="10498"/>
                    <a:pt x="-3172" y="8018"/>
                    <a:pt x="2781" y="2561"/>
                  </a:cubicBezTo>
                  <a:cubicBezTo>
                    <a:pt x="8237" y="-2896"/>
                    <a:pt x="11214" y="2065"/>
                    <a:pt x="19151" y="2065"/>
                  </a:cubicBezTo>
                  <a:cubicBezTo>
                    <a:pt x="27089" y="2065"/>
                    <a:pt x="27089" y="2561"/>
                    <a:pt x="35026" y="2561"/>
                  </a:cubicBezTo>
                  <a:cubicBezTo>
                    <a:pt x="42963" y="2561"/>
                    <a:pt x="42963" y="1569"/>
                    <a:pt x="50901" y="1569"/>
                  </a:cubicBezTo>
                  <a:cubicBezTo>
                    <a:pt x="58838" y="1569"/>
                    <a:pt x="58838" y="1569"/>
                    <a:pt x="66775" y="1569"/>
                  </a:cubicBezTo>
                  <a:cubicBezTo>
                    <a:pt x="74712" y="1569"/>
                    <a:pt x="74712" y="2065"/>
                    <a:pt x="82649" y="2065"/>
                  </a:cubicBezTo>
                  <a:cubicBezTo>
                    <a:pt x="90587" y="2065"/>
                    <a:pt x="90587" y="3553"/>
                    <a:pt x="98524" y="3553"/>
                  </a:cubicBezTo>
                  <a:cubicBezTo>
                    <a:pt x="106461" y="3553"/>
                    <a:pt x="106461" y="3057"/>
                    <a:pt x="114398" y="3057"/>
                  </a:cubicBezTo>
                  <a:cubicBezTo>
                    <a:pt x="122335" y="3057"/>
                    <a:pt x="122335" y="2561"/>
                    <a:pt x="130273" y="2561"/>
                  </a:cubicBezTo>
                  <a:cubicBezTo>
                    <a:pt x="138210" y="2561"/>
                    <a:pt x="138210" y="3057"/>
                    <a:pt x="146147" y="3057"/>
                  </a:cubicBezTo>
                  <a:cubicBezTo>
                    <a:pt x="154084" y="3057"/>
                    <a:pt x="154084" y="2561"/>
                    <a:pt x="162022" y="2561"/>
                  </a:cubicBezTo>
                  <a:cubicBezTo>
                    <a:pt x="169959" y="2561"/>
                    <a:pt x="169959" y="1569"/>
                    <a:pt x="177896" y="1569"/>
                  </a:cubicBezTo>
                  <a:cubicBezTo>
                    <a:pt x="185834" y="1569"/>
                    <a:pt x="185834" y="4049"/>
                    <a:pt x="193771" y="4049"/>
                  </a:cubicBezTo>
                  <a:cubicBezTo>
                    <a:pt x="201708" y="4049"/>
                    <a:pt x="201708" y="4049"/>
                    <a:pt x="209646" y="4049"/>
                  </a:cubicBezTo>
                  <a:cubicBezTo>
                    <a:pt x="217583" y="4049"/>
                    <a:pt x="217583" y="3553"/>
                    <a:pt x="225520" y="3553"/>
                  </a:cubicBezTo>
                  <a:cubicBezTo>
                    <a:pt x="233457" y="3553"/>
                    <a:pt x="233457" y="3553"/>
                    <a:pt x="241394" y="3553"/>
                  </a:cubicBezTo>
                  <a:cubicBezTo>
                    <a:pt x="249332" y="3553"/>
                    <a:pt x="249332" y="3553"/>
                    <a:pt x="257269" y="3553"/>
                  </a:cubicBezTo>
                  <a:cubicBezTo>
                    <a:pt x="265206" y="3553"/>
                    <a:pt x="265206" y="3057"/>
                    <a:pt x="273143" y="3057"/>
                  </a:cubicBezTo>
                  <a:cubicBezTo>
                    <a:pt x="281080" y="3057"/>
                    <a:pt x="281080" y="3553"/>
                    <a:pt x="289018" y="3553"/>
                  </a:cubicBezTo>
                  <a:cubicBezTo>
                    <a:pt x="296955" y="3553"/>
                    <a:pt x="296955" y="3057"/>
                    <a:pt x="304892" y="3057"/>
                  </a:cubicBezTo>
                  <a:cubicBezTo>
                    <a:pt x="312829" y="3057"/>
                    <a:pt x="312829" y="1073"/>
                    <a:pt x="320766" y="1073"/>
                  </a:cubicBezTo>
                  <a:cubicBezTo>
                    <a:pt x="328704" y="1073"/>
                    <a:pt x="328704" y="3057"/>
                    <a:pt x="336641" y="3057"/>
                  </a:cubicBezTo>
                  <a:cubicBezTo>
                    <a:pt x="344578" y="3057"/>
                    <a:pt x="344578" y="2065"/>
                    <a:pt x="352516" y="2065"/>
                  </a:cubicBezTo>
                  <a:cubicBezTo>
                    <a:pt x="360453" y="2065"/>
                    <a:pt x="360453" y="1569"/>
                    <a:pt x="368390" y="1569"/>
                  </a:cubicBezTo>
                  <a:cubicBezTo>
                    <a:pt x="376328" y="1569"/>
                    <a:pt x="376328" y="3553"/>
                    <a:pt x="384265" y="3553"/>
                  </a:cubicBezTo>
                  <a:cubicBezTo>
                    <a:pt x="392202" y="3553"/>
                    <a:pt x="392202" y="1569"/>
                    <a:pt x="400139" y="1569"/>
                  </a:cubicBezTo>
                  <a:cubicBezTo>
                    <a:pt x="408077" y="1569"/>
                    <a:pt x="408077" y="3553"/>
                    <a:pt x="416014" y="3553"/>
                  </a:cubicBezTo>
                  <a:cubicBezTo>
                    <a:pt x="423951" y="3553"/>
                    <a:pt x="423951" y="2561"/>
                    <a:pt x="431888" y="256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A4B89E9E-AAA5-BDBA-EB37-766859D9D663}"/>
                </a:ext>
              </a:extLst>
            </p:cNvPr>
            <p:cNvSpPr/>
            <p:nvPr/>
          </p:nvSpPr>
          <p:spPr>
            <a:xfrm>
              <a:off x="5853589" y="3585651"/>
              <a:ext cx="2976" cy="720305"/>
            </a:xfrm>
            <a:custGeom>
              <a:avLst/>
              <a:gdLst>
                <a:gd name="connsiteX0" fmla="*/ 992 w 2976"/>
                <a:gd name="connsiteY0" fmla="*/ 0 h 720305"/>
                <a:gd name="connsiteX1" fmla="*/ 496 w 2976"/>
                <a:gd name="connsiteY1" fmla="*/ 16371 h 720305"/>
                <a:gd name="connsiteX2" fmla="*/ 992 w 2976"/>
                <a:gd name="connsiteY2" fmla="*/ 32741 h 720305"/>
                <a:gd name="connsiteX3" fmla="*/ 992 w 2976"/>
                <a:gd name="connsiteY3" fmla="*/ 49112 h 720305"/>
                <a:gd name="connsiteX4" fmla="*/ 496 w 2976"/>
                <a:gd name="connsiteY4" fmla="*/ 65482 h 720305"/>
                <a:gd name="connsiteX5" fmla="*/ 1488 w 2976"/>
                <a:gd name="connsiteY5" fmla="*/ 81853 h 720305"/>
                <a:gd name="connsiteX6" fmla="*/ 1984 w 2976"/>
                <a:gd name="connsiteY6" fmla="*/ 98223 h 720305"/>
                <a:gd name="connsiteX7" fmla="*/ 1488 w 2976"/>
                <a:gd name="connsiteY7" fmla="*/ 114594 h 720305"/>
                <a:gd name="connsiteX8" fmla="*/ 0 w 2976"/>
                <a:gd name="connsiteY8" fmla="*/ 130965 h 720305"/>
                <a:gd name="connsiteX9" fmla="*/ 0 w 2976"/>
                <a:gd name="connsiteY9" fmla="*/ 147335 h 720305"/>
                <a:gd name="connsiteX10" fmla="*/ 496 w 2976"/>
                <a:gd name="connsiteY10" fmla="*/ 163706 h 720305"/>
                <a:gd name="connsiteX11" fmla="*/ 496 w 2976"/>
                <a:gd name="connsiteY11" fmla="*/ 180076 h 720305"/>
                <a:gd name="connsiteX12" fmla="*/ 1488 w 2976"/>
                <a:gd name="connsiteY12" fmla="*/ 196447 h 720305"/>
                <a:gd name="connsiteX13" fmla="*/ 1488 w 2976"/>
                <a:gd name="connsiteY13" fmla="*/ 212818 h 720305"/>
                <a:gd name="connsiteX14" fmla="*/ 0 w 2976"/>
                <a:gd name="connsiteY14" fmla="*/ 229188 h 720305"/>
                <a:gd name="connsiteX15" fmla="*/ 0 w 2976"/>
                <a:gd name="connsiteY15" fmla="*/ 245559 h 720305"/>
                <a:gd name="connsiteX16" fmla="*/ 496 w 2976"/>
                <a:gd name="connsiteY16" fmla="*/ 261929 h 720305"/>
                <a:gd name="connsiteX17" fmla="*/ 992 w 2976"/>
                <a:gd name="connsiteY17" fmla="*/ 278300 h 720305"/>
                <a:gd name="connsiteX18" fmla="*/ 496 w 2976"/>
                <a:gd name="connsiteY18" fmla="*/ 294670 h 720305"/>
                <a:gd name="connsiteX19" fmla="*/ 0 w 2976"/>
                <a:gd name="connsiteY19" fmla="*/ 311041 h 720305"/>
                <a:gd name="connsiteX20" fmla="*/ 496 w 2976"/>
                <a:gd name="connsiteY20" fmla="*/ 327411 h 720305"/>
                <a:gd name="connsiteX21" fmla="*/ 2480 w 2976"/>
                <a:gd name="connsiteY21" fmla="*/ 343782 h 720305"/>
                <a:gd name="connsiteX22" fmla="*/ 2480 w 2976"/>
                <a:gd name="connsiteY22" fmla="*/ 360153 h 720305"/>
                <a:gd name="connsiteX23" fmla="*/ 2480 w 2976"/>
                <a:gd name="connsiteY23" fmla="*/ 376523 h 720305"/>
                <a:gd name="connsiteX24" fmla="*/ 2480 w 2976"/>
                <a:gd name="connsiteY24" fmla="*/ 392894 h 720305"/>
                <a:gd name="connsiteX25" fmla="*/ 496 w 2976"/>
                <a:gd name="connsiteY25" fmla="*/ 409264 h 720305"/>
                <a:gd name="connsiteX26" fmla="*/ 992 w 2976"/>
                <a:gd name="connsiteY26" fmla="*/ 425635 h 720305"/>
                <a:gd name="connsiteX27" fmla="*/ 1984 w 2976"/>
                <a:gd name="connsiteY27" fmla="*/ 442006 h 720305"/>
                <a:gd name="connsiteX28" fmla="*/ 2480 w 2976"/>
                <a:gd name="connsiteY28" fmla="*/ 458376 h 720305"/>
                <a:gd name="connsiteX29" fmla="*/ 496 w 2976"/>
                <a:gd name="connsiteY29" fmla="*/ 474747 h 720305"/>
                <a:gd name="connsiteX30" fmla="*/ 992 w 2976"/>
                <a:gd name="connsiteY30" fmla="*/ 491117 h 720305"/>
                <a:gd name="connsiteX31" fmla="*/ 992 w 2976"/>
                <a:gd name="connsiteY31" fmla="*/ 507488 h 720305"/>
                <a:gd name="connsiteX32" fmla="*/ 992 w 2976"/>
                <a:gd name="connsiteY32" fmla="*/ 523858 h 720305"/>
                <a:gd name="connsiteX33" fmla="*/ 1984 w 2976"/>
                <a:gd name="connsiteY33" fmla="*/ 540229 h 720305"/>
                <a:gd name="connsiteX34" fmla="*/ 1488 w 2976"/>
                <a:gd name="connsiteY34" fmla="*/ 556600 h 720305"/>
                <a:gd name="connsiteX35" fmla="*/ 1984 w 2976"/>
                <a:gd name="connsiteY35" fmla="*/ 572970 h 720305"/>
                <a:gd name="connsiteX36" fmla="*/ 2480 w 2976"/>
                <a:gd name="connsiteY36" fmla="*/ 589341 h 720305"/>
                <a:gd name="connsiteX37" fmla="*/ 1984 w 2976"/>
                <a:gd name="connsiteY37" fmla="*/ 605711 h 720305"/>
                <a:gd name="connsiteX38" fmla="*/ 2976 w 2976"/>
                <a:gd name="connsiteY38" fmla="*/ 622082 h 720305"/>
                <a:gd name="connsiteX39" fmla="*/ 496 w 2976"/>
                <a:gd name="connsiteY39" fmla="*/ 638452 h 720305"/>
                <a:gd name="connsiteX40" fmla="*/ 992 w 2976"/>
                <a:gd name="connsiteY40" fmla="*/ 654823 h 720305"/>
                <a:gd name="connsiteX41" fmla="*/ 2480 w 2976"/>
                <a:gd name="connsiteY41" fmla="*/ 671193 h 720305"/>
                <a:gd name="connsiteX42" fmla="*/ 2480 w 2976"/>
                <a:gd name="connsiteY42" fmla="*/ 687564 h 720305"/>
                <a:gd name="connsiteX43" fmla="*/ 1984 w 2976"/>
                <a:gd name="connsiteY43" fmla="*/ 703935 h 720305"/>
                <a:gd name="connsiteX44" fmla="*/ 1984 w 2976"/>
                <a:gd name="connsiteY44" fmla="*/ 720305 h 72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76" h="720305">
                  <a:moveTo>
                    <a:pt x="992" y="0"/>
                  </a:moveTo>
                  <a:cubicBezTo>
                    <a:pt x="992" y="7937"/>
                    <a:pt x="496" y="7937"/>
                    <a:pt x="496" y="16371"/>
                  </a:cubicBezTo>
                  <a:cubicBezTo>
                    <a:pt x="496" y="24308"/>
                    <a:pt x="992" y="24308"/>
                    <a:pt x="992" y="32741"/>
                  </a:cubicBezTo>
                  <a:cubicBezTo>
                    <a:pt x="992" y="40678"/>
                    <a:pt x="992" y="40678"/>
                    <a:pt x="992" y="49112"/>
                  </a:cubicBezTo>
                  <a:cubicBezTo>
                    <a:pt x="992" y="57049"/>
                    <a:pt x="496" y="57049"/>
                    <a:pt x="496" y="65482"/>
                  </a:cubicBezTo>
                  <a:cubicBezTo>
                    <a:pt x="496" y="73419"/>
                    <a:pt x="1488" y="73419"/>
                    <a:pt x="1488" y="81853"/>
                  </a:cubicBezTo>
                  <a:cubicBezTo>
                    <a:pt x="1488" y="89790"/>
                    <a:pt x="1984" y="89790"/>
                    <a:pt x="1984" y="98223"/>
                  </a:cubicBezTo>
                  <a:cubicBezTo>
                    <a:pt x="1984" y="106161"/>
                    <a:pt x="1488" y="106161"/>
                    <a:pt x="1488" y="114594"/>
                  </a:cubicBezTo>
                  <a:cubicBezTo>
                    <a:pt x="1488" y="122531"/>
                    <a:pt x="0" y="122531"/>
                    <a:pt x="0" y="130965"/>
                  </a:cubicBezTo>
                  <a:cubicBezTo>
                    <a:pt x="0" y="138902"/>
                    <a:pt x="0" y="138902"/>
                    <a:pt x="0" y="147335"/>
                  </a:cubicBezTo>
                  <a:cubicBezTo>
                    <a:pt x="0" y="155272"/>
                    <a:pt x="496" y="155272"/>
                    <a:pt x="496" y="163706"/>
                  </a:cubicBezTo>
                  <a:cubicBezTo>
                    <a:pt x="496" y="171643"/>
                    <a:pt x="496" y="171643"/>
                    <a:pt x="496" y="180076"/>
                  </a:cubicBezTo>
                  <a:cubicBezTo>
                    <a:pt x="496" y="188014"/>
                    <a:pt x="1488" y="188014"/>
                    <a:pt x="1488" y="196447"/>
                  </a:cubicBezTo>
                  <a:cubicBezTo>
                    <a:pt x="1488" y="204880"/>
                    <a:pt x="1488" y="204384"/>
                    <a:pt x="1488" y="212818"/>
                  </a:cubicBezTo>
                  <a:cubicBezTo>
                    <a:pt x="1488" y="220755"/>
                    <a:pt x="0" y="220755"/>
                    <a:pt x="0" y="229188"/>
                  </a:cubicBezTo>
                  <a:cubicBezTo>
                    <a:pt x="0" y="237125"/>
                    <a:pt x="0" y="237125"/>
                    <a:pt x="0" y="245559"/>
                  </a:cubicBezTo>
                  <a:cubicBezTo>
                    <a:pt x="0" y="253496"/>
                    <a:pt x="496" y="253496"/>
                    <a:pt x="496" y="261929"/>
                  </a:cubicBezTo>
                  <a:cubicBezTo>
                    <a:pt x="496" y="269867"/>
                    <a:pt x="992" y="269867"/>
                    <a:pt x="992" y="278300"/>
                  </a:cubicBezTo>
                  <a:cubicBezTo>
                    <a:pt x="992" y="286237"/>
                    <a:pt x="496" y="286237"/>
                    <a:pt x="496" y="294670"/>
                  </a:cubicBezTo>
                  <a:cubicBezTo>
                    <a:pt x="496" y="302608"/>
                    <a:pt x="0" y="302608"/>
                    <a:pt x="0" y="311041"/>
                  </a:cubicBezTo>
                  <a:cubicBezTo>
                    <a:pt x="0" y="318978"/>
                    <a:pt x="496" y="318978"/>
                    <a:pt x="496" y="327411"/>
                  </a:cubicBezTo>
                  <a:cubicBezTo>
                    <a:pt x="496" y="335349"/>
                    <a:pt x="2480" y="335349"/>
                    <a:pt x="2480" y="343782"/>
                  </a:cubicBezTo>
                  <a:cubicBezTo>
                    <a:pt x="2480" y="351719"/>
                    <a:pt x="2480" y="351719"/>
                    <a:pt x="2480" y="360153"/>
                  </a:cubicBezTo>
                  <a:cubicBezTo>
                    <a:pt x="2480" y="368090"/>
                    <a:pt x="2480" y="368090"/>
                    <a:pt x="2480" y="376523"/>
                  </a:cubicBezTo>
                  <a:cubicBezTo>
                    <a:pt x="2480" y="384460"/>
                    <a:pt x="2480" y="384460"/>
                    <a:pt x="2480" y="392894"/>
                  </a:cubicBezTo>
                  <a:cubicBezTo>
                    <a:pt x="2480" y="400831"/>
                    <a:pt x="496" y="400831"/>
                    <a:pt x="496" y="409264"/>
                  </a:cubicBezTo>
                  <a:cubicBezTo>
                    <a:pt x="496" y="417202"/>
                    <a:pt x="992" y="417202"/>
                    <a:pt x="992" y="425635"/>
                  </a:cubicBezTo>
                  <a:cubicBezTo>
                    <a:pt x="992" y="433572"/>
                    <a:pt x="1984" y="433572"/>
                    <a:pt x="1984" y="442006"/>
                  </a:cubicBezTo>
                  <a:cubicBezTo>
                    <a:pt x="1984" y="449943"/>
                    <a:pt x="2480" y="449943"/>
                    <a:pt x="2480" y="458376"/>
                  </a:cubicBezTo>
                  <a:cubicBezTo>
                    <a:pt x="2480" y="466313"/>
                    <a:pt x="496" y="466313"/>
                    <a:pt x="496" y="474747"/>
                  </a:cubicBezTo>
                  <a:cubicBezTo>
                    <a:pt x="496" y="482684"/>
                    <a:pt x="992" y="482684"/>
                    <a:pt x="992" y="491117"/>
                  </a:cubicBezTo>
                  <a:cubicBezTo>
                    <a:pt x="992" y="499055"/>
                    <a:pt x="992" y="499055"/>
                    <a:pt x="992" y="507488"/>
                  </a:cubicBezTo>
                  <a:cubicBezTo>
                    <a:pt x="992" y="515425"/>
                    <a:pt x="992" y="515425"/>
                    <a:pt x="992" y="523858"/>
                  </a:cubicBezTo>
                  <a:cubicBezTo>
                    <a:pt x="992" y="531796"/>
                    <a:pt x="1984" y="531796"/>
                    <a:pt x="1984" y="540229"/>
                  </a:cubicBezTo>
                  <a:cubicBezTo>
                    <a:pt x="1984" y="548166"/>
                    <a:pt x="1488" y="548166"/>
                    <a:pt x="1488" y="556600"/>
                  </a:cubicBezTo>
                  <a:cubicBezTo>
                    <a:pt x="1488" y="564537"/>
                    <a:pt x="1984" y="564537"/>
                    <a:pt x="1984" y="572970"/>
                  </a:cubicBezTo>
                  <a:cubicBezTo>
                    <a:pt x="1984" y="580907"/>
                    <a:pt x="2480" y="580907"/>
                    <a:pt x="2480" y="589341"/>
                  </a:cubicBezTo>
                  <a:cubicBezTo>
                    <a:pt x="2480" y="597278"/>
                    <a:pt x="1984" y="597278"/>
                    <a:pt x="1984" y="605711"/>
                  </a:cubicBezTo>
                  <a:cubicBezTo>
                    <a:pt x="1984" y="613648"/>
                    <a:pt x="2976" y="613648"/>
                    <a:pt x="2976" y="622082"/>
                  </a:cubicBezTo>
                  <a:cubicBezTo>
                    <a:pt x="2976" y="630019"/>
                    <a:pt x="496" y="630019"/>
                    <a:pt x="496" y="638452"/>
                  </a:cubicBezTo>
                  <a:cubicBezTo>
                    <a:pt x="496" y="646389"/>
                    <a:pt x="992" y="646389"/>
                    <a:pt x="992" y="654823"/>
                  </a:cubicBezTo>
                  <a:cubicBezTo>
                    <a:pt x="992" y="662760"/>
                    <a:pt x="2480" y="662760"/>
                    <a:pt x="2480" y="671193"/>
                  </a:cubicBezTo>
                  <a:cubicBezTo>
                    <a:pt x="2480" y="679131"/>
                    <a:pt x="2480" y="679131"/>
                    <a:pt x="2480" y="687564"/>
                  </a:cubicBezTo>
                  <a:cubicBezTo>
                    <a:pt x="2480" y="695501"/>
                    <a:pt x="1984" y="695501"/>
                    <a:pt x="1984" y="703935"/>
                  </a:cubicBezTo>
                  <a:cubicBezTo>
                    <a:pt x="1984" y="712368"/>
                    <a:pt x="1984" y="711872"/>
                    <a:pt x="1984" y="7203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19D35135-B56D-CFE3-36D3-F6BB09307AF9}"/>
                </a:ext>
              </a:extLst>
            </p:cNvPr>
            <p:cNvSpPr/>
            <p:nvPr/>
          </p:nvSpPr>
          <p:spPr>
            <a:xfrm>
              <a:off x="6327344" y="3638731"/>
              <a:ext cx="3472" cy="794220"/>
            </a:xfrm>
            <a:custGeom>
              <a:avLst/>
              <a:gdLst>
                <a:gd name="connsiteX0" fmla="*/ 2480 w 3472"/>
                <a:gd name="connsiteY0" fmla="*/ 0 h 794220"/>
                <a:gd name="connsiteX1" fmla="*/ 992 w 3472"/>
                <a:gd name="connsiteY1" fmla="*/ 15875 h 794220"/>
                <a:gd name="connsiteX2" fmla="*/ 2976 w 3472"/>
                <a:gd name="connsiteY2" fmla="*/ 32245 h 794220"/>
                <a:gd name="connsiteX3" fmla="*/ 1488 w 3472"/>
                <a:gd name="connsiteY3" fmla="*/ 48120 h 794220"/>
                <a:gd name="connsiteX4" fmla="*/ 992 w 3472"/>
                <a:gd name="connsiteY4" fmla="*/ 63994 h 794220"/>
                <a:gd name="connsiteX5" fmla="*/ 2976 w 3472"/>
                <a:gd name="connsiteY5" fmla="*/ 79868 h 794220"/>
                <a:gd name="connsiteX6" fmla="*/ 992 w 3472"/>
                <a:gd name="connsiteY6" fmla="*/ 95743 h 794220"/>
                <a:gd name="connsiteX7" fmla="*/ 2480 w 3472"/>
                <a:gd name="connsiteY7" fmla="*/ 111618 h 794220"/>
                <a:gd name="connsiteX8" fmla="*/ 1984 w 3472"/>
                <a:gd name="connsiteY8" fmla="*/ 127492 h 794220"/>
                <a:gd name="connsiteX9" fmla="*/ 1984 w 3472"/>
                <a:gd name="connsiteY9" fmla="*/ 143863 h 794220"/>
                <a:gd name="connsiteX10" fmla="*/ 1984 w 3472"/>
                <a:gd name="connsiteY10" fmla="*/ 160233 h 794220"/>
                <a:gd name="connsiteX11" fmla="*/ 1488 w 3472"/>
                <a:gd name="connsiteY11" fmla="*/ 176108 h 794220"/>
                <a:gd name="connsiteX12" fmla="*/ 992 w 3472"/>
                <a:gd name="connsiteY12" fmla="*/ 191982 h 794220"/>
                <a:gd name="connsiteX13" fmla="*/ 1488 w 3472"/>
                <a:gd name="connsiteY13" fmla="*/ 207857 h 794220"/>
                <a:gd name="connsiteX14" fmla="*/ 1488 w 3472"/>
                <a:gd name="connsiteY14" fmla="*/ 223731 h 794220"/>
                <a:gd name="connsiteX15" fmla="*/ 1984 w 3472"/>
                <a:gd name="connsiteY15" fmla="*/ 240102 h 794220"/>
                <a:gd name="connsiteX16" fmla="*/ 0 w 3472"/>
                <a:gd name="connsiteY16" fmla="*/ 256472 h 794220"/>
                <a:gd name="connsiteX17" fmla="*/ 0 w 3472"/>
                <a:gd name="connsiteY17" fmla="*/ 272347 h 794220"/>
                <a:gd name="connsiteX18" fmla="*/ 992 w 3472"/>
                <a:gd name="connsiteY18" fmla="*/ 288221 h 794220"/>
                <a:gd name="connsiteX19" fmla="*/ 1488 w 3472"/>
                <a:gd name="connsiteY19" fmla="*/ 304592 h 794220"/>
                <a:gd name="connsiteX20" fmla="*/ 0 w 3472"/>
                <a:gd name="connsiteY20" fmla="*/ 320962 h 794220"/>
                <a:gd name="connsiteX21" fmla="*/ 992 w 3472"/>
                <a:gd name="connsiteY21" fmla="*/ 337333 h 794220"/>
                <a:gd name="connsiteX22" fmla="*/ 496 w 3472"/>
                <a:gd name="connsiteY22" fmla="*/ 353704 h 794220"/>
                <a:gd name="connsiteX23" fmla="*/ 496 w 3472"/>
                <a:gd name="connsiteY23" fmla="*/ 370074 h 794220"/>
                <a:gd name="connsiteX24" fmla="*/ 1488 w 3472"/>
                <a:gd name="connsiteY24" fmla="*/ 386445 h 794220"/>
                <a:gd name="connsiteX25" fmla="*/ 992 w 3472"/>
                <a:gd name="connsiteY25" fmla="*/ 402815 h 794220"/>
                <a:gd name="connsiteX26" fmla="*/ 1984 w 3472"/>
                <a:gd name="connsiteY26" fmla="*/ 419186 h 794220"/>
                <a:gd name="connsiteX27" fmla="*/ 2480 w 3472"/>
                <a:gd name="connsiteY27" fmla="*/ 435556 h 794220"/>
                <a:gd name="connsiteX28" fmla="*/ 2480 w 3472"/>
                <a:gd name="connsiteY28" fmla="*/ 451927 h 794220"/>
                <a:gd name="connsiteX29" fmla="*/ 1488 w 3472"/>
                <a:gd name="connsiteY29" fmla="*/ 468298 h 794220"/>
                <a:gd name="connsiteX30" fmla="*/ 992 w 3472"/>
                <a:gd name="connsiteY30" fmla="*/ 484668 h 794220"/>
                <a:gd name="connsiteX31" fmla="*/ 992 w 3472"/>
                <a:gd name="connsiteY31" fmla="*/ 501039 h 794220"/>
                <a:gd name="connsiteX32" fmla="*/ 1984 w 3472"/>
                <a:gd name="connsiteY32" fmla="*/ 517409 h 794220"/>
                <a:gd name="connsiteX33" fmla="*/ 2480 w 3472"/>
                <a:gd name="connsiteY33" fmla="*/ 533284 h 794220"/>
                <a:gd name="connsiteX34" fmla="*/ 992 w 3472"/>
                <a:gd name="connsiteY34" fmla="*/ 549158 h 794220"/>
                <a:gd name="connsiteX35" fmla="*/ 992 w 3472"/>
                <a:gd name="connsiteY35" fmla="*/ 565529 h 794220"/>
                <a:gd name="connsiteX36" fmla="*/ 2480 w 3472"/>
                <a:gd name="connsiteY36" fmla="*/ 581403 h 794220"/>
                <a:gd name="connsiteX37" fmla="*/ 496 w 3472"/>
                <a:gd name="connsiteY37" fmla="*/ 597774 h 794220"/>
                <a:gd name="connsiteX38" fmla="*/ 1984 w 3472"/>
                <a:gd name="connsiteY38" fmla="*/ 614144 h 794220"/>
                <a:gd name="connsiteX39" fmla="*/ 1488 w 3472"/>
                <a:gd name="connsiteY39" fmla="*/ 630515 h 794220"/>
                <a:gd name="connsiteX40" fmla="*/ 1984 w 3472"/>
                <a:gd name="connsiteY40" fmla="*/ 646886 h 794220"/>
                <a:gd name="connsiteX41" fmla="*/ 2480 w 3472"/>
                <a:gd name="connsiteY41" fmla="*/ 663256 h 794220"/>
                <a:gd name="connsiteX42" fmla="*/ 1488 w 3472"/>
                <a:gd name="connsiteY42" fmla="*/ 679627 h 794220"/>
                <a:gd name="connsiteX43" fmla="*/ 1984 w 3472"/>
                <a:gd name="connsiteY43" fmla="*/ 695997 h 794220"/>
                <a:gd name="connsiteX44" fmla="*/ 2480 w 3472"/>
                <a:gd name="connsiteY44" fmla="*/ 712368 h 794220"/>
                <a:gd name="connsiteX45" fmla="*/ 992 w 3472"/>
                <a:gd name="connsiteY45" fmla="*/ 728739 h 794220"/>
                <a:gd name="connsiteX46" fmla="*/ 992 w 3472"/>
                <a:gd name="connsiteY46" fmla="*/ 745109 h 794220"/>
                <a:gd name="connsiteX47" fmla="*/ 992 w 3472"/>
                <a:gd name="connsiteY47" fmla="*/ 761480 h 794220"/>
                <a:gd name="connsiteX48" fmla="*/ 1984 w 3472"/>
                <a:gd name="connsiteY48" fmla="*/ 777850 h 794220"/>
                <a:gd name="connsiteX49" fmla="*/ 3472 w 3472"/>
                <a:gd name="connsiteY49" fmla="*/ 794221 h 79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472" h="794220">
                  <a:moveTo>
                    <a:pt x="2480" y="0"/>
                  </a:moveTo>
                  <a:cubicBezTo>
                    <a:pt x="2480" y="7937"/>
                    <a:pt x="992" y="7937"/>
                    <a:pt x="992" y="15875"/>
                  </a:cubicBezTo>
                  <a:cubicBezTo>
                    <a:pt x="992" y="23812"/>
                    <a:pt x="2976" y="23812"/>
                    <a:pt x="2976" y="32245"/>
                  </a:cubicBezTo>
                  <a:cubicBezTo>
                    <a:pt x="2976" y="40182"/>
                    <a:pt x="1488" y="40182"/>
                    <a:pt x="1488" y="48120"/>
                  </a:cubicBezTo>
                  <a:cubicBezTo>
                    <a:pt x="1488" y="56057"/>
                    <a:pt x="992" y="56057"/>
                    <a:pt x="992" y="63994"/>
                  </a:cubicBezTo>
                  <a:cubicBezTo>
                    <a:pt x="992" y="71931"/>
                    <a:pt x="2976" y="71931"/>
                    <a:pt x="2976" y="79868"/>
                  </a:cubicBezTo>
                  <a:cubicBezTo>
                    <a:pt x="2976" y="87806"/>
                    <a:pt x="992" y="87806"/>
                    <a:pt x="992" y="95743"/>
                  </a:cubicBezTo>
                  <a:cubicBezTo>
                    <a:pt x="992" y="103680"/>
                    <a:pt x="2480" y="103680"/>
                    <a:pt x="2480" y="111618"/>
                  </a:cubicBezTo>
                  <a:cubicBezTo>
                    <a:pt x="2480" y="119555"/>
                    <a:pt x="1984" y="119555"/>
                    <a:pt x="1984" y="127492"/>
                  </a:cubicBezTo>
                  <a:cubicBezTo>
                    <a:pt x="1984" y="135429"/>
                    <a:pt x="1984" y="135429"/>
                    <a:pt x="1984" y="143863"/>
                  </a:cubicBezTo>
                  <a:cubicBezTo>
                    <a:pt x="1984" y="151800"/>
                    <a:pt x="1984" y="151800"/>
                    <a:pt x="1984" y="160233"/>
                  </a:cubicBezTo>
                  <a:cubicBezTo>
                    <a:pt x="1984" y="168171"/>
                    <a:pt x="1488" y="168171"/>
                    <a:pt x="1488" y="176108"/>
                  </a:cubicBezTo>
                  <a:cubicBezTo>
                    <a:pt x="1488" y="184045"/>
                    <a:pt x="992" y="184045"/>
                    <a:pt x="992" y="191982"/>
                  </a:cubicBezTo>
                  <a:cubicBezTo>
                    <a:pt x="992" y="199919"/>
                    <a:pt x="1488" y="199919"/>
                    <a:pt x="1488" y="207857"/>
                  </a:cubicBezTo>
                  <a:cubicBezTo>
                    <a:pt x="1488" y="215794"/>
                    <a:pt x="1488" y="215794"/>
                    <a:pt x="1488" y="223731"/>
                  </a:cubicBezTo>
                  <a:cubicBezTo>
                    <a:pt x="1488" y="231668"/>
                    <a:pt x="1984" y="231668"/>
                    <a:pt x="1984" y="240102"/>
                  </a:cubicBezTo>
                  <a:cubicBezTo>
                    <a:pt x="1984" y="248039"/>
                    <a:pt x="0" y="248039"/>
                    <a:pt x="0" y="256472"/>
                  </a:cubicBezTo>
                  <a:cubicBezTo>
                    <a:pt x="0" y="264409"/>
                    <a:pt x="0" y="264409"/>
                    <a:pt x="0" y="272347"/>
                  </a:cubicBezTo>
                  <a:cubicBezTo>
                    <a:pt x="0" y="280284"/>
                    <a:pt x="992" y="280284"/>
                    <a:pt x="992" y="288221"/>
                  </a:cubicBezTo>
                  <a:cubicBezTo>
                    <a:pt x="992" y="296159"/>
                    <a:pt x="1488" y="296159"/>
                    <a:pt x="1488" y="304592"/>
                  </a:cubicBezTo>
                  <a:cubicBezTo>
                    <a:pt x="1488" y="312529"/>
                    <a:pt x="0" y="312529"/>
                    <a:pt x="0" y="320962"/>
                  </a:cubicBezTo>
                  <a:cubicBezTo>
                    <a:pt x="0" y="328900"/>
                    <a:pt x="992" y="328900"/>
                    <a:pt x="992" y="337333"/>
                  </a:cubicBezTo>
                  <a:cubicBezTo>
                    <a:pt x="992" y="345270"/>
                    <a:pt x="496" y="345270"/>
                    <a:pt x="496" y="353704"/>
                  </a:cubicBezTo>
                  <a:cubicBezTo>
                    <a:pt x="496" y="361641"/>
                    <a:pt x="496" y="361641"/>
                    <a:pt x="496" y="370074"/>
                  </a:cubicBezTo>
                  <a:cubicBezTo>
                    <a:pt x="496" y="378011"/>
                    <a:pt x="1488" y="378011"/>
                    <a:pt x="1488" y="386445"/>
                  </a:cubicBezTo>
                  <a:cubicBezTo>
                    <a:pt x="1488" y="394382"/>
                    <a:pt x="992" y="394382"/>
                    <a:pt x="992" y="402815"/>
                  </a:cubicBezTo>
                  <a:cubicBezTo>
                    <a:pt x="992" y="410752"/>
                    <a:pt x="1984" y="410752"/>
                    <a:pt x="1984" y="419186"/>
                  </a:cubicBezTo>
                  <a:cubicBezTo>
                    <a:pt x="1984" y="427123"/>
                    <a:pt x="2480" y="427123"/>
                    <a:pt x="2480" y="435556"/>
                  </a:cubicBezTo>
                  <a:cubicBezTo>
                    <a:pt x="2480" y="443494"/>
                    <a:pt x="2480" y="443494"/>
                    <a:pt x="2480" y="451927"/>
                  </a:cubicBezTo>
                  <a:cubicBezTo>
                    <a:pt x="2480" y="459864"/>
                    <a:pt x="1488" y="459864"/>
                    <a:pt x="1488" y="468298"/>
                  </a:cubicBezTo>
                  <a:cubicBezTo>
                    <a:pt x="1488" y="476235"/>
                    <a:pt x="992" y="476235"/>
                    <a:pt x="992" y="484668"/>
                  </a:cubicBezTo>
                  <a:cubicBezTo>
                    <a:pt x="992" y="492605"/>
                    <a:pt x="992" y="492605"/>
                    <a:pt x="992" y="501039"/>
                  </a:cubicBezTo>
                  <a:cubicBezTo>
                    <a:pt x="992" y="508976"/>
                    <a:pt x="1984" y="508976"/>
                    <a:pt x="1984" y="517409"/>
                  </a:cubicBezTo>
                  <a:cubicBezTo>
                    <a:pt x="1984" y="525347"/>
                    <a:pt x="2480" y="525347"/>
                    <a:pt x="2480" y="533284"/>
                  </a:cubicBezTo>
                  <a:cubicBezTo>
                    <a:pt x="2480" y="541221"/>
                    <a:pt x="992" y="541221"/>
                    <a:pt x="992" y="549158"/>
                  </a:cubicBezTo>
                  <a:cubicBezTo>
                    <a:pt x="992" y="557095"/>
                    <a:pt x="992" y="557095"/>
                    <a:pt x="992" y="565529"/>
                  </a:cubicBezTo>
                  <a:cubicBezTo>
                    <a:pt x="992" y="573466"/>
                    <a:pt x="2480" y="573466"/>
                    <a:pt x="2480" y="581403"/>
                  </a:cubicBezTo>
                  <a:cubicBezTo>
                    <a:pt x="2480" y="589341"/>
                    <a:pt x="496" y="589341"/>
                    <a:pt x="496" y="597774"/>
                  </a:cubicBezTo>
                  <a:cubicBezTo>
                    <a:pt x="496" y="605711"/>
                    <a:pt x="1984" y="605711"/>
                    <a:pt x="1984" y="614144"/>
                  </a:cubicBezTo>
                  <a:cubicBezTo>
                    <a:pt x="1984" y="622082"/>
                    <a:pt x="1488" y="622082"/>
                    <a:pt x="1488" y="630515"/>
                  </a:cubicBezTo>
                  <a:cubicBezTo>
                    <a:pt x="1488" y="638452"/>
                    <a:pt x="1984" y="638452"/>
                    <a:pt x="1984" y="646886"/>
                  </a:cubicBezTo>
                  <a:cubicBezTo>
                    <a:pt x="1984" y="654823"/>
                    <a:pt x="2480" y="654823"/>
                    <a:pt x="2480" y="663256"/>
                  </a:cubicBezTo>
                  <a:cubicBezTo>
                    <a:pt x="2480" y="671193"/>
                    <a:pt x="1488" y="671193"/>
                    <a:pt x="1488" y="679627"/>
                  </a:cubicBezTo>
                  <a:cubicBezTo>
                    <a:pt x="1488" y="687564"/>
                    <a:pt x="1984" y="687564"/>
                    <a:pt x="1984" y="695997"/>
                  </a:cubicBezTo>
                  <a:cubicBezTo>
                    <a:pt x="1984" y="703935"/>
                    <a:pt x="2480" y="703935"/>
                    <a:pt x="2480" y="712368"/>
                  </a:cubicBezTo>
                  <a:cubicBezTo>
                    <a:pt x="2480" y="720305"/>
                    <a:pt x="992" y="720305"/>
                    <a:pt x="992" y="728739"/>
                  </a:cubicBezTo>
                  <a:cubicBezTo>
                    <a:pt x="992" y="736676"/>
                    <a:pt x="992" y="736676"/>
                    <a:pt x="992" y="745109"/>
                  </a:cubicBezTo>
                  <a:cubicBezTo>
                    <a:pt x="992" y="753046"/>
                    <a:pt x="992" y="753046"/>
                    <a:pt x="992" y="761480"/>
                  </a:cubicBezTo>
                  <a:cubicBezTo>
                    <a:pt x="992" y="769417"/>
                    <a:pt x="1984" y="769417"/>
                    <a:pt x="1984" y="777850"/>
                  </a:cubicBezTo>
                  <a:cubicBezTo>
                    <a:pt x="1984" y="785788"/>
                    <a:pt x="3472" y="785788"/>
                    <a:pt x="3472" y="794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88F28B17-B169-BFC9-B629-D814931FCA54}"/>
                </a:ext>
              </a:extLst>
            </p:cNvPr>
            <p:cNvSpPr/>
            <p:nvPr/>
          </p:nvSpPr>
          <p:spPr>
            <a:xfrm>
              <a:off x="6025232" y="3927448"/>
              <a:ext cx="634" cy="12897"/>
            </a:xfrm>
            <a:custGeom>
              <a:avLst/>
              <a:gdLst>
                <a:gd name="connsiteX0" fmla="*/ 496 w 634"/>
                <a:gd name="connsiteY0" fmla="*/ 0 h 12897"/>
                <a:gd name="connsiteX1" fmla="*/ 0 w 634"/>
                <a:gd name="connsiteY1" fmla="*/ 12898 h 1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" h="12897">
                  <a:moveTo>
                    <a:pt x="496" y="0"/>
                  </a:moveTo>
                  <a:cubicBezTo>
                    <a:pt x="992" y="6449"/>
                    <a:pt x="0" y="6449"/>
                    <a:pt x="0" y="128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F9C4A560-EF16-8869-81D9-B839185F6B8E}"/>
                </a:ext>
              </a:extLst>
            </p:cNvPr>
            <p:cNvSpPr/>
            <p:nvPr/>
          </p:nvSpPr>
          <p:spPr>
            <a:xfrm>
              <a:off x="5943751" y="3883794"/>
              <a:ext cx="108765" cy="147389"/>
            </a:xfrm>
            <a:custGeom>
              <a:avLst/>
              <a:gdLst>
                <a:gd name="connsiteX0" fmla="*/ 108765 w 108765"/>
                <a:gd name="connsiteY0" fmla="*/ 74908 h 147389"/>
                <a:gd name="connsiteX1" fmla="*/ 105292 w 108765"/>
                <a:gd name="connsiteY1" fmla="*/ 91278 h 147389"/>
                <a:gd name="connsiteX2" fmla="*/ 101820 w 108765"/>
                <a:gd name="connsiteY2" fmla="*/ 107649 h 147389"/>
                <a:gd name="connsiteX3" fmla="*/ 93387 w 108765"/>
                <a:gd name="connsiteY3" fmla="*/ 122035 h 147389"/>
                <a:gd name="connsiteX4" fmla="*/ 82473 w 108765"/>
                <a:gd name="connsiteY4" fmla="*/ 134437 h 147389"/>
                <a:gd name="connsiteX5" fmla="*/ 68583 w 108765"/>
                <a:gd name="connsiteY5" fmla="*/ 142870 h 147389"/>
                <a:gd name="connsiteX6" fmla="*/ 52212 w 108765"/>
                <a:gd name="connsiteY6" fmla="*/ 147335 h 147389"/>
                <a:gd name="connsiteX7" fmla="*/ 36338 w 108765"/>
                <a:gd name="connsiteY7" fmla="*/ 142374 h 147389"/>
                <a:gd name="connsiteX8" fmla="*/ 22943 w 108765"/>
                <a:gd name="connsiteY8" fmla="*/ 132453 h 147389"/>
                <a:gd name="connsiteX9" fmla="*/ 11534 w 108765"/>
                <a:gd name="connsiteY9" fmla="*/ 120051 h 147389"/>
                <a:gd name="connsiteX10" fmla="*/ 3596 w 108765"/>
                <a:gd name="connsiteY10" fmla="*/ 105168 h 147389"/>
                <a:gd name="connsiteX11" fmla="*/ 620 w 108765"/>
                <a:gd name="connsiteY11" fmla="*/ 88798 h 147389"/>
                <a:gd name="connsiteX12" fmla="*/ 124 w 108765"/>
                <a:gd name="connsiteY12" fmla="*/ 72427 h 147389"/>
                <a:gd name="connsiteX13" fmla="*/ 2108 w 108765"/>
                <a:gd name="connsiteY13" fmla="*/ 56057 h 147389"/>
                <a:gd name="connsiteX14" fmla="*/ 6573 w 108765"/>
                <a:gd name="connsiteY14" fmla="*/ 40182 h 147389"/>
                <a:gd name="connsiteX15" fmla="*/ 12526 w 108765"/>
                <a:gd name="connsiteY15" fmla="*/ 24308 h 147389"/>
                <a:gd name="connsiteX16" fmla="*/ 23936 w 108765"/>
                <a:gd name="connsiteY16" fmla="*/ 11906 h 147389"/>
                <a:gd name="connsiteX17" fmla="*/ 38818 w 108765"/>
                <a:gd name="connsiteY17" fmla="*/ 4465 h 147389"/>
                <a:gd name="connsiteX18" fmla="*/ 55189 w 108765"/>
                <a:gd name="connsiteY18" fmla="*/ 0 h 147389"/>
                <a:gd name="connsiteX19" fmla="*/ 71559 w 108765"/>
                <a:gd name="connsiteY19" fmla="*/ 4465 h 147389"/>
                <a:gd name="connsiteX20" fmla="*/ 85449 w 108765"/>
                <a:gd name="connsiteY20" fmla="*/ 13890 h 147389"/>
                <a:gd name="connsiteX21" fmla="*/ 94379 w 108765"/>
                <a:gd name="connsiteY21" fmla="*/ 27780 h 147389"/>
                <a:gd name="connsiteX22" fmla="*/ 103308 w 108765"/>
                <a:gd name="connsiteY22" fmla="*/ 42167 h 147389"/>
                <a:gd name="connsiteX23" fmla="*/ 107277 w 108765"/>
                <a:gd name="connsiteY23" fmla="*/ 58537 h 147389"/>
                <a:gd name="connsiteX24" fmla="*/ 108765 w 108765"/>
                <a:gd name="connsiteY24" fmla="*/ 74908 h 14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765" h="147389">
                  <a:moveTo>
                    <a:pt x="108765" y="74908"/>
                  </a:moveTo>
                  <a:cubicBezTo>
                    <a:pt x="108765" y="80861"/>
                    <a:pt x="106781" y="85821"/>
                    <a:pt x="105292" y="91278"/>
                  </a:cubicBezTo>
                  <a:cubicBezTo>
                    <a:pt x="104300" y="96735"/>
                    <a:pt x="103804" y="102688"/>
                    <a:pt x="101820" y="107649"/>
                  </a:cubicBezTo>
                  <a:cubicBezTo>
                    <a:pt x="99836" y="113106"/>
                    <a:pt x="96363" y="117570"/>
                    <a:pt x="93387" y="122035"/>
                  </a:cubicBezTo>
                  <a:cubicBezTo>
                    <a:pt x="89914" y="126996"/>
                    <a:pt x="86442" y="130964"/>
                    <a:pt x="82473" y="134437"/>
                  </a:cubicBezTo>
                  <a:cubicBezTo>
                    <a:pt x="78008" y="138406"/>
                    <a:pt x="73544" y="140886"/>
                    <a:pt x="68583" y="142870"/>
                  </a:cubicBezTo>
                  <a:cubicBezTo>
                    <a:pt x="63622" y="144855"/>
                    <a:pt x="58165" y="147831"/>
                    <a:pt x="52212" y="147335"/>
                  </a:cubicBezTo>
                  <a:cubicBezTo>
                    <a:pt x="46755" y="147335"/>
                    <a:pt x="41299" y="144359"/>
                    <a:pt x="36338" y="142374"/>
                  </a:cubicBezTo>
                  <a:cubicBezTo>
                    <a:pt x="31377" y="140390"/>
                    <a:pt x="27408" y="136421"/>
                    <a:pt x="22943" y="132453"/>
                  </a:cubicBezTo>
                  <a:cubicBezTo>
                    <a:pt x="18975" y="128980"/>
                    <a:pt x="14510" y="125011"/>
                    <a:pt x="11534" y="120051"/>
                  </a:cubicBezTo>
                  <a:cubicBezTo>
                    <a:pt x="8557" y="115586"/>
                    <a:pt x="5581" y="110625"/>
                    <a:pt x="3596" y="105168"/>
                  </a:cubicBezTo>
                  <a:cubicBezTo>
                    <a:pt x="1612" y="100208"/>
                    <a:pt x="1612" y="94255"/>
                    <a:pt x="620" y="88798"/>
                  </a:cubicBezTo>
                  <a:cubicBezTo>
                    <a:pt x="-372" y="83341"/>
                    <a:pt x="124" y="77884"/>
                    <a:pt x="124" y="72427"/>
                  </a:cubicBezTo>
                  <a:cubicBezTo>
                    <a:pt x="124" y="66474"/>
                    <a:pt x="1116" y="61513"/>
                    <a:pt x="2108" y="56057"/>
                  </a:cubicBezTo>
                  <a:cubicBezTo>
                    <a:pt x="3100" y="50600"/>
                    <a:pt x="4589" y="45143"/>
                    <a:pt x="6573" y="40182"/>
                  </a:cubicBezTo>
                  <a:cubicBezTo>
                    <a:pt x="8557" y="34725"/>
                    <a:pt x="9054" y="28772"/>
                    <a:pt x="12526" y="24308"/>
                  </a:cubicBezTo>
                  <a:cubicBezTo>
                    <a:pt x="15998" y="19347"/>
                    <a:pt x="19967" y="15378"/>
                    <a:pt x="23936" y="11906"/>
                  </a:cubicBezTo>
                  <a:cubicBezTo>
                    <a:pt x="28400" y="7937"/>
                    <a:pt x="33858" y="6449"/>
                    <a:pt x="38818" y="4465"/>
                  </a:cubicBezTo>
                  <a:cubicBezTo>
                    <a:pt x="43779" y="2480"/>
                    <a:pt x="49236" y="0"/>
                    <a:pt x="55189" y="0"/>
                  </a:cubicBezTo>
                  <a:cubicBezTo>
                    <a:pt x="60645" y="0"/>
                    <a:pt x="66599" y="1984"/>
                    <a:pt x="71559" y="4465"/>
                  </a:cubicBezTo>
                  <a:cubicBezTo>
                    <a:pt x="76520" y="6449"/>
                    <a:pt x="81481" y="9922"/>
                    <a:pt x="85449" y="13890"/>
                  </a:cubicBezTo>
                  <a:cubicBezTo>
                    <a:pt x="89418" y="17363"/>
                    <a:pt x="91402" y="22819"/>
                    <a:pt x="94379" y="27780"/>
                  </a:cubicBezTo>
                  <a:cubicBezTo>
                    <a:pt x="97355" y="32245"/>
                    <a:pt x="101324" y="36710"/>
                    <a:pt x="103308" y="42167"/>
                  </a:cubicBezTo>
                  <a:cubicBezTo>
                    <a:pt x="105292" y="47127"/>
                    <a:pt x="106285" y="52584"/>
                    <a:pt x="107277" y="58537"/>
                  </a:cubicBezTo>
                  <a:cubicBezTo>
                    <a:pt x="108765" y="63498"/>
                    <a:pt x="108765" y="69451"/>
                    <a:pt x="108765" y="7490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B9DA8A03-7A64-8010-C28F-9C89B935F7DF}"/>
                </a:ext>
              </a:extLst>
            </p:cNvPr>
            <p:cNvSpPr/>
            <p:nvPr/>
          </p:nvSpPr>
          <p:spPr>
            <a:xfrm>
              <a:off x="5987530" y="3981025"/>
              <a:ext cx="61513" cy="13954"/>
            </a:xfrm>
            <a:custGeom>
              <a:avLst/>
              <a:gdLst>
                <a:gd name="connsiteX0" fmla="*/ 0 w 61513"/>
                <a:gd name="connsiteY0" fmla="*/ 0 h 13954"/>
                <a:gd name="connsiteX1" fmla="*/ 14882 w 61513"/>
                <a:gd name="connsiteY1" fmla="*/ 8929 h 13954"/>
                <a:gd name="connsiteX2" fmla="*/ 31749 w 61513"/>
                <a:gd name="connsiteY2" fmla="*/ 13890 h 13954"/>
                <a:gd name="connsiteX3" fmla="*/ 48119 w 61513"/>
                <a:gd name="connsiteY3" fmla="*/ 9426 h 13954"/>
                <a:gd name="connsiteX4" fmla="*/ 61513 w 61513"/>
                <a:gd name="connsiteY4" fmla="*/ 0 h 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3" h="13954">
                  <a:moveTo>
                    <a:pt x="0" y="0"/>
                  </a:moveTo>
                  <a:cubicBezTo>
                    <a:pt x="6945" y="5457"/>
                    <a:pt x="6449" y="4961"/>
                    <a:pt x="14882" y="8929"/>
                  </a:cubicBezTo>
                  <a:cubicBezTo>
                    <a:pt x="19843" y="10914"/>
                    <a:pt x="25796" y="13394"/>
                    <a:pt x="31749" y="13890"/>
                  </a:cubicBezTo>
                  <a:cubicBezTo>
                    <a:pt x="37206" y="14386"/>
                    <a:pt x="42663" y="11906"/>
                    <a:pt x="48119" y="9426"/>
                  </a:cubicBezTo>
                  <a:cubicBezTo>
                    <a:pt x="52584" y="7441"/>
                    <a:pt x="57545" y="4961"/>
                    <a:pt x="615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A68A8734-EC40-CC53-7156-A0E675B3E801}"/>
                </a:ext>
              </a:extLst>
            </p:cNvPr>
            <p:cNvSpPr/>
            <p:nvPr/>
          </p:nvSpPr>
          <p:spPr>
            <a:xfrm>
              <a:off x="5985546" y="4060893"/>
              <a:ext cx="97231" cy="148327"/>
            </a:xfrm>
            <a:custGeom>
              <a:avLst/>
              <a:gdLst>
                <a:gd name="connsiteX0" fmla="*/ 0 w 97231"/>
                <a:gd name="connsiteY0" fmla="*/ 0 h 148327"/>
                <a:gd name="connsiteX1" fmla="*/ 7441 w 97231"/>
                <a:gd name="connsiteY1" fmla="*/ 14386 h 148327"/>
                <a:gd name="connsiteX2" fmla="*/ 15874 w 97231"/>
                <a:gd name="connsiteY2" fmla="*/ 28277 h 148327"/>
                <a:gd name="connsiteX3" fmla="*/ 24804 w 97231"/>
                <a:gd name="connsiteY3" fmla="*/ 41671 h 148327"/>
                <a:gd name="connsiteX4" fmla="*/ 34230 w 97231"/>
                <a:gd name="connsiteY4" fmla="*/ 54569 h 148327"/>
                <a:gd name="connsiteX5" fmla="*/ 42663 w 97231"/>
                <a:gd name="connsiteY5" fmla="*/ 67963 h 148327"/>
                <a:gd name="connsiteX6" fmla="*/ 51592 w 97231"/>
                <a:gd name="connsiteY6" fmla="*/ 81357 h 148327"/>
                <a:gd name="connsiteX7" fmla="*/ 59529 w 97231"/>
                <a:gd name="connsiteY7" fmla="*/ 95743 h 148327"/>
                <a:gd name="connsiteX8" fmla="*/ 67466 w 97231"/>
                <a:gd name="connsiteY8" fmla="*/ 109633 h 148327"/>
                <a:gd name="connsiteX9" fmla="*/ 76892 w 97231"/>
                <a:gd name="connsiteY9" fmla="*/ 122531 h 148327"/>
                <a:gd name="connsiteX10" fmla="*/ 86814 w 97231"/>
                <a:gd name="connsiteY10" fmla="*/ 135430 h 148327"/>
                <a:gd name="connsiteX11" fmla="*/ 97231 w 97231"/>
                <a:gd name="connsiteY11" fmla="*/ 148327 h 14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231" h="148327">
                  <a:moveTo>
                    <a:pt x="0" y="0"/>
                  </a:moveTo>
                  <a:cubicBezTo>
                    <a:pt x="4465" y="6945"/>
                    <a:pt x="1984" y="5953"/>
                    <a:pt x="7441" y="14386"/>
                  </a:cubicBezTo>
                  <a:cubicBezTo>
                    <a:pt x="9922" y="18355"/>
                    <a:pt x="12402" y="22820"/>
                    <a:pt x="15874" y="28277"/>
                  </a:cubicBezTo>
                  <a:cubicBezTo>
                    <a:pt x="18355" y="32741"/>
                    <a:pt x="21828" y="36710"/>
                    <a:pt x="24804" y="41671"/>
                  </a:cubicBezTo>
                  <a:cubicBezTo>
                    <a:pt x="27780" y="46135"/>
                    <a:pt x="31253" y="50104"/>
                    <a:pt x="34230" y="54569"/>
                  </a:cubicBezTo>
                  <a:cubicBezTo>
                    <a:pt x="37206" y="59033"/>
                    <a:pt x="40182" y="63498"/>
                    <a:pt x="42663" y="67963"/>
                  </a:cubicBezTo>
                  <a:cubicBezTo>
                    <a:pt x="45639" y="72428"/>
                    <a:pt x="48615" y="76892"/>
                    <a:pt x="51592" y="81357"/>
                  </a:cubicBezTo>
                  <a:cubicBezTo>
                    <a:pt x="54569" y="85822"/>
                    <a:pt x="56553" y="91278"/>
                    <a:pt x="59529" y="95743"/>
                  </a:cubicBezTo>
                  <a:cubicBezTo>
                    <a:pt x="62506" y="100208"/>
                    <a:pt x="64986" y="105665"/>
                    <a:pt x="67466" y="109633"/>
                  </a:cubicBezTo>
                  <a:cubicBezTo>
                    <a:pt x="70443" y="114594"/>
                    <a:pt x="73916" y="118563"/>
                    <a:pt x="76892" y="122531"/>
                  </a:cubicBezTo>
                  <a:cubicBezTo>
                    <a:pt x="80364" y="127492"/>
                    <a:pt x="83837" y="131461"/>
                    <a:pt x="86814" y="135430"/>
                  </a:cubicBezTo>
                  <a:cubicBezTo>
                    <a:pt x="92270" y="142374"/>
                    <a:pt x="95743" y="148327"/>
                    <a:pt x="97231" y="1483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937239CA-2B30-6580-C8ED-182161428291}"/>
                </a:ext>
              </a:extLst>
            </p:cNvPr>
            <p:cNvSpPr/>
            <p:nvPr/>
          </p:nvSpPr>
          <p:spPr>
            <a:xfrm>
              <a:off x="6019776" y="4051468"/>
              <a:ext cx="71931" cy="140389"/>
            </a:xfrm>
            <a:custGeom>
              <a:avLst/>
              <a:gdLst>
                <a:gd name="connsiteX0" fmla="*/ 0 w 71931"/>
                <a:gd name="connsiteY0" fmla="*/ 0 h 140389"/>
                <a:gd name="connsiteX1" fmla="*/ 5457 w 71931"/>
                <a:gd name="connsiteY1" fmla="*/ 14882 h 140389"/>
                <a:gd name="connsiteX2" fmla="*/ 14386 w 71931"/>
                <a:gd name="connsiteY2" fmla="*/ 27780 h 140389"/>
                <a:gd name="connsiteX3" fmla="*/ 19843 w 71931"/>
                <a:gd name="connsiteY3" fmla="*/ 42663 h 140389"/>
                <a:gd name="connsiteX4" fmla="*/ 29268 w 71931"/>
                <a:gd name="connsiteY4" fmla="*/ 55561 h 140389"/>
                <a:gd name="connsiteX5" fmla="*/ 35717 w 71931"/>
                <a:gd name="connsiteY5" fmla="*/ 69947 h 140389"/>
                <a:gd name="connsiteX6" fmla="*/ 42663 w 71931"/>
                <a:gd name="connsiteY6" fmla="*/ 83837 h 140389"/>
                <a:gd name="connsiteX7" fmla="*/ 50104 w 71931"/>
                <a:gd name="connsiteY7" fmla="*/ 97727 h 140389"/>
                <a:gd name="connsiteX8" fmla="*/ 58041 w 71931"/>
                <a:gd name="connsiteY8" fmla="*/ 111618 h 140389"/>
                <a:gd name="connsiteX9" fmla="*/ 63994 w 71931"/>
                <a:gd name="connsiteY9" fmla="*/ 126500 h 140389"/>
                <a:gd name="connsiteX10" fmla="*/ 71931 w 71931"/>
                <a:gd name="connsiteY10" fmla="*/ 140390 h 14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931" h="140389">
                  <a:moveTo>
                    <a:pt x="0" y="0"/>
                  </a:moveTo>
                  <a:cubicBezTo>
                    <a:pt x="3472" y="6945"/>
                    <a:pt x="1984" y="7937"/>
                    <a:pt x="5457" y="14882"/>
                  </a:cubicBezTo>
                  <a:cubicBezTo>
                    <a:pt x="8929" y="21827"/>
                    <a:pt x="10913" y="20835"/>
                    <a:pt x="14386" y="27780"/>
                  </a:cubicBezTo>
                  <a:cubicBezTo>
                    <a:pt x="17859" y="34725"/>
                    <a:pt x="15874" y="35718"/>
                    <a:pt x="19843" y="42663"/>
                  </a:cubicBezTo>
                  <a:cubicBezTo>
                    <a:pt x="23315" y="49608"/>
                    <a:pt x="25300" y="48616"/>
                    <a:pt x="29268" y="55561"/>
                  </a:cubicBezTo>
                  <a:cubicBezTo>
                    <a:pt x="32741" y="62506"/>
                    <a:pt x="31749" y="63002"/>
                    <a:pt x="35717" y="69947"/>
                  </a:cubicBezTo>
                  <a:cubicBezTo>
                    <a:pt x="39190" y="76892"/>
                    <a:pt x="39190" y="76892"/>
                    <a:pt x="42663" y="83837"/>
                  </a:cubicBezTo>
                  <a:cubicBezTo>
                    <a:pt x="46135" y="90782"/>
                    <a:pt x="46135" y="90782"/>
                    <a:pt x="50104" y="97727"/>
                  </a:cubicBezTo>
                  <a:cubicBezTo>
                    <a:pt x="53576" y="104672"/>
                    <a:pt x="54569" y="104176"/>
                    <a:pt x="58041" y="111618"/>
                  </a:cubicBezTo>
                  <a:cubicBezTo>
                    <a:pt x="61513" y="118562"/>
                    <a:pt x="60521" y="119059"/>
                    <a:pt x="63994" y="126500"/>
                  </a:cubicBezTo>
                  <a:cubicBezTo>
                    <a:pt x="67466" y="133445"/>
                    <a:pt x="68458" y="132949"/>
                    <a:pt x="71931" y="1403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62C18F8C-2B27-CE4E-BB48-7C9AE3F5127E}"/>
                </a:ext>
              </a:extLst>
            </p:cNvPr>
            <p:cNvSpPr/>
            <p:nvPr/>
          </p:nvSpPr>
          <p:spPr>
            <a:xfrm>
              <a:off x="6084266" y="4174290"/>
              <a:ext cx="42696" cy="28977"/>
            </a:xfrm>
            <a:custGeom>
              <a:avLst/>
              <a:gdLst>
                <a:gd name="connsiteX0" fmla="*/ 15874 w 42696"/>
                <a:gd name="connsiteY0" fmla="*/ 28978 h 28977"/>
                <a:gd name="connsiteX1" fmla="*/ 31749 w 42696"/>
                <a:gd name="connsiteY1" fmla="*/ 19553 h 28977"/>
                <a:gd name="connsiteX2" fmla="*/ 42663 w 42696"/>
                <a:gd name="connsiteY2" fmla="*/ 5166 h 28977"/>
                <a:gd name="connsiteX3" fmla="*/ 29268 w 42696"/>
                <a:gd name="connsiteY3" fmla="*/ 205 h 28977"/>
                <a:gd name="connsiteX4" fmla="*/ 14386 w 42696"/>
                <a:gd name="connsiteY4" fmla="*/ 701 h 28977"/>
                <a:gd name="connsiteX5" fmla="*/ 0 w 42696"/>
                <a:gd name="connsiteY5" fmla="*/ 4670 h 2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96" h="28977">
                  <a:moveTo>
                    <a:pt x="15874" y="28978"/>
                  </a:moveTo>
                  <a:cubicBezTo>
                    <a:pt x="23315" y="23521"/>
                    <a:pt x="24804" y="25505"/>
                    <a:pt x="31749" y="19553"/>
                  </a:cubicBezTo>
                  <a:cubicBezTo>
                    <a:pt x="38198" y="14592"/>
                    <a:pt x="43159" y="7647"/>
                    <a:pt x="42663" y="5166"/>
                  </a:cubicBezTo>
                  <a:cubicBezTo>
                    <a:pt x="42167" y="2686"/>
                    <a:pt x="36709" y="701"/>
                    <a:pt x="29268" y="205"/>
                  </a:cubicBezTo>
                  <a:cubicBezTo>
                    <a:pt x="24804" y="-291"/>
                    <a:pt x="19347" y="205"/>
                    <a:pt x="14386" y="701"/>
                  </a:cubicBezTo>
                  <a:cubicBezTo>
                    <a:pt x="8929" y="1198"/>
                    <a:pt x="3472" y="2190"/>
                    <a:pt x="0" y="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34019C3-8634-B10F-7DFC-3A802FD6A651}"/>
                </a:ext>
              </a:extLst>
            </p:cNvPr>
            <p:cNvSpPr/>
            <p:nvPr/>
          </p:nvSpPr>
          <p:spPr>
            <a:xfrm>
              <a:off x="6125440" y="4195826"/>
              <a:ext cx="12401" cy="17858"/>
            </a:xfrm>
            <a:custGeom>
              <a:avLst/>
              <a:gdLst>
                <a:gd name="connsiteX0" fmla="*/ 0 w 12401"/>
                <a:gd name="connsiteY0" fmla="*/ 0 h 17858"/>
                <a:gd name="connsiteX1" fmla="*/ 12402 w 12401"/>
                <a:gd name="connsiteY1" fmla="*/ 17859 h 1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01" h="17858">
                  <a:moveTo>
                    <a:pt x="0" y="0"/>
                  </a:moveTo>
                  <a:cubicBezTo>
                    <a:pt x="6945" y="8433"/>
                    <a:pt x="5953" y="9426"/>
                    <a:pt x="12402" y="17859"/>
                  </a:cubicBezTo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7219C7F3-502B-201D-32E0-55237560090F}"/>
                </a:ext>
              </a:extLst>
            </p:cNvPr>
            <p:cNvSpPr/>
            <p:nvPr/>
          </p:nvSpPr>
          <p:spPr>
            <a:xfrm>
              <a:off x="6089226" y="4152172"/>
              <a:ext cx="15874" cy="22323"/>
            </a:xfrm>
            <a:custGeom>
              <a:avLst/>
              <a:gdLst>
                <a:gd name="connsiteX0" fmla="*/ 0 w 15874"/>
                <a:gd name="connsiteY0" fmla="*/ 0 h 22323"/>
                <a:gd name="connsiteX1" fmla="*/ 8433 w 15874"/>
                <a:gd name="connsiteY1" fmla="*/ 10914 h 22323"/>
                <a:gd name="connsiteX2" fmla="*/ 15874 w 15874"/>
                <a:gd name="connsiteY2" fmla="*/ 22324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4" h="22323">
                  <a:moveTo>
                    <a:pt x="0" y="0"/>
                  </a:moveTo>
                  <a:cubicBezTo>
                    <a:pt x="4464" y="5457"/>
                    <a:pt x="4464" y="5457"/>
                    <a:pt x="8433" y="10914"/>
                  </a:cubicBezTo>
                  <a:cubicBezTo>
                    <a:pt x="12898" y="16371"/>
                    <a:pt x="11409" y="17363"/>
                    <a:pt x="15874" y="223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61F3BD0F-EE86-C2C1-EAEA-D1F623D0976A}"/>
                </a:ext>
              </a:extLst>
            </p:cNvPr>
            <p:cNvSpPr/>
            <p:nvPr/>
          </p:nvSpPr>
          <p:spPr>
            <a:xfrm>
              <a:off x="6137842" y="4212197"/>
              <a:ext cx="2675" cy="2806"/>
            </a:xfrm>
            <a:custGeom>
              <a:avLst/>
              <a:gdLst>
                <a:gd name="connsiteX0" fmla="*/ 1984 w 2675"/>
                <a:gd name="connsiteY0" fmla="*/ 2480 h 2806"/>
                <a:gd name="connsiteX1" fmla="*/ 0 w 2675"/>
                <a:gd name="connsiteY1" fmla="*/ 1984 h 2806"/>
                <a:gd name="connsiteX2" fmla="*/ 1488 w 2675"/>
                <a:gd name="connsiteY2" fmla="*/ 0 h 2806"/>
                <a:gd name="connsiteX3" fmla="*/ 1984 w 2675"/>
                <a:gd name="connsiteY3" fmla="*/ 2480 h 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5" h="2806">
                  <a:moveTo>
                    <a:pt x="1984" y="2480"/>
                  </a:moveTo>
                  <a:cubicBezTo>
                    <a:pt x="1488" y="2977"/>
                    <a:pt x="0" y="2977"/>
                    <a:pt x="0" y="1984"/>
                  </a:cubicBezTo>
                  <a:cubicBezTo>
                    <a:pt x="0" y="496"/>
                    <a:pt x="0" y="0"/>
                    <a:pt x="1488" y="0"/>
                  </a:cubicBezTo>
                  <a:cubicBezTo>
                    <a:pt x="2976" y="0"/>
                    <a:pt x="2976" y="1984"/>
                    <a:pt x="1984" y="2480"/>
                  </a:cubicBezTo>
                  <a:close/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8A681313-5302-F143-1ECB-F71F41EEF2BB}"/>
                </a:ext>
              </a:extLst>
            </p:cNvPr>
            <p:cNvSpPr/>
            <p:nvPr/>
          </p:nvSpPr>
          <p:spPr>
            <a:xfrm>
              <a:off x="6113038" y="4156283"/>
              <a:ext cx="166096" cy="76252"/>
            </a:xfrm>
            <a:custGeom>
              <a:avLst/>
              <a:gdLst>
                <a:gd name="connsiteX0" fmla="*/ 0 w 166096"/>
                <a:gd name="connsiteY0" fmla="*/ 76253 h 76252"/>
                <a:gd name="connsiteX1" fmla="*/ 16371 w 166096"/>
                <a:gd name="connsiteY1" fmla="*/ 75261 h 76252"/>
                <a:gd name="connsiteX2" fmla="*/ 32741 w 166096"/>
                <a:gd name="connsiteY2" fmla="*/ 72780 h 76252"/>
                <a:gd name="connsiteX3" fmla="*/ 49112 w 166096"/>
                <a:gd name="connsiteY3" fmla="*/ 71788 h 76252"/>
                <a:gd name="connsiteX4" fmla="*/ 65483 w 166096"/>
                <a:gd name="connsiteY4" fmla="*/ 69804 h 76252"/>
                <a:gd name="connsiteX5" fmla="*/ 81853 w 166096"/>
                <a:gd name="connsiteY5" fmla="*/ 66331 h 76252"/>
                <a:gd name="connsiteX6" fmla="*/ 98720 w 166096"/>
                <a:gd name="connsiteY6" fmla="*/ 66331 h 76252"/>
                <a:gd name="connsiteX7" fmla="*/ 115090 w 166096"/>
                <a:gd name="connsiteY7" fmla="*/ 62859 h 76252"/>
                <a:gd name="connsiteX8" fmla="*/ 131957 w 166096"/>
                <a:gd name="connsiteY8" fmla="*/ 62859 h 76252"/>
                <a:gd name="connsiteX9" fmla="*/ 148327 w 166096"/>
                <a:gd name="connsiteY9" fmla="*/ 60874 h 76252"/>
                <a:gd name="connsiteX10" fmla="*/ 165690 w 166096"/>
                <a:gd name="connsiteY10" fmla="*/ 58890 h 76252"/>
                <a:gd name="connsiteX11" fmla="*/ 152296 w 166096"/>
                <a:gd name="connsiteY11" fmla="*/ 49465 h 76252"/>
                <a:gd name="connsiteX12" fmla="*/ 138406 w 166096"/>
                <a:gd name="connsiteY12" fmla="*/ 43016 h 76252"/>
                <a:gd name="connsiteX13" fmla="*/ 126996 w 166096"/>
                <a:gd name="connsiteY13" fmla="*/ 33094 h 76252"/>
                <a:gd name="connsiteX14" fmla="*/ 113602 w 166096"/>
                <a:gd name="connsiteY14" fmla="*/ 26149 h 76252"/>
                <a:gd name="connsiteX15" fmla="*/ 101200 w 166096"/>
                <a:gd name="connsiteY15" fmla="*/ 17716 h 76252"/>
                <a:gd name="connsiteX16" fmla="*/ 88302 w 166096"/>
                <a:gd name="connsiteY16" fmla="*/ 9778 h 76252"/>
                <a:gd name="connsiteX17" fmla="*/ 75900 w 166096"/>
                <a:gd name="connsiteY17" fmla="*/ 849 h 76252"/>
                <a:gd name="connsiteX18" fmla="*/ 59033 w 166096"/>
                <a:gd name="connsiteY18" fmla="*/ 1841 h 76252"/>
                <a:gd name="connsiteX19" fmla="*/ 42167 w 166096"/>
                <a:gd name="connsiteY19" fmla="*/ 4818 h 76252"/>
                <a:gd name="connsiteX20" fmla="*/ 25300 w 166096"/>
                <a:gd name="connsiteY20" fmla="*/ 6802 h 76252"/>
                <a:gd name="connsiteX21" fmla="*/ 8434 w 166096"/>
                <a:gd name="connsiteY21" fmla="*/ 6802 h 7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6096" h="76252">
                  <a:moveTo>
                    <a:pt x="0" y="76253"/>
                  </a:moveTo>
                  <a:cubicBezTo>
                    <a:pt x="8434" y="75261"/>
                    <a:pt x="8434" y="76253"/>
                    <a:pt x="16371" y="75261"/>
                  </a:cubicBezTo>
                  <a:cubicBezTo>
                    <a:pt x="24804" y="74269"/>
                    <a:pt x="24308" y="73773"/>
                    <a:pt x="32741" y="72780"/>
                  </a:cubicBezTo>
                  <a:cubicBezTo>
                    <a:pt x="41175" y="71788"/>
                    <a:pt x="41175" y="72780"/>
                    <a:pt x="49112" y="71788"/>
                  </a:cubicBezTo>
                  <a:cubicBezTo>
                    <a:pt x="57545" y="70796"/>
                    <a:pt x="57545" y="70796"/>
                    <a:pt x="65483" y="69804"/>
                  </a:cubicBezTo>
                  <a:cubicBezTo>
                    <a:pt x="73916" y="68812"/>
                    <a:pt x="73420" y="67324"/>
                    <a:pt x="81853" y="66331"/>
                  </a:cubicBezTo>
                  <a:cubicBezTo>
                    <a:pt x="90287" y="65339"/>
                    <a:pt x="90287" y="67324"/>
                    <a:pt x="98720" y="66331"/>
                  </a:cubicBezTo>
                  <a:cubicBezTo>
                    <a:pt x="107153" y="65339"/>
                    <a:pt x="106657" y="63851"/>
                    <a:pt x="115090" y="62859"/>
                  </a:cubicBezTo>
                  <a:cubicBezTo>
                    <a:pt x="123524" y="61867"/>
                    <a:pt x="123524" y="63851"/>
                    <a:pt x="131957" y="62859"/>
                  </a:cubicBezTo>
                  <a:cubicBezTo>
                    <a:pt x="140390" y="61867"/>
                    <a:pt x="140390" y="61867"/>
                    <a:pt x="148327" y="60874"/>
                  </a:cubicBezTo>
                  <a:cubicBezTo>
                    <a:pt x="156761" y="59882"/>
                    <a:pt x="162714" y="66331"/>
                    <a:pt x="165690" y="58890"/>
                  </a:cubicBezTo>
                  <a:cubicBezTo>
                    <a:pt x="168171" y="51945"/>
                    <a:pt x="158745" y="53433"/>
                    <a:pt x="152296" y="49465"/>
                  </a:cubicBezTo>
                  <a:cubicBezTo>
                    <a:pt x="145847" y="45496"/>
                    <a:pt x="144855" y="46984"/>
                    <a:pt x="138406" y="43016"/>
                  </a:cubicBezTo>
                  <a:cubicBezTo>
                    <a:pt x="131957" y="39047"/>
                    <a:pt x="133445" y="37063"/>
                    <a:pt x="126996" y="33094"/>
                  </a:cubicBezTo>
                  <a:cubicBezTo>
                    <a:pt x="120547" y="29126"/>
                    <a:pt x="119555" y="30614"/>
                    <a:pt x="113602" y="26149"/>
                  </a:cubicBezTo>
                  <a:cubicBezTo>
                    <a:pt x="107153" y="22180"/>
                    <a:pt x="107649" y="21684"/>
                    <a:pt x="101200" y="17716"/>
                  </a:cubicBezTo>
                  <a:cubicBezTo>
                    <a:pt x="94751" y="13747"/>
                    <a:pt x="94751" y="13747"/>
                    <a:pt x="88302" y="9778"/>
                  </a:cubicBezTo>
                  <a:cubicBezTo>
                    <a:pt x="81853" y="5810"/>
                    <a:pt x="83341" y="2834"/>
                    <a:pt x="75900" y="849"/>
                  </a:cubicBezTo>
                  <a:cubicBezTo>
                    <a:pt x="67466" y="-1135"/>
                    <a:pt x="67466" y="849"/>
                    <a:pt x="59033" y="1841"/>
                  </a:cubicBezTo>
                  <a:cubicBezTo>
                    <a:pt x="50600" y="2834"/>
                    <a:pt x="50600" y="3825"/>
                    <a:pt x="42167" y="4818"/>
                  </a:cubicBezTo>
                  <a:cubicBezTo>
                    <a:pt x="33734" y="5810"/>
                    <a:pt x="33734" y="6306"/>
                    <a:pt x="25300" y="6802"/>
                  </a:cubicBezTo>
                  <a:cubicBezTo>
                    <a:pt x="16867" y="7794"/>
                    <a:pt x="16867" y="6306"/>
                    <a:pt x="8434" y="68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91F53D95-7C9E-6370-B333-C35D2A2CC4AB}"/>
                </a:ext>
              </a:extLst>
            </p:cNvPr>
            <p:cNvSpPr/>
            <p:nvPr/>
          </p:nvSpPr>
          <p:spPr>
            <a:xfrm>
              <a:off x="5920560" y="4006325"/>
              <a:ext cx="38197" cy="107153"/>
            </a:xfrm>
            <a:custGeom>
              <a:avLst/>
              <a:gdLst>
                <a:gd name="connsiteX0" fmla="*/ 38198 w 38197"/>
                <a:gd name="connsiteY0" fmla="*/ 0 h 107153"/>
                <a:gd name="connsiteX1" fmla="*/ 31749 w 38197"/>
                <a:gd name="connsiteY1" fmla="*/ 14882 h 107153"/>
                <a:gd name="connsiteX2" fmla="*/ 25796 w 38197"/>
                <a:gd name="connsiteY2" fmla="*/ 30261 h 107153"/>
                <a:gd name="connsiteX3" fmla="*/ 21827 w 38197"/>
                <a:gd name="connsiteY3" fmla="*/ 46135 h 107153"/>
                <a:gd name="connsiteX4" fmla="*/ 16370 w 38197"/>
                <a:gd name="connsiteY4" fmla="*/ 61514 h 107153"/>
                <a:gd name="connsiteX5" fmla="*/ 10418 w 38197"/>
                <a:gd name="connsiteY5" fmla="*/ 76396 h 107153"/>
                <a:gd name="connsiteX6" fmla="*/ 5457 w 38197"/>
                <a:gd name="connsiteY6" fmla="*/ 91774 h 107153"/>
                <a:gd name="connsiteX7" fmla="*/ 0 w 38197"/>
                <a:gd name="connsiteY7" fmla="*/ 107153 h 10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7" h="107153">
                  <a:moveTo>
                    <a:pt x="38198" y="0"/>
                  </a:moveTo>
                  <a:cubicBezTo>
                    <a:pt x="35717" y="7441"/>
                    <a:pt x="34229" y="7441"/>
                    <a:pt x="31749" y="14882"/>
                  </a:cubicBezTo>
                  <a:cubicBezTo>
                    <a:pt x="29268" y="22324"/>
                    <a:pt x="28772" y="22324"/>
                    <a:pt x="25796" y="30261"/>
                  </a:cubicBezTo>
                  <a:cubicBezTo>
                    <a:pt x="23315" y="37702"/>
                    <a:pt x="24804" y="38694"/>
                    <a:pt x="21827" y="46135"/>
                  </a:cubicBezTo>
                  <a:cubicBezTo>
                    <a:pt x="19347" y="53577"/>
                    <a:pt x="19347" y="54073"/>
                    <a:pt x="16370" y="61514"/>
                  </a:cubicBezTo>
                  <a:cubicBezTo>
                    <a:pt x="13890" y="68955"/>
                    <a:pt x="12898" y="68955"/>
                    <a:pt x="10418" y="76396"/>
                  </a:cubicBezTo>
                  <a:cubicBezTo>
                    <a:pt x="7937" y="83837"/>
                    <a:pt x="8433" y="84333"/>
                    <a:pt x="5457" y="91774"/>
                  </a:cubicBezTo>
                  <a:cubicBezTo>
                    <a:pt x="2480" y="99216"/>
                    <a:pt x="2976" y="99712"/>
                    <a:pt x="0" y="1071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6D281C96-BC53-05F4-CD9C-E2FE52E02FD5}"/>
                </a:ext>
              </a:extLst>
            </p:cNvPr>
            <p:cNvSpPr/>
            <p:nvPr/>
          </p:nvSpPr>
          <p:spPr>
            <a:xfrm>
              <a:off x="6004893" y="4100579"/>
              <a:ext cx="37205" cy="283756"/>
            </a:xfrm>
            <a:custGeom>
              <a:avLst/>
              <a:gdLst>
                <a:gd name="connsiteX0" fmla="*/ 496 w 37205"/>
                <a:gd name="connsiteY0" fmla="*/ 0 h 283756"/>
                <a:gd name="connsiteX1" fmla="*/ 0 w 37205"/>
                <a:gd name="connsiteY1" fmla="*/ 16867 h 283756"/>
                <a:gd name="connsiteX2" fmla="*/ 0 w 37205"/>
                <a:gd name="connsiteY2" fmla="*/ 33734 h 283756"/>
                <a:gd name="connsiteX3" fmla="*/ 0 w 37205"/>
                <a:gd name="connsiteY3" fmla="*/ 50600 h 283756"/>
                <a:gd name="connsiteX4" fmla="*/ 496 w 37205"/>
                <a:gd name="connsiteY4" fmla="*/ 67467 h 283756"/>
                <a:gd name="connsiteX5" fmla="*/ 496 w 37205"/>
                <a:gd name="connsiteY5" fmla="*/ 84333 h 283756"/>
                <a:gd name="connsiteX6" fmla="*/ 496 w 37205"/>
                <a:gd name="connsiteY6" fmla="*/ 101200 h 283756"/>
                <a:gd name="connsiteX7" fmla="*/ 1984 w 37205"/>
                <a:gd name="connsiteY7" fmla="*/ 118067 h 283756"/>
                <a:gd name="connsiteX8" fmla="*/ 1488 w 37205"/>
                <a:gd name="connsiteY8" fmla="*/ 134933 h 283756"/>
                <a:gd name="connsiteX9" fmla="*/ 1984 w 37205"/>
                <a:gd name="connsiteY9" fmla="*/ 151800 h 283756"/>
                <a:gd name="connsiteX10" fmla="*/ 4961 w 37205"/>
                <a:gd name="connsiteY10" fmla="*/ 168666 h 283756"/>
                <a:gd name="connsiteX11" fmla="*/ 8929 w 37205"/>
                <a:gd name="connsiteY11" fmla="*/ 185533 h 283756"/>
                <a:gd name="connsiteX12" fmla="*/ 13394 w 37205"/>
                <a:gd name="connsiteY12" fmla="*/ 201904 h 283756"/>
                <a:gd name="connsiteX13" fmla="*/ 18355 w 37205"/>
                <a:gd name="connsiteY13" fmla="*/ 218274 h 283756"/>
                <a:gd name="connsiteX14" fmla="*/ 22819 w 37205"/>
                <a:gd name="connsiteY14" fmla="*/ 234645 h 283756"/>
                <a:gd name="connsiteX15" fmla="*/ 27284 w 37205"/>
                <a:gd name="connsiteY15" fmla="*/ 251016 h 283756"/>
                <a:gd name="connsiteX16" fmla="*/ 32741 w 37205"/>
                <a:gd name="connsiteY16" fmla="*/ 267386 h 283756"/>
                <a:gd name="connsiteX17" fmla="*/ 37206 w 37205"/>
                <a:gd name="connsiteY17" fmla="*/ 283757 h 2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205" h="283756">
                  <a:moveTo>
                    <a:pt x="496" y="0"/>
                  </a:moveTo>
                  <a:cubicBezTo>
                    <a:pt x="496" y="8433"/>
                    <a:pt x="0" y="8433"/>
                    <a:pt x="0" y="16867"/>
                  </a:cubicBezTo>
                  <a:cubicBezTo>
                    <a:pt x="0" y="25300"/>
                    <a:pt x="496" y="25300"/>
                    <a:pt x="0" y="33734"/>
                  </a:cubicBezTo>
                  <a:cubicBezTo>
                    <a:pt x="0" y="42167"/>
                    <a:pt x="0" y="42167"/>
                    <a:pt x="0" y="50600"/>
                  </a:cubicBezTo>
                  <a:cubicBezTo>
                    <a:pt x="0" y="59033"/>
                    <a:pt x="496" y="59033"/>
                    <a:pt x="496" y="67467"/>
                  </a:cubicBezTo>
                  <a:cubicBezTo>
                    <a:pt x="496" y="75900"/>
                    <a:pt x="496" y="75900"/>
                    <a:pt x="496" y="84333"/>
                  </a:cubicBezTo>
                  <a:cubicBezTo>
                    <a:pt x="496" y="92767"/>
                    <a:pt x="496" y="92767"/>
                    <a:pt x="496" y="101200"/>
                  </a:cubicBezTo>
                  <a:cubicBezTo>
                    <a:pt x="496" y="109633"/>
                    <a:pt x="1984" y="109633"/>
                    <a:pt x="1984" y="118067"/>
                  </a:cubicBezTo>
                  <a:cubicBezTo>
                    <a:pt x="1984" y="126500"/>
                    <a:pt x="1488" y="126500"/>
                    <a:pt x="1488" y="134933"/>
                  </a:cubicBezTo>
                  <a:cubicBezTo>
                    <a:pt x="1488" y="143367"/>
                    <a:pt x="992" y="143367"/>
                    <a:pt x="1984" y="151800"/>
                  </a:cubicBezTo>
                  <a:cubicBezTo>
                    <a:pt x="2976" y="160233"/>
                    <a:pt x="2480" y="160233"/>
                    <a:pt x="4961" y="168666"/>
                  </a:cubicBezTo>
                  <a:cubicBezTo>
                    <a:pt x="6945" y="177100"/>
                    <a:pt x="6449" y="177100"/>
                    <a:pt x="8929" y="185533"/>
                  </a:cubicBezTo>
                  <a:cubicBezTo>
                    <a:pt x="10913" y="193967"/>
                    <a:pt x="11409" y="193967"/>
                    <a:pt x="13394" y="201904"/>
                  </a:cubicBezTo>
                  <a:cubicBezTo>
                    <a:pt x="15378" y="210337"/>
                    <a:pt x="16370" y="209841"/>
                    <a:pt x="18355" y="218274"/>
                  </a:cubicBezTo>
                  <a:cubicBezTo>
                    <a:pt x="20339" y="226708"/>
                    <a:pt x="20835" y="226708"/>
                    <a:pt x="22819" y="234645"/>
                  </a:cubicBezTo>
                  <a:cubicBezTo>
                    <a:pt x="24804" y="243078"/>
                    <a:pt x="24804" y="243078"/>
                    <a:pt x="27284" y="251016"/>
                  </a:cubicBezTo>
                  <a:cubicBezTo>
                    <a:pt x="29268" y="259449"/>
                    <a:pt x="30757" y="258953"/>
                    <a:pt x="32741" y="267386"/>
                  </a:cubicBezTo>
                  <a:cubicBezTo>
                    <a:pt x="34725" y="275820"/>
                    <a:pt x="34725" y="275820"/>
                    <a:pt x="37206" y="283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377C8FEF-D6C4-3054-234A-2AD62AA21748}"/>
                </a:ext>
              </a:extLst>
            </p:cNvPr>
            <p:cNvSpPr/>
            <p:nvPr/>
          </p:nvSpPr>
          <p:spPr>
            <a:xfrm>
              <a:off x="5935938" y="4237001"/>
              <a:ext cx="62505" cy="151303"/>
            </a:xfrm>
            <a:custGeom>
              <a:avLst/>
              <a:gdLst>
                <a:gd name="connsiteX0" fmla="*/ 62506 w 62505"/>
                <a:gd name="connsiteY0" fmla="*/ 151304 h 151303"/>
                <a:gd name="connsiteX1" fmla="*/ 57049 w 62505"/>
                <a:gd name="connsiteY1" fmla="*/ 135925 h 151303"/>
                <a:gd name="connsiteX2" fmla="*/ 50600 w 62505"/>
                <a:gd name="connsiteY2" fmla="*/ 121043 h 151303"/>
                <a:gd name="connsiteX3" fmla="*/ 43654 w 62505"/>
                <a:gd name="connsiteY3" fmla="*/ 106161 h 151303"/>
                <a:gd name="connsiteX4" fmla="*/ 38198 w 62505"/>
                <a:gd name="connsiteY4" fmla="*/ 90783 h 151303"/>
                <a:gd name="connsiteX5" fmla="*/ 31749 w 62505"/>
                <a:gd name="connsiteY5" fmla="*/ 75900 h 151303"/>
                <a:gd name="connsiteX6" fmla="*/ 25300 w 62505"/>
                <a:gd name="connsiteY6" fmla="*/ 60522 h 151303"/>
                <a:gd name="connsiteX7" fmla="*/ 18851 w 62505"/>
                <a:gd name="connsiteY7" fmla="*/ 45639 h 151303"/>
                <a:gd name="connsiteX8" fmla="*/ 11409 w 62505"/>
                <a:gd name="connsiteY8" fmla="*/ 30757 h 151303"/>
                <a:gd name="connsiteX9" fmla="*/ 5953 w 62505"/>
                <a:gd name="connsiteY9" fmla="*/ 15379 h 151303"/>
                <a:gd name="connsiteX10" fmla="*/ 0 w 62505"/>
                <a:gd name="connsiteY10" fmla="*/ 0 h 15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505" h="151303">
                  <a:moveTo>
                    <a:pt x="62506" y="151304"/>
                  </a:moveTo>
                  <a:cubicBezTo>
                    <a:pt x="59529" y="143863"/>
                    <a:pt x="60521" y="143367"/>
                    <a:pt x="57049" y="135925"/>
                  </a:cubicBezTo>
                  <a:cubicBezTo>
                    <a:pt x="54073" y="128484"/>
                    <a:pt x="53576" y="128484"/>
                    <a:pt x="50600" y="121043"/>
                  </a:cubicBezTo>
                  <a:cubicBezTo>
                    <a:pt x="47623" y="113602"/>
                    <a:pt x="47127" y="113602"/>
                    <a:pt x="43654" y="106161"/>
                  </a:cubicBezTo>
                  <a:cubicBezTo>
                    <a:pt x="40678" y="98720"/>
                    <a:pt x="41174" y="98224"/>
                    <a:pt x="38198" y="90783"/>
                  </a:cubicBezTo>
                  <a:cubicBezTo>
                    <a:pt x="35221" y="83341"/>
                    <a:pt x="34725" y="83341"/>
                    <a:pt x="31749" y="75900"/>
                  </a:cubicBezTo>
                  <a:cubicBezTo>
                    <a:pt x="28772" y="68459"/>
                    <a:pt x="28276" y="68459"/>
                    <a:pt x="25300" y="60522"/>
                  </a:cubicBezTo>
                  <a:cubicBezTo>
                    <a:pt x="22324" y="53080"/>
                    <a:pt x="21828" y="53080"/>
                    <a:pt x="18851" y="45639"/>
                  </a:cubicBezTo>
                  <a:cubicBezTo>
                    <a:pt x="15874" y="38198"/>
                    <a:pt x="14882" y="38694"/>
                    <a:pt x="11409" y="30757"/>
                  </a:cubicBezTo>
                  <a:cubicBezTo>
                    <a:pt x="8433" y="23316"/>
                    <a:pt x="8929" y="22820"/>
                    <a:pt x="5953" y="15379"/>
                  </a:cubicBezTo>
                  <a:cubicBezTo>
                    <a:pt x="2976" y="7937"/>
                    <a:pt x="2976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67C4EC2F-CC16-4AE1-EB4E-9A6C149D64DF}"/>
                </a:ext>
              </a:extLst>
            </p:cNvPr>
            <p:cNvSpPr/>
            <p:nvPr/>
          </p:nvSpPr>
          <p:spPr>
            <a:xfrm>
              <a:off x="5921056" y="4305956"/>
              <a:ext cx="25795" cy="67466"/>
            </a:xfrm>
            <a:custGeom>
              <a:avLst/>
              <a:gdLst>
                <a:gd name="connsiteX0" fmla="*/ 25796 w 25795"/>
                <a:gd name="connsiteY0" fmla="*/ 0 h 67466"/>
                <a:gd name="connsiteX1" fmla="*/ 19347 w 25795"/>
                <a:gd name="connsiteY1" fmla="*/ 16867 h 67466"/>
                <a:gd name="connsiteX2" fmla="*/ 13890 w 25795"/>
                <a:gd name="connsiteY2" fmla="*/ 34229 h 67466"/>
                <a:gd name="connsiteX3" fmla="*/ 7937 w 25795"/>
                <a:gd name="connsiteY3" fmla="*/ 51096 h 67466"/>
                <a:gd name="connsiteX4" fmla="*/ 0 w 25795"/>
                <a:gd name="connsiteY4" fmla="*/ 67466 h 67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95" h="67466">
                  <a:moveTo>
                    <a:pt x="25796" y="0"/>
                  </a:moveTo>
                  <a:cubicBezTo>
                    <a:pt x="22819" y="8433"/>
                    <a:pt x="22324" y="8433"/>
                    <a:pt x="19347" y="16867"/>
                  </a:cubicBezTo>
                  <a:cubicBezTo>
                    <a:pt x="16370" y="25300"/>
                    <a:pt x="16867" y="25796"/>
                    <a:pt x="13890" y="34229"/>
                  </a:cubicBezTo>
                  <a:cubicBezTo>
                    <a:pt x="10913" y="42663"/>
                    <a:pt x="10913" y="42663"/>
                    <a:pt x="7937" y="51096"/>
                  </a:cubicBezTo>
                  <a:cubicBezTo>
                    <a:pt x="4961" y="59529"/>
                    <a:pt x="2976" y="59033"/>
                    <a:pt x="0" y="674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818AED8A-8222-5E58-C02D-850CB3C6FB5C}"/>
                </a:ext>
              </a:extLst>
            </p:cNvPr>
            <p:cNvSpPr/>
            <p:nvPr/>
          </p:nvSpPr>
          <p:spPr>
            <a:xfrm>
              <a:off x="5922048" y="4229560"/>
              <a:ext cx="83837" cy="22819"/>
            </a:xfrm>
            <a:custGeom>
              <a:avLst/>
              <a:gdLst>
                <a:gd name="connsiteX0" fmla="*/ 83837 w 83837"/>
                <a:gd name="connsiteY0" fmla="*/ 22820 h 22819"/>
                <a:gd name="connsiteX1" fmla="*/ 66475 w 83837"/>
                <a:gd name="connsiteY1" fmla="*/ 20339 h 22819"/>
                <a:gd name="connsiteX2" fmla="*/ 50104 w 83837"/>
                <a:gd name="connsiteY2" fmla="*/ 14882 h 22819"/>
                <a:gd name="connsiteX3" fmla="*/ 33238 w 83837"/>
                <a:gd name="connsiteY3" fmla="*/ 10418 h 22819"/>
                <a:gd name="connsiteX4" fmla="*/ 16867 w 83837"/>
                <a:gd name="connsiteY4" fmla="*/ 4961 h 22819"/>
                <a:gd name="connsiteX5" fmla="*/ 0 w 83837"/>
                <a:gd name="connsiteY5" fmla="*/ 0 h 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837" h="22819">
                  <a:moveTo>
                    <a:pt x="83837" y="22820"/>
                  </a:moveTo>
                  <a:cubicBezTo>
                    <a:pt x="75404" y="20339"/>
                    <a:pt x="74908" y="22324"/>
                    <a:pt x="66475" y="20339"/>
                  </a:cubicBezTo>
                  <a:cubicBezTo>
                    <a:pt x="58041" y="17859"/>
                    <a:pt x="58537" y="16867"/>
                    <a:pt x="50104" y="14882"/>
                  </a:cubicBezTo>
                  <a:cubicBezTo>
                    <a:pt x="41671" y="12402"/>
                    <a:pt x="41671" y="12898"/>
                    <a:pt x="33238" y="10418"/>
                  </a:cubicBezTo>
                  <a:cubicBezTo>
                    <a:pt x="24804" y="7937"/>
                    <a:pt x="25300" y="7441"/>
                    <a:pt x="16867" y="4961"/>
                  </a:cubicBezTo>
                  <a:cubicBezTo>
                    <a:pt x="8434" y="2480"/>
                    <a:pt x="8434" y="248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51BE21DB-A45C-A9F4-7215-51E8632174CF}"/>
                </a:ext>
              </a:extLst>
            </p:cNvPr>
            <p:cNvSpPr/>
            <p:nvPr/>
          </p:nvSpPr>
          <p:spPr>
            <a:xfrm>
              <a:off x="6062438" y="3904629"/>
              <a:ext cx="2976" cy="12401"/>
            </a:xfrm>
            <a:custGeom>
              <a:avLst/>
              <a:gdLst>
                <a:gd name="connsiteX0" fmla="*/ 0 w 2976"/>
                <a:gd name="connsiteY0" fmla="*/ 0 h 12401"/>
                <a:gd name="connsiteX1" fmla="*/ 2976 w 2976"/>
                <a:gd name="connsiteY1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2401">
                  <a:moveTo>
                    <a:pt x="0" y="0"/>
                  </a:moveTo>
                  <a:cubicBezTo>
                    <a:pt x="496" y="6449"/>
                    <a:pt x="2480" y="6449"/>
                    <a:pt x="2976" y="124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4E43C7F1-D53C-1DB7-988C-55D381DF975E}"/>
                </a:ext>
              </a:extLst>
            </p:cNvPr>
            <p:cNvSpPr/>
            <p:nvPr/>
          </p:nvSpPr>
          <p:spPr>
            <a:xfrm>
              <a:off x="6061446" y="5012867"/>
              <a:ext cx="2976" cy="238117"/>
            </a:xfrm>
            <a:custGeom>
              <a:avLst/>
              <a:gdLst>
                <a:gd name="connsiteX0" fmla="*/ 497 w 2976"/>
                <a:gd name="connsiteY0" fmla="*/ 0 h 238117"/>
                <a:gd name="connsiteX1" fmla="*/ 1488 w 2976"/>
                <a:gd name="connsiteY1" fmla="*/ 15875 h 238117"/>
                <a:gd name="connsiteX2" fmla="*/ 497 w 2976"/>
                <a:gd name="connsiteY2" fmla="*/ 31749 h 238117"/>
                <a:gd name="connsiteX3" fmla="*/ 497 w 2976"/>
                <a:gd name="connsiteY3" fmla="*/ 47623 h 238117"/>
                <a:gd name="connsiteX4" fmla="*/ 1984 w 2976"/>
                <a:gd name="connsiteY4" fmla="*/ 63498 h 238117"/>
                <a:gd name="connsiteX5" fmla="*/ 1984 w 2976"/>
                <a:gd name="connsiteY5" fmla="*/ 79372 h 238117"/>
                <a:gd name="connsiteX6" fmla="*/ 0 w 2976"/>
                <a:gd name="connsiteY6" fmla="*/ 95247 h 238117"/>
                <a:gd name="connsiteX7" fmla="*/ 1488 w 2976"/>
                <a:gd name="connsiteY7" fmla="*/ 111122 h 238117"/>
                <a:gd name="connsiteX8" fmla="*/ 497 w 2976"/>
                <a:gd name="connsiteY8" fmla="*/ 126996 h 238117"/>
                <a:gd name="connsiteX9" fmla="*/ 1488 w 2976"/>
                <a:gd name="connsiteY9" fmla="*/ 142871 h 238117"/>
                <a:gd name="connsiteX10" fmla="*/ 1488 w 2976"/>
                <a:gd name="connsiteY10" fmla="*/ 158745 h 238117"/>
                <a:gd name="connsiteX11" fmla="*/ 993 w 2976"/>
                <a:gd name="connsiteY11" fmla="*/ 174619 h 238117"/>
                <a:gd name="connsiteX12" fmla="*/ 1488 w 2976"/>
                <a:gd name="connsiteY12" fmla="*/ 190494 h 238117"/>
                <a:gd name="connsiteX13" fmla="*/ 2977 w 2976"/>
                <a:gd name="connsiteY13" fmla="*/ 206368 h 238117"/>
                <a:gd name="connsiteX14" fmla="*/ 2480 w 2976"/>
                <a:gd name="connsiteY14" fmla="*/ 222243 h 238117"/>
                <a:gd name="connsiteX15" fmla="*/ 1984 w 2976"/>
                <a:gd name="connsiteY15" fmla="*/ 238117 h 2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76" h="238117">
                  <a:moveTo>
                    <a:pt x="497" y="0"/>
                  </a:moveTo>
                  <a:cubicBezTo>
                    <a:pt x="497" y="7937"/>
                    <a:pt x="1488" y="7937"/>
                    <a:pt x="1488" y="15875"/>
                  </a:cubicBezTo>
                  <a:cubicBezTo>
                    <a:pt x="1488" y="23812"/>
                    <a:pt x="497" y="23812"/>
                    <a:pt x="497" y="31749"/>
                  </a:cubicBezTo>
                  <a:cubicBezTo>
                    <a:pt x="497" y="39686"/>
                    <a:pt x="497" y="39686"/>
                    <a:pt x="497" y="47623"/>
                  </a:cubicBezTo>
                  <a:cubicBezTo>
                    <a:pt x="497" y="55561"/>
                    <a:pt x="1984" y="55561"/>
                    <a:pt x="1984" y="63498"/>
                  </a:cubicBezTo>
                  <a:cubicBezTo>
                    <a:pt x="1984" y="71435"/>
                    <a:pt x="1984" y="71435"/>
                    <a:pt x="1984" y="79372"/>
                  </a:cubicBezTo>
                  <a:cubicBezTo>
                    <a:pt x="1984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2"/>
                  </a:cubicBezTo>
                  <a:cubicBezTo>
                    <a:pt x="1488" y="119059"/>
                    <a:pt x="497" y="119059"/>
                    <a:pt x="497" y="126996"/>
                  </a:cubicBezTo>
                  <a:cubicBezTo>
                    <a:pt x="497" y="134933"/>
                    <a:pt x="1488" y="134933"/>
                    <a:pt x="1488" y="142871"/>
                  </a:cubicBezTo>
                  <a:cubicBezTo>
                    <a:pt x="1488" y="150808"/>
                    <a:pt x="1488" y="150808"/>
                    <a:pt x="1488" y="158745"/>
                  </a:cubicBezTo>
                  <a:cubicBezTo>
                    <a:pt x="1488" y="166682"/>
                    <a:pt x="993" y="166682"/>
                    <a:pt x="993" y="174619"/>
                  </a:cubicBezTo>
                  <a:cubicBezTo>
                    <a:pt x="993" y="182557"/>
                    <a:pt x="1488" y="182557"/>
                    <a:pt x="1488" y="190494"/>
                  </a:cubicBezTo>
                  <a:cubicBezTo>
                    <a:pt x="1488" y="198431"/>
                    <a:pt x="2977" y="198431"/>
                    <a:pt x="2977" y="206368"/>
                  </a:cubicBezTo>
                  <a:cubicBezTo>
                    <a:pt x="2977" y="214305"/>
                    <a:pt x="2480" y="214305"/>
                    <a:pt x="2480" y="222243"/>
                  </a:cubicBezTo>
                  <a:cubicBezTo>
                    <a:pt x="2480" y="230180"/>
                    <a:pt x="1984" y="230180"/>
                    <a:pt x="1984" y="2381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1AC014F2-3858-D099-696B-D0ACEAAE0583}"/>
                </a:ext>
              </a:extLst>
            </p:cNvPr>
            <p:cNvSpPr/>
            <p:nvPr/>
          </p:nvSpPr>
          <p:spPr>
            <a:xfrm>
              <a:off x="5899724" y="5111091"/>
              <a:ext cx="1984" cy="138405"/>
            </a:xfrm>
            <a:custGeom>
              <a:avLst/>
              <a:gdLst>
                <a:gd name="connsiteX0" fmla="*/ 496 w 1984"/>
                <a:gd name="connsiteY0" fmla="*/ 0 h 138405"/>
                <a:gd name="connsiteX1" fmla="*/ 496 w 1984"/>
                <a:gd name="connsiteY1" fmla="*/ 15378 h 138405"/>
                <a:gd name="connsiteX2" fmla="*/ 1488 w 1984"/>
                <a:gd name="connsiteY2" fmla="*/ 30757 h 138405"/>
                <a:gd name="connsiteX3" fmla="*/ 0 w 1984"/>
                <a:gd name="connsiteY3" fmla="*/ 46135 h 138405"/>
                <a:gd name="connsiteX4" fmla="*/ 496 w 1984"/>
                <a:gd name="connsiteY4" fmla="*/ 61513 h 138405"/>
                <a:gd name="connsiteX5" fmla="*/ 496 w 1984"/>
                <a:gd name="connsiteY5" fmla="*/ 76892 h 138405"/>
                <a:gd name="connsiteX6" fmla="*/ 993 w 1984"/>
                <a:gd name="connsiteY6" fmla="*/ 92270 h 138405"/>
                <a:gd name="connsiteX7" fmla="*/ 1488 w 1984"/>
                <a:gd name="connsiteY7" fmla="*/ 107649 h 138405"/>
                <a:gd name="connsiteX8" fmla="*/ 1984 w 1984"/>
                <a:gd name="connsiteY8" fmla="*/ 123027 h 138405"/>
                <a:gd name="connsiteX9" fmla="*/ 496 w 1984"/>
                <a:gd name="connsiteY9" fmla="*/ 138405 h 13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4" h="138405">
                  <a:moveTo>
                    <a:pt x="496" y="0"/>
                  </a:moveTo>
                  <a:cubicBezTo>
                    <a:pt x="496" y="7937"/>
                    <a:pt x="496" y="7937"/>
                    <a:pt x="496" y="15378"/>
                  </a:cubicBezTo>
                  <a:cubicBezTo>
                    <a:pt x="496" y="23315"/>
                    <a:pt x="1488" y="23315"/>
                    <a:pt x="1488" y="30757"/>
                  </a:cubicBezTo>
                  <a:cubicBezTo>
                    <a:pt x="1488" y="38198"/>
                    <a:pt x="0" y="38694"/>
                    <a:pt x="0" y="46135"/>
                  </a:cubicBezTo>
                  <a:cubicBezTo>
                    <a:pt x="0" y="54072"/>
                    <a:pt x="496" y="54072"/>
                    <a:pt x="496" y="61513"/>
                  </a:cubicBezTo>
                  <a:cubicBezTo>
                    <a:pt x="496" y="69451"/>
                    <a:pt x="496" y="69451"/>
                    <a:pt x="496" y="76892"/>
                  </a:cubicBezTo>
                  <a:cubicBezTo>
                    <a:pt x="496" y="84829"/>
                    <a:pt x="993" y="84829"/>
                    <a:pt x="993" y="92270"/>
                  </a:cubicBezTo>
                  <a:cubicBezTo>
                    <a:pt x="993" y="100208"/>
                    <a:pt x="1488" y="100208"/>
                    <a:pt x="1488" y="107649"/>
                  </a:cubicBezTo>
                  <a:cubicBezTo>
                    <a:pt x="1488" y="115586"/>
                    <a:pt x="1984" y="115586"/>
                    <a:pt x="1984" y="123027"/>
                  </a:cubicBezTo>
                  <a:cubicBezTo>
                    <a:pt x="1984" y="130468"/>
                    <a:pt x="496" y="130964"/>
                    <a:pt x="496" y="1384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DEE1B01E-BF34-D505-9886-D8951655601A}"/>
                </a:ext>
              </a:extLst>
            </p:cNvPr>
            <p:cNvSpPr/>
            <p:nvPr/>
          </p:nvSpPr>
          <p:spPr>
            <a:xfrm>
              <a:off x="5899228" y="4888351"/>
              <a:ext cx="1984" cy="134932"/>
            </a:xfrm>
            <a:custGeom>
              <a:avLst/>
              <a:gdLst>
                <a:gd name="connsiteX0" fmla="*/ 1984 w 1984"/>
                <a:gd name="connsiteY0" fmla="*/ 0 h 134932"/>
                <a:gd name="connsiteX1" fmla="*/ 1488 w 1984"/>
                <a:gd name="connsiteY1" fmla="*/ 16866 h 134932"/>
                <a:gd name="connsiteX2" fmla="*/ 0 w 1984"/>
                <a:gd name="connsiteY2" fmla="*/ 33733 h 134932"/>
                <a:gd name="connsiteX3" fmla="*/ 496 w 1984"/>
                <a:gd name="connsiteY3" fmla="*/ 50600 h 134932"/>
                <a:gd name="connsiteX4" fmla="*/ 1984 w 1984"/>
                <a:gd name="connsiteY4" fmla="*/ 67466 h 134932"/>
                <a:gd name="connsiteX5" fmla="*/ 1488 w 1984"/>
                <a:gd name="connsiteY5" fmla="*/ 84333 h 134932"/>
                <a:gd name="connsiteX6" fmla="*/ 496 w 1984"/>
                <a:gd name="connsiteY6" fmla="*/ 101200 h 134932"/>
                <a:gd name="connsiteX7" fmla="*/ 496 w 1984"/>
                <a:gd name="connsiteY7" fmla="*/ 118066 h 134932"/>
                <a:gd name="connsiteX8" fmla="*/ 992 w 1984"/>
                <a:gd name="connsiteY8" fmla="*/ 134933 h 1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4" h="134932">
                  <a:moveTo>
                    <a:pt x="1984" y="0"/>
                  </a:moveTo>
                  <a:cubicBezTo>
                    <a:pt x="1984" y="8433"/>
                    <a:pt x="1488" y="8433"/>
                    <a:pt x="1488" y="16866"/>
                  </a:cubicBezTo>
                  <a:cubicBezTo>
                    <a:pt x="1488" y="25300"/>
                    <a:pt x="0" y="25300"/>
                    <a:pt x="0" y="33733"/>
                  </a:cubicBezTo>
                  <a:cubicBezTo>
                    <a:pt x="0" y="42167"/>
                    <a:pt x="496" y="42167"/>
                    <a:pt x="496" y="50600"/>
                  </a:cubicBezTo>
                  <a:cubicBezTo>
                    <a:pt x="496" y="59033"/>
                    <a:pt x="1984" y="59033"/>
                    <a:pt x="1984" y="67466"/>
                  </a:cubicBezTo>
                  <a:cubicBezTo>
                    <a:pt x="1984" y="75900"/>
                    <a:pt x="1488" y="75900"/>
                    <a:pt x="1488" y="84333"/>
                  </a:cubicBezTo>
                  <a:cubicBezTo>
                    <a:pt x="1488" y="92766"/>
                    <a:pt x="496" y="92766"/>
                    <a:pt x="496" y="101200"/>
                  </a:cubicBezTo>
                  <a:cubicBezTo>
                    <a:pt x="496" y="109633"/>
                    <a:pt x="496" y="109633"/>
                    <a:pt x="496" y="118066"/>
                  </a:cubicBezTo>
                  <a:cubicBezTo>
                    <a:pt x="496" y="126500"/>
                    <a:pt x="992" y="126500"/>
                    <a:pt x="992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AD1D8723-31F0-A8ED-722B-CCEEC83AEC79}"/>
                </a:ext>
              </a:extLst>
            </p:cNvPr>
            <p:cNvSpPr/>
            <p:nvPr/>
          </p:nvSpPr>
          <p:spPr>
            <a:xfrm>
              <a:off x="5818415" y="4588269"/>
              <a:ext cx="75308" cy="66504"/>
            </a:xfrm>
            <a:custGeom>
              <a:avLst/>
              <a:gdLst>
                <a:gd name="connsiteX0" fmla="*/ 64939 w 75308"/>
                <a:gd name="connsiteY0" fmla="*/ 46587 h 66504"/>
                <a:gd name="connsiteX1" fmla="*/ 51049 w 75308"/>
                <a:gd name="connsiteY1" fmla="*/ 54524 h 66504"/>
                <a:gd name="connsiteX2" fmla="*/ 37655 w 75308"/>
                <a:gd name="connsiteY2" fmla="*/ 63453 h 66504"/>
                <a:gd name="connsiteX3" fmla="*/ 18804 w 75308"/>
                <a:gd name="connsiteY3" fmla="*/ 65934 h 66504"/>
                <a:gd name="connsiteX4" fmla="*/ 2929 w 75308"/>
                <a:gd name="connsiteY4" fmla="*/ 55516 h 66504"/>
                <a:gd name="connsiteX5" fmla="*/ 2929 w 75308"/>
                <a:gd name="connsiteY5" fmla="*/ 55516 h 66504"/>
                <a:gd name="connsiteX6" fmla="*/ 945 w 75308"/>
                <a:gd name="connsiteY6" fmla="*/ 36665 h 66504"/>
                <a:gd name="connsiteX7" fmla="*/ 11362 w 75308"/>
                <a:gd name="connsiteY7" fmla="*/ 21783 h 66504"/>
                <a:gd name="connsiteX8" fmla="*/ 24756 w 75308"/>
                <a:gd name="connsiteY8" fmla="*/ 12853 h 66504"/>
                <a:gd name="connsiteX9" fmla="*/ 37655 w 75308"/>
                <a:gd name="connsiteY9" fmla="*/ 3428 h 66504"/>
                <a:gd name="connsiteX10" fmla="*/ 57001 w 75308"/>
                <a:gd name="connsiteY10" fmla="*/ 451 h 66504"/>
                <a:gd name="connsiteX11" fmla="*/ 72380 w 75308"/>
                <a:gd name="connsiteY11" fmla="*/ 11861 h 66504"/>
                <a:gd name="connsiteX12" fmla="*/ 72380 w 75308"/>
                <a:gd name="connsiteY12" fmla="*/ 11861 h 66504"/>
                <a:gd name="connsiteX13" fmla="*/ 74364 w 75308"/>
                <a:gd name="connsiteY13" fmla="*/ 30216 h 66504"/>
                <a:gd name="connsiteX14" fmla="*/ 64939 w 75308"/>
                <a:gd name="connsiteY14" fmla="*/ 46587 h 6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308" h="66504">
                  <a:moveTo>
                    <a:pt x="64939" y="46587"/>
                  </a:moveTo>
                  <a:cubicBezTo>
                    <a:pt x="57994" y="51051"/>
                    <a:pt x="57994" y="50555"/>
                    <a:pt x="51049" y="54524"/>
                  </a:cubicBezTo>
                  <a:cubicBezTo>
                    <a:pt x="44103" y="58493"/>
                    <a:pt x="44599" y="58989"/>
                    <a:pt x="37655" y="63453"/>
                  </a:cubicBezTo>
                  <a:cubicBezTo>
                    <a:pt x="31701" y="66926"/>
                    <a:pt x="24756" y="66926"/>
                    <a:pt x="18804" y="65934"/>
                  </a:cubicBezTo>
                  <a:cubicBezTo>
                    <a:pt x="12851" y="64446"/>
                    <a:pt x="6402" y="61469"/>
                    <a:pt x="2929" y="55516"/>
                  </a:cubicBezTo>
                  <a:cubicBezTo>
                    <a:pt x="2929" y="55516"/>
                    <a:pt x="2929" y="55516"/>
                    <a:pt x="2929" y="55516"/>
                  </a:cubicBezTo>
                  <a:cubicBezTo>
                    <a:pt x="-544" y="49563"/>
                    <a:pt x="-544" y="42618"/>
                    <a:pt x="945" y="36665"/>
                  </a:cubicBezTo>
                  <a:cubicBezTo>
                    <a:pt x="2433" y="30712"/>
                    <a:pt x="5906" y="25255"/>
                    <a:pt x="11362" y="21783"/>
                  </a:cubicBezTo>
                  <a:cubicBezTo>
                    <a:pt x="18308" y="17318"/>
                    <a:pt x="17812" y="17318"/>
                    <a:pt x="24756" y="12853"/>
                  </a:cubicBezTo>
                  <a:cubicBezTo>
                    <a:pt x="31701" y="8389"/>
                    <a:pt x="31205" y="7397"/>
                    <a:pt x="37655" y="3428"/>
                  </a:cubicBezTo>
                  <a:cubicBezTo>
                    <a:pt x="43607" y="-45"/>
                    <a:pt x="51049" y="-541"/>
                    <a:pt x="57001" y="451"/>
                  </a:cubicBezTo>
                  <a:cubicBezTo>
                    <a:pt x="62955" y="1940"/>
                    <a:pt x="68907" y="5908"/>
                    <a:pt x="72380" y="11861"/>
                  </a:cubicBezTo>
                  <a:cubicBezTo>
                    <a:pt x="72380" y="11861"/>
                    <a:pt x="72380" y="11861"/>
                    <a:pt x="72380" y="11861"/>
                  </a:cubicBezTo>
                  <a:cubicBezTo>
                    <a:pt x="75852" y="17814"/>
                    <a:pt x="75852" y="24263"/>
                    <a:pt x="74364" y="30216"/>
                  </a:cubicBezTo>
                  <a:cubicBezTo>
                    <a:pt x="72876" y="36169"/>
                    <a:pt x="70892" y="43114"/>
                    <a:pt x="64939" y="4658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37393450-16F3-AB5A-1988-8B2F43A18990}"/>
                </a:ext>
              </a:extLst>
            </p:cNvPr>
            <p:cNvSpPr/>
            <p:nvPr/>
          </p:nvSpPr>
          <p:spPr>
            <a:xfrm>
              <a:off x="5785241" y="4561862"/>
              <a:ext cx="52384" cy="45372"/>
            </a:xfrm>
            <a:custGeom>
              <a:avLst/>
              <a:gdLst>
                <a:gd name="connsiteX0" fmla="*/ 29158 w 52384"/>
                <a:gd name="connsiteY0" fmla="*/ 6519 h 45372"/>
                <a:gd name="connsiteX1" fmla="*/ 38584 w 52384"/>
                <a:gd name="connsiteY1" fmla="*/ 17433 h 45372"/>
                <a:gd name="connsiteX2" fmla="*/ 46025 w 52384"/>
                <a:gd name="connsiteY2" fmla="*/ 30331 h 45372"/>
                <a:gd name="connsiteX3" fmla="*/ 50489 w 52384"/>
                <a:gd name="connsiteY3" fmla="*/ 43229 h 45372"/>
                <a:gd name="connsiteX4" fmla="*/ 37095 w 52384"/>
                <a:gd name="connsiteY4" fmla="*/ 40252 h 45372"/>
                <a:gd name="connsiteX5" fmla="*/ 23205 w 52384"/>
                <a:gd name="connsiteY5" fmla="*/ 35787 h 45372"/>
                <a:gd name="connsiteX6" fmla="*/ 9811 w 52384"/>
                <a:gd name="connsiteY6" fmla="*/ 29834 h 45372"/>
                <a:gd name="connsiteX7" fmla="*/ 1378 w 52384"/>
                <a:gd name="connsiteY7" fmla="*/ 17929 h 45372"/>
                <a:gd name="connsiteX8" fmla="*/ 3362 w 52384"/>
                <a:gd name="connsiteY8" fmla="*/ 4535 h 45372"/>
                <a:gd name="connsiteX9" fmla="*/ 15764 w 52384"/>
                <a:gd name="connsiteY9" fmla="*/ 566 h 45372"/>
                <a:gd name="connsiteX10" fmla="*/ 29158 w 52384"/>
                <a:gd name="connsiteY10" fmla="*/ 6519 h 4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4" h="45372">
                  <a:moveTo>
                    <a:pt x="29158" y="6519"/>
                  </a:moveTo>
                  <a:cubicBezTo>
                    <a:pt x="32630" y="9495"/>
                    <a:pt x="35607" y="13464"/>
                    <a:pt x="38584" y="17433"/>
                  </a:cubicBezTo>
                  <a:cubicBezTo>
                    <a:pt x="41560" y="21401"/>
                    <a:pt x="44041" y="25866"/>
                    <a:pt x="46025" y="30331"/>
                  </a:cubicBezTo>
                  <a:cubicBezTo>
                    <a:pt x="49497" y="37772"/>
                    <a:pt x="55450" y="37772"/>
                    <a:pt x="50489" y="43229"/>
                  </a:cubicBezTo>
                  <a:cubicBezTo>
                    <a:pt x="46025" y="48686"/>
                    <a:pt x="45032" y="42236"/>
                    <a:pt x="37095" y="40252"/>
                  </a:cubicBezTo>
                  <a:cubicBezTo>
                    <a:pt x="32630" y="39260"/>
                    <a:pt x="28166" y="37772"/>
                    <a:pt x="23205" y="35787"/>
                  </a:cubicBezTo>
                  <a:cubicBezTo>
                    <a:pt x="18741" y="33803"/>
                    <a:pt x="13283" y="32315"/>
                    <a:pt x="9811" y="29834"/>
                  </a:cubicBezTo>
                  <a:cubicBezTo>
                    <a:pt x="4850" y="25866"/>
                    <a:pt x="2866" y="21401"/>
                    <a:pt x="1378" y="17929"/>
                  </a:cubicBezTo>
                  <a:cubicBezTo>
                    <a:pt x="-1102" y="12472"/>
                    <a:pt x="-111" y="8503"/>
                    <a:pt x="3362" y="4535"/>
                  </a:cubicBezTo>
                  <a:cubicBezTo>
                    <a:pt x="6339" y="566"/>
                    <a:pt x="10307" y="-922"/>
                    <a:pt x="15764" y="566"/>
                  </a:cubicBezTo>
                  <a:cubicBezTo>
                    <a:pt x="19733" y="1558"/>
                    <a:pt x="24197" y="2550"/>
                    <a:pt x="29158" y="651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C93E8AC2-97AE-186C-46CE-E0DA2555B552}"/>
                </a:ext>
              </a:extLst>
            </p:cNvPr>
            <p:cNvSpPr/>
            <p:nvPr/>
          </p:nvSpPr>
          <p:spPr>
            <a:xfrm>
              <a:off x="5820062" y="4537476"/>
              <a:ext cx="33824" cy="70686"/>
            </a:xfrm>
            <a:custGeom>
              <a:avLst/>
              <a:gdLst>
                <a:gd name="connsiteX0" fmla="*/ 33527 w 33824"/>
                <a:gd name="connsiteY0" fmla="*/ 21480 h 70686"/>
                <a:gd name="connsiteX1" fmla="*/ 32535 w 33824"/>
                <a:gd name="connsiteY1" fmla="*/ 38346 h 70686"/>
                <a:gd name="connsiteX2" fmla="*/ 28567 w 33824"/>
                <a:gd name="connsiteY2" fmla="*/ 54717 h 70686"/>
                <a:gd name="connsiteX3" fmla="*/ 21621 w 33824"/>
                <a:gd name="connsiteY3" fmla="*/ 70592 h 70686"/>
                <a:gd name="connsiteX4" fmla="*/ 11204 w 33824"/>
                <a:gd name="connsiteY4" fmla="*/ 56701 h 70686"/>
                <a:gd name="connsiteX5" fmla="*/ 4755 w 33824"/>
                <a:gd name="connsiteY5" fmla="*/ 41323 h 70686"/>
                <a:gd name="connsiteX6" fmla="*/ 786 w 33824"/>
                <a:gd name="connsiteY6" fmla="*/ 24952 h 70686"/>
                <a:gd name="connsiteX7" fmla="*/ 786 w 33824"/>
                <a:gd name="connsiteY7" fmla="*/ 8086 h 70686"/>
                <a:gd name="connsiteX8" fmla="*/ 14180 w 33824"/>
                <a:gd name="connsiteY8" fmla="*/ 148 h 70686"/>
                <a:gd name="connsiteX9" fmla="*/ 28567 w 33824"/>
                <a:gd name="connsiteY9" fmla="*/ 5605 h 70686"/>
                <a:gd name="connsiteX10" fmla="*/ 33527 w 33824"/>
                <a:gd name="connsiteY10" fmla="*/ 21480 h 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24" h="70686">
                  <a:moveTo>
                    <a:pt x="33527" y="21480"/>
                  </a:moveTo>
                  <a:cubicBezTo>
                    <a:pt x="34023" y="26440"/>
                    <a:pt x="34023" y="32393"/>
                    <a:pt x="32535" y="38346"/>
                  </a:cubicBezTo>
                  <a:cubicBezTo>
                    <a:pt x="31543" y="43803"/>
                    <a:pt x="30055" y="49756"/>
                    <a:pt x="28567" y="54717"/>
                  </a:cubicBezTo>
                  <a:cubicBezTo>
                    <a:pt x="25590" y="63646"/>
                    <a:pt x="30055" y="69599"/>
                    <a:pt x="21621" y="70592"/>
                  </a:cubicBezTo>
                  <a:cubicBezTo>
                    <a:pt x="13188" y="71583"/>
                    <a:pt x="16165" y="64639"/>
                    <a:pt x="11204" y="56701"/>
                  </a:cubicBezTo>
                  <a:cubicBezTo>
                    <a:pt x="8724" y="52237"/>
                    <a:pt x="6739" y="46284"/>
                    <a:pt x="4755" y="41323"/>
                  </a:cubicBezTo>
                  <a:cubicBezTo>
                    <a:pt x="2274" y="35866"/>
                    <a:pt x="1778" y="30409"/>
                    <a:pt x="786" y="24952"/>
                  </a:cubicBezTo>
                  <a:cubicBezTo>
                    <a:pt x="290" y="17511"/>
                    <a:pt x="-702" y="12054"/>
                    <a:pt x="786" y="8086"/>
                  </a:cubicBezTo>
                  <a:cubicBezTo>
                    <a:pt x="3266" y="1637"/>
                    <a:pt x="8724" y="644"/>
                    <a:pt x="14180" y="148"/>
                  </a:cubicBezTo>
                  <a:cubicBezTo>
                    <a:pt x="20133" y="-348"/>
                    <a:pt x="25094" y="148"/>
                    <a:pt x="28567" y="5605"/>
                  </a:cubicBezTo>
                  <a:cubicBezTo>
                    <a:pt x="31047" y="9078"/>
                    <a:pt x="32535" y="14039"/>
                    <a:pt x="33527" y="2148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5B2B4B1D-A1A2-F608-7DC6-70CE3DB3A7CA}"/>
                </a:ext>
              </a:extLst>
            </p:cNvPr>
            <p:cNvSpPr/>
            <p:nvPr/>
          </p:nvSpPr>
          <p:spPr>
            <a:xfrm>
              <a:off x="5828786" y="4610548"/>
              <a:ext cx="26291" cy="41174"/>
            </a:xfrm>
            <a:custGeom>
              <a:avLst/>
              <a:gdLst>
                <a:gd name="connsiteX0" fmla="*/ 0 w 26291"/>
                <a:gd name="connsiteY0" fmla="*/ 0 h 41174"/>
                <a:gd name="connsiteX1" fmla="*/ 8929 w 26291"/>
                <a:gd name="connsiteY1" fmla="*/ 13394 h 41174"/>
                <a:gd name="connsiteX2" fmla="*/ 17363 w 26291"/>
                <a:gd name="connsiteY2" fmla="*/ 27284 h 41174"/>
                <a:gd name="connsiteX3" fmla="*/ 26292 w 26291"/>
                <a:gd name="connsiteY3" fmla="*/ 41174 h 4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91" h="41174">
                  <a:moveTo>
                    <a:pt x="0" y="0"/>
                  </a:moveTo>
                  <a:cubicBezTo>
                    <a:pt x="4464" y="6945"/>
                    <a:pt x="4961" y="6449"/>
                    <a:pt x="8929" y="13394"/>
                  </a:cubicBezTo>
                  <a:cubicBezTo>
                    <a:pt x="13394" y="20339"/>
                    <a:pt x="12898" y="20339"/>
                    <a:pt x="17363" y="27284"/>
                  </a:cubicBezTo>
                  <a:cubicBezTo>
                    <a:pt x="21827" y="34229"/>
                    <a:pt x="21827" y="34229"/>
                    <a:pt x="26292" y="4117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F87F9B91-F7EF-52F2-1DF9-82BA42781BA6}"/>
                </a:ext>
              </a:extLst>
            </p:cNvPr>
            <p:cNvSpPr/>
            <p:nvPr/>
          </p:nvSpPr>
          <p:spPr>
            <a:xfrm>
              <a:off x="5859542" y="4591201"/>
              <a:ext cx="24803" cy="42662"/>
            </a:xfrm>
            <a:custGeom>
              <a:avLst/>
              <a:gdLst>
                <a:gd name="connsiteX0" fmla="*/ 0 w 24803"/>
                <a:gd name="connsiteY0" fmla="*/ 0 h 42662"/>
                <a:gd name="connsiteX1" fmla="*/ 7937 w 24803"/>
                <a:gd name="connsiteY1" fmla="*/ 14386 h 42662"/>
                <a:gd name="connsiteX2" fmla="*/ 16867 w 24803"/>
                <a:gd name="connsiteY2" fmla="*/ 28277 h 42662"/>
                <a:gd name="connsiteX3" fmla="*/ 24804 w 24803"/>
                <a:gd name="connsiteY3" fmla="*/ 42663 h 4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03" h="42662">
                  <a:moveTo>
                    <a:pt x="0" y="0"/>
                  </a:moveTo>
                  <a:cubicBezTo>
                    <a:pt x="4465" y="6945"/>
                    <a:pt x="3472" y="7441"/>
                    <a:pt x="7937" y="14386"/>
                  </a:cubicBezTo>
                  <a:cubicBezTo>
                    <a:pt x="12402" y="21331"/>
                    <a:pt x="12402" y="21331"/>
                    <a:pt x="16867" y="28277"/>
                  </a:cubicBezTo>
                  <a:cubicBezTo>
                    <a:pt x="21332" y="35221"/>
                    <a:pt x="20339" y="35718"/>
                    <a:pt x="24804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2E0E4A90-9CB6-E266-5DAD-EA09035FB8A3}"/>
                </a:ext>
              </a:extLst>
            </p:cNvPr>
            <p:cNvSpPr/>
            <p:nvPr/>
          </p:nvSpPr>
          <p:spPr>
            <a:xfrm>
              <a:off x="6021234" y="4736015"/>
              <a:ext cx="77825" cy="62744"/>
            </a:xfrm>
            <a:custGeom>
              <a:avLst/>
              <a:gdLst>
                <a:gd name="connsiteX0" fmla="*/ 14416 w 77825"/>
                <a:gd name="connsiteY0" fmla="*/ 45679 h 62744"/>
                <a:gd name="connsiteX1" fmla="*/ 28306 w 77825"/>
                <a:gd name="connsiteY1" fmla="*/ 54113 h 62744"/>
                <a:gd name="connsiteX2" fmla="*/ 43189 w 77825"/>
                <a:gd name="connsiteY2" fmla="*/ 60066 h 62744"/>
                <a:gd name="connsiteX3" fmla="*/ 61543 w 77825"/>
                <a:gd name="connsiteY3" fmla="*/ 61554 h 62744"/>
                <a:gd name="connsiteX4" fmla="*/ 75434 w 77825"/>
                <a:gd name="connsiteY4" fmla="*/ 49152 h 62744"/>
                <a:gd name="connsiteX5" fmla="*/ 74441 w 77825"/>
                <a:gd name="connsiteY5" fmla="*/ 48656 h 62744"/>
                <a:gd name="connsiteX6" fmla="*/ 76921 w 77825"/>
                <a:gd name="connsiteY6" fmla="*/ 30301 h 62744"/>
                <a:gd name="connsiteX7" fmla="*/ 64520 w 77825"/>
                <a:gd name="connsiteY7" fmla="*/ 15915 h 62744"/>
                <a:gd name="connsiteX8" fmla="*/ 49637 w 77825"/>
                <a:gd name="connsiteY8" fmla="*/ 9466 h 62744"/>
                <a:gd name="connsiteX9" fmla="*/ 34755 w 77825"/>
                <a:gd name="connsiteY9" fmla="*/ 3017 h 62744"/>
                <a:gd name="connsiteX10" fmla="*/ 15904 w 77825"/>
                <a:gd name="connsiteY10" fmla="*/ 1032 h 62744"/>
                <a:gd name="connsiteX11" fmla="*/ 2510 w 77825"/>
                <a:gd name="connsiteY11" fmla="*/ 13930 h 62744"/>
                <a:gd name="connsiteX12" fmla="*/ 1518 w 77825"/>
                <a:gd name="connsiteY12" fmla="*/ 13434 h 62744"/>
                <a:gd name="connsiteX13" fmla="*/ 2510 w 77825"/>
                <a:gd name="connsiteY13" fmla="*/ 32285 h 62744"/>
                <a:gd name="connsiteX14" fmla="*/ 14416 w 77825"/>
                <a:gd name="connsiteY14" fmla="*/ 45679 h 6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825" h="62744">
                  <a:moveTo>
                    <a:pt x="14416" y="45679"/>
                  </a:moveTo>
                  <a:cubicBezTo>
                    <a:pt x="21857" y="49152"/>
                    <a:pt x="20865" y="50640"/>
                    <a:pt x="28306" y="54113"/>
                  </a:cubicBezTo>
                  <a:cubicBezTo>
                    <a:pt x="35747" y="57585"/>
                    <a:pt x="36243" y="56593"/>
                    <a:pt x="43189" y="60066"/>
                  </a:cubicBezTo>
                  <a:cubicBezTo>
                    <a:pt x="49141" y="63042"/>
                    <a:pt x="55590" y="63538"/>
                    <a:pt x="61543" y="61554"/>
                  </a:cubicBezTo>
                  <a:cubicBezTo>
                    <a:pt x="67496" y="59570"/>
                    <a:pt x="72457" y="55105"/>
                    <a:pt x="75434" y="49152"/>
                  </a:cubicBezTo>
                  <a:cubicBezTo>
                    <a:pt x="75434" y="49152"/>
                    <a:pt x="74441" y="48656"/>
                    <a:pt x="74441" y="48656"/>
                  </a:cubicBezTo>
                  <a:cubicBezTo>
                    <a:pt x="77417" y="42703"/>
                    <a:pt x="78906" y="36254"/>
                    <a:pt x="76921" y="30301"/>
                  </a:cubicBezTo>
                  <a:cubicBezTo>
                    <a:pt x="74937" y="24348"/>
                    <a:pt x="70473" y="18891"/>
                    <a:pt x="64520" y="15915"/>
                  </a:cubicBezTo>
                  <a:cubicBezTo>
                    <a:pt x="57078" y="12442"/>
                    <a:pt x="57078" y="12938"/>
                    <a:pt x="49637" y="9466"/>
                  </a:cubicBezTo>
                  <a:cubicBezTo>
                    <a:pt x="42196" y="5993"/>
                    <a:pt x="42196" y="6489"/>
                    <a:pt x="34755" y="3017"/>
                  </a:cubicBezTo>
                  <a:cubicBezTo>
                    <a:pt x="28802" y="40"/>
                    <a:pt x="21857" y="-952"/>
                    <a:pt x="15904" y="1032"/>
                  </a:cubicBezTo>
                  <a:cubicBezTo>
                    <a:pt x="9951" y="3017"/>
                    <a:pt x="5486" y="7977"/>
                    <a:pt x="2510" y="13930"/>
                  </a:cubicBezTo>
                  <a:cubicBezTo>
                    <a:pt x="2510" y="13930"/>
                    <a:pt x="1518" y="13434"/>
                    <a:pt x="1518" y="13434"/>
                  </a:cubicBezTo>
                  <a:cubicBezTo>
                    <a:pt x="-1458" y="19387"/>
                    <a:pt x="525" y="26332"/>
                    <a:pt x="2510" y="32285"/>
                  </a:cubicBezTo>
                  <a:cubicBezTo>
                    <a:pt x="4494" y="37742"/>
                    <a:pt x="8463" y="42703"/>
                    <a:pt x="14416" y="4567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F61DCF04-343A-AA3E-8FB3-449B99665B2E}"/>
                </a:ext>
              </a:extLst>
            </p:cNvPr>
            <p:cNvSpPr/>
            <p:nvPr/>
          </p:nvSpPr>
          <p:spPr>
            <a:xfrm>
              <a:off x="6077085" y="4701038"/>
              <a:ext cx="48433" cy="49527"/>
            </a:xfrm>
            <a:custGeom>
              <a:avLst/>
              <a:gdLst>
                <a:gd name="connsiteX0" fmla="*/ 19583 w 48433"/>
                <a:gd name="connsiteY0" fmla="*/ 8229 h 49527"/>
                <a:gd name="connsiteX1" fmla="*/ 10653 w 48433"/>
                <a:gd name="connsiteY1" fmla="*/ 20135 h 49527"/>
                <a:gd name="connsiteX2" fmla="*/ 5692 w 48433"/>
                <a:gd name="connsiteY2" fmla="*/ 34025 h 49527"/>
                <a:gd name="connsiteX3" fmla="*/ 2220 w 48433"/>
                <a:gd name="connsiteY3" fmla="*/ 47420 h 49527"/>
                <a:gd name="connsiteX4" fmla="*/ 16110 w 48433"/>
                <a:gd name="connsiteY4" fmla="*/ 44443 h 49527"/>
                <a:gd name="connsiteX5" fmla="*/ 29008 w 48433"/>
                <a:gd name="connsiteY5" fmla="*/ 37002 h 49527"/>
                <a:gd name="connsiteX6" fmla="*/ 41410 w 48433"/>
                <a:gd name="connsiteY6" fmla="*/ 29561 h 49527"/>
                <a:gd name="connsiteX7" fmla="*/ 47859 w 48433"/>
                <a:gd name="connsiteY7" fmla="*/ 16663 h 49527"/>
                <a:gd name="connsiteX8" fmla="*/ 44387 w 48433"/>
                <a:gd name="connsiteY8" fmla="*/ 4261 h 49527"/>
                <a:gd name="connsiteX9" fmla="*/ 31985 w 48433"/>
                <a:gd name="connsiteY9" fmla="*/ 788 h 49527"/>
                <a:gd name="connsiteX10" fmla="*/ 19583 w 48433"/>
                <a:gd name="connsiteY10" fmla="*/ 8229 h 4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433" h="49527">
                  <a:moveTo>
                    <a:pt x="19583" y="8229"/>
                  </a:moveTo>
                  <a:cubicBezTo>
                    <a:pt x="16606" y="11206"/>
                    <a:pt x="13134" y="15671"/>
                    <a:pt x="10653" y="20135"/>
                  </a:cubicBezTo>
                  <a:cubicBezTo>
                    <a:pt x="8173" y="24600"/>
                    <a:pt x="7181" y="29561"/>
                    <a:pt x="5692" y="34025"/>
                  </a:cubicBezTo>
                  <a:cubicBezTo>
                    <a:pt x="2716" y="41963"/>
                    <a:pt x="-3237" y="42459"/>
                    <a:pt x="2220" y="47420"/>
                  </a:cubicBezTo>
                  <a:cubicBezTo>
                    <a:pt x="7181" y="52380"/>
                    <a:pt x="8669" y="47420"/>
                    <a:pt x="16110" y="44443"/>
                  </a:cubicBezTo>
                  <a:cubicBezTo>
                    <a:pt x="20079" y="42955"/>
                    <a:pt x="24544" y="39482"/>
                    <a:pt x="29008" y="37002"/>
                  </a:cubicBezTo>
                  <a:cubicBezTo>
                    <a:pt x="33473" y="34521"/>
                    <a:pt x="38433" y="32537"/>
                    <a:pt x="41410" y="29561"/>
                  </a:cubicBezTo>
                  <a:cubicBezTo>
                    <a:pt x="45875" y="25096"/>
                    <a:pt x="46867" y="20135"/>
                    <a:pt x="47859" y="16663"/>
                  </a:cubicBezTo>
                  <a:cubicBezTo>
                    <a:pt x="49348" y="11206"/>
                    <a:pt x="47859" y="7733"/>
                    <a:pt x="44387" y="4261"/>
                  </a:cubicBezTo>
                  <a:cubicBezTo>
                    <a:pt x="40914" y="788"/>
                    <a:pt x="37442" y="-1196"/>
                    <a:pt x="31985" y="788"/>
                  </a:cubicBezTo>
                  <a:cubicBezTo>
                    <a:pt x="28016" y="2276"/>
                    <a:pt x="24047" y="3765"/>
                    <a:pt x="19583" y="82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AAA365D0-E75D-0C66-5F73-ED678BA618E6}"/>
                </a:ext>
              </a:extLst>
            </p:cNvPr>
            <p:cNvSpPr/>
            <p:nvPr/>
          </p:nvSpPr>
          <p:spPr>
            <a:xfrm>
              <a:off x="6055493" y="4680991"/>
              <a:ext cx="34725" cy="69947"/>
            </a:xfrm>
            <a:custGeom>
              <a:avLst/>
              <a:gdLst>
                <a:gd name="connsiteX0" fmla="*/ 0 w 34725"/>
                <a:gd name="connsiteY0" fmla="*/ 23316 h 69947"/>
                <a:gd name="connsiteX1" fmla="*/ 2976 w 34725"/>
                <a:gd name="connsiteY1" fmla="*/ 40182 h 69947"/>
                <a:gd name="connsiteX2" fmla="*/ 8930 w 34725"/>
                <a:gd name="connsiteY2" fmla="*/ 56057 h 69947"/>
                <a:gd name="connsiteX3" fmla="*/ 17859 w 34725"/>
                <a:gd name="connsiteY3" fmla="*/ 69947 h 69947"/>
                <a:gd name="connsiteX4" fmla="*/ 25796 w 34725"/>
                <a:gd name="connsiteY4" fmla="*/ 55561 h 69947"/>
                <a:gd name="connsiteX5" fmla="*/ 32245 w 34725"/>
                <a:gd name="connsiteY5" fmla="*/ 39686 h 69947"/>
                <a:gd name="connsiteX6" fmla="*/ 34725 w 34725"/>
                <a:gd name="connsiteY6" fmla="*/ 22820 h 69947"/>
                <a:gd name="connsiteX7" fmla="*/ 31253 w 34725"/>
                <a:gd name="connsiteY7" fmla="*/ 6449 h 69947"/>
                <a:gd name="connsiteX8" fmla="*/ 17363 w 34725"/>
                <a:gd name="connsiteY8" fmla="*/ 0 h 69947"/>
                <a:gd name="connsiteX9" fmla="*/ 2976 w 34725"/>
                <a:gd name="connsiteY9" fmla="*/ 6449 h 69947"/>
                <a:gd name="connsiteX10" fmla="*/ 0 w 34725"/>
                <a:gd name="connsiteY10" fmla="*/ 23316 h 6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25" h="69947">
                  <a:moveTo>
                    <a:pt x="0" y="23316"/>
                  </a:moveTo>
                  <a:cubicBezTo>
                    <a:pt x="0" y="28277"/>
                    <a:pt x="992" y="34229"/>
                    <a:pt x="2976" y="40182"/>
                  </a:cubicBezTo>
                  <a:cubicBezTo>
                    <a:pt x="4961" y="45639"/>
                    <a:pt x="6449" y="51592"/>
                    <a:pt x="8930" y="56057"/>
                  </a:cubicBezTo>
                  <a:cubicBezTo>
                    <a:pt x="12898" y="64490"/>
                    <a:pt x="9426" y="69947"/>
                    <a:pt x="17859" y="69947"/>
                  </a:cubicBezTo>
                  <a:cubicBezTo>
                    <a:pt x="26292" y="69947"/>
                    <a:pt x="21828" y="64490"/>
                    <a:pt x="25796" y="55561"/>
                  </a:cubicBezTo>
                  <a:cubicBezTo>
                    <a:pt x="27780" y="50600"/>
                    <a:pt x="30261" y="45639"/>
                    <a:pt x="32245" y="39686"/>
                  </a:cubicBezTo>
                  <a:cubicBezTo>
                    <a:pt x="33734" y="34229"/>
                    <a:pt x="34725" y="28277"/>
                    <a:pt x="34725" y="22820"/>
                  </a:cubicBezTo>
                  <a:cubicBezTo>
                    <a:pt x="34725" y="15379"/>
                    <a:pt x="33237" y="9922"/>
                    <a:pt x="31253" y="6449"/>
                  </a:cubicBezTo>
                  <a:cubicBezTo>
                    <a:pt x="28276" y="496"/>
                    <a:pt x="22819" y="0"/>
                    <a:pt x="17363" y="0"/>
                  </a:cubicBezTo>
                  <a:cubicBezTo>
                    <a:pt x="11410" y="0"/>
                    <a:pt x="5953" y="496"/>
                    <a:pt x="2976" y="6449"/>
                  </a:cubicBezTo>
                  <a:cubicBezTo>
                    <a:pt x="1488" y="10418"/>
                    <a:pt x="0" y="15875"/>
                    <a:pt x="0" y="2331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694B8857-7636-8680-25F1-74D0DC185053}"/>
                </a:ext>
              </a:extLst>
            </p:cNvPr>
            <p:cNvSpPr/>
            <p:nvPr/>
          </p:nvSpPr>
          <p:spPr>
            <a:xfrm>
              <a:off x="6064919" y="4752922"/>
              <a:ext cx="21827" cy="44151"/>
            </a:xfrm>
            <a:custGeom>
              <a:avLst/>
              <a:gdLst>
                <a:gd name="connsiteX0" fmla="*/ 21828 w 21827"/>
                <a:gd name="connsiteY0" fmla="*/ 0 h 44151"/>
                <a:gd name="connsiteX1" fmla="*/ 13890 w 21827"/>
                <a:gd name="connsiteY1" fmla="*/ 14386 h 44151"/>
                <a:gd name="connsiteX2" fmla="*/ 6945 w 21827"/>
                <a:gd name="connsiteY2" fmla="*/ 29269 h 44151"/>
                <a:gd name="connsiteX3" fmla="*/ 0 w 21827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7" h="44151">
                  <a:moveTo>
                    <a:pt x="21828" y="0"/>
                  </a:moveTo>
                  <a:cubicBezTo>
                    <a:pt x="18355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2" y="36710"/>
                    <a:pt x="3472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242DB136-8D04-7511-3752-2FA210474273}"/>
                </a:ext>
              </a:extLst>
            </p:cNvPr>
            <p:cNvSpPr/>
            <p:nvPr/>
          </p:nvSpPr>
          <p:spPr>
            <a:xfrm>
              <a:off x="6033665" y="4737544"/>
              <a:ext cx="21331" cy="44151"/>
            </a:xfrm>
            <a:custGeom>
              <a:avLst/>
              <a:gdLst>
                <a:gd name="connsiteX0" fmla="*/ 21332 w 21331"/>
                <a:gd name="connsiteY0" fmla="*/ 0 h 44151"/>
                <a:gd name="connsiteX1" fmla="*/ 13890 w 21331"/>
                <a:gd name="connsiteY1" fmla="*/ 14386 h 44151"/>
                <a:gd name="connsiteX2" fmla="*/ 6945 w 21331"/>
                <a:gd name="connsiteY2" fmla="*/ 29269 h 44151"/>
                <a:gd name="connsiteX3" fmla="*/ 0 w 21331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1" h="44151">
                  <a:moveTo>
                    <a:pt x="21332" y="0"/>
                  </a:moveTo>
                  <a:cubicBezTo>
                    <a:pt x="17859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3" y="36710"/>
                    <a:pt x="3473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F40F8F28-B3CC-601E-6EFE-1BD423E76A91}"/>
                </a:ext>
              </a:extLst>
            </p:cNvPr>
            <p:cNvSpPr/>
            <p:nvPr/>
          </p:nvSpPr>
          <p:spPr>
            <a:xfrm>
              <a:off x="5512784" y="4635848"/>
              <a:ext cx="174619" cy="165690"/>
            </a:xfrm>
            <a:custGeom>
              <a:avLst/>
              <a:gdLst>
                <a:gd name="connsiteX0" fmla="*/ 167178 w 174619"/>
                <a:gd name="connsiteY0" fmla="*/ 0 h 165690"/>
                <a:gd name="connsiteX1" fmla="*/ 171643 w 174619"/>
                <a:gd name="connsiteY1" fmla="*/ 14386 h 165690"/>
                <a:gd name="connsiteX2" fmla="*/ 171643 w 174619"/>
                <a:gd name="connsiteY2" fmla="*/ 29269 h 165690"/>
                <a:gd name="connsiteX3" fmla="*/ 174619 w 174619"/>
                <a:gd name="connsiteY3" fmla="*/ 44151 h 165690"/>
                <a:gd name="connsiteX4" fmla="*/ 171643 w 174619"/>
                <a:gd name="connsiteY4" fmla="*/ 60522 h 165690"/>
                <a:gd name="connsiteX5" fmla="*/ 170155 w 174619"/>
                <a:gd name="connsiteY5" fmla="*/ 77388 h 165690"/>
                <a:gd name="connsiteX6" fmla="*/ 165194 w 174619"/>
                <a:gd name="connsiteY6" fmla="*/ 93263 h 165690"/>
                <a:gd name="connsiteX7" fmla="*/ 159241 w 174619"/>
                <a:gd name="connsiteY7" fmla="*/ 108641 h 165690"/>
                <a:gd name="connsiteX8" fmla="*/ 150808 w 174619"/>
                <a:gd name="connsiteY8" fmla="*/ 123027 h 165690"/>
                <a:gd name="connsiteX9" fmla="*/ 140390 w 174619"/>
                <a:gd name="connsiteY9" fmla="*/ 135925 h 165690"/>
                <a:gd name="connsiteX10" fmla="*/ 128980 w 174619"/>
                <a:gd name="connsiteY10" fmla="*/ 148327 h 165690"/>
                <a:gd name="connsiteX11" fmla="*/ 115090 w 174619"/>
                <a:gd name="connsiteY11" fmla="*/ 158249 h 165690"/>
                <a:gd name="connsiteX12" fmla="*/ 99216 w 174619"/>
                <a:gd name="connsiteY12" fmla="*/ 163706 h 165690"/>
                <a:gd name="connsiteX13" fmla="*/ 82349 w 174619"/>
                <a:gd name="connsiteY13" fmla="*/ 165690 h 165690"/>
                <a:gd name="connsiteX14" fmla="*/ 66475 w 174619"/>
                <a:gd name="connsiteY14" fmla="*/ 162714 h 165690"/>
                <a:gd name="connsiteX15" fmla="*/ 50600 w 174619"/>
                <a:gd name="connsiteY15" fmla="*/ 157753 h 165690"/>
                <a:gd name="connsiteX16" fmla="*/ 36710 w 174619"/>
                <a:gd name="connsiteY16" fmla="*/ 148823 h 165690"/>
                <a:gd name="connsiteX17" fmla="*/ 25300 w 174619"/>
                <a:gd name="connsiteY17" fmla="*/ 136917 h 165690"/>
                <a:gd name="connsiteX18" fmla="*/ 13890 w 174619"/>
                <a:gd name="connsiteY18" fmla="*/ 125012 h 165690"/>
                <a:gd name="connsiteX19" fmla="*/ 7441 w 174619"/>
                <a:gd name="connsiteY19" fmla="*/ 109633 h 165690"/>
                <a:gd name="connsiteX20" fmla="*/ 0 w 174619"/>
                <a:gd name="connsiteY20" fmla="*/ 94751 h 1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4619" h="165690">
                  <a:moveTo>
                    <a:pt x="167178" y="0"/>
                  </a:moveTo>
                  <a:cubicBezTo>
                    <a:pt x="168667" y="4465"/>
                    <a:pt x="170651" y="9426"/>
                    <a:pt x="171643" y="14386"/>
                  </a:cubicBezTo>
                  <a:cubicBezTo>
                    <a:pt x="172635" y="19347"/>
                    <a:pt x="171147" y="24308"/>
                    <a:pt x="171643" y="29269"/>
                  </a:cubicBezTo>
                  <a:cubicBezTo>
                    <a:pt x="172139" y="34229"/>
                    <a:pt x="174619" y="39190"/>
                    <a:pt x="174619" y="44151"/>
                  </a:cubicBezTo>
                  <a:cubicBezTo>
                    <a:pt x="174619" y="49608"/>
                    <a:pt x="172139" y="55065"/>
                    <a:pt x="171643" y="60522"/>
                  </a:cubicBezTo>
                  <a:cubicBezTo>
                    <a:pt x="171147" y="65978"/>
                    <a:pt x="171147" y="71931"/>
                    <a:pt x="170155" y="77388"/>
                  </a:cubicBezTo>
                  <a:cubicBezTo>
                    <a:pt x="169163" y="82845"/>
                    <a:pt x="166682" y="88302"/>
                    <a:pt x="165194" y="93263"/>
                  </a:cubicBezTo>
                  <a:cubicBezTo>
                    <a:pt x="163210" y="98720"/>
                    <a:pt x="161722" y="103680"/>
                    <a:pt x="159241" y="108641"/>
                  </a:cubicBezTo>
                  <a:cubicBezTo>
                    <a:pt x="156761" y="113602"/>
                    <a:pt x="153784" y="118563"/>
                    <a:pt x="150808" y="123027"/>
                  </a:cubicBezTo>
                  <a:cubicBezTo>
                    <a:pt x="147831" y="127988"/>
                    <a:pt x="144359" y="131957"/>
                    <a:pt x="140390" y="135925"/>
                  </a:cubicBezTo>
                  <a:cubicBezTo>
                    <a:pt x="136421" y="140390"/>
                    <a:pt x="133445" y="144855"/>
                    <a:pt x="128980" y="148327"/>
                  </a:cubicBezTo>
                  <a:cubicBezTo>
                    <a:pt x="124516" y="151800"/>
                    <a:pt x="120051" y="155769"/>
                    <a:pt x="115090" y="158249"/>
                  </a:cubicBezTo>
                  <a:cubicBezTo>
                    <a:pt x="110129" y="160729"/>
                    <a:pt x="104673" y="162218"/>
                    <a:pt x="99216" y="163706"/>
                  </a:cubicBezTo>
                  <a:cubicBezTo>
                    <a:pt x="93759" y="165194"/>
                    <a:pt x="88302" y="165690"/>
                    <a:pt x="82349" y="165690"/>
                  </a:cubicBezTo>
                  <a:cubicBezTo>
                    <a:pt x="76892" y="165690"/>
                    <a:pt x="71435" y="164202"/>
                    <a:pt x="66475" y="162714"/>
                  </a:cubicBezTo>
                  <a:cubicBezTo>
                    <a:pt x="61018" y="161225"/>
                    <a:pt x="55561" y="160233"/>
                    <a:pt x="50600" y="157753"/>
                  </a:cubicBezTo>
                  <a:cubicBezTo>
                    <a:pt x="45639" y="155272"/>
                    <a:pt x="41175" y="152296"/>
                    <a:pt x="36710" y="148823"/>
                  </a:cubicBezTo>
                  <a:cubicBezTo>
                    <a:pt x="32245" y="145351"/>
                    <a:pt x="29269" y="141382"/>
                    <a:pt x="25300" y="136917"/>
                  </a:cubicBezTo>
                  <a:cubicBezTo>
                    <a:pt x="21828" y="132949"/>
                    <a:pt x="16867" y="129476"/>
                    <a:pt x="13890" y="125012"/>
                  </a:cubicBezTo>
                  <a:cubicBezTo>
                    <a:pt x="10914" y="120547"/>
                    <a:pt x="9922" y="114594"/>
                    <a:pt x="7441" y="109633"/>
                  </a:cubicBezTo>
                  <a:cubicBezTo>
                    <a:pt x="4961" y="104672"/>
                    <a:pt x="1984" y="100208"/>
                    <a:pt x="0" y="947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229002AC-839D-06E6-1628-C091AC71BA8C}"/>
                </a:ext>
              </a:extLst>
            </p:cNvPr>
            <p:cNvSpPr/>
            <p:nvPr/>
          </p:nvSpPr>
          <p:spPr>
            <a:xfrm>
              <a:off x="5455424" y="4771773"/>
              <a:ext cx="165321" cy="300657"/>
            </a:xfrm>
            <a:custGeom>
              <a:avLst/>
              <a:gdLst>
                <a:gd name="connsiteX0" fmla="*/ 81172 w 165321"/>
                <a:gd name="connsiteY0" fmla="*/ 0 h 300657"/>
                <a:gd name="connsiteX1" fmla="*/ 72242 w 165321"/>
                <a:gd name="connsiteY1" fmla="*/ 12898 h 300657"/>
                <a:gd name="connsiteX2" fmla="*/ 61328 w 165321"/>
                <a:gd name="connsiteY2" fmla="*/ 24308 h 300657"/>
                <a:gd name="connsiteX3" fmla="*/ 52895 w 165321"/>
                <a:gd name="connsiteY3" fmla="*/ 37702 h 300657"/>
                <a:gd name="connsiteX4" fmla="*/ 42974 w 165321"/>
                <a:gd name="connsiteY4" fmla="*/ 50104 h 300657"/>
                <a:gd name="connsiteX5" fmla="*/ 35532 w 165321"/>
                <a:gd name="connsiteY5" fmla="*/ 63994 h 300657"/>
                <a:gd name="connsiteX6" fmla="*/ 27099 w 165321"/>
                <a:gd name="connsiteY6" fmla="*/ 77388 h 300657"/>
                <a:gd name="connsiteX7" fmla="*/ 18666 w 165321"/>
                <a:gd name="connsiteY7" fmla="*/ 90782 h 300657"/>
                <a:gd name="connsiteX8" fmla="*/ 10728 w 165321"/>
                <a:gd name="connsiteY8" fmla="*/ 104176 h 300657"/>
                <a:gd name="connsiteX9" fmla="*/ 3287 w 165321"/>
                <a:gd name="connsiteY9" fmla="*/ 118066 h 300657"/>
                <a:gd name="connsiteX10" fmla="*/ 311 w 165321"/>
                <a:gd name="connsiteY10" fmla="*/ 133941 h 300657"/>
                <a:gd name="connsiteX11" fmla="*/ 7752 w 165321"/>
                <a:gd name="connsiteY11" fmla="*/ 148823 h 300657"/>
                <a:gd name="connsiteX12" fmla="*/ 17673 w 165321"/>
                <a:gd name="connsiteY12" fmla="*/ 162217 h 300657"/>
                <a:gd name="connsiteX13" fmla="*/ 26603 w 165321"/>
                <a:gd name="connsiteY13" fmla="*/ 176108 h 300657"/>
                <a:gd name="connsiteX14" fmla="*/ 37517 w 165321"/>
                <a:gd name="connsiteY14" fmla="*/ 188510 h 300657"/>
                <a:gd name="connsiteX15" fmla="*/ 47438 w 165321"/>
                <a:gd name="connsiteY15" fmla="*/ 201903 h 300657"/>
                <a:gd name="connsiteX16" fmla="*/ 57360 w 165321"/>
                <a:gd name="connsiteY16" fmla="*/ 215298 h 300657"/>
                <a:gd name="connsiteX17" fmla="*/ 69762 w 165321"/>
                <a:gd name="connsiteY17" fmla="*/ 226211 h 300657"/>
                <a:gd name="connsiteX18" fmla="*/ 80179 w 165321"/>
                <a:gd name="connsiteY18" fmla="*/ 239606 h 300657"/>
                <a:gd name="connsiteX19" fmla="*/ 92581 w 165321"/>
                <a:gd name="connsiteY19" fmla="*/ 251015 h 300657"/>
                <a:gd name="connsiteX20" fmla="*/ 104487 w 165321"/>
                <a:gd name="connsiteY20" fmla="*/ 262425 h 300657"/>
                <a:gd name="connsiteX21" fmla="*/ 115401 w 165321"/>
                <a:gd name="connsiteY21" fmla="*/ 275323 h 300657"/>
                <a:gd name="connsiteX22" fmla="*/ 128795 w 165321"/>
                <a:gd name="connsiteY22" fmla="*/ 285245 h 300657"/>
                <a:gd name="connsiteX23" fmla="*/ 142685 w 165321"/>
                <a:gd name="connsiteY23" fmla="*/ 294174 h 300657"/>
                <a:gd name="connsiteX24" fmla="*/ 158064 w 165321"/>
                <a:gd name="connsiteY24" fmla="*/ 300623 h 300657"/>
                <a:gd name="connsiteX25" fmla="*/ 164513 w 165321"/>
                <a:gd name="connsiteY25" fmla="*/ 289213 h 300657"/>
                <a:gd name="connsiteX26" fmla="*/ 157071 w 165321"/>
                <a:gd name="connsiteY26" fmla="*/ 275323 h 300657"/>
                <a:gd name="connsiteX27" fmla="*/ 150126 w 165321"/>
                <a:gd name="connsiteY27" fmla="*/ 260937 h 300657"/>
                <a:gd name="connsiteX28" fmla="*/ 141197 w 165321"/>
                <a:gd name="connsiteY28" fmla="*/ 248039 h 300657"/>
                <a:gd name="connsiteX29" fmla="*/ 132268 w 165321"/>
                <a:gd name="connsiteY29" fmla="*/ 235141 h 300657"/>
                <a:gd name="connsiteX30" fmla="*/ 121850 w 165321"/>
                <a:gd name="connsiteY30" fmla="*/ 223235 h 300657"/>
                <a:gd name="connsiteX31" fmla="*/ 113417 w 165321"/>
                <a:gd name="connsiteY31" fmla="*/ 209841 h 300657"/>
                <a:gd name="connsiteX32" fmla="*/ 103495 w 165321"/>
                <a:gd name="connsiteY32" fmla="*/ 197439 h 300657"/>
                <a:gd name="connsiteX33" fmla="*/ 92581 w 165321"/>
                <a:gd name="connsiteY33" fmla="*/ 186029 h 300657"/>
                <a:gd name="connsiteX34" fmla="*/ 81668 w 165321"/>
                <a:gd name="connsiteY34" fmla="*/ 174123 h 300657"/>
                <a:gd name="connsiteX35" fmla="*/ 71746 w 165321"/>
                <a:gd name="connsiteY35" fmla="*/ 162217 h 300657"/>
                <a:gd name="connsiteX36" fmla="*/ 60832 w 165321"/>
                <a:gd name="connsiteY36" fmla="*/ 149815 h 300657"/>
                <a:gd name="connsiteX37" fmla="*/ 74226 w 165321"/>
                <a:gd name="connsiteY37" fmla="*/ 138902 h 300657"/>
                <a:gd name="connsiteX38" fmla="*/ 84148 w 165321"/>
                <a:gd name="connsiteY38" fmla="*/ 125508 h 300657"/>
                <a:gd name="connsiteX39" fmla="*/ 96054 w 165321"/>
                <a:gd name="connsiteY39" fmla="*/ 114098 h 300657"/>
                <a:gd name="connsiteX40" fmla="*/ 105976 w 165321"/>
                <a:gd name="connsiteY40" fmla="*/ 100704 h 30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5321" h="300657">
                  <a:moveTo>
                    <a:pt x="81172" y="0"/>
                  </a:moveTo>
                  <a:cubicBezTo>
                    <a:pt x="76211" y="5953"/>
                    <a:pt x="78195" y="5457"/>
                    <a:pt x="72242" y="12898"/>
                  </a:cubicBezTo>
                  <a:cubicBezTo>
                    <a:pt x="69266" y="16371"/>
                    <a:pt x="64801" y="19843"/>
                    <a:pt x="61328" y="24308"/>
                  </a:cubicBezTo>
                  <a:cubicBezTo>
                    <a:pt x="58352" y="28276"/>
                    <a:pt x="55871" y="33237"/>
                    <a:pt x="52895" y="37702"/>
                  </a:cubicBezTo>
                  <a:cubicBezTo>
                    <a:pt x="49918" y="41670"/>
                    <a:pt x="45950" y="45639"/>
                    <a:pt x="42974" y="50104"/>
                  </a:cubicBezTo>
                  <a:cubicBezTo>
                    <a:pt x="39997" y="54569"/>
                    <a:pt x="38509" y="59529"/>
                    <a:pt x="35532" y="63994"/>
                  </a:cubicBezTo>
                  <a:cubicBezTo>
                    <a:pt x="32556" y="68459"/>
                    <a:pt x="30075" y="72923"/>
                    <a:pt x="27099" y="77388"/>
                  </a:cubicBezTo>
                  <a:cubicBezTo>
                    <a:pt x="24123" y="81853"/>
                    <a:pt x="21642" y="86317"/>
                    <a:pt x="18666" y="90782"/>
                  </a:cubicBezTo>
                  <a:cubicBezTo>
                    <a:pt x="15689" y="95743"/>
                    <a:pt x="12713" y="99712"/>
                    <a:pt x="10728" y="104176"/>
                  </a:cubicBezTo>
                  <a:cubicBezTo>
                    <a:pt x="8248" y="109137"/>
                    <a:pt x="5271" y="114098"/>
                    <a:pt x="3287" y="118066"/>
                  </a:cubicBezTo>
                  <a:cubicBezTo>
                    <a:pt x="807" y="124515"/>
                    <a:pt x="-681" y="129972"/>
                    <a:pt x="311" y="133941"/>
                  </a:cubicBezTo>
                  <a:cubicBezTo>
                    <a:pt x="807" y="137413"/>
                    <a:pt x="3783" y="142374"/>
                    <a:pt x="7752" y="148823"/>
                  </a:cubicBezTo>
                  <a:cubicBezTo>
                    <a:pt x="10232" y="152792"/>
                    <a:pt x="14201" y="157256"/>
                    <a:pt x="17673" y="162217"/>
                  </a:cubicBezTo>
                  <a:cubicBezTo>
                    <a:pt x="20650" y="166682"/>
                    <a:pt x="23130" y="171643"/>
                    <a:pt x="26603" y="176108"/>
                  </a:cubicBezTo>
                  <a:cubicBezTo>
                    <a:pt x="29579" y="180572"/>
                    <a:pt x="34044" y="184045"/>
                    <a:pt x="37517" y="188510"/>
                  </a:cubicBezTo>
                  <a:cubicBezTo>
                    <a:pt x="40989" y="192974"/>
                    <a:pt x="43469" y="197439"/>
                    <a:pt x="47438" y="201903"/>
                  </a:cubicBezTo>
                  <a:cubicBezTo>
                    <a:pt x="50911" y="205872"/>
                    <a:pt x="53887" y="210833"/>
                    <a:pt x="57360" y="215298"/>
                  </a:cubicBezTo>
                  <a:cubicBezTo>
                    <a:pt x="60832" y="219266"/>
                    <a:pt x="66289" y="222243"/>
                    <a:pt x="69762" y="226211"/>
                  </a:cubicBezTo>
                  <a:cubicBezTo>
                    <a:pt x="73234" y="230180"/>
                    <a:pt x="76211" y="235141"/>
                    <a:pt x="80179" y="239606"/>
                  </a:cubicBezTo>
                  <a:cubicBezTo>
                    <a:pt x="84148" y="243574"/>
                    <a:pt x="88613" y="247047"/>
                    <a:pt x="92581" y="251015"/>
                  </a:cubicBezTo>
                  <a:cubicBezTo>
                    <a:pt x="96550" y="254984"/>
                    <a:pt x="101015" y="258456"/>
                    <a:pt x="104487" y="262425"/>
                  </a:cubicBezTo>
                  <a:cubicBezTo>
                    <a:pt x="108456" y="266394"/>
                    <a:pt x="111432" y="271851"/>
                    <a:pt x="115401" y="275323"/>
                  </a:cubicBezTo>
                  <a:cubicBezTo>
                    <a:pt x="119866" y="279292"/>
                    <a:pt x="124826" y="282268"/>
                    <a:pt x="128795" y="285245"/>
                  </a:cubicBezTo>
                  <a:cubicBezTo>
                    <a:pt x="133756" y="288717"/>
                    <a:pt x="138221" y="291694"/>
                    <a:pt x="142685" y="294174"/>
                  </a:cubicBezTo>
                  <a:cubicBezTo>
                    <a:pt x="148638" y="297647"/>
                    <a:pt x="154095" y="300127"/>
                    <a:pt x="158064" y="300623"/>
                  </a:cubicBezTo>
                  <a:cubicBezTo>
                    <a:pt x="165009" y="301119"/>
                    <a:pt x="166497" y="296158"/>
                    <a:pt x="164513" y="289213"/>
                  </a:cubicBezTo>
                  <a:cubicBezTo>
                    <a:pt x="163520" y="285245"/>
                    <a:pt x="160544" y="280780"/>
                    <a:pt x="157071" y="275323"/>
                  </a:cubicBezTo>
                  <a:cubicBezTo>
                    <a:pt x="154591" y="271354"/>
                    <a:pt x="153103" y="265898"/>
                    <a:pt x="150126" y="260937"/>
                  </a:cubicBezTo>
                  <a:cubicBezTo>
                    <a:pt x="147646" y="256968"/>
                    <a:pt x="144173" y="252503"/>
                    <a:pt x="141197" y="248039"/>
                  </a:cubicBezTo>
                  <a:cubicBezTo>
                    <a:pt x="138221" y="244070"/>
                    <a:pt x="135740" y="239109"/>
                    <a:pt x="132268" y="235141"/>
                  </a:cubicBezTo>
                  <a:cubicBezTo>
                    <a:pt x="129291" y="231172"/>
                    <a:pt x="124826" y="227700"/>
                    <a:pt x="121850" y="223235"/>
                  </a:cubicBezTo>
                  <a:cubicBezTo>
                    <a:pt x="118377" y="219266"/>
                    <a:pt x="116393" y="213809"/>
                    <a:pt x="113417" y="209841"/>
                  </a:cubicBezTo>
                  <a:cubicBezTo>
                    <a:pt x="109944" y="205872"/>
                    <a:pt x="106471" y="201408"/>
                    <a:pt x="103495" y="197439"/>
                  </a:cubicBezTo>
                  <a:cubicBezTo>
                    <a:pt x="100023" y="192974"/>
                    <a:pt x="95558" y="189998"/>
                    <a:pt x="92581" y="186029"/>
                  </a:cubicBezTo>
                  <a:cubicBezTo>
                    <a:pt x="89109" y="181564"/>
                    <a:pt x="85140" y="178092"/>
                    <a:pt x="81668" y="174123"/>
                  </a:cubicBezTo>
                  <a:cubicBezTo>
                    <a:pt x="77699" y="169658"/>
                    <a:pt x="74722" y="165194"/>
                    <a:pt x="71746" y="162217"/>
                  </a:cubicBezTo>
                  <a:cubicBezTo>
                    <a:pt x="65297" y="154776"/>
                    <a:pt x="59840" y="157753"/>
                    <a:pt x="60832" y="149815"/>
                  </a:cubicBezTo>
                  <a:cubicBezTo>
                    <a:pt x="61824" y="141382"/>
                    <a:pt x="67777" y="145351"/>
                    <a:pt x="74226" y="138902"/>
                  </a:cubicBezTo>
                  <a:cubicBezTo>
                    <a:pt x="77699" y="135429"/>
                    <a:pt x="80179" y="129972"/>
                    <a:pt x="84148" y="125508"/>
                  </a:cubicBezTo>
                  <a:cubicBezTo>
                    <a:pt x="88117" y="121539"/>
                    <a:pt x="93077" y="118066"/>
                    <a:pt x="96054" y="114098"/>
                  </a:cubicBezTo>
                  <a:cubicBezTo>
                    <a:pt x="102007" y="107153"/>
                    <a:pt x="106471" y="101696"/>
                    <a:pt x="105976" y="1007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D69A347-1EC3-5799-BBEB-17365E69B7CE}"/>
                </a:ext>
              </a:extLst>
            </p:cNvPr>
            <p:cNvSpPr/>
            <p:nvPr/>
          </p:nvSpPr>
          <p:spPr>
            <a:xfrm>
              <a:off x="5675993" y="4736055"/>
              <a:ext cx="217282" cy="294670"/>
            </a:xfrm>
            <a:custGeom>
              <a:avLst/>
              <a:gdLst>
                <a:gd name="connsiteX0" fmla="*/ 0 w 217282"/>
                <a:gd name="connsiteY0" fmla="*/ 0 h 294670"/>
                <a:gd name="connsiteX1" fmla="*/ 8929 w 217282"/>
                <a:gd name="connsiteY1" fmla="*/ 13394 h 294670"/>
                <a:gd name="connsiteX2" fmla="*/ 16867 w 217282"/>
                <a:gd name="connsiteY2" fmla="*/ 27284 h 294670"/>
                <a:gd name="connsiteX3" fmla="*/ 24308 w 217282"/>
                <a:gd name="connsiteY3" fmla="*/ 41174 h 294670"/>
                <a:gd name="connsiteX4" fmla="*/ 32245 w 217282"/>
                <a:gd name="connsiteY4" fmla="*/ 54569 h 294670"/>
                <a:gd name="connsiteX5" fmla="*/ 40678 w 217282"/>
                <a:gd name="connsiteY5" fmla="*/ 67963 h 294670"/>
                <a:gd name="connsiteX6" fmla="*/ 48120 w 217282"/>
                <a:gd name="connsiteY6" fmla="*/ 81853 h 294670"/>
                <a:gd name="connsiteX7" fmla="*/ 56057 w 217282"/>
                <a:gd name="connsiteY7" fmla="*/ 95743 h 294670"/>
                <a:gd name="connsiteX8" fmla="*/ 65978 w 217282"/>
                <a:gd name="connsiteY8" fmla="*/ 108145 h 294670"/>
                <a:gd name="connsiteX9" fmla="*/ 72427 w 217282"/>
                <a:gd name="connsiteY9" fmla="*/ 123027 h 294670"/>
                <a:gd name="connsiteX10" fmla="*/ 82349 w 217282"/>
                <a:gd name="connsiteY10" fmla="*/ 135429 h 294670"/>
                <a:gd name="connsiteX11" fmla="*/ 90286 w 217282"/>
                <a:gd name="connsiteY11" fmla="*/ 149319 h 294670"/>
                <a:gd name="connsiteX12" fmla="*/ 99216 w 217282"/>
                <a:gd name="connsiteY12" fmla="*/ 161721 h 294670"/>
                <a:gd name="connsiteX13" fmla="*/ 109137 w 217282"/>
                <a:gd name="connsiteY13" fmla="*/ 174619 h 294670"/>
                <a:gd name="connsiteX14" fmla="*/ 120051 w 217282"/>
                <a:gd name="connsiteY14" fmla="*/ 186525 h 294670"/>
                <a:gd name="connsiteX15" fmla="*/ 130469 w 217282"/>
                <a:gd name="connsiteY15" fmla="*/ 198927 h 294670"/>
                <a:gd name="connsiteX16" fmla="*/ 141382 w 217282"/>
                <a:gd name="connsiteY16" fmla="*/ 210833 h 294670"/>
                <a:gd name="connsiteX17" fmla="*/ 151800 w 217282"/>
                <a:gd name="connsiteY17" fmla="*/ 223235 h 294670"/>
                <a:gd name="connsiteX18" fmla="*/ 162217 w 217282"/>
                <a:gd name="connsiteY18" fmla="*/ 235637 h 294670"/>
                <a:gd name="connsiteX19" fmla="*/ 173131 w 217282"/>
                <a:gd name="connsiteY19" fmla="*/ 247543 h 294670"/>
                <a:gd name="connsiteX20" fmla="*/ 183053 w 217282"/>
                <a:gd name="connsiteY20" fmla="*/ 259945 h 294670"/>
                <a:gd name="connsiteX21" fmla="*/ 194959 w 217282"/>
                <a:gd name="connsiteY21" fmla="*/ 270858 h 294670"/>
                <a:gd name="connsiteX22" fmla="*/ 205872 w 217282"/>
                <a:gd name="connsiteY22" fmla="*/ 282764 h 294670"/>
                <a:gd name="connsiteX23" fmla="*/ 217282 w 217282"/>
                <a:gd name="connsiteY23" fmla="*/ 294670 h 2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7282" h="294670">
                  <a:moveTo>
                    <a:pt x="0" y="0"/>
                  </a:moveTo>
                  <a:cubicBezTo>
                    <a:pt x="3969" y="6945"/>
                    <a:pt x="3473" y="4961"/>
                    <a:pt x="8929" y="13394"/>
                  </a:cubicBezTo>
                  <a:cubicBezTo>
                    <a:pt x="11410" y="17363"/>
                    <a:pt x="13890" y="21827"/>
                    <a:pt x="16867" y="27284"/>
                  </a:cubicBezTo>
                  <a:cubicBezTo>
                    <a:pt x="19347" y="31253"/>
                    <a:pt x="21828" y="36214"/>
                    <a:pt x="24308" y="41174"/>
                  </a:cubicBezTo>
                  <a:cubicBezTo>
                    <a:pt x="26788" y="45639"/>
                    <a:pt x="29765" y="50104"/>
                    <a:pt x="32245" y="54569"/>
                  </a:cubicBezTo>
                  <a:cubicBezTo>
                    <a:pt x="34725" y="59033"/>
                    <a:pt x="38198" y="63002"/>
                    <a:pt x="40678" y="67963"/>
                  </a:cubicBezTo>
                  <a:cubicBezTo>
                    <a:pt x="43159" y="72427"/>
                    <a:pt x="45143" y="77388"/>
                    <a:pt x="48120" y="81853"/>
                  </a:cubicBezTo>
                  <a:cubicBezTo>
                    <a:pt x="50600" y="86317"/>
                    <a:pt x="53576" y="91278"/>
                    <a:pt x="56057" y="95743"/>
                  </a:cubicBezTo>
                  <a:cubicBezTo>
                    <a:pt x="59033" y="100208"/>
                    <a:pt x="63498" y="103680"/>
                    <a:pt x="65978" y="108145"/>
                  </a:cubicBezTo>
                  <a:cubicBezTo>
                    <a:pt x="68955" y="112610"/>
                    <a:pt x="69947" y="118562"/>
                    <a:pt x="72427" y="123027"/>
                  </a:cubicBezTo>
                  <a:cubicBezTo>
                    <a:pt x="75404" y="127988"/>
                    <a:pt x="79868" y="131461"/>
                    <a:pt x="82349" y="135429"/>
                  </a:cubicBezTo>
                  <a:cubicBezTo>
                    <a:pt x="85325" y="140390"/>
                    <a:pt x="87806" y="145351"/>
                    <a:pt x="90286" y="149319"/>
                  </a:cubicBezTo>
                  <a:cubicBezTo>
                    <a:pt x="95247" y="157257"/>
                    <a:pt x="98720" y="161225"/>
                    <a:pt x="99216" y="161721"/>
                  </a:cubicBezTo>
                  <a:cubicBezTo>
                    <a:pt x="100208" y="162218"/>
                    <a:pt x="103184" y="167674"/>
                    <a:pt x="109137" y="174619"/>
                  </a:cubicBezTo>
                  <a:cubicBezTo>
                    <a:pt x="112113" y="178092"/>
                    <a:pt x="116082" y="181564"/>
                    <a:pt x="120051" y="186525"/>
                  </a:cubicBezTo>
                  <a:cubicBezTo>
                    <a:pt x="123524" y="190494"/>
                    <a:pt x="126500" y="194463"/>
                    <a:pt x="130469" y="198927"/>
                  </a:cubicBezTo>
                  <a:cubicBezTo>
                    <a:pt x="133941" y="202896"/>
                    <a:pt x="137910" y="206368"/>
                    <a:pt x="141382" y="210833"/>
                  </a:cubicBezTo>
                  <a:cubicBezTo>
                    <a:pt x="144855" y="214802"/>
                    <a:pt x="148327" y="218770"/>
                    <a:pt x="151800" y="223235"/>
                  </a:cubicBezTo>
                  <a:cubicBezTo>
                    <a:pt x="155273" y="227204"/>
                    <a:pt x="158745" y="231668"/>
                    <a:pt x="162217" y="235637"/>
                  </a:cubicBezTo>
                  <a:cubicBezTo>
                    <a:pt x="165690" y="239606"/>
                    <a:pt x="169658" y="243574"/>
                    <a:pt x="173131" y="247543"/>
                  </a:cubicBezTo>
                  <a:cubicBezTo>
                    <a:pt x="176604" y="251512"/>
                    <a:pt x="179580" y="256472"/>
                    <a:pt x="183053" y="259945"/>
                  </a:cubicBezTo>
                  <a:cubicBezTo>
                    <a:pt x="187021" y="264409"/>
                    <a:pt x="191486" y="267386"/>
                    <a:pt x="194959" y="270858"/>
                  </a:cubicBezTo>
                  <a:cubicBezTo>
                    <a:pt x="198927" y="275323"/>
                    <a:pt x="202896" y="279292"/>
                    <a:pt x="205872" y="282764"/>
                  </a:cubicBezTo>
                  <a:cubicBezTo>
                    <a:pt x="212322" y="289213"/>
                    <a:pt x="215794" y="294670"/>
                    <a:pt x="217282" y="29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94441BB0-ADF3-379E-5259-39AE81993659}"/>
                </a:ext>
              </a:extLst>
            </p:cNvPr>
            <p:cNvSpPr/>
            <p:nvPr/>
          </p:nvSpPr>
          <p:spPr>
            <a:xfrm>
              <a:off x="5702782" y="4899761"/>
              <a:ext cx="182556" cy="156264"/>
            </a:xfrm>
            <a:custGeom>
              <a:avLst/>
              <a:gdLst>
                <a:gd name="connsiteX0" fmla="*/ 182556 w 182556"/>
                <a:gd name="connsiteY0" fmla="*/ 156265 h 156264"/>
                <a:gd name="connsiteX1" fmla="*/ 170154 w 182556"/>
                <a:gd name="connsiteY1" fmla="*/ 146343 h 156264"/>
                <a:gd name="connsiteX2" fmla="*/ 159241 w 182556"/>
                <a:gd name="connsiteY2" fmla="*/ 134933 h 156264"/>
                <a:gd name="connsiteX3" fmla="*/ 147335 w 182556"/>
                <a:gd name="connsiteY3" fmla="*/ 124515 h 156264"/>
                <a:gd name="connsiteX4" fmla="*/ 135429 w 182556"/>
                <a:gd name="connsiteY4" fmla="*/ 113602 h 156264"/>
                <a:gd name="connsiteX5" fmla="*/ 122035 w 182556"/>
                <a:gd name="connsiteY5" fmla="*/ 104672 h 156264"/>
                <a:gd name="connsiteX6" fmla="*/ 110129 w 182556"/>
                <a:gd name="connsiteY6" fmla="*/ 94255 h 156264"/>
                <a:gd name="connsiteX7" fmla="*/ 98223 w 182556"/>
                <a:gd name="connsiteY7" fmla="*/ 83341 h 156264"/>
                <a:gd name="connsiteX8" fmla="*/ 86814 w 182556"/>
                <a:gd name="connsiteY8" fmla="*/ 72427 h 156264"/>
                <a:gd name="connsiteX9" fmla="*/ 74412 w 182556"/>
                <a:gd name="connsiteY9" fmla="*/ 62506 h 156264"/>
                <a:gd name="connsiteX10" fmla="*/ 62506 w 182556"/>
                <a:gd name="connsiteY10" fmla="*/ 52088 h 156264"/>
                <a:gd name="connsiteX11" fmla="*/ 50600 w 182556"/>
                <a:gd name="connsiteY11" fmla="*/ 41670 h 156264"/>
                <a:gd name="connsiteX12" fmla="*/ 37206 w 182556"/>
                <a:gd name="connsiteY12" fmla="*/ 32245 h 156264"/>
                <a:gd name="connsiteX13" fmla="*/ 25300 w 182556"/>
                <a:gd name="connsiteY13" fmla="*/ 20835 h 156264"/>
                <a:gd name="connsiteX14" fmla="*/ 12402 w 182556"/>
                <a:gd name="connsiteY14" fmla="*/ 10914 h 156264"/>
                <a:gd name="connsiteX15" fmla="*/ 0 w 182556"/>
                <a:gd name="connsiteY15" fmla="*/ 0 h 15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556" h="156264">
                  <a:moveTo>
                    <a:pt x="182556" y="156265"/>
                  </a:moveTo>
                  <a:cubicBezTo>
                    <a:pt x="176604" y="151304"/>
                    <a:pt x="176108" y="151800"/>
                    <a:pt x="170154" y="146343"/>
                  </a:cubicBezTo>
                  <a:cubicBezTo>
                    <a:pt x="164202" y="141382"/>
                    <a:pt x="165194" y="139894"/>
                    <a:pt x="159241" y="134933"/>
                  </a:cubicBezTo>
                  <a:cubicBezTo>
                    <a:pt x="153288" y="129972"/>
                    <a:pt x="153288" y="129476"/>
                    <a:pt x="147335" y="124515"/>
                  </a:cubicBezTo>
                  <a:cubicBezTo>
                    <a:pt x="141382" y="119555"/>
                    <a:pt x="141382" y="119059"/>
                    <a:pt x="135429" y="113602"/>
                  </a:cubicBezTo>
                  <a:cubicBezTo>
                    <a:pt x="129476" y="108641"/>
                    <a:pt x="128484" y="109633"/>
                    <a:pt x="122035" y="104672"/>
                  </a:cubicBezTo>
                  <a:cubicBezTo>
                    <a:pt x="116082" y="99712"/>
                    <a:pt x="116082" y="99216"/>
                    <a:pt x="110129" y="94255"/>
                  </a:cubicBezTo>
                  <a:cubicBezTo>
                    <a:pt x="104176" y="89294"/>
                    <a:pt x="104672" y="88798"/>
                    <a:pt x="98223" y="83341"/>
                  </a:cubicBezTo>
                  <a:cubicBezTo>
                    <a:pt x="92270" y="78380"/>
                    <a:pt x="92766" y="77388"/>
                    <a:pt x="86814" y="72427"/>
                  </a:cubicBezTo>
                  <a:cubicBezTo>
                    <a:pt x="80860" y="67466"/>
                    <a:pt x="80364" y="67963"/>
                    <a:pt x="74412" y="62506"/>
                  </a:cubicBezTo>
                  <a:cubicBezTo>
                    <a:pt x="68459" y="57545"/>
                    <a:pt x="68459" y="57049"/>
                    <a:pt x="62506" y="52088"/>
                  </a:cubicBezTo>
                  <a:cubicBezTo>
                    <a:pt x="56553" y="47127"/>
                    <a:pt x="56553" y="46631"/>
                    <a:pt x="50600" y="41670"/>
                  </a:cubicBezTo>
                  <a:cubicBezTo>
                    <a:pt x="44151" y="36214"/>
                    <a:pt x="43655" y="37206"/>
                    <a:pt x="37206" y="32245"/>
                  </a:cubicBezTo>
                  <a:cubicBezTo>
                    <a:pt x="30757" y="27284"/>
                    <a:pt x="31749" y="25796"/>
                    <a:pt x="25300" y="20835"/>
                  </a:cubicBezTo>
                  <a:cubicBezTo>
                    <a:pt x="18851" y="15875"/>
                    <a:pt x="18851" y="15875"/>
                    <a:pt x="12402" y="10914"/>
                  </a:cubicBezTo>
                  <a:cubicBezTo>
                    <a:pt x="5953" y="5953"/>
                    <a:pt x="6449" y="496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31713AEB-BD1D-2341-E406-F61AD23E9016}"/>
                </a:ext>
              </a:extLst>
            </p:cNvPr>
            <p:cNvSpPr/>
            <p:nvPr/>
          </p:nvSpPr>
          <p:spPr>
            <a:xfrm>
              <a:off x="5455354" y="4555483"/>
              <a:ext cx="260201" cy="180076"/>
            </a:xfrm>
            <a:custGeom>
              <a:avLst/>
              <a:gdLst>
                <a:gd name="connsiteX0" fmla="*/ 151188 w 260201"/>
                <a:gd name="connsiteY0" fmla="*/ 22820 h 180076"/>
                <a:gd name="connsiteX1" fmla="*/ 165574 w 260201"/>
                <a:gd name="connsiteY1" fmla="*/ 14882 h 180076"/>
                <a:gd name="connsiteX2" fmla="*/ 180953 w 260201"/>
                <a:gd name="connsiteY2" fmla="*/ 9426 h 180076"/>
                <a:gd name="connsiteX3" fmla="*/ 196827 w 260201"/>
                <a:gd name="connsiteY3" fmla="*/ 6449 h 180076"/>
                <a:gd name="connsiteX4" fmla="*/ 212205 w 260201"/>
                <a:gd name="connsiteY4" fmla="*/ 1984 h 180076"/>
                <a:gd name="connsiteX5" fmla="*/ 228080 w 260201"/>
                <a:gd name="connsiteY5" fmla="*/ 0 h 180076"/>
                <a:gd name="connsiteX6" fmla="*/ 243955 w 260201"/>
                <a:gd name="connsiteY6" fmla="*/ 1984 h 180076"/>
                <a:gd name="connsiteX7" fmla="*/ 256852 w 260201"/>
                <a:gd name="connsiteY7" fmla="*/ 10418 h 180076"/>
                <a:gd name="connsiteX8" fmla="*/ 259829 w 260201"/>
                <a:gd name="connsiteY8" fmla="*/ 26292 h 180076"/>
                <a:gd name="connsiteX9" fmla="*/ 252884 w 260201"/>
                <a:gd name="connsiteY9" fmla="*/ 41174 h 180076"/>
                <a:gd name="connsiteX10" fmla="*/ 244947 w 260201"/>
                <a:gd name="connsiteY10" fmla="*/ 55561 h 180076"/>
                <a:gd name="connsiteX11" fmla="*/ 234529 w 260201"/>
                <a:gd name="connsiteY11" fmla="*/ 68459 h 180076"/>
                <a:gd name="connsiteX12" fmla="*/ 222127 w 260201"/>
                <a:gd name="connsiteY12" fmla="*/ 79869 h 180076"/>
                <a:gd name="connsiteX13" fmla="*/ 211213 w 260201"/>
                <a:gd name="connsiteY13" fmla="*/ 92271 h 180076"/>
                <a:gd name="connsiteX14" fmla="*/ 198315 w 260201"/>
                <a:gd name="connsiteY14" fmla="*/ 103184 h 180076"/>
                <a:gd name="connsiteX15" fmla="*/ 184921 w 260201"/>
                <a:gd name="connsiteY15" fmla="*/ 113602 h 180076"/>
                <a:gd name="connsiteX16" fmla="*/ 171031 w 260201"/>
                <a:gd name="connsiteY16" fmla="*/ 123027 h 180076"/>
                <a:gd name="connsiteX17" fmla="*/ 156645 w 260201"/>
                <a:gd name="connsiteY17" fmla="*/ 131461 h 180076"/>
                <a:gd name="connsiteX18" fmla="*/ 142755 w 260201"/>
                <a:gd name="connsiteY18" fmla="*/ 141382 h 180076"/>
                <a:gd name="connsiteX19" fmla="*/ 127872 w 260201"/>
                <a:gd name="connsiteY19" fmla="*/ 148823 h 180076"/>
                <a:gd name="connsiteX20" fmla="*/ 112494 w 260201"/>
                <a:gd name="connsiteY20" fmla="*/ 155769 h 180076"/>
                <a:gd name="connsiteX21" fmla="*/ 98108 w 260201"/>
                <a:gd name="connsiteY21" fmla="*/ 164202 h 180076"/>
                <a:gd name="connsiteX22" fmla="*/ 81737 w 260201"/>
                <a:gd name="connsiteY22" fmla="*/ 168171 h 180076"/>
                <a:gd name="connsiteX23" fmla="*/ 66359 w 260201"/>
                <a:gd name="connsiteY23" fmla="*/ 175115 h 180076"/>
                <a:gd name="connsiteX24" fmla="*/ 49988 w 260201"/>
                <a:gd name="connsiteY24" fmla="*/ 178588 h 180076"/>
                <a:gd name="connsiteX25" fmla="*/ 33121 w 260201"/>
                <a:gd name="connsiteY25" fmla="*/ 180076 h 180076"/>
                <a:gd name="connsiteX26" fmla="*/ 16255 w 260201"/>
                <a:gd name="connsiteY26" fmla="*/ 178588 h 180076"/>
                <a:gd name="connsiteX27" fmla="*/ 2860 w 260201"/>
                <a:gd name="connsiteY27" fmla="*/ 169163 h 180076"/>
                <a:gd name="connsiteX28" fmla="*/ 380 w 260201"/>
                <a:gd name="connsiteY28" fmla="*/ 153784 h 180076"/>
                <a:gd name="connsiteX29" fmla="*/ 5837 w 260201"/>
                <a:gd name="connsiteY29" fmla="*/ 139398 h 180076"/>
                <a:gd name="connsiteX30" fmla="*/ 13278 w 260201"/>
                <a:gd name="connsiteY30" fmla="*/ 126004 h 180076"/>
                <a:gd name="connsiteX31" fmla="*/ 23200 w 260201"/>
                <a:gd name="connsiteY31" fmla="*/ 114098 h 180076"/>
                <a:gd name="connsiteX32" fmla="*/ 32129 w 260201"/>
                <a:gd name="connsiteY32" fmla="*/ 101200 h 180076"/>
                <a:gd name="connsiteX33" fmla="*/ 43539 w 260201"/>
                <a:gd name="connsiteY33" fmla="*/ 9028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60201" h="180076">
                  <a:moveTo>
                    <a:pt x="151188" y="22820"/>
                  </a:moveTo>
                  <a:cubicBezTo>
                    <a:pt x="156149" y="20339"/>
                    <a:pt x="160614" y="16867"/>
                    <a:pt x="165574" y="14882"/>
                  </a:cubicBezTo>
                  <a:cubicBezTo>
                    <a:pt x="170535" y="12898"/>
                    <a:pt x="175992" y="11410"/>
                    <a:pt x="180953" y="9426"/>
                  </a:cubicBezTo>
                  <a:cubicBezTo>
                    <a:pt x="186409" y="7441"/>
                    <a:pt x="191866" y="7937"/>
                    <a:pt x="196827" y="6449"/>
                  </a:cubicBezTo>
                  <a:cubicBezTo>
                    <a:pt x="202284" y="4961"/>
                    <a:pt x="207245" y="2977"/>
                    <a:pt x="212205" y="1984"/>
                  </a:cubicBezTo>
                  <a:cubicBezTo>
                    <a:pt x="218158" y="992"/>
                    <a:pt x="223615" y="496"/>
                    <a:pt x="228080" y="0"/>
                  </a:cubicBezTo>
                  <a:cubicBezTo>
                    <a:pt x="234033" y="0"/>
                    <a:pt x="239490" y="992"/>
                    <a:pt x="243955" y="1984"/>
                  </a:cubicBezTo>
                  <a:cubicBezTo>
                    <a:pt x="249908" y="3473"/>
                    <a:pt x="253876" y="6449"/>
                    <a:pt x="256852" y="10418"/>
                  </a:cubicBezTo>
                  <a:cubicBezTo>
                    <a:pt x="259829" y="14882"/>
                    <a:pt x="260821" y="19843"/>
                    <a:pt x="259829" y="26292"/>
                  </a:cubicBezTo>
                  <a:cubicBezTo>
                    <a:pt x="258837" y="31253"/>
                    <a:pt x="255860" y="35718"/>
                    <a:pt x="252884" y="41174"/>
                  </a:cubicBezTo>
                  <a:cubicBezTo>
                    <a:pt x="250403" y="45639"/>
                    <a:pt x="248419" y="50600"/>
                    <a:pt x="244947" y="55561"/>
                  </a:cubicBezTo>
                  <a:cubicBezTo>
                    <a:pt x="241970" y="59529"/>
                    <a:pt x="238498" y="63994"/>
                    <a:pt x="234529" y="68459"/>
                  </a:cubicBezTo>
                  <a:cubicBezTo>
                    <a:pt x="231056" y="72428"/>
                    <a:pt x="226096" y="75404"/>
                    <a:pt x="222127" y="79869"/>
                  </a:cubicBezTo>
                  <a:cubicBezTo>
                    <a:pt x="218158" y="83837"/>
                    <a:pt x="215182" y="88798"/>
                    <a:pt x="211213" y="92271"/>
                  </a:cubicBezTo>
                  <a:cubicBezTo>
                    <a:pt x="207245" y="95743"/>
                    <a:pt x="202780" y="99712"/>
                    <a:pt x="198315" y="103184"/>
                  </a:cubicBezTo>
                  <a:cubicBezTo>
                    <a:pt x="193850" y="106657"/>
                    <a:pt x="189882" y="110129"/>
                    <a:pt x="184921" y="113602"/>
                  </a:cubicBezTo>
                  <a:cubicBezTo>
                    <a:pt x="180457" y="117075"/>
                    <a:pt x="175992" y="120051"/>
                    <a:pt x="171031" y="123027"/>
                  </a:cubicBezTo>
                  <a:cubicBezTo>
                    <a:pt x="166566" y="126004"/>
                    <a:pt x="161109" y="128484"/>
                    <a:pt x="156645" y="131461"/>
                  </a:cubicBezTo>
                  <a:cubicBezTo>
                    <a:pt x="151684" y="134437"/>
                    <a:pt x="147715" y="138406"/>
                    <a:pt x="142755" y="141382"/>
                  </a:cubicBezTo>
                  <a:cubicBezTo>
                    <a:pt x="137794" y="144359"/>
                    <a:pt x="132337" y="146343"/>
                    <a:pt x="127872" y="148823"/>
                  </a:cubicBezTo>
                  <a:cubicBezTo>
                    <a:pt x="122911" y="151304"/>
                    <a:pt x="117455" y="153288"/>
                    <a:pt x="112494" y="155769"/>
                  </a:cubicBezTo>
                  <a:cubicBezTo>
                    <a:pt x="107533" y="158249"/>
                    <a:pt x="103068" y="162218"/>
                    <a:pt x="98108" y="164202"/>
                  </a:cubicBezTo>
                  <a:cubicBezTo>
                    <a:pt x="92651" y="166186"/>
                    <a:pt x="86698" y="166186"/>
                    <a:pt x="81737" y="168171"/>
                  </a:cubicBezTo>
                  <a:cubicBezTo>
                    <a:pt x="76280" y="170155"/>
                    <a:pt x="71815" y="174124"/>
                    <a:pt x="66359" y="175115"/>
                  </a:cubicBezTo>
                  <a:cubicBezTo>
                    <a:pt x="60902" y="176604"/>
                    <a:pt x="54949" y="177596"/>
                    <a:pt x="49988" y="178588"/>
                  </a:cubicBezTo>
                  <a:cubicBezTo>
                    <a:pt x="44035" y="179580"/>
                    <a:pt x="38578" y="180076"/>
                    <a:pt x="33121" y="180076"/>
                  </a:cubicBezTo>
                  <a:cubicBezTo>
                    <a:pt x="26672" y="180076"/>
                    <a:pt x="21215" y="180076"/>
                    <a:pt x="16255" y="178588"/>
                  </a:cubicBezTo>
                  <a:cubicBezTo>
                    <a:pt x="10302" y="177100"/>
                    <a:pt x="5341" y="173131"/>
                    <a:pt x="2860" y="169163"/>
                  </a:cubicBezTo>
                  <a:cubicBezTo>
                    <a:pt x="380" y="165194"/>
                    <a:pt x="-612" y="159737"/>
                    <a:pt x="380" y="153784"/>
                  </a:cubicBezTo>
                  <a:cubicBezTo>
                    <a:pt x="876" y="149320"/>
                    <a:pt x="3357" y="144855"/>
                    <a:pt x="5837" y="139398"/>
                  </a:cubicBezTo>
                  <a:cubicBezTo>
                    <a:pt x="7821" y="134933"/>
                    <a:pt x="10302" y="130468"/>
                    <a:pt x="13278" y="126004"/>
                  </a:cubicBezTo>
                  <a:cubicBezTo>
                    <a:pt x="16255" y="122035"/>
                    <a:pt x="19727" y="118563"/>
                    <a:pt x="23200" y="114098"/>
                  </a:cubicBezTo>
                  <a:cubicBezTo>
                    <a:pt x="26176" y="110129"/>
                    <a:pt x="28657" y="105169"/>
                    <a:pt x="32129" y="101200"/>
                  </a:cubicBezTo>
                  <a:cubicBezTo>
                    <a:pt x="35602" y="97727"/>
                    <a:pt x="39570" y="94255"/>
                    <a:pt x="43539" y="902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AB27C431-06BC-3150-28B5-0DF37C9BF313}"/>
                </a:ext>
              </a:extLst>
            </p:cNvPr>
            <p:cNvSpPr/>
            <p:nvPr/>
          </p:nvSpPr>
          <p:spPr>
            <a:xfrm>
              <a:off x="5501374" y="4547546"/>
              <a:ext cx="119554" cy="116578"/>
            </a:xfrm>
            <a:custGeom>
              <a:avLst/>
              <a:gdLst>
                <a:gd name="connsiteX0" fmla="*/ 0 w 119554"/>
                <a:gd name="connsiteY0" fmla="*/ 116578 h 116578"/>
                <a:gd name="connsiteX1" fmla="*/ 992 w 119554"/>
                <a:gd name="connsiteY1" fmla="*/ 99712 h 116578"/>
                <a:gd name="connsiteX2" fmla="*/ 496 w 119554"/>
                <a:gd name="connsiteY2" fmla="*/ 82845 h 116578"/>
                <a:gd name="connsiteX3" fmla="*/ 0 w 119554"/>
                <a:gd name="connsiteY3" fmla="*/ 65978 h 116578"/>
                <a:gd name="connsiteX4" fmla="*/ 992 w 119554"/>
                <a:gd name="connsiteY4" fmla="*/ 49112 h 116578"/>
                <a:gd name="connsiteX5" fmla="*/ 3969 w 119554"/>
                <a:gd name="connsiteY5" fmla="*/ 34229 h 116578"/>
                <a:gd name="connsiteX6" fmla="*/ 10418 w 119554"/>
                <a:gd name="connsiteY6" fmla="*/ 20339 h 116578"/>
                <a:gd name="connsiteX7" fmla="*/ 21828 w 119554"/>
                <a:gd name="connsiteY7" fmla="*/ 9922 h 116578"/>
                <a:gd name="connsiteX8" fmla="*/ 35718 w 119554"/>
                <a:gd name="connsiteY8" fmla="*/ 3473 h 116578"/>
                <a:gd name="connsiteX9" fmla="*/ 50600 w 119554"/>
                <a:gd name="connsiteY9" fmla="*/ 0 h 116578"/>
                <a:gd name="connsiteX10" fmla="*/ 65978 w 119554"/>
                <a:gd name="connsiteY10" fmla="*/ 2976 h 116578"/>
                <a:gd name="connsiteX11" fmla="*/ 79372 w 119554"/>
                <a:gd name="connsiteY11" fmla="*/ 10914 h 116578"/>
                <a:gd name="connsiteX12" fmla="*/ 92271 w 119554"/>
                <a:gd name="connsiteY12" fmla="*/ 21827 h 116578"/>
                <a:gd name="connsiteX13" fmla="*/ 105665 w 119554"/>
                <a:gd name="connsiteY13" fmla="*/ 32245 h 116578"/>
                <a:gd name="connsiteX14" fmla="*/ 119555 w 119554"/>
                <a:gd name="connsiteY14" fmla="*/ 41670 h 11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554" h="116578">
                  <a:moveTo>
                    <a:pt x="0" y="116578"/>
                  </a:moveTo>
                  <a:cubicBezTo>
                    <a:pt x="0" y="108145"/>
                    <a:pt x="992" y="108145"/>
                    <a:pt x="992" y="99712"/>
                  </a:cubicBezTo>
                  <a:cubicBezTo>
                    <a:pt x="992" y="91278"/>
                    <a:pt x="496" y="91278"/>
                    <a:pt x="496" y="82845"/>
                  </a:cubicBezTo>
                  <a:cubicBezTo>
                    <a:pt x="496" y="74412"/>
                    <a:pt x="0" y="74412"/>
                    <a:pt x="0" y="65978"/>
                  </a:cubicBezTo>
                  <a:cubicBezTo>
                    <a:pt x="0" y="57545"/>
                    <a:pt x="992" y="57545"/>
                    <a:pt x="992" y="49112"/>
                  </a:cubicBezTo>
                  <a:cubicBezTo>
                    <a:pt x="992" y="43655"/>
                    <a:pt x="2480" y="38694"/>
                    <a:pt x="3969" y="34229"/>
                  </a:cubicBezTo>
                  <a:cubicBezTo>
                    <a:pt x="5457" y="29268"/>
                    <a:pt x="7441" y="24308"/>
                    <a:pt x="10418" y="20339"/>
                  </a:cubicBezTo>
                  <a:cubicBezTo>
                    <a:pt x="13394" y="16371"/>
                    <a:pt x="17363" y="12898"/>
                    <a:pt x="21828" y="9922"/>
                  </a:cubicBezTo>
                  <a:cubicBezTo>
                    <a:pt x="26292" y="6945"/>
                    <a:pt x="30757" y="4961"/>
                    <a:pt x="35718" y="3473"/>
                  </a:cubicBezTo>
                  <a:cubicBezTo>
                    <a:pt x="40678" y="1984"/>
                    <a:pt x="45639" y="0"/>
                    <a:pt x="50600" y="0"/>
                  </a:cubicBezTo>
                  <a:cubicBezTo>
                    <a:pt x="55561" y="0"/>
                    <a:pt x="61018" y="992"/>
                    <a:pt x="65978" y="2976"/>
                  </a:cubicBezTo>
                  <a:cubicBezTo>
                    <a:pt x="70443" y="4961"/>
                    <a:pt x="74908" y="7937"/>
                    <a:pt x="79372" y="10914"/>
                  </a:cubicBezTo>
                  <a:cubicBezTo>
                    <a:pt x="85821" y="16371"/>
                    <a:pt x="85821" y="16371"/>
                    <a:pt x="92271" y="21827"/>
                  </a:cubicBezTo>
                  <a:cubicBezTo>
                    <a:pt x="98720" y="27284"/>
                    <a:pt x="98720" y="27284"/>
                    <a:pt x="105665" y="32245"/>
                  </a:cubicBezTo>
                  <a:cubicBezTo>
                    <a:pt x="112114" y="37702"/>
                    <a:pt x="113106" y="36710"/>
                    <a:pt x="119555" y="41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D2D5D8DC-F207-3576-85EC-ADDC69376875}"/>
                </a:ext>
              </a:extLst>
            </p:cNvPr>
            <p:cNvSpPr/>
            <p:nvPr/>
          </p:nvSpPr>
          <p:spPr>
            <a:xfrm>
              <a:off x="5583227" y="4693393"/>
              <a:ext cx="72427" cy="64473"/>
            </a:xfrm>
            <a:custGeom>
              <a:avLst/>
              <a:gdLst>
                <a:gd name="connsiteX0" fmla="*/ 72428 w 72427"/>
                <a:gd name="connsiteY0" fmla="*/ 0 h 64473"/>
                <a:gd name="connsiteX1" fmla="*/ 69947 w 72427"/>
                <a:gd name="connsiteY1" fmla="*/ 14882 h 64473"/>
                <a:gd name="connsiteX2" fmla="*/ 66475 w 72427"/>
                <a:gd name="connsiteY2" fmla="*/ 29765 h 64473"/>
                <a:gd name="connsiteX3" fmla="*/ 60522 w 72427"/>
                <a:gd name="connsiteY3" fmla="*/ 43655 h 64473"/>
                <a:gd name="connsiteX4" fmla="*/ 51592 w 72427"/>
                <a:gd name="connsiteY4" fmla="*/ 56057 h 64473"/>
                <a:gd name="connsiteX5" fmla="*/ 39190 w 72427"/>
                <a:gd name="connsiteY5" fmla="*/ 63994 h 64473"/>
                <a:gd name="connsiteX6" fmla="*/ 24308 w 72427"/>
                <a:gd name="connsiteY6" fmla="*/ 62010 h 64473"/>
                <a:gd name="connsiteX7" fmla="*/ 12402 w 72427"/>
                <a:gd name="connsiteY7" fmla="*/ 52088 h 64473"/>
                <a:gd name="connsiteX8" fmla="*/ 0 w 72427"/>
                <a:gd name="connsiteY8" fmla="*/ 42663 h 6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27" h="64473">
                  <a:moveTo>
                    <a:pt x="72428" y="0"/>
                  </a:moveTo>
                  <a:cubicBezTo>
                    <a:pt x="71435" y="7441"/>
                    <a:pt x="71931" y="6449"/>
                    <a:pt x="69947" y="14882"/>
                  </a:cubicBezTo>
                  <a:cubicBezTo>
                    <a:pt x="68955" y="19347"/>
                    <a:pt x="68459" y="24804"/>
                    <a:pt x="66475" y="29765"/>
                  </a:cubicBezTo>
                  <a:cubicBezTo>
                    <a:pt x="64986" y="34725"/>
                    <a:pt x="62506" y="39190"/>
                    <a:pt x="60522" y="43655"/>
                  </a:cubicBezTo>
                  <a:cubicBezTo>
                    <a:pt x="58041" y="48616"/>
                    <a:pt x="55065" y="52584"/>
                    <a:pt x="51592" y="56057"/>
                  </a:cubicBezTo>
                  <a:cubicBezTo>
                    <a:pt x="48120" y="60026"/>
                    <a:pt x="44151" y="63498"/>
                    <a:pt x="39190" y="63994"/>
                  </a:cubicBezTo>
                  <a:cubicBezTo>
                    <a:pt x="34725" y="64986"/>
                    <a:pt x="29765" y="64490"/>
                    <a:pt x="24308" y="62010"/>
                  </a:cubicBezTo>
                  <a:cubicBezTo>
                    <a:pt x="20339" y="60026"/>
                    <a:pt x="17363" y="56057"/>
                    <a:pt x="12402" y="52088"/>
                  </a:cubicBezTo>
                  <a:cubicBezTo>
                    <a:pt x="8929" y="49112"/>
                    <a:pt x="3969" y="47127"/>
                    <a:pt x="0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B56CCEC7-1008-6E02-E056-EE1F49EA26F3}"/>
                </a:ext>
              </a:extLst>
            </p:cNvPr>
            <p:cNvSpPr/>
            <p:nvPr/>
          </p:nvSpPr>
          <p:spPr>
            <a:xfrm>
              <a:off x="5884842" y="5020308"/>
              <a:ext cx="43159" cy="68954"/>
            </a:xfrm>
            <a:custGeom>
              <a:avLst/>
              <a:gdLst>
                <a:gd name="connsiteX0" fmla="*/ 43159 w 43159"/>
                <a:gd name="connsiteY0" fmla="*/ 35718 h 68954"/>
                <a:gd name="connsiteX1" fmla="*/ 41671 w 43159"/>
                <a:gd name="connsiteY1" fmla="*/ 50104 h 68954"/>
                <a:gd name="connsiteX2" fmla="*/ 35718 w 43159"/>
                <a:gd name="connsiteY2" fmla="*/ 63498 h 68954"/>
                <a:gd name="connsiteX3" fmla="*/ 22324 w 43159"/>
                <a:gd name="connsiteY3" fmla="*/ 68955 h 68954"/>
                <a:gd name="connsiteX4" fmla="*/ 8930 w 43159"/>
                <a:gd name="connsiteY4" fmla="*/ 63498 h 68954"/>
                <a:gd name="connsiteX5" fmla="*/ 2976 w 43159"/>
                <a:gd name="connsiteY5" fmla="*/ 49608 h 68954"/>
                <a:gd name="connsiteX6" fmla="*/ 0 w 43159"/>
                <a:gd name="connsiteY6" fmla="*/ 34725 h 68954"/>
                <a:gd name="connsiteX7" fmla="*/ 1984 w 43159"/>
                <a:gd name="connsiteY7" fmla="*/ 19843 h 68954"/>
                <a:gd name="connsiteX8" fmla="*/ 9922 w 43159"/>
                <a:gd name="connsiteY8" fmla="*/ 7441 h 68954"/>
                <a:gd name="connsiteX9" fmla="*/ 22819 w 43159"/>
                <a:gd name="connsiteY9" fmla="*/ 0 h 68954"/>
                <a:gd name="connsiteX10" fmla="*/ 34725 w 43159"/>
                <a:gd name="connsiteY10" fmla="*/ 7937 h 68954"/>
                <a:gd name="connsiteX11" fmla="*/ 41671 w 43159"/>
                <a:gd name="connsiteY11" fmla="*/ 20339 h 68954"/>
                <a:gd name="connsiteX12" fmla="*/ 43159 w 43159"/>
                <a:gd name="connsiteY12" fmla="*/ 35718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59" h="68954">
                  <a:moveTo>
                    <a:pt x="43159" y="35718"/>
                  </a:moveTo>
                  <a:cubicBezTo>
                    <a:pt x="43159" y="41174"/>
                    <a:pt x="43159" y="45639"/>
                    <a:pt x="41671" y="50104"/>
                  </a:cubicBezTo>
                  <a:cubicBezTo>
                    <a:pt x="40182" y="55561"/>
                    <a:pt x="38198" y="60025"/>
                    <a:pt x="35718" y="63498"/>
                  </a:cubicBezTo>
                  <a:cubicBezTo>
                    <a:pt x="32245" y="67466"/>
                    <a:pt x="27284" y="68955"/>
                    <a:pt x="22324" y="68955"/>
                  </a:cubicBezTo>
                  <a:cubicBezTo>
                    <a:pt x="17363" y="68955"/>
                    <a:pt x="12402" y="67962"/>
                    <a:pt x="8930" y="63498"/>
                  </a:cubicBezTo>
                  <a:cubicBezTo>
                    <a:pt x="5953" y="60025"/>
                    <a:pt x="4465" y="55065"/>
                    <a:pt x="2976" y="49608"/>
                  </a:cubicBezTo>
                  <a:cubicBezTo>
                    <a:pt x="1488" y="45143"/>
                    <a:pt x="0" y="40182"/>
                    <a:pt x="0" y="34725"/>
                  </a:cubicBezTo>
                  <a:cubicBezTo>
                    <a:pt x="0" y="29269"/>
                    <a:pt x="496" y="24308"/>
                    <a:pt x="1984" y="19843"/>
                  </a:cubicBezTo>
                  <a:cubicBezTo>
                    <a:pt x="3473" y="14386"/>
                    <a:pt x="6945" y="10418"/>
                    <a:pt x="9922" y="7441"/>
                  </a:cubicBezTo>
                  <a:cubicBezTo>
                    <a:pt x="13394" y="3473"/>
                    <a:pt x="17859" y="0"/>
                    <a:pt x="22819" y="0"/>
                  </a:cubicBezTo>
                  <a:cubicBezTo>
                    <a:pt x="27780" y="0"/>
                    <a:pt x="31253" y="3969"/>
                    <a:pt x="34725" y="7937"/>
                  </a:cubicBezTo>
                  <a:cubicBezTo>
                    <a:pt x="37702" y="11410"/>
                    <a:pt x="39686" y="15378"/>
                    <a:pt x="41671" y="20339"/>
                  </a:cubicBezTo>
                  <a:cubicBezTo>
                    <a:pt x="42167" y="25796"/>
                    <a:pt x="43159" y="30757"/>
                    <a:pt x="43159" y="357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8878E675-D956-A24E-785C-59B398623BF0}"/>
                </a:ext>
              </a:extLst>
            </p:cNvPr>
            <p:cNvSpPr/>
            <p:nvPr/>
          </p:nvSpPr>
          <p:spPr>
            <a:xfrm>
              <a:off x="5375866" y="5213781"/>
              <a:ext cx="992651" cy="48265"/>
            </a:xfrm>
            <a:custGeom>
              <a:avLst/>
              <a:gdLst>
                <a:gd name="connsiteX0" fmla="*/ 0 w 992651"/>
                <a:gd name="connsiteY0" fmla="*/ 39683 h 48265"/>
                <a:gd name="connsiteX1" fmla="*/ 16371 w 992651"/>
                <a:gd name="connsiteY1" fmla="*/ 39683 h 48265"/>
                <a:gd name="connsiteX2" fmla="*/ 32741 w 992651"/>
                <a:gd name="connsiteY2" fmla="*/ 39683 h 48265"/>
                <a:gd name="connsiteX3" fmla="*/ 49112 w 992651"/>
                <a:gd name="connsiteY3" fmla="*/ 40179 h 48265"/>
                <a:gd name="connsiteX4" fmla="*/ 65482 w 992651"/>
                <a:gd name="connsiteY4" fmla="*/ 40179 h 48265"/>
                <a:gd name="connsiteX5" fmla="*/ 81853 w 992651"/>
                <a:gd name="connsiteY5" fmla="*/ 40179 h 48265"/>
                <a:gd name="connsiteX6" fmla="*/ 98223 w 992651"/>
                <a:gd name="connsiteY6" fmla="*/ 38691 h 48265"/>
                <a:gd name="connsiteX7" fmla="*/ 114594 w 992651"/>
                <a:gd name="connsiteY7" fmla="*/ 40675 h 48265"/>
                <a:gd name="connsiteX8" fmla="*/ 130965 w 992651"/>
                <a:gd name="connsiteY8" fmla="*/ 41172 h 48265"/>
                <a:gd name="connsiteX9" fmla="*/ 147335 w 992651"/>
                <a:gd name="connsiteY9" fmla="*/ 39683 h 48265"/>
                <a:gd name="connsiteX10" fmla="*/ 163706 w 992651"/>
                <a:gd name="connsiteY10" fmla="*/ 40675 h 48265"/>
                <a:gd name="connsiteX11" fmla="*/ 180076 w 992651"/>
                <a:gd name="connsiteY11" fmla="*/ 39187 h 48265"/>
                <a:gd name="connsiteX12" fmla="*/ 196447 w 992651"/>
                <a:gd name="connsiteY12" fmla="*/ 40179 h 48265"/>
                <a:gd name="connsiteX13" fmla="*/ 212818 w 992651"/>
                <a:gd name="connsiteY13" fmla="*/ 40675 h 48265"/>
                <a:gd name="connsiteX14" fmla="*/ 229188 w 992651"/>
                <a:gd name="connsiteY14" fmla="*/ 41172 h 48265"/>
                <a:gd name="connsiteX15" fmla="*/ 245559 w 992651"/>
                <a:gd name="connsiteY15" fmla="*/ 40675 h 48265"/>
                <a:gd name="connsiteX16" fmla="*/ 261929 w 992651"/>
                <a:gd name="connsiteY16" fmla="*/ 39187 h 48265"/>
                <a:gd name="connsiteX17" fmla="*/ 278300 w 992651"/>
                <a:gd name="connsiteY17" fmla="*/ 39187 h 48265"/>
                <a:gd name="connsiteX18" fmla="*/ 294670 w 992651"/>
                <a:gd name="connsiteY18" fmla="*/ 41172 h 48265"/>
                <a:gd name="connsiteX19" fmla="*/ 311041 w 992651"/>
                <a:gd name="connsiteY19" fmla="*/ 40675 h 48265"/>
                <a:gd name="connsiteX20" fmla="*/ 327411 w 992651"/>
                <a:gd name="connsiteY20" fmla="*/ 40675 h 48265"/>
                <a:gd name="connsiteX21" fmla="*/ 343782 w 992651"/>
                <a:gd name="connsiteY21" fmla="*/ 39187 h 48265"/>
                <a:gd name="connsiteX22" fmla="*/ 360152 w 992651"/>
                <a:gd name="connsiteY22" fmla="*/ 38691 h 48265"/>
                <a:gd name="connsiteX23" fmla="*/ 376523 w 992651"/>
                <a:gd name="connsiteY23" fmla="*/ 40179 h 48265"/>
                <a:gd name="connsiteX24" fmla="*/ 392894 w 992651"/>
                <a:gd name="connsiteY24" fmla="*/ 40675 h 48265"/>
                <a:gd name="connsiteX25" fmla="*/ 409264 w 992651"/>
                <a:gd name="connsiteY25" fmla="*/ 38691 h 48265"/>
                <a:gd name="connsiteX26" fmla="*/ 425635 w 992651"/>
                <a:gd name="connsiteY26" fmla="*/ 40675 h 48265"/>
                <a:gd name="connsiteX27" fmla="*/ 442005 w 992651"/>
                <a:gd name="connsiteY27" fmla="*/ 39187 h 48265"/>
                <a:gd name="connsiteX28" fmla="*/ 458376 w 992651"/>
                <a:gd name="connsiteY28" fmla="*/ 39187 h 48265"/>
                <a:gd name="connsiteX29" fmla="*/ 474746 w 992651"/>
                <a:gd name="connsiteY29" fmla="*/ 40179 h 48265"/>
                <a:gd name="connsiteX30" fmla="*/ 491117 w 992651"/>
                <a:gd name="connsiteY30" fmla="*/ 40179 h 48265"/>
                <a:gd name="connsiteX31" fmla="*/ 507488 w 992651"/>
                <a:gd name="connsiteY31" fmla="*/ 40675 h 48265"/>
                <a:gd name="connsiteX32" fmla="*/ 523858 w 992651"/>
                <a:gd name="connsiteY32" fmla="*/ 39187 h 48265"/>
                <a:gd name="connsiteX33" fmla="*/ 540229 w 992651"/>
                <a:gd name="connsiteY33" fmla="*/ 39187 h 48265"/>
                <a:gd name="connsiteX34" fmla="*/ 556599 w 992651"/>
                <a:gd name="connsiteY34" fmla="*/ 40179 h 48265"/>
                <a:gd name="connsiteX35" fmla="*/ 572970 w 992651"/>
                <a:gd name="connsiteY35" fmla="*/ 40675 h 48265"/>
                <a:gd name="connsiteX36" fmla="*/ 589341 w 992651"/>
                <a:gd name="connsiteY36" fmla="*/ 38691 h 48265"/>
                <a:gd name="connsiteX37" fmla="*/ 605711 w 992651"/>
                <a:gd name="connsiteY37" fmla="*/ 40179 h 48265"/>
                <a:gd name="connsiteX38" fmla="*/ 622082 w 992651"/>
                <a:gd name="connsiteY38" fmla="*/ 39683 h 48265"/>
                <a:gd name="connsiteX39" fmla="*/ 638452 w 992651"/>
                <a:gd name="connsiteY39" fmla="*/ 39683 h 48265"/>
                <a:gd name="connsiteX40" fmla="*/ 654823 w 992651"/>
                <a:gd name="connsiteY40" fmla="*/ 40179 h 48265"/>
                <a:gd name="connsiteX41" fmla="*/ 671194 w 992651"/>
                <a:gd name="connsiteY41" fmla="*/ 40179 h 48265"/>
                <a:gd name="connsiteX42" fmla="*/ 687564 w 992651"/>
                <a:gd name="connsiteY42" fmla="*/ 40675 h 48265"/>
                <a:gd name="connsiteX43" fmla="*/ 702446 w 992651"/>
                <a:gd name="connsiteY43" fmla="*/ 30258 h 48265"/>
                <a:gd name="connsiteX44" fmla="*/ 717825 w 992651"/>
                <a:gd name="connsiteY44" fmla="*/ 20832 h 48265"/>
                <a:gd name="connsiteX45" fmla="*/ 732707 w 992651"/>
                <a:gd name="connsiteY45" fmla="*/ 10910 h 48265"/>
                <a:gd name="connsiteX46" fmla="*/ 748086 w 992651"/>
                <a:gd name="connsiteY46" fmla="*/ 989 h 48265"/>
                <a:gd name="connsiteX47" fmla="*/ 739652 w 992651"/>
                <a:gd name="connsiteY47" fmla="*/ 13887 h 48265"/>
                <a:gd name="connsiteX48" fmla="*/ 731715 w 992651"/>
                <a:gd name="connsiteY48" fmla="*/ 26785 h 48265"/>
                <a:gd name="connsiteX49" fmla="*/ 723778 w 992651"/>
                <a:gd name="connsiteY49" fmla="*/ 39187 h 48265"/>
                <a:gd name="connsiteX50" fmla="*/ 737172 w 992651"/>
                <a:gd name="connsiteY50" fmla="*/ 35218 h 48265"/>
                <a:gd name="connsiteX51" fmla="*/ 751558 w 992651"/>
                <a:gd name="connsiteY51" fmla="*/ 32738 h 48265"/>
                <a:gd name="connsiteX52" fmla="*/ 765449 w 992651"/>
                <a:gd name="connsiteY52" fmla="*/ 29266 h 48265"/>
                <a:gd name="connsiteX53" fmla="*/ 757015 w 992651"/>
                <a:gd name="connsiteY53" fmla="*/ 37699 h 48265"/>
                <a:gd name="connsiteX54" fmla="*/ 747589 w 992651"/>
                <a:gd name="connsiteY54" fmla="*/ 45636 h 48265"/>
                <a:gd name="connsiteX55" fmla="*/ 763464 w 992651"/>
                <a:gd name="connsiteY55" fmla="*/ 44644 h 48265"/>
                <a:gd name="connsiteX56" fmla="*/ 779834 w 992651"/>
                <a:gd name="connsiteY56" fmla="*/ 45140 h 48265"/>
                <a:gd name="connsiteX57" fmla="*/ 796205 w 992651"/>
                <a:gd name="connsiteY57" fmla="*/ 45636 h 48265"/>
                <a:gd name="connsiteX58" fmla="*/ 812576 w 992651"/>
                <a:gd name="connsiteY58" fmla="*/ 45140 h 48265"/>
                <a:gd name="connsiteX59" fmla="*/ 828946 w 992651"/>
                <a:gd name="connsiteY59" fmla="*/ 46132 h 48265"/>
                <a:gd name="connsiteX60" fmla="*/ 845317 w 992651"/>
                <a:gd name="connsiteY60" fmla="*/ 45636 h 48265"/>
                <a:gd name="connsiteX61" fmla="*/ 861687 w 992651"/>
                <a:gd name="connsiteY61" fmla="*/ 47124 h 48265"/>
                <a:gd name="connsiteX62" fmla="*/ 878058 w 992651"/>
                <a:gd name="connsiteY62" fmla="*/ 46628 h 48265"/>
                <a:gd name="connsiteX63" fmla="*/ 894429 w 992651"/>
                <a:gd name="connsiteY63" fmla="*/ 47124 h 48265"/>
                <a:gd name="connsiteX64" fmla="*/ 910799 w 992651"/>
                <a:gd name="connsiteY64" fmla="*/ 47124 h 48265"/>
                <a:gd name="connsiteX65" fmla="*/ 927170 w 992651"/>
                <a:gd name="connsiteY65" fmla="*/ 45140 h 48265"/>
                <a:gd name="connsiteX66" fmla="*/ 943540 w 992651"/>
                <a:gd name="connsiteY66" fmla="*/ 47124 h 48265"/>
                <a:gd name="connsiteX67" fmla="*/ 959911 w 992651"/>
                <a:gd name="connsiteY67" fmla="*/ 46628 h 48265"/>
                <a:gd name="connsiteX68" fmla="*/ 976282 w 992651"/>
                <a:gd name="connsiteY68" fmla="*/ 46628 h 48265"/>
                <a:gd name="connsiteX69" fmla="*/ 992652 w 992651"/>
                <a:gd name="connsiteY69" fmla="*/ 47620 h 48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992651" h="48265">
                  <a:moveTo>
                    <a:pt x="0" y="39683"/>
                  </a:moveTo>
                  <a:cubicBezTo>
                    <a:pt x="7937" y="39683"/>
                    <a:pt x="7937" y="39683"/>
                    <a:pt x="16371" y="39683"/>
                  </a:cubicBezTo>
                  <a:cubicBezTo>
                    <a:pt x="24308" y="39683"/>
                    <a:pt x="24308" y="39683"/>
                    <a:pt x="32741" y="39683"/>
                  </a:cubicBezTo>
                  <a:cubicBezTo>
                    <a:pt x="40678" y="39683"/>
                    <a:pt x="40678" y="40179"/>
                    <a:pt x="49112" y="40179"/>
                  </a:cubicBezTo>
                  <a:cubicBezTo>
                    <a:pt x="57049" y="40179"/>
                    <a:pt x="57049" y="40179"/>
                    <a:pt x="65482" y="40179"/>
                  </a:cubicBezTo>
                  <a:cubicBezTo>
                    <a:pt x="73419" y="40179"/>
                    <a:pt x="73419" y="40179"/>
                    <a:pt x="81853" y="40179"/>
                  </a:cubicBezTo>
                  <a:cubicBezTo>
                    <a:pt x="89790" y="40179"/>
                    <a:pt x="89790" y="38691"/>
                    <a:pt x="98223" y="38691"/>
                  </a:cubicBezTo>
                  <a:cubicBezTo>
                    <a:pt x="106161" y="38691"/>
                    <a:pt x="106161" y="40675"/>
                    <a:pt x="114594" y="40675"/>
                  </a:cubicBezTo>
                  <a:cubicBezTo>
                    <a:pt x="122531" y="40675"/>
                    <a:pt x="122531" y="41172"/>
                    <a:pt x="130965" y="41172"/>
                  </a:cubicBezTo>
                  <a:cubicBezTo>
                    <a:pt x="138902" y="41172"/>
                    <a:pt x="138902" y="39683"/>
                    <a:pt x="147335" y="39683"/>
                  </a:cubicBezTo>
                  <a:cubicBezTo>
                    <a:pt x="155272" y="39683"/>
                    <a:pt x="155272" y="40675"/>
                    <a:pt x="163706" y="40675"/>
                  </a:cubicBezTo>
                  <a:cubicBezTo>
                    <a:pt x="171643" y="40675"/>
                    <a:pt x="171643" y="39187"/>
                    <a:pt x="180076" y="39187"/>
                  </a:cubicBezTo>
                  <a:cubicBezTo>
                    <a:pt x="188014" y="39187"/>
                    <a:pt x="188014" y="40179"/>
                    <a:pt x="196447" y="40179"/>
                  </a:cubicBezTo>
                  <a:cubicBezTo>
                    <a:pt x="204384" y="40179"/>
                    <a:pt x="204384" y="40675"/>
                    <a:pt x="212818" y="40675"/>
                  </a:cubicBezTo>
                  <a:cubicBezTo>
                    <a:pt x="220755" y="40675"/>
                    <a:pt x="220755" y="41172"/>
                    <a:pt x="229188" y="41172"/>
                  </a:cubicBezTo>
                  <a:cubicBezTo>
                    <a:pt x="237125" y="41172"/>
                    <a:pt x="237125" y="40675"/>
                    <a:pt x="245559" y="40675"/>
                  </a:cubicBezTo>
                  <a:cubicBezTo>
                    <a:pt x="253496" y="40675"/>
                    <a:pt x="253496" y="39187"/>
                    <a:pt x="261929" y="39187"/>
                  </a:cubicBezTo>
                  <a:cubicBezTo>
                    <a:pt x="269867" y="39187"/>
                    <a:pt x="269867" y="39187"/>
                    <a:pt x="278300" y="39187"/>
                  </a:cubicBezTo>
                  <a:cubicBezTo>
                    <a:pt x="286237" y="39187"/>
                    <a:pt x="286237" y="41172"/>
                    <a:pt x="294670" y="41172"/>
                  </a:cubicBezTo>
                  <a:cubicBezTo>
                    <a:pt x="302608" y="41172"/>
                    <a:pt x="302608" y="40675"/>
                    <a:pt x="311041" y="40675"/>
                  </a:cubicBezTo>
                  <a:cubicBezTo>
                    <a:pt x="318978" y="40675"/>
                    <a:pt x="318978" y="40675"/>
                    <a:pt x="327411" y="40675"/>
                  </a:cubicBezTo>
                  <a:cubicBezTo>
                    <a:pt x="335349" y="40675"/>
                    <a:pt x="335349" y="39187"/>
                    <a:pt x="343782" y="39187"/>
                  </a:cubicBezTo>
                  <a:cubicBezTo>
                    <a:pt x="351719" y="39187"/>
                    <a:pt x="351719" y="38691"/>
                    <a:pt x="360152" y="38691"/>
                  </a:cubicBezTo>
                  <a:cubicBezTo>
                    <a:pt x="368090" y="38691"/>
                    <a:pt x="368090" y="40179"/>
                    <a:pt x="376523" y="40179"/>
                  </a:cubicBezTo>
                  <a:cubicBezTo>
                    <a:pt x="384460" y="40179"/>
                    <a:pt x="384460" y="40675"/>
                    <a:pt x="392894" y="40675"/>
                  </a:cubicBezTo>
                  <a:cubicBezTo>
                    <a:pt x="400831" y="40675"/>
                    <a:pt x="400831" y="38691"/>
                    <a:pt x="409264" y="38691"/>
                  </a:cubicBezTo>
                  <a:cubicBezTo>
                    <a:pt x="417201" y="38691"/>
                    <a:pt x="417201" y="40675"/>
                    <a:pt x="425635" y="40675"/>
                  </a:cubicBezTo>
                  <a:cubicBezTo>
                    <a:pt x="433572" y="40675"/>
                    <a:pt x="433572" y="39187"/>
                    <a:pt x="442005" y="39187"/>
                  </a:cubicBezTo>
                  <a:cubicBezTo>
                    <a:pt x="449942" y="39187"/>
                    <a:pt x="449942" y="39187"/>
                    <a:pt x="458376" y="39187"/>
                  </a:cubicBezTo>
                  <a:cubicBezTo>
                    <a:pt x="466313" y="39187"/>
                    <a:pt x="466313" y="40179"/>
                    <a:pt x="474746" y="40179"/>
                  </a:cubicBezTo>
                  <a:cubicBezTo>
                    <a:pt x="482684" y="40179"/>
                    <a:pt x="482684" y="40179"/>
                    <a:pt x="491117" y="40179"/>
                  </a:cubicBezTo>
                  <a:cubicBezTo>
                    <a:pt x="499054" y="40179"/>
                    <a:pt x="499054" y="40675"/>
                    <a:pt x="507488" y="40675"/>
                  </a:cubicBezTo>
                  <a:cubicBezTo>
                    <a:pt x="515425" y="40675"/>
                    <a:pt x="515425" y="39187"/>
                    <a:pt x="523858" y="39187"/>
                  </a:cubicBezTo>
                  <a:cubicBezTo>
                    <a:pt x="531795" y="39187"/>
                    <a:pt x="531795" y="39187"/>
                    <a:pt x="540229" y="39187"/>
                  </a:cubicBezTo>
                  <a:cubicBezTo>
                    <a:pt x="548166" y="39187"/>
                    <a:pt x="548166" y="40179"/>
                    <a:pt x="556599" y="40179"/>
                  </a:cubicBezTo>
                  <a:cubicBezTo>
                    <a:pt x="564537" y="40179"/>
                    <a:pt x="564537" y="40675"/>
                    <a:pt x="572970" y="40675"/>
                  </a:cubicBezTo>
                  <a:cubicBezTo>
                    <a:pt x="581403" y="40675"/>
                    <a:pt x="580907" y="38691"/>
                    <a:pt x="589341" y="38691"/>
                  </a:cubicBezTo>
                  <a:cubicBezTo>
                    <a:pt x="597278" y="38691"/>
                    <a:pt x="597278" y="40179"/>
                    <a:pt x="605711" y="40179"/>
                  </a:cubicBezTo>
                  <a:cubicBezTo>
                    <a:pt x="613648" y="40179"/>
                    <a:pt x="613648" y="39683"/>
                    <a:pt x="622082" y="39683"/>
                  </a:cubicBezTo>
                  <a:cubicBezTo>
                    <a:pt x="630019" y="39683"/>
                    <a:pt x="630019" y="39683"/>
                    <a:pt x="638452" y="39683"/>
                  </a:cubicBezTo>
                  <a:cubicBezTo>
                    <a:pt x="646390" y="39683"/>
                    <a:pt x="646390" y="40179"/>
                    <a:pt x="654823" y="40179"/>
                  </a:cubicBezTo>
                  <a:cubicBezTo>
                    <a:pt x="662760" y="40179"/>
                    <a:pt x="662760" y="40179"/>
                    <a:pt x="671194" y="40179"/>
                  </a:cubicBezTo>
                  <a:cubicBezTo>
                    <a:pt x="679131" y="40179"/>
                    <a:pt x="680123" y="42660"/>
                    <a:pt x="687564" y="40675"/>
                  </a:cubicBezTo>
                  <a:cubicBezTo>
                    <a:pt x="695998" y="38195"/>
                    <a:pt x="695005" y="35218"/>
                    <a:pt x="702446" y="30258"/>
                  </a:cubicBezTo>
                  <a:cubicBezTo>
                    <a:pt x="709887" y="25297"/>
                    <a:pt x="710383" y="25793"/>
                    <a:pt x="717825" y="20832"/>
                  </a:cubicBezTo>
                  <a:cubicBezTo>
                    <a:pt x="725266" y="15871"/>
                    <a:pt x="725266" y="15375"/>
                    <a:pt x="732707" y="10910"/>
                  </a:cubicBezTo>
                  <a:cubicBezTo>
                    <a:pt x="740148" y="5950"/>
                    <a:pt x="739652" y="-2979"/>
                    <a:pt x="748086" y="989"/>
                  </a:cubicBezTo>
                  <a:cubicBezTo>
                    <a:pt x="755030" y="3966"/>
                    <a:pt x="743621" y="7438"/>
                    <a:pt x="739652" y="13887"/>
                  </a:cubicBezTo>
                  <a:cubicBezTo>
                    <a:pt x="735684" y="20336"/>
                    <a:pt x="735684" y="20336"/>
                    <a:pt x="731715" y="26785"/>
                  </a:cubicBezTo>
                  <a:cubicBezTo>
                    <a:pt x="727746" y="33234"/>
                    <a:pt x="719809" y="32738"/>
                    <a:pt x="723778" y="39187"/>
                  </a:cubicBezTo>
                  <a:cubicBezTo>
                    <a:pt x="727746" y="45140"/>
                    <a:pt x="730226" y="36707"/>
                    <a:pt x="737172" y="35218"/>
                  </a:cubicBezTo>
                  <a:cubicBezTo>
                    <a:pt x="744117" y="33234"/>
                    <a:pt x="744613" y="34722"/>
                    <a:pt x="751558" y="32738"/>
                  </a:cubicBezTo>
                  <a:cubicBezTo>
                    <a:pt x="758503" y="30754"/>
                    <a:pt x="760488" y="24305"/>
                    <a:pt x="765449" y="29266"/>
                  </a:cubicBezTo>
                  <a:cubicBezTo>
                    <a:pt x="769913" y="33730"/>
                    <a:pt x="761480" y="33730"/>
                    <a:pt x="757015" y="37699"/>
                  </a:cubicBezTo>
                  <a:cubicBezTo>
                    <a:pt x="752550" y="41668"/>
                    <a:pt x="743621" y="40675"/>
                    <a:pt x="747589" y="45636"/>
                  </a:cubicBezTo>
                  <a:cubicBezTo>
                    <a:pt x="753047" y="52085"/>
                    <a:pt x="755527" y="44644"/>
                    <a:pt x="763464" y="44644"/>
                  </a:cubicBezTo>
                  <a:cubicBezTo>
                    <a:pt x="771401" y="44644"/>
                    <a:pt x="771401" y="45140"/>
                    <a:pt x="779834" y="45140"/>
                  </a:cubicBezTo>
                  <a:cubicBezTo>
                    <a:pt x="787772" y="45140"/>
                    <a:pt x="787772" y="45636"/>
                    <a:pt x="796205" y="45636"/>
                  </a:cubicBezTo>
                  <a:cubicBezTo>
                    <a:pt x="804142" y="45636"/>
                    <a:pt x="804142" y="45140"/>
                    <a:pt x="812576" y="45140"/>
                  </a:cubicBezTo>
                  <a:cubicBezTo>
                    <a:pt x="820513" y="45140"/>
                    <a:pt x="820513" y="46132"/>
                    <a:pt x="828946" y="46132"/>
                  </a:cubicBezTo>
                  <a:cubicBezTo>
                    <a:pt x="836883" y="46132"/>
                    <a:pt x="836883" y="45636"/>
                    <a:pt x="845317" y="45636"/>
                  </a:cubicBezTo>
                  <a:cubicBezTo>
                    <a:pt x="853254" y="45636"/>
                    <a:pt x="853254" y="47124"/>
                    <a:pt x="861687" y="47124"/>
                  </a:cubicBezTo>
                  <a:cubicBezTo>
                    <a:pt x="869625" y="47124"/>
                    <a:pt x="869625" y="46628"/>
                    <a:pt x="878058" y="46628"/>
                  </a:cubicBezTo>
                  <a:cubicBezTo>
                    <a:pt x="885995" y="46628"/>
                    <a:pt x="885995" y="47124"/>
                    <a:pt x="894429" y="47124"/>
                  </a:cubicBezTo>
                  <a:cubicBezTo>
                    <a:pt x="902366" y="47124"/>
                    <a:pt x="902366" y="47124"/>
                    <a:pt x="910799" y="47124"/>
                  </a:cubicBezTo>
                  <a:cubicBezTo>
                    <a:pt x="918736" y="47124"/>
                    <a:pt x="918736" y="45140"/>
                    <a:pt x="927170" y="45140"/>
                  </a:cubicBezTo>
                  <a:cubicBezTo>
                    <a:pt x="935107" y="45140"/>
                    <a:pt x="935107" y="47124"/>
                    <a:pt x="943540" y="47124"/>
                  </a:cubicBezTo>
                  <a:cubicBezTo>
                    <a:pt x="951478" y="47124"/>
                    <a:pt x="951478" y="46628"/>
                    <a:pt x="959911" y="46628"/>
                  </a:cubicBezTo>
                  <a:cubicBezTo>
                    <a:pt x="967848" y="46628"/>
                    <a:pt x="967848" y="46628"/>
                    <a:pt x="976282" y="46628"/>
                  </a:cubicBezTo>
                  <a:cubicBezTo>
                    <a:pt x="984715" y="46628"/>
                    <a:pt x="984219" y="47620"/>
                    <a:pt x="992652" y="476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874FAC1E-BE55-2407-AAC0-06EAE70EA882}"/>
                </a:ext>
              </a:extLst>
            </p:cNvPr>
            <p:cNvSpPr/>
            <p:nvPr/>
          </p:nvSpPr>
          <p:spPr>
            <a:xfrm>
              <a:off x="5580221" y="5074877"/>
              <a:ext cx="21856" cy="32245"/>
            </a:xfrm>
            <a:custGeom>
              <a:avLst/>
              <a:gdLst>
                <a:gd name="connsiteX0" fmla="*/ 10447 w 21856"/>
                <a:gd name="connsiteY0" fmla="*/ 0 h 32245"/>
                <a:gd name="connsiteX1" fmla="*/ 29 w 21856"/>
                <a:gd name="connsiteY1" fmla="*/ 9426 h 32245"/>
                <a:gd name="connsiteX2" fmla="*/ 10447 w 21856"/>
                <a:gd name="connsiteY2" fmla="*/ 21332 h 32245"/>
                <a:gd name="connsiteX3" fmla="*/ 21856 w 21856"/>
                <a:gd name="connsiteY3" fmla="*/ 32245 h 3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56" h="32245">
                  <a:moveTo>
                    <a:pt x="10447" y="0"/>
                  </a:moveTo>
                  <a:cubicBezTo>
                    <a:pt x="5486" y="4961"/>
                    <a:pt x="-467" y="2480"/>
                    <a:pt x="29" y="9426"/>
                  </a:cubicBezTo>
                  <a:cubicBezTo>
                    <a:pt x="525" y="17363"/>
                    <a:pt x="4990" y="15378"/>
                    <a:pt x="10447" y="21332"/>
                  </a:cubicBezTo>
                  <a:cubicBezTo>
                    <a:pt x="15904" y="27284"/>
                    <a:pt x="16400" y="26292"/>
                    <a:pt x="21856" y="322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B9293EE-6F52-E756-1F98-D5321B49C6D4}"/>
                </a:ext>
              </a:extLst>
            </p:cNvPr>
            <p:cNvSpPr/>
            <p:nvPr/>
          </p:nvSpPr>
          <p:spPr>
            <a:xfrm>
              <a:off x="5615968" y="5040120"/>
              <a:ext cx="25795" cy="10448"/>
            </a:xfrm>
            <a:custGeom>
              <a:avLst/>
              <a:gdLst>
                <a:gd name="connsiteX0" fmla="*/ 25796 w 25795"/>
                <a:gd name="connsiteY0" fmla="*/ 10449 h 10448"/>
                <a:gd name="connsiteX1" fmla="*/ 8929 w 25795"/>
                <a:gd name="connsiteY1" fmla="*/ 31 h 10448"/>
                <a:gd name="connsiteX2" fmla="*/ 0 w 25795"/>
                <a:gd name="connsiteY2" fmla="*/ 9953 h 1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95" h="10448">
                  <a:moveTo>
                    <a:pt x="25796" y="10449"/>
                  </a:moveTo>
                  <a:cubicBezTo>
                    <a:pt x="17363" y="4496"/>
                    <a:pt x="18851" y="1024"/>
                    <a:pt x="8929" y="31"/>
                  </a:cubicBezTo>
                  <a:cubicBezTo>
                    <a:pt x="1984" y="-464"/>
                    <a:pt x="4465" y="4992"/>
                    <a:pt x="0" y="9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32C15867-21D6-991D-4640-843BA4CBF6CE}"/>
                </a:ext>
              </a:extLst>
            </p:cNvPr>
            <p:cNvSpPr/>
            <p:nvPr/>
          </p:nvSpPr>
          <p:spPr>
            <a:xfrm>
              <a:off x="5576778" y="5051537"/>
              <a:ext cx="209111" cy="151327"/>
            </a:xfrm>
            <a:custGeom>
              <a:avLst/>
              <a:gdLst>
                <a:gd name="connsiteX0" fmla="*/ 89790 w 209111"/>
                <a:gd name="connsiteY0" fmla="*/ 24 h 151327"/>
                <a:gd name="connsiteX1" fmla="*/ 77388 w 209111"/>
                <a:gd name="connsiteY1" fmla="*/ 12426 h 151327"/>
                <a:gd name="connsiteX2" fmla="*/ 64490 w 209111"/>
                <a:gd name="connsiteY2" fmla="*/ 23339 h 151327"/>
                <a:gd name="connsiteX3" fmla="*/ 51592 w 209111"/>
                <a:gd name="connsiteY3" fmla="*/ 34749 h 151327"/>
                <a:gd name="connsiteX4" fmla="*/ 39190 w 209111"/>
                <a:gd name="connsiteY4" fmla="*/ 46655 h 151327"/>
                <a:gd name="connsiteX5" fmla="*/ 26292 w 209111"/>
                <a:gd name="connsiteY5" fmla="*/ 57569 h 151327"/>
                <a:gd name="connsiteX6" fmla="*/ 12402 w 209111"/>
                <a:gd name="connsiteY6" fmla="*/ 67490 h 151327"/>
                <a:gd name="connsiteX7" fmla="*/ 0 w 209111"/>
                <a:gd name="connsiteY7" fmla="*/ 79396 h 151327"/>
                <a:gd name="connsiteX8" fmla="*/ 12402 w 209111"/>
                <a:gd name="connsiteY8" fmla="*/ 91798 h 151327"/>
                <a:gd name="connsiteX9" fmla="*/ 25300 w 209111"/>
                <a:gd name="connsiteY9" fmla="*/ 103208 h 151327"/>
                <a:gd name="connsiteX10" fmla="*/ 37206 w 209111"/>
                <a:gd name="connsiteY10" fmla="*/ 115610 h 151327"/>
                <a:gd name="connsiteX11" fmla="*/ 50600 w 209111"/>
                <a:gd name="connsiteY11" fmla="*/ 127020 h 151327"/>
                <a:gd name="connsiteX12" fmla="*/ 63002 w 209111"/>
                <a:gd name="connsiteY12" fmla="*/ 138926 h 151327"/>
                <a:gd name="connsiteX13" fmla="*/ 74908 w 209111"/>
                <a:gd name="connsiteY13" fmla="*/ 151328 h 151327"/>
                <a:gd name="connsiteX14" fmla="*/ 84333 w 209111"/>
                <a:gd name="connsiteY14" fmla="*/ 139422 h 151327"/>
                <a:gd name="connsiteX15" fmla="*/ 96239 w 209111"/>
                <a:gd name="connsiteY15" fmla="*/ 129004 h 151327"/>
                <a:gd name="connsiteX16" fmla="*/ 105665 w 209111"/>
                <a:gd name="connsiteY16" fmla="*/ 115610 h 151327"/>
                <a:gd name="connsiteX17" fmla="*/ 123524 w 209111"/>
                <a:gd name="connsiteY17" fmla="*/ 116106 h 151327"/>
                <a:gd name="connsiteX18" fmla="*/ 140886 w 209111"/>
                <a:gd name="connsiteY18" fmla="*/ 116106 h 151327"/>
                <a:gd name="connsiteX19" fmla="*/ 158249 w 209111"/>
                <a:gd name="connsiteY19" fmla="*/ 117098 h 151327"/>
                <a:gd name="connsiteX20" fmla="*/ 175612 w 209111"/>
                <a:gd name="connsiteY20" fmla="*/ 117594 h 151327"/>
                <a:gd name="connsiteX21" fmla="*/ 189006 w 209111"/>
                <a:gd name="connsiteY21" fmla="*/ 129996 h 151327"/>
                <a:gd name="connsiteX22" fmla="*/ 206864 w 209111"/>
                <a:gd name="connsiteY22" fmla="*/ 136445 h 151327"/>
                <a:gd name="connsiteX23" fmla="*/ 205872 w 209111"/>
                <a:gd name="connsiteY23" fmla="*/ 121066 h 151327"/>
                <a:gd name="connsiteX24" fmla="*/ 205872 w 209111"/>
                <a:gd name="connsiteY24" fmla="*/ 106184 h 151327"/>
                <a:gd name="connsiteX25" fmla="*/ 205872 w 209111"/>
                <a:gd name="connsiteY25" fmla="*/ 91302 h 151327"/>
                <a:gd name="connsiteX26" fmla="*/ 206368 w 209111"/>
                <a:gd name="connsiteY26" fmla="*/ 76916 h 151327"/>
                <a:gd name="connsiteX27" fmla="*/ 189998 w 209111"/>
                <a:gd name="connsiteY27" fmla="*/ 81380 h 151327"/>
                <a:gd name="connsiteX28" fmla="*/ 178092 w 209111"/>
                <a:gd name="connsiteY28" fmla="*/ 93286 h 151327"/>
                <a:gd name="connsiteX29" fmla="*/ 162714 w 209111"/>
                <a:gd name="connsiteY29" fmla="*/ 89318 h 151327"/>
                <a:gd name="connsiteX30" fmla="*/ 146839 w 209111"/>
                <a:gd name="connsiteY30" fmla="*/ 88325 h 151327"/>
                <a:gd name="connsiteX31" fmla="*/ 131957 w 209111"/>
                <a:gd name="connsiteY31" fmla="*/ 87829 h 151327"/>
                <a:gd name="connsiteX32" fmla="*/ 142374 w 209111"/>
                <a:gd name="connsiteY32" fmla="*/ 74436 h 151327"/>
                <a:gd name="connsiteX33" fmla="*/ 154776 w 209111"/>
                <a:gd name="connsiteY33" fmla="*/ 61041 h 151327"/>
                <a:gd name="connsiteX34" fmla="*/ 140390 w 209111"/>
                <a:gd name="connsiteY34" fmla="*/ 49632 h 151327"/>
                <a:gd name="connsiteX35" fmla="*/ 127988 w 209111"/>
                <a:gd name="connsiteY35" fmla="*/ 37230 h 151327"/>
                <a:gd name="connsiteX36" fmla="*/ 115586 w 209111"/>
                <a:gd name="connsiteY36" fmla="*/ 25324 h 151327"/>
                <a:gd name="connsiteX37" fmla="*/ 103680 w 209111"/>
                <a:gd name="connsiteY37" fmla="*/ 12922 h 151327"/>
                <a:gd name="connsiteX38" fmla="*/ 89790 w 209111"/>
                <a:gd name="connsiteY38" fmla="*/ 24 h 15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9111" h="151327">
                  <a:moveTo>
                    <a:pt x="89790" y="24"/>
                  </a:moveTo>
                  <a:cubicBezTo>
                    <a:pt x="81357" y="-472"/>
                    <a:pt x="83341" y="6969"/>
                    <a:pt x="77388" y="12426"/>
                  </a:cubicBezTo>
                  <a:cubicBezTo>
                    <a:pt x="70939" y="17883"/>
                    <a:pt x="70939" y="17883"/>
                    <a:pt x="64490" y="23339"/>
                  </a:cubicBezTo>
                  <a:cubicBezTo>
                    <a:pt x="58041" y="28796"/>
                    <a:pt x="58041" y="28796"/>
                    <a:pt x="51592" y="34749"/>
                  </a:cubicBezTo>
                  <a:cubicBezTo>
                    <a:pt x="45143" y="40206"/>
                    <a:pt x="45639" y="40702"/>
                    <a:pt x="39190" y="46655"/>
                  </a:cubicBezTo>
                  <a:cubicBezTo>
                    <a:pt x="32741" y="52112"/>
                    <a:pt x="32741" y="52112"/>
                    <a:pt x="26292" y="57569"/>
                  </a:cubicBezTo>
                  <a:cubicBezTo>
                    <a:pt x="19843" y="63026"/>
                    <a:pt x="18851" y="62034"/>
                    <a:pt x="12402" y="67490"/>
                  </a:cubicBezTo>
                  <a:cubicBezTo>
                    <a:pt x="5953" y="72947"/>
                    <a:pt x="0" y="70963"/>
                    <a:pt x="0" y="79396"/>
                  </a:cubicBezTo>
                  <a:cubicBezTo>
                    <a:pt x="0" y="87829"/>
                    <a:pt x="6449" y="85845"/>
                    <a:pt x="12402" y="91798"/>
                  </a:cubicBezTo>
                  <a:cubicBezTo>
                    <a:pt x="18851" y="97751"/>
                    <a:pt x="18851" y="97255"/>
                    <a:pt x="25300" y="103208"/>
                  </a:cubicBezTo>
                  <a:cubicBezTo>
                    <a:pt x="31749" y="109161"/>
                    <a:pt x="31253" y="109657"/>
                    <a:pt x="37206" y="115610"/>
                  </a:cubicBezTo>
                  <a:cubicBezTo>
                    <a:pt x="43655" y="121563"/>
                    <a:pt x="44151" y="120570"/>
                    <a:pt x="50600" y="127020"/>
                  </a:cubicBezTo>
                  <a:cubicBezTo>
                    <a:pt x="57049" y="132972"/>
                    <a:pt x="57049" y="132972"/>
                    <a:pt x="63002" y="138926"/>
                  </a:cubicBezTo>
                  <a:cubicBezTo>
                    <a:pt x="69451" y="144878"/>
                    <a:pt x="65978" y="151328"/>
                    <a:pt x="74908" y="151328"/>
                  </a:cubicBezTo>
                  <a:cubicBezTo>
                    <a:pt x="82845" y="151328"/>
                    <a:pt x="79372" y="145374"/>
                    <a:pt x="84333" y="139422"/>
                  </a:cubicBezTo>
                  <a:cubicBezTo>
                    <a:pt x="89294" y="133468"/>
                    <a:pt x="91278" y="134957"/>
                    <a:pt x="96239" y="129004"/>
                  </a:cubicBezTo>
                  <a:cubicBezTo>
                    <a:pt x="101200" y="123051"/>
                    <a:pt x="98223" y="118586"/>
                    <a:pt x="105665" y="115610"/>
                  </a:cubicBezTo>
                  <a:cubicBezTo>
                    <a:pt x="113602" y="112137"/>
                    <a:pt x="114594" y="116106"/>
                    <a:pt x="123524" y="116106"/>
                  </a:cubicBezTo>
                  <a:cubicBezTo>
                    <a:pt x="132453" y="116106"/>
                    <a:pt x="132453" y="116106"/>
                    <a:pt x="140886" y="116106"/>
                  </a:cubicBezTo>
                  <a:cubicBezTo>
                    <a:pt x="149816" y="116106"/>
                    <a:pt x="149816" y="117098"/>
                    <a:pt x="158249" y="117098"/>
                  </a:cubicBezTo>
                  <a:cubicBezTo>
                    <a:pt x="167178" y="117098"/>
                    <a:pt x="167178" y="115114"/>
                    <a:pt x="175612" y="117594"/>
                  </a:cubicBezTo>
                  <a:cubicBezTo>
                    <a:pt x="184541" y="120074"/>
                    <a:pt x="181068" y="124539"/>
                    <a:pt x="189006" y="129996"/>
                  </a:cubicBezTo>
                  <a:cubicBezTo>
                    <a:pt x="193966" y="133468"/>
                    <a:pt x="201408" y="136445"/>
                    <a:pt x="206864" y="136445"/>
                  </a:cubicBezTo>
                  <a:cubicBezTo>
                    <a:pt x="206864" y="133965"/>
                    <a:pt x="205872" y="128012"/>
                    <a:pt x="205872" y="121066"/>
                  </a:cubicBezTo>
                  <a:cubicBezTo>
                    <a:pt x="205872" y="116602"/>
                    <a:pt x="205872" y="111641"/>
                    <a:pt x="205872" y="106184"/>
                  </a:cubicBezTo>
                  <a:cubicBezTo>
                    <a:pt x="205872" y="101223"/>
                    <a:pt x="205872" y="95767"/>
                    <a:pt x="205872" y="91302"/>
                  </a:cubicBezTo>
                  <a:cubicBezTo>
                    <a:pt x="205872" y="82869"/>
                    <a:pt x="212818" y="80884"/>
                    <a:pt x="206368" y="76916"/>
                  </a:cubicBezTo>
                  <a:cubicBezTo>
                    <a:pt x="198927" y="72451"/>
                    <a:pt x="197935" y="77412"/>
                    <a:pt x="189998" y="81380"/>
                  </a:cubicBezTo>
                  <a:cubicBezTo>
                    <a:pt x="185037" y="83861"/>
                    <a:pt x="180076" y="87829"/>
                    <a:pt x="178092" y="93286"/>
                  </a:cubicBezTo>
                  <a:cubicBezTo>
                    <a:pt x="172635" y="91798"/>
                    <a:pt x="167674" y="90310"/>
                    <a:pt x="162714" y="89318"/>
                  </a:cubicBezTo>
                  <a:cubicBezTo>
                    <a:pt x="156761" y="88325"/>
                    <a:pt x="151304" y="88821"/>
                    <a:pt x="146839" y="88325"/>
                  </a:cubicBezTo>
                  <a:cubicBezTo>
                    <a:pt x="137414" y="87333"/>
                    <a:pt x="128980" y="95271"/>
                    <a:pt x="131957" y="87829"/>
                  </a:cubicBezTo>
                  <a:cubicBezTo>
                    <a:pt x="134933" y="79892"/>
                    <a:pt x="136917" y="80884"/>
                    <a:pt x="142374" y="74436"/>
                  </a:cubicBezTo>
                  <a:cubicBezTo>
                    <a:pt x="147831" y="67986"/>
                    <a:pt x="155272" y="69971"/>
                    <a:pt x="154776" y="61041"/>
                  </a:cubicBezTo>
                  <a:cubicBezTo>
                    <a:pt x="154280" y="52112"/>
                    <a:pt x="146839" y="55584"/>
                    <a:pt x="140390" y="49632"/>
                  </a:cubicBezTo>
                  <a:cubicBezTo>
                    <a:pt x="133941" y="43678"/>
                    <a:pt x="134437" y="43678"/>
                    <a:pt x="127988" y="37230"/>
                  </a:cubicBezTo>
                  <a:cubicBezTo>
                    <a:pt x="121539" y="31276"/>
                    <a:pt x="121539" y="31276"/>
                    <a:pt x="115586" y="25324"/>
                  </a:cubicBezTo>
                  <a:cubicBezTo>
                    <a:pt x="109137" y="19371"/>
                    <a:pt x="108145" y="19867"/>
                    <a:pt x="103680" y="12922"/>
                  </a:cubicBezTo>
                  <a:cubicBezTo>
                    <a:pt x="97231" y="5481"/>
                    <a:pt x="98720" y="520"/>
                    <a:pt x="89790" y="2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D86A49DF-1215-4A27-AE8C-B542670E11BD}"/>
                </a:ext>
              </a:extLst>
            </p:cNvPr>
            <p:cNvSpPr/>
            <p:nvPr/>
          </p:nvSpPr>
          <p:spPr>
            <a:xfrm>
              <a:off x="5634323" y="5081822"/>
              <a:ext cx="30260" cy="26788"/>
            </a:xfrm>
            <a:custGeom>
              <a:avLst/>
              <a:gdLst>
                <a:gd name="connsiteX0" fmla="*/ 30261 w 30260"/>
                <a:gd name="connsiteY0" fmla="*/ 0 h 26788"/>
                <a:gd name="connsiteX1" fmla="*/ 15875 w 30260"/>
                <a:gd name="connsiteY1" fmla="*/ 14386 h 26788"/>
                <a:gd name="connsiteX2" fmla="*/ 0 w 30260"/>
                <a:gd name="connsiteY2" fmla="*/ 26788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60" h="26788">
                  <a:moveTo>
                    <a:pt x="30261" y="0"/>
                  </a:moveTo>
                  <a:cubicBezTo>
                    <a:pt x="22324" y="6449"/>
                    <a:pt x="23812" y="7937"/>
                    <a:pt x="15875" y="14386"/>
                  </a:cubicBezTo>
                  <a:cubicBezTo>
                    <a:pt x="7937" y="20835"/>
                    <a:pt x="7937" y="20339"/>
                    <a:pt x="0" y="267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F82CFBC2-C8F4-BFB3-B011-F77963D0CFA7}"/>
                </a:ext>
              </a:extLst>
            </p:cNvPr>
            <p:cNvSpPr/>
            <p:nvPr/>
          </p:nvSpPr>
          <p:spPr>
            <a:xfrm>
              <a:off x="5813407" y="5157721"/>
              <a:ext cx="34725" cy="60521"/>
            </a:xfrm>
            <a:custGeom>
              <a:avLst/>
              <a:gdLst>
                <a:gd name="connsiteX0" fmla="*/ 0 w 34725"/>
                <a:gd name="connsiteY0" fmla="*/ 0 h 60521"/>
                <a:gd name="connsiteX1" fmla="*/ 5457 w 34725"/>
                <a:gd name="connsiteY1" fmla="*/ 0 h 60521"/>
                <a:gd name="connsiteX2" fmla="*/ 19347 w 34725"/>
                <a:gd name="connsiteY2" fmla="*/ 4961 h 60521"/>
                <a:gd name="connsiteX3" fmla="*/ 29765 w 34725"/>
                <a:gd name="connsiteY3" fmla="*/ 14882 h 60521"/>
                <a:gd name="connsiteX4" fmla="*/ 32742 w 34725"/>
                <a:gd name="connsiteY4" fmla="*/ 28773 h 60521"/>
                <a:gd name="connsiteX5" fmla="*/ 34725 w 34725"/>
                <a:gd name="connsiteY5" fmla="*/ 44647 h 60521"/>
                <a:gd name="connsiteX6" fmla="*/ 34230 w 34725"/>
                <a:gd name="connsiteY6" fmla="*/ 60522 h 6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25" h="60521">
                  <a:moveTo>
                    <a:pt x="0" y="0"/>
                  </a:moveTo>
                  <a:cubicBezTo>
                    <a:pt x="2977" y="0"/>
                    <a:pt x="2977" y="0"/>
                    <a:pt x="5457" y="0"/>
                  </a:cubicBezTo>
                  <a:cubicBezTo>
                    <a:pt x="10418" y="0"/>
                    <a:pt x="14882" y="2977"/>
                    <a:pt x="19347" y="4961"/>
                  </a:cubicBezTo>
                  <a:cubicBezTo>
                    <a:pt x="23812" y="7441"/>
                    <a:pt x="27284" y="10914"/>
                    <a:pt x="29765" y="14882"/>
                  </a:cubicBezTo>
                  <a:cubicBezTo>
                    <a:pt x="32245" y="18851"/>
                    <a:pt x="32742" y="23812"/>
                    <a:pt x="32742" y="28773"/>
                  </a:cubicBezTo>
                  <a:cubicBezTo>
                    <a:pt x="32742" y="36710"/>
                    <a:pt x="34725" y="36710"/>
                    <a:pt x="34725" y="44647"/>
                  </a:cubicBezTo>
                  <a:cubicBezTo>
                    <a:pt x="34725" y="52585"/>
                    <a:pt x="34230" y="52585"/>
                    <a:pt x="34230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5392B638-439F-AEF9-9CB9-D7D09BEA4B11}"/>
                </a:ext>
              </a:extLst>
            </p:cNvPr>
            <p:cNvSpPr/>
            <p:nvPr/>
          </p:nvSpPr>
          <p:spPr>
            <a:xfrm>
              <a:off x="5803485" y="5182029"/>
              <a:ext cx="20339" cy="35221"/>
            </a:xfrm>
            <a:custGeom>
              <a:avLst/>
              <a:gdLst>
                <a:gd name="connsiteX0" fmla="*/ 0 w 20339"/>
                <a:gd name="connsiteY0" fmla="*/ 0 h 35221"/>
                <a:gd name="connsiteX1" fmla="*/ 0 w 20339"/>
                <a:gd name="connsiteY1" fmla="*/ 0 h 35221"/>
                <a:gd name="connsiteX2" fmla="*/ 13890 w 20339"/>
                <a:gd name="connsiteY2" fmla="*/ 3969 h 35221"/>
                <a:gd name="connsiteX3" fmla="*/ 20340 w 20339"/>
                <a:gd name="connsiteY3" fmla="*/ 17859 h 35221"/>
                <a:gd name="connsiteX4" fmla="*/ 19843 w 20339"/>
                <a:gd name="connsiteY4" fmla="*/ 35221 h 3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9" h="352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457" y="0"/>
                    <a:pt x="10418" y="496"/>
                    <a:pt x="13890" y="3969"/>
                  </a:cubicBezTo>
                  <a:cubicBezTo>
                    <a:pt x="17363" y="7441"/>
                    <a:pt x="20340" y="12402"/>
                    <a:pt x="20340" y="17859"/>
                  </a:cubicBezTo>
                  <a:cubicBezTo>
                    <a:pt x="20340" y="26788"/>
                    <a:pt x="19843" y="26788"/>
                    <a:pt x="19843" y="35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9C2BB8AB-4231-F808-9E69-BA754C26FEE9}"/>
                </a:ext>
              </a:extLst>
            </p:cNvPr>
            <p:cNvSpPr/>
            <p:nvPr/>
          </p:nvSpPr>
          <p:spPr>
            <a:xfrm>
              <a:off x="5827297" y="5135398"/>
              <a:ext cx="46135" cy="83837"/>
            </a:xfrm>
            <a:custGeom>
              <a:avLst/>
              <a:gdLst>
                <a:gd name="connsiteX0" fmla="*/ 0 w 46135"/>
                <a:gd name="connsiteY0" fmla="*/ 0 h 83837"/>
                <a:gd name="connsiteX1" fmla="*/ 0 w 46135"/>
                <a:gd name="connsiteY1" fmla="*/ 0 h 83837"/>
                <a:gd name="connsiteX2" fmla="*/ 17859 w 46135"/>
                <a:gd name="connsiteY2" fmla="*/ 1984 h 83837"/>
                <a:gd name="connsiteX3" fmla="*/ 31749 w 46135"/>
                <a:gd name="connsiteY3" fmla="*/ 12899 h 83837"/>
                <a:gd name="connsiteX4" fmla="*/ 42663 w 46135"/>
                <a:gd name="connsiteY4" fmla="*/ 26788 h 83837"/>
                <a:gd name="connsiteX5" fmla="*/ 45143 w 46135"/>
                <a:gd name="connsiteY5" fmla="*/ 44151 h 83837"/>
                <a:gd name="connsiteX6" fmla="*/ 44647 w 46135"/>
                <a:gd name="connsiteY6" fmla="*/ 63994 h 83837"/>
                <a:gd name="connsiteX7" fmla="*/ 46135 w 46135"/>
                <a:gd name="connsiteY7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35" h="838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53" y="0"/>
                    <a:pt x="12402" y="0"/>
                    <a:pt x="17859" y="1984"/>
                  </a:cubicBezTo>
                  <a:cubicBezTo>
                    <a:pt x="23315" y="4465"/>
                    <a:pt x="27780" y="8930"/>
                    <a:pt x="31749" y="12899"/>
                  </a:cubicBezTo>
                  <a:cubicBezTo>
                    <a:pt x="35717" y="16867"/>
                    <a:pt x="40182" y="21332"/>
                    <a:pt x="42663" y="26788"/>
                  </a:cubicBezTo>
                  <a:cubicBezTo>
                    <a:pt x="44647" y="32245"/>
                    <a:pt x="45143" y="38198"/>
                    <a:pt x="45143" y="44151"/>
                  </a:cubicBezTo>
                  <a:cubicBezTo>
                    <a:pt x="45143" y="54073"/>
                    <a:pt x="44647" y="54073"/>
                    <a:pt x="44647" y="63994"/>
                  </a:cubicBezTo>
                  <a:cubicBezTo>
                    <a:pt x="44647" y="73916"/>
                    <a:pt x="46135" y="73916"/>
                    <a:pt x="46135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A539AECA-9FB1-2E6A-57AE-331C42C5D620}"/>
                </a:ext>
              </a:extLst>
            </p:cNvPr>
            <p:cNvSpPr/>
            <p:nvPr/>
          </p:nvSpPr>
          <p:spPr>
            <a:xfrm>
              <a:off x="5800385" y="4700710"/>
              <a:ext cx="191734" cy="190028"/>
            </a:xfrm>
            <a:custGeom>
              <a:avLst/>
              <a:gdLst>
                <a:gd name="connsiteX0" fmla="*/ 142995 w 191734"/>
                <a:gd name="connsiteY0" fmla="*/ 142002 h 190028"/>
                <a:gd name="connsiteX1" fmla="*/ 155892 w 191734"/>
                <a:gd name="connsiteY1" fmla="*/ 143987 h 190028"/>
                <a:gd name="connsiteX2" fmla="*/ 169783 w 191734"/>
                <a:gd name="connsiteY2" fmla="*/ 142995 h 190028"/>
                <a:gd name="connsiteX3" fmla="*/ 181688 w 191734"/>
                <a:gd name="connsiteY3" fmla="*/ 136049 h 190028"/>
                <a:gd name="connsiteX4" fmla="*/ 190618 w 191734"/>
                <a:gd name="connsiteY4" fmla="*/ 121167 h 190028"/>
                <a:gd name="connsiteX5" fmla="*/ 190618 w 191734"/>
                <a:gd name="connsiteY5" fmla="*/ 103804 h 190028"/>
                <a:gd name="connsiteX6" fmla="*/ 181688 w 191734"/>
                <a:gd name="connsiteY6" fmla="*/ 88426 h 190028"/>
                <a:gd name="connsiteX7" fmla="*/ 170279 w 191734"/>
                <a:gd name="connsiteY7" fmla="*/ 82473 h 190028"/>
                <a:gd name="connsiteX8" fmla="*/ 157381 w 191734"/>
                <a:gd name="connsiteY8" fmla="*/ 79993 h 190028"/>
                <a:gd name="connsiteX9" fmla="*/ 165318 w 191734"/>
                <a:gd name="connsiteY9" fmla="*/ 75032 h 190028"/>
                <a:gd name="connsiteX10" fmla="*/ 173255 w 191734"/>
                <a:gd name="connsiteY10" fmla="*/ 59157 h 190028"/>
                <a:gd name="connsiteX11" fmla="*/ 174247 w 191734"/>
                <a:gd name="connsiteY11" fmla="*/ 41795 h 190028"/>
                <a:gd name="connsiteX12" fmla="*/ 164822 w 191734"/>
                <a:gd name="connsiteY12" fmla="*/ 26912 h 190028"/>
                <a:gd name="connsiteX13" fmla="*/ 149443 w 191734"/>
                <a:gd name="connsiteY13" fmla="*/ 19471 h 190028"/>
                <a:gd name="connsiteX14" fmla="*/ 132080 w 191734"/>
                <a:gd name="connsiteY14" fmla="*/ 17487 h 190028"/>
                <a:gd name="connsiteX15" fmla="*/ 117695 w 191734"/>
                <a:gd name="connsiteY15" fmla="*/ 27408 h 190028"/>
                <a:gd name="connsiteX16" fmla="*/ 112237 w 191734"/>
                <a:gd name="connsiteY16" fmla="*/ 33857 h 190028"/>
                <a:gd name="connsiteX17" fmla="*/ 109757 w 191734"/>
                <a:gd name="connsiteY17" fmla="*/ 21456 h 190028"/>
                <a:gd name="connsiteX18" fmla="*/ 102812 w 191734"/>
                <a:gd name="connsiteY18" fmla="*/ 11038 h 190028"/>
                <a:gd name="connsiteX19" fmla="*/ 88426 w 191734"/>
                <a:gd name="connsiteY19" fmla="*/ 1116 h 190028"/>
                <a:gd name="connsiteX20" fmla="*/ 71063 w 191734"/>
                <a:gd name="connsiteY20" fmla="*/ 1116 h 190028"/>
                <a:gd name="connsiteX21" fmla="*/ 57173 w 191734"/>
                <a:gd name="connsiteY21" fmla="*/ 11534 h 190028"/>
                <a:gd name="connsiteX22" fmla="*/ 49732 w 191734"/>
                <a:gd name="connsiteY22" fmla="*/ 22944 h 190028"/>
                <a:gd name="connsiteX23" fmla="*/ 47747 w 191734"/>
                <a:gd name="connsiteY23" fmla="*/ 36834 h 190028"/>
                <a:gd name="connsiteX24" fmla="*/ 50228 w 191734"/>
                <a:gd name="connsiteY24" fmla="*/ 49732 h 190028"/>
                <a:gd name="connsiteX25" fmla="*/ 37330 w 191734"/>
                <a:gd name="connsiteY25" fmla="*/ 45763 h 190028"/>
                <a:gd name="connsiteX26" fmla="*/ 23440 w 191734"/>
                <a:gd name="connsiteY26" fmla="*/ 48740 h 190028"/>
                <a:gd name="connsiteX27" fmla="*/ 10045 w 191734"/>
                <a:gd name="connsiteY27" fmla="*/ 54692 h 190028"/>
                <a:gd name="connsiteX28" fmla="*/ 1116 w 191734"/>
                <a:gd name="connsiteY28" fmla="*/ 70071 h 190028"/>
                <a:gd name="connsiteX29" fmla="*/ 1116 w 191734"/>
                <a:gd name="connsiteY29" fmla="*/ 87930 h 190028"/>
                <a:gd name="connsiteX30" fmla="*/ 11534 w 191734"/>
                <a:gd name="connsiteY30" fmla="*/ 101820 h 190028"/>
                <a:gd name="connsiteX31" fmla="*/ 21455 w 191734"/>
                <a:gd name="connsiteY31" fmla="*/ 109757 h 190028"/>
                <a:gd name="connsiteX32" fmla="*/ 33857 w 191734"/>
                <a:gd name="connsiteY32" fmla="*/ 112238 h 190028"/>
                <a:gd name="connsiteX33" fmla="*/ 26912 w 191734"/>
                <a:gd name="connsiteY33" fmla="*/ 116702 h 190028"/>
                <a:gd name="connsiteX34" fmla="*/ 18479 w 191734"/>
                <a:gd name="connsiteY34" fmla="*/ 132081 h 190028"/>
                <a:gd name="connsiteX35" fmla="*/ 18479 w 191734"/>
                <a:gd name="connsiteY35" fmla="*/ 149444 h 190028"/>
                <a:gd name="connsiteX36" fmla="*/ 27408 w 191734"/>
                <a:gd name="connsiteY36" fmla="*/ 164326 h 190028"/>
                <a:gd name="connsiteX37" fmla="*/ 42290 w 191734"/>
                <a:gd name="connsiteY37" fmla="*/ 172759 h 190028"/>
                <a:gd name="connsiteX38" fmla="*/ 59157 w 191734"/>
                <a:gd name="connsiteY38" fmla="*/ 172263 h 190028"/>
                <a:gd name="connsiteX39" fmla="*/ 74536 w 191734"/>
                <a:gd name="connsiteY39" fmla="*/ 164822 h 190028"/>
                <a:gd name="connsiteX40" fmla="*/ 79496 w 191734"/>
                <a:gd name="connsiteY40" fmla="*/ 157381 h 190028"/>
                <a:gd name="connsiteX41" fmla="*/ 81977 w 191734"/>
                <a:gd name="connsiteY41" fmla="*/ 169783 h 190028"/>
                <a:gd name="connsiteX42" fmla="*/ 89418 w 191734"/>
                <a:gd name="connsiteY42" fmla="*/ 179704 h 190028"/>
                <a:gd name="connsiteX43" fmla="*/ 103308 w 191734"/>
                <a:gd name="connsiteY43" fmla="*/ 189130 h 190028"/>
                <a:gd name="connsiteX44" fmla="*/ 120671 w 191734"/>
                <a:gd name="connsiteY44" fmla="*/ 188634 h 190028"/>
                <a:gd name="connsiteX45" fmla="*/ 135553 w 191734"/>
                <a:gd name="connsiteY45" fmla="*/ 180200 h 190028"/>
                <a:gd name="connsiteX46" fmla="*/ 143490 w 191734"/>
                <a:gd name="connsiteY46" fmla="*/ 168790 h 190028"/>
                <a:gd name="connsiteX47" fmla="*/ 145971 w 191734"/>
                <a:gd name="connsiteY47" fmla="*/ 154900 h 190028"/>
                <a:gd name="connsiteX48" fmla="*/ 142995 w 191734"/>
                <a:gd name="connsiteY48" fmla="*/ 142002 h 19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1734" h="190028">
                  <a:moveTo>
                    <a:pt x="142995" y="142002"/>
                  </a:moveTo>
                  <a:cubicBezTo>
                    <a:pt x="146963" y="144483"/>
                    <a:pt x="150932" y="143987"/>
                    <a:pt x="155892" y="143987"/>
                  </a:cubicBezTo>
                  <a:cubicBezTo>
                    <a:pt x="160357" y="144483"/>
                    <a:pt x="165318" y="144483"/>
                    <a:pt x="169783" y="142995"/>
                  </a:cubicBezTo>
                  <a:cubicBezTo>
                    <a:pt x="174247" y="141506"/>
                    <a:pt x="178216" y="139522"/>
                    <a:pt x="181688" y="136049"/>
                  </a:cubicBezTo>
                  <a:cubicBezTo>
                    <a:pt x="186153" y="131585"/>
                    <a:pt x="189129" y="126624"/>
                    <a:pt x="190618" y="121167"/>
                  </a:cubicBezTo>
                  <a:cubicBezTo>
                    <a:pt x="192106" y="115710"/>
                    <a:pt x="192106" y="109261"/>
                    <a:pt x="190618" y="103804"/>
                  </a:cubicBezTo>
                  <a:cubicBezTo>
                    <a:pt x="189129" y="98348"/>
                    <a:pt x="186153" y="92891"/>
                    <a:pt x="181688" y="88426"/>
                  </a:cubicBezTo>
                  <a:cubicBezTo>
                    <a:pt x="178712" y="85449"/>
                    <a:pt x="174247" y="83961"/>
                    <a:pt x="170279" y="82473"/>
                  </a:cubicBezTo>
                  <a:cubicBezTo>
                    <a:pt x="166310" y="80985"/>
                    <a:pt x="161845" y="80489"/>
                    <a:pt x="157381" y="79993"/>
                  </a:cubicBezTo>
                  <a:cubicBezTo>
                    <a:pt x="159861" y="78504"/>
                    <a:pt x="163334" y="77016"/>
                    <a:pt x="165318" y="75032"/>
                  </a:cubicBezTo>
                  <a:cubicBezTo>
                    <a:pt x="169783" y="70567"/>
                    <a:pt x="171767" y="64614"/>
                    <a:pt x="173255" y="59157"/>
                  </a:cubicBezTo>
                  <a:cubicBezTo>
                    <a:pt x="174744" y="53701"/>
                    <a:pt x="175736" y="47251"/>
                    <a:pt x="174247" y="41795"/>
                  </a:cubicBezTo>
                  <a:cubicBezTo>
                    <a:pt x="172759" y="36338"/>
                    <a:pt x="168790" y="31377"/>
                    <a:pt x="164822" y="26912"/>
                  </a:cubicBezTo>
                  <a:cubicBezTo>
                    <a:pt x="160357" y="22447"/>
                    <a:pt x="154901" y="20959"/>
                    <a:pt x="149443" y="19471"/>
                  </a:cubicBezTo>
                  <a:cubicBezTo>
                    <a:pt x="143986" y="17983"/>
                    <a:pt x="138034" y="15998"/>
                    <a:pt x="132080" y="17487"/>
                  </a:cubicBezTo>
                  <a:cubicBezTo>
                    <a:pt x="126624" y="18975"/>
                    <a:pt x="122159" y="22944"/>
                    <a:pt x="117695" y="27408"/>
                  </a:cubicBezTo>
                  <a:cubicBezTo>
                    <a:pt x="115710" y="29393"/>
                    <a:pt x="113726" y="31873"/>
                    <a:pt x="112237" y="33857"/>
                  </a:cubicBezTo>
                  <a:cubicBezTo>
                    <a:pt x="112237" y="29393"/>
                    <a:pt x="111741" y="25424"/>
                    <a:pt x="109757" y="21456"/>
                  </a:cubicBezTo>
                  <a:cubicBezTo>
                    <a:pt x="108269" y="17487"/>
                    <a:pt x="105789" y="14510"/>
                    <a:pt x="102812" y="11038"/>
                  </a:cubicBezTo>
                  <a:cubicBezTo>
                    <a:pt x="98348" y="6573"/>
                    <a:pt x="93883" y="2604"/>
                    <a:pt x="88426" y="1116"/>
                  </a:cubicBezTo>
                  <a:cubicBezTo>
                    <a:pt x="82969" y="-372"/>
                    <a:pt x="76520" y="-372"/>
                    <a:pt x="71063" y="1116"/>
                  </a:cubicBezTo>
                  <a:cubicBezTo>
                    <a:pt x="65606" y="2604"/>
                    <a:pt x="61638" y="7069"/>
                    <a:pt x="57173" y="11534"/>
                  </a:cubicBezTo>
                  <a:cubicBezTo>
                    <a:pt x="53700" y="15006"/>
                    <a:pt x="51220" y="18479"/>
                    <a:pt x="49732" y="22944"/>
                  </a:cubicBezTo>
                  <a:cubicBezTo>
                    <a:pt x="48244" y="27408"/>
                    <a:pt x="47251" y="31873"/>
                    <a:pt x="47747" y="36834"/>
                  </a:cubicBezTo>
                  <a:cubicBezTo>
                    <a:pt x="48244" y="41795"/>
                    <a:pt x="47747" y="45763"/>
                    <a:pt x="50228" y="49732"/>
                  </a:cubicBezTo>
                  <a:cubicBezTo>
                    <a:pt x="45763" y="47251"/>
                    <a:pt x="42290" y="46259"/>
                    <a:pt x="37330" y="45763"/>
                  </a:cubicBezTo>
                  <a:cubicBezTo>
                    <a:pt x="32369" y="45267"/>
                    <a:pt x="27904" y="47251"/>
                    <a:pt x="23440" y="48740"/>
                  </a:cubicBezTo>
                  <a:cubicBezTo>
                    <a:pt x="18975" y="50228"/>
                    <a:pt x="13518" y="51220"/>
                    <a:pt x="10045" y="54692"/>
                  </a:cubicBezTo>
                  <a:cubicBezTo>
                    <a:pt x="5581" y="59157"/>
                    <a:pt x="2604" y="64614"/>
                    <a:pt x="1116" y="70071"/>
                  </a:cubicBezTo>
                  <a:cubicBezTo>
                    <a:pt x="-372" y="75528"/>
                    <a:pt x="-372" y="81977"/>
                    <a:pt x="1116" y="87930"/>
                  </a:cubicBezTo>
                  <a:cubicBezTo>
                    <a:pt x="2604" y="93387"/>
                    <a:pt x="7069" y="97355"/>
                    <a:pt x="11534" y="101820"/>
                  </a:cubicBezTo>
                  <a:cubicBezTo>
                    <a:pt x="14510" y="104797"/>
                    <a:pt x="17487" y="108269"/>
                    <a:pt x="21455" y="109757"/>
                  </a:cubicBezTo>
                  <a:cubicBezTo>
                    <a:pt x="25424" y="111245"/>
                    <a:pt x="29889" y="112238"/>
                    <a:pt x="33857" y="112238"/>
                  </a:cubicBezTo>
                  <a:cubicBezTo>
                    <a:pt x="31377" y="113726"/>
                    <a:pt x="28897" y="114718"/>
                    <a:pt x="26912" y="116702"/>
                  </a:cubicBezTo>
                  <a:cubicBezTo>
                    <a:pt x="22447" y="121167"/>
                    <a:pt x="19967" y="126624"/>
                    <a:pt x="18479" y="132081"/>
                  </a:cubicBezTo>
                  <a:cubicBezTo>
                    <a:pt x="16991" y="137538"/>
                    <a:pt x="16991" y="143987"/>
                    <a:pt x="18479" y="149444"/>
                  </a:cubicBezTo>
                  <a:cubicBezTo>
                    <a:pt x="19967" y="154900"/>
                    <a:pt x="22943" y="159861"/>
                    <a:pt x="27408" y="164326"/>
                  </a:cubicBezTo>
                  <a:cubicBezTo>
                    <a:pt x="31873" y="168790"/>
                    <a:pt x="36834" y="171271"/>
                    <a:pt x="42290" y="172759"/>
                  </a:cubicBezTo>
                  <a:cubicBezTo>
                    <a:pt x="47747" y="174247"/>
                    <a:pt x="53700" y="173751"/>
                    <a:pt x="59157" y="172263"/>
                  </a:cubicBezTo>
                  <a:cubicBezTo>
                    <a:pt x="64614" y="170775"/>
                    <a:pt x="70567" y="168790"/>
                    <a:pt x="74536" y="164822"/>
                  </a:cubicBezTo>
                  <a:cubicBezTo>
                    <a:pt x="76520" y="162838"/>
                    <a:pt x="78008" y="159365"/>
                    <a:pt x="79496" y="157381"/>
                  </a:cubicBezTo>
                  <a:cubicBezTo>
                    <a:pt x="79496" y="161349"/>
                    <a:pt x="80489" y="166310"/>
                    <a:pt x="81977" y="169783"/>
                  </a:cubicBezTo>
                  <a:cubicBezTo>
                    <a:pt x="83465" y="173751"/>
                    <a:pt x="85946" y="176728"/>
                    <a:pt x="89418" y="179704"/>
                  </a:cubicBezTo>
                  <a:cubicBezTo>
                    <a:pt x="93883" y="184169"/>
                    <a:pt x="98348" y="187642"/>
                    <a:pt x="103308" y="189130"/>
                  </a:cubicBezTo>
                  <a:cubicBezTo>
                    <a:pt x="108765" y="190618"/>
                    <a:pt x="114718" y="190122"/>
                    <a:pt x="120671" y="188634"/>
                  </a:cubicBezTo>
                  <a:cubicBezTo>
                    <a:pt x="126128" y="187145"/>
                    <a:pt x="131089" y="184169"/>
                    <a:pt x="135553" y="180200"/>
                  </a:cubicBezTo>
                  <a:cubicBezTo>
                    <a:pt x="139026" y="176728"/>
                    <a:pt x="142002" y="172759"/>
                    <a:pt x="143490" y="168790"/>
                  </a:cubicBezTo>
                  <a:cubicBezTo>
                    <a:pt x="144979" y="164326"/>
                    <a:pt x="146467" y="159365"/>
                    <a:pt x="145971" y="154900"/>
                  </a:cubicBezTo>
                  <a:cubicBezTo>
                    <a:pt x="146467" y="149940"/>
                    <a:pt x="144979" y="146467"/>
                    <a:pt x="142995" y="14200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4A05D540-0F4A-8782-32E0-ECFF65EEC64A}"/>
                </a:ext>
              </a:extLst>
            </p:cNvPr>
            <p:cNvSpPr/>
            <p:nvPr/>
          </p:nvSpPr>
          <p:spPr>
            <a:xfrm>
              <a:off x="5867573" y="4766410"/>
              <a:ext cx="68605" cy="67775"/>
            </a:xfrm>
            <a:custGeom>
              <a:avLst/>
              <a:gdLst>
                <a:gd name="connsiteX0" fmla="*/ 58444 w 68605"/>
                <a:gd name="connsiteY0" fmla="*/ 56459 h 67775"/>
                <a:gd name="connsiteX1" fmla="*/ 66877 w 68605"/>
                <a:gd name="connsiteY1" fmla="*/ 41577 h 67775"/>
                <a:gd name="connsiteX2" fmla="*/ 67869 w 68605"/>
                <a:gd name="connsiteY2" fmla="*/ 24214 h 67775"/>
                <a:gd name="connsiteX3" fmla="*/ 58940 w 68605"/>
                <a:gd name="connsiteY3" fmla="*/ 8836 h 67775"/>
                <a:gd name="connsiteX4" fmla="*/ 43065 w 68605"/>
                <a:gd name="connsiteY4" fmla="*/ 1395 h 67775"/>
                <a:gd name="connsiteX5" fmla="*/ 25703 w 68605"/>
                <a:gd name="connsiteY5" fmla="*/ 899 h 67775"/>
                <a:gd name="connsiteX6" fmla="*/ 11316 w 68605"/>
                <a:gd name="connsiteY6" fmla="*/ 10324 h 67775"/>
                <a:gd name="connsiteX7" fmla="*/ 899 w 68605"/>
                <a:gd name="connsiteY7" fmla="*/ 24710 h 67775"/>
                <a:gd name="connsiteX8" fmla="*/ 1395 w 68605"/>
                <a:gd name="connsiteY8" fmla="*/ 42569 h 67775"/>
                <a:gd name="connsiteX9" fmla="*/ 9828 w 68605"/>
                <a:gd name="connsiteY9" fmla="*/ 57948 h 67775"/>
                <a:gd name="connsiteX10" fmla="*/ 25206 w 68605"/>
                <a:gd name="connsiteY10" fmla="*/ 66877 h 67775"/>
                <a:gd name="connsiteX11" fmla="*/ 43065 w 68605"/>
                <a:gd name="connsiteY11" fmla="*/ 66381 h 67775"/>
                <a:gd name="connsiteX12" fmla="*/ 58444 w 68605"/>
                <a:gd name="connsiteY12" fmla="*/ 56459 h 6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605" h="67775">
                  <a:moveTo>
                    <a:pt x="58444" y="56459"/>
                  </a:moveTo>
                  <a:cubicBezTo>
                    <a:pt x="62909" y="51995"/>
                    <a:pt x="65389" y="47034"/>
                    <a:pt x="66877" y="41577"/>
                  </a:cubicBezTo>
                  <a:cubicBezTo>
                    <a:pt x="68365" y="35624"/>
                    <a:pt x="69357" y="29671"/>
                    <a:pt x="67869" y="24214"/>
                  </a:cubicBezTo>
                  <a:cubicBezTo>
                    <a:pt x="66381" y="18757"/>
                    <a:pt x="63405" y="13301"/>
                    <a:pt x="58940" y="8836"/>
                  </a:cubicBezTo>
                  <a:cubicBezTo>
                    <a:pt x="54475" y="4371"/>
                    <a:pt x="48522" y="2883"/>
                    <a:pt x="43065" y="1395"/>
                  </a:cubicBezTo>
                  <a:cubicBezTo>
                    <a:pt x="37112" y="-94"/>
                    <a:pt x="31655" y="-590"/>
                    <a:pt x="25703" y="899"/>
                  </a:cubicBezTo>
                  <a:cubicBezTo>
                    <a:pt x="20245" y="2387"/>
                    <a:pt x="15781" y="5859"/>
                    <a:pt x="11316" y="10324"/>
                  </a:cubicBezTo>
                  <a:cubicBezTo>
                    <a:pt x="6852" y="14789"/>
                    <a:pt x="2387" y="18757"/>
                    <a:pt x="899" y="24710"/>
                  </a:cubicBezTo>
                  <a:cubicBezTo>
                    <a:pt x="-590" y="30663"/>
                    <a:pt x="-94" y="36616"/>
                    <a:pt x="1395" y="42569"/>
                  </a:cubicBezTo>
                  <a:cubicBezTo>
                    <a:pt x="2883" y="48026"/>
                    <a:pt x="5860" y="53979"/>
                    <a:pt x="9828" y="57948"/>
                  </a:cubicBezTo>
                  <a:cubicBezTo>
                    <a:pt x="13797" y="61916"/>
                    <a:pt x="19749" y="65389"/>
                    <a:pt x="25206" y="66877"/>
                  </a:cubicBezTo>
                  <a:cubicBezTo>
                    <a:pt x="31159" y="68365"/>
                    <a:pt x="37112" y="67869"/>
                    <a:pt x="43065" y="66381"/>
                  </a:cubicBezTo>
                  <a:cubicBezTo>
                    <a:pt x="49018" y="64397"/>
                    <a:pt x="53979" y="60924"/>
                    <a:pt x="58444" y="5645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8A6A4496-3261-95B0-DD80-4589CD39FEE6}"/>
                </a:ext>
              </a:extLst>
            </p:cNvPr>
            <p:cNvSpPr/>
            <p:nvPr/>
          </p:nvSpPr>
          <p:spPr>
            <a:xfrm>
              <a:off x="6017295" y="4902242"/>
              <a:ext cx="104672" cy="112113"/>
            </a:xfrm>
            <a:custGeom>
              <a:avLst/>
              <a:gdLst>
                <a:gd name="connsiteX0" fmla="*/ 90286 w 104672"/>
                <a:gd name="connsiteY0" fmla="*/ 54569 h 112113"/>
                <a:gd name="connsiteX1" fmla="*/ 99216 w 104672"/>
                <a:gd name="connsiteY1" fmla="*/ 47623 h 112113"/>
                <a:gd name="connsiteX2" fmla="*/ 104672 w 104672"/>
                <a:gd name="connsiteY2" fmla="*/ 36710 h 112113"/>
                <a:gd name="connsiteX3" fmla="*/ 97727 w 104672"/>
                <a:gd name="connsiteY3" fmla="*/ 23812 h 112113"/>
                <a:gd name="connsiteX4" fmla="*/ 84829 w 104672"/>
                <a:gd name="connsiteY4" fmla="*/ 17363 h 112113"/>
                <a:gd name="connsiteX5" fmla="*/ 70939 w 104672"/>
                <a:gd name="connsiteY5" fmla="*/ 22324 h 112113"/>
                <a:gd name="connsiteX6" fmla="*/ 71435 w 104672"/>
                <a:gd name="connsiteY6" fmla="*/ 18355 h 112113"/>
                <a:gd name="connsiteX7" fmla="*/ 66474 w 104672"/>
                <a:gd name="connsiteY7" fmla="*/ 4465 h 112113"/>
                <a:gd name="connsiteX8" fmla="*/ 52584 w 104672"/>
                <a:gd name="connsiteY8" fmla="*/ 0 h 112113"/>
                <a:gd name="connsiteX9" fmla="*/ 38694 w 104672"/>
                <a:gd name="connsiteY9" fmla="*/ 4961 h 112113"/>
                <a:gd name="connsiteX10" fmla="*/ 33237 w 104672"/>
                <a:gd name="connsiteY10" fmla="*/ 18851 h 112113"/>
                <a:gd name="connsiteX11" fmla="*/ 34229 w 104672"/>
                <a:gd name="connsiteY11" fmla="*/ 22819 h 112113"/>
                <a:gd name="connsiteX12" fmla="*/ 20339 w 104672"/>
                <a:gd name="connsiteY12" fmla="*/ 18851 h 112113"/>
                <a:gd name="connsiteX13" fmla="*/ 6945 w 104672"/>
                <a:gd name="connsiteY13" fmla="*/ 23812 h 112113"/>
                <a:gd name="connsiteX14" fmla="*/ 0 w 104672"/>
                <a:gd name="connsiteY14" fmla="*/ 37206 h 112113"/>
                <a:gd name="connsiteX15" fmla="*/ 5457 w 104672"/>
                <a:gd name="connsiteY15" fmla="*/ 48616 h 112113"/>
                <a:gd name="connsiteX16" fmla="*/ 13890 w 104672"/>
                <a:gd name="connsiteY16" fmla="*/ 56057 h 112113"/>
                <a:gd name="connsiteX17" fmla="*/ 3968 w 104672"/>
                <a:gd name="connsiteY17" fmla="*/ 62506 h 112113"/>
                <a:gd name="connsiteX18" fmla="*/ 992 w 104672"/>
                <a:gd name="connsiteY18" fmla="*/ 74908 h 112113"/>
                <a:gd name="connsiteX19" fmla="*/ 6449 w 104672"/>
                <a:gd name="connsiteY19" fmla="*/ 88302 h 112113"/>
                <a:gd name="connsiteX20" fmla="*/ 19843 w 104672"/>
                <a:gd name="connsiteY20" fmla="*/ 94255 h 112113"/>
                <a:gd name="connsiteX21" fmla="*/ 32741 w 104672"/>
                <a:gd name="connsiteY21" fmla="*/ 88302 h 112113"/>
                <a:gd name="connsiteX22" fmla="*/ 31749 w 104672"/>
                <a:gd name="connsiteY22" fmla="*/ 93263 h 112113"/>
                <a:gd name="connsiteX23" fmla="*/ 37206 w 104672"/>
                <a:gd name="connsiteY23" fmla="*/ 107649 h 112113"/>
                <a:gd name="connsiteX24" fmla="*/ 51592 w 104672"/>
                <a:gd name="connsiteY24" fmla="*/ 112113 h 112113"/>
                <a:gd name="connsiteX25" fmla="*/ 64490 w 104672"/>
                <a:gd name="connsiteY25" fmla="*/ 106160 h 112113"/>
                <a:gd name="connsiteX26" fmla="*/ 70939 w 104672"/>
                <a:gd name="connsiteY26" fmla="*/ 93263 h 112113"/>
                <a:gd name="connsiteX27" fmla="*/ 70443 w 104672"/>
                <a:gd name="connsiteY27" fmla="*/ 88302 h 112113"/>
                <a:gd name="connsiteX28" fmla="*/ 83837 w 104672"/>
                <a:gd name="connsiteY28" fmla="*/ 93263 h 112113"/>
                <a:gd name="connsiteX29" fmla="*/ 96735 w 104672"/>
                <a:gd name="connsiteY29" fmla="*/ 87310 h 112113"/>
                <a:gd name="connsiteX30" fmla="*/ 102192 w 104672"/>
                <a:gd name="connsiteY30" fmla="*/ 74412 h 112113"/>
                <a:gd name="connsiteX31" fmla="*/ 90286 w 104672"/>
                <a:gd name="connsiteY31" fmla="*/ 54569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4672" h="112113">
                  <a:moveTo>
                    <a:pt x="90286" y="54569"/>
                  </a:moveTo>
                  <a:cubicBezTo>
                    <a:pt x="94255" y="53576"/>
                    <a:pt x="96735" y="50600"/>
                    <a:pt x="99216" y="47623"/>
                  </a:cubicBezTo>
                  <a:cubicBezTo>
                    <a:pt x="101696" y="44647"/>
                    <a:pt x="104672" y="41174"/>
                    <a:pt x="104672" y="36710"/>
                  </a:cubicBezTo>
                  <a:cubicBezTo>
                    <a:pt x="104672" y="31253"/>
                    <a:pt x="101199" y="27284"/>
                    <a:pt x="97727" y="23812"/>
                  </a:cubicBezTo>
                  <a:cubicBezTo>
                    <a:pt x="94255" y="20339"/>
                    <a:pt x="89790" y="17363"/>
                    <a:pt x="84829" y="17363"/>
                  </a:cubicBezTo>
                  <a:cubicBezTo>
                    <a:pt x="79868" y="17363"/>
                    <a:pt x="74412" y="18851"/>
                    <a:pt x="70939" y="22324"/>
                  </a:cubicBezTo>
                  <a:cubicBezTo>
                    <a:pt x="71435" y="20835"/>
                    <a:pt x="71435" y="19843"/>
                    <a:pt x="71435" y="18355"/>
                  </a:cubicBezTo>
                  <a:cubicBezTo>
                    <a:pt x="71435" y="12898"/>
                    <a:pt x="69947" y="7937"/>
                    <a:pt x="66474" y="4465"/>
                  </a:cubicBezTo>
                  <a:cubicBezTo>
                    <a:pt x="63002" y="992"/>
                    <a:pt x="58041" y="0"/>
                    <a:pt x="52584" y="0"/>
                  </a:cubicBezTo>
                  <a:cubicBezTo>
                    <a:pt x="47127" y="0"/>
                    <a:pt x="42167" y="1488"/>
                    <a:pt x="38694" y="4961"/>
                  </a:cubicBezTo>
                  <a:cubicBezTo>
                    <a:pt x="35221" y="8433"/>
                    <a:pt x="33237" y="13394"/>
                    <a:pt x="33237" y="18851"/>
                  </a:cubicBezTo>
                  <a:cubicBezTo>
                    <a:pt x="33237" y="20339"/>
                    <a:pt x="34229" y="21331"/>
                    <a:pt x="34229" y="22819"/>
                  </a:cubicBezTo>
                  <a:cubicBezTo>
                    <a:pt x="30757" y="19347"/>
                    <a:pt x="25796" y="18851"/>
                    <a:pt x="20339" y="18851"/>
                  </a:cubicBezTo>
                  <a:cubicBezTo>
                    <a:pt x="14882" y="18851"/>
                    <a:pt x="10418" y="20339"/>
                    <a:pt x="6945" y="23812"/>
                  </a:cubicBezTo>
                  <a:cubicBezTo>
                    <a:pt x="3472" y="27284"/>
                    <a:pt x="0" y="31749"/>
                    <a:pt x="0" y="37206"/>
                  </a:cubicBezTo>
                  <a:cubicBezTo>
                    <a:pt x="0" y="41670"/>
                    <a:pt x="2976" y="45143"/>
                    <a:pt x="5457" y="48616"/>
                  </a:cubicBezTo>
                  <a:cubicBezTo>
                    <a:pt x="7937" y="52088"/>
                    <a:pt x="9922" y="54569"/>
                    <a:pt x="13890" y="56057"/>
                  </a:cubicBezTo>
                  <a:cubicBezTo>
                    <a:pt x="9922" y="57049"/>
                    <a:pt x="6449" y="59033"/>
                    <a:pt x="3968" y="62506"/>
                  </a:cubicBezTo>
                  <a:cubicBezTo>
                    <a:pt x="1488" y="65482"/>
                    <a:pt x="992" y="70443"/>
                    <a:pt x="992" y="74908"/>
                  </a:cubicBezTo>
                  <a:cubicBezTo>
                    <a:pt x="992" y="80365"/>
                    <a:pt x="2976" y="84829"/>
                    <a:pt x="6449" y="88302"/>
                  </a:cubicBezTo>
                  <a:cubicBezTo>
                    <a:pt x="9922" y="91774"/>
                    <a:pt x="14882" y="94255"/>
                    <a:pt x="19843" y="94255"/>
                  </a:cubicBezTo>
                  <a:cubicBezTo>
                    <a:pt x="24804" y="94255"/>
                    <a:pt x="29268" y="91774"/>
                    <a:pt x="32741" y="88302"/>
                  </a:cubicBezTo>
                  <a:cubicBezTo>
                    <a:pt x="32245" y="89790"/>
                    <a:pt x="31749" y="91774"/>
                    <a:pt x="31749" y="93263"/>
                  </a:cubicBezTo>
                  <a:cubicBezTo>
                    <a:pt x="31749" y="98719"/>
                    <a:pt x="33733" y="104176"/>
                    <a:pt x="37206" y="107649"/>
                  </a:cubicBezTo>
                  <a:cubicBezTo>
                    <a:pt x="40678" y="111121"/>
                    <a:pt x="46135" y="112113"/>
                    <a:pt x="51592" y="112113"/>
                  </a:cubicBezTo>
                  <a:cubicBezTo>
                    <a:pt x="57049" y="112113"/>
                    <a:pt x="61017" y="109633"/>
                    <a:pt x="64490" y="106160"/>
                  </a:cubicBezTo>
                  <a:cubicBezTo>
                    <a:pt x="67962" y="102688"/>
                    <a:pt x="70939" y="98719"/>
                    <a:pt x="70939" y="93263"/>
                  </a:cubicBezTo>
                  <a:cubicBezTo>
                    <a:pt x="70939" y="91774"/>
                    <a:pt x="70939" y="89790"/>
                    <a:pt x="70443" y="88302"/>
                  </a:cubicBezTo>
                  <a:cubicBezTo>
                    <a:pt x="73915" y="91774"/>
                    <a:pt x="78380" y="93263"/>
                    <a:pt x="83837" y="93263"/>
                  </a:cubicBezTo>
                  <a:cubicBezTo>
                    <a:pt x="89294" y="93263"/>
                    <a:pt x="93262" y="90782"/>
                    <a:pt x="96735" y="87310"/>
                  </a:cubicBezTo>
                  <a:cubicBezTo>
                    <a:pt x="100208" y="83837"/>
                    <a:pt x="102192" y="79868"/>
                    <a:pt x="102192" y="74412"/>
                  </a:cubicBezTo>
                  <a:cubicBezTo>
                    <a:pt x="102688" y="64490"/>
                    <a:pt x="98223" y="57049"/>
                    <a:pt x="90286" y="5456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40D7CDBC-36E3-FA2D-BCFA-E4EB6B346BC2}"/>
                </a:ext>
              </a:extLst>
            </p:cNvPr>
            <p:cNvSpPr/>
            <p:nvPr/>
          </p:nvSpPr>
          <p:spPr>
            <a:xfrm>
              <a:off x="6054004" y="4935975"/>
              <a:ext cx="39190" cy="39686"/>
            </a:xfrm>
            <a:custGeom>
              <a:avLst/>
              <a:gdLst>
                <a:gd name="connsiteX0" fmla="*/ 39190 w 39190"/>
                <a:gd name="connsiteY0" fmla="*/ 19843 h 39686"/>
                <a:gd name="connsiteX1" fmla="*/ 33238 w 39190"/>
                <a:gd name="connsiteY1" fmla="*/ 5953 h 39686"/>
                <a:gd name="connsiteX2" fmla="*/ 19347 w 39190"/>
                <a:gd name="connsiteY2" fmla="*/ 0 h 39686"/>
                <a:gd name="connsiteX3" fmla="*/ 4961 w 39190"/>
                <a:gd name="connsiteY3" fmla="*/ 5953 h 39686"/>
                <a:gd name="connsiteX4" fmla="*/ 0 w 39190"/>
                <a:gd name="connsiteY4" fmla="*/ 20339 h 39686"/>
                <a:gd name="connsiteX5" fmla="*/ 4961 w 39190"/>
                <a:gd name="connsiteY5" fmla="*/ 34229 h 39686"/>
                <a:gd name="connsiteX6" fmla="*/ 18851 w 39190"/>
                <a:gd name="connsiteY6" fmla="*/ 39686 h 39686"/>
                <a:gd name="connsiteX7" fmla="*/ 32245 w 39190"/>
                <a:gd name="connsiteY7" fmla="*/ 33733 h 39686"/>
                <a:gd name="connsiteX8" fmla="*/ 39190 w 39190"/>
                <a:gd name="connsiteY8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90" h="39686">
                  <a:moveTo>
                    <a:pt x="39190" y="19843"/>
                  </a:moveTo>
                  <a:cubicBezTo>
                    <a:pt x="39190" y="14386"/>
                    <a:pt x="37206" y="9426"/>
                    <a:pt x="33238" y="5953"/>
                  </a:cubicBezTo>
                  <a:cubicBezTo>
                    <a:pt x="29765" y="2480"/>
                    <a:pt x="24804" y="0"/>
                    <a:pt x="19347" y="0"/>
                  </a:cubicBezTo>
                  <a:cubicBezTo>
                    <a:pt x="13890" y="0"/>
                    <a:pt x="8930" y="1984"/>
                    <a:pt x="4961" y="5953"/>
                  </a:cubicBezTo>
                  <a:cubicBezTo>
                    <a:pt x="1488" y="9426"/>
                    <a:pt x="0" y="14882"/>
                    <a:pt x="0" y="20339"/>
                  </a:cubicBezTo>
                  <a:cubicBezTo>
                    <a:pt x="0" y="25796"/>
                    <a:pt x="1488" y="30757"/>
                    <a:pt x="4961" y="34229"/>
                  </a:cubicBezTo>
                  <a:cubicBezTo>
                    <a:pt x="8434" y="37702"/>
                    <a:pt x="13394" y="39686"/>
                    <a:pt x="18851" y="39686"/>
                  </a:cubicBezTo>
                  <a:cubicBezTo>
                    <a:pt x="24308" y="39686"/>
                    <a:pt x="28773" y="37206"/>
                    <a:pt x="32245" y="33733"/>
                  </a:cubicBezTo>
                  <a:cubicBezTo>
                    <a:pt x="36710" y="29765"/>
                    <a:pt x="39190" y="25300"/>
                    <a:pt x="39190" y="19843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102FE8AB-E85C-4294-A5B7-4B9EDCE20618}"/>
                </a:ext>
              </a:extLst>
            </p:cNvPr>
            <p:cNvSpPr/>
            <p:nvPr/>
          </p:nvSpPr>
          <p:spPr>
            <a:xfrm>
              <a:off x="6060681" y="5089165"/>
              <a:ext cx="53654" cy="53275"/>
            </a:xfrm>
            <a:custGeom>
              <a:avLst/>
              <a:gdLst>
                <a:gd name="connsiteX0" fmla="*/ 2749 w 53654"/>
                <a:gd name="connsiteY0" fmla="*/ 50698 h 53275"/>
                <a:gd name="connsiteX1" fmla="*/ 2253 w 53654"/>
                <a:gd name="connsiteY1" fmla="*/ 37800 h 53275"/>
                <a:gd name="connsiteX2" fmla="*/ 6222 w 53654"/>
                <a:gd name="connsiteY2" fmla="*/ 24902 h 53275"/>
                <a:gd name="connsiteX3" fmla="*/ 13166 w 53654"/>
                <a:gd name="connsiteY3" fmla="*/ 12996 h 53275"/>
                <a:gd name="connsiteX4" fmla="*/ 25072 w 53654"/>
                <a:gd name="connsiteY4" fmla="*/ 6547 h 53275"/>
                <a:gd name="connsiteX5" fmla="*/ 37970 w 53654"/>
                <a:gd name="connsiteY5" fmla="*/ 1586 h 53275"/>
                <a:gd name="connsiteX6" fmla="*/ 50869 w 53654"/>
                <a:gd name="connsiteY6" fmla="*/ 2578 h 53275"/>
                <a:gd name="connsiteX7" fmla="*/ 51861 w 53654"/>
                <a:gd name="connsiteY7" fmla="*/ 15476 h 53275"/>
                <a:gd name="connsiteX8" fmla="*/ 48388 w 53654"/>
                <a:gd name="connsiteY8" fmla="*/ 28870 h 53275"/>
                <a:gd name="connsiteX9" fmla="*/ 39459 w 53654"/>
                <a:gd name="connsiteY9" fmla="*/ 39288 h 53275"/>
                <a:gd name="connsiteX10" fmla="*/ 28545 w 53654"/>
                <a:gd name="connsiteY10" fmla="*/ 46729 h 53275"/>
                <a:gd name="connsiteX11" fmla="*/ 15647 w 53654"/>
                <a:gd name="connsiteY11" fmla="*/ 51690 h 53275"/>
                <a:gd name="connsiteX12" fmla="*/ 2749 w 53654"/>
                <a:gd name="connsiteY12" fmla="*/ 50698 h 5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54" h="53275">
                  <a:moveTo>
                    <a:pt x="2749" y="50698"/>
                  </a:moveTo>
                  <a:cubicBezTo>
                    <a:pt x="-2212" y="45737"/>
                    <a:pt x="764" y="45737"/>
                    <a:pt x="2253" y="37800"/>
                  </a:cubicBezTo>
                  <a:cubicBezTo>
                    <a:pt x="2749" y="33831"/>
                    <a:pt x="4733" y="29367"/>
                    <a:pt x="6222" y="24902"/>
                  </a:cubicBezTo>
                  <a:cubicBezTo>
                    <a:pt x="7710" y="20933"/>
                    <a:pt x="9694" y="16468"/>
                    <a:pt x="13166" y="12996"/>
                  </a:cubicBezTo>
                  <a:cubicBezTo>
                    <a:pt x="16639" y="9523"/>
                    <a:pt x="21104" y="8035"/>
                    <a:pt x="25072" y="6547"/>
                  </a:cubicBezTo>
                  <a:cubicBezTo>
                    <a:pt x="29537" y="4563"/>
                    <a:pt x="34002" y="2082"/>
                    <a:pt x="37970" y="1586"/>
                  </a:cubicBezTo>
                  <a:cubicBezTo>
                    <a:pt x="45411" y="594"/>
                    <a:pt x="46404" y="-1887"/>
                    <a:pt x="50869" y="2578"/>
                  </a:cubicBezTo>
                  <a:cubicBezTo>
                    <a:pt x="55830" y="7539"/>
                    <a:pt x="52853" y="8035"/>
                    <a:pt x="51861" y="15476"/>
                  </a:cubicBezTo>
                  <a:cubicBezTo>
                    <a:pt x="51365" y="19445"/>
                    <a:pt x="50372" y="24406"/>
                    <a:pt x="48388" y="28870"/>
                  </a:cubicBezTo>
                  <a:cubicBezTo>
                    <a:pt x="46900" y="32839"/>
                    <a:pt x="42931" y="35815"/>
                    <a:pt x="39459" y="39288"/>
                  </a:cubicBezTo>
                  <a:cubicBezTo>
                    <a:pt x="35986" y="42760"/>
                    <a:pt x="32514" y="44745"/>
                    <a:pt x="28545" y="46729"/>
                  </a:cubicBezTo>
                  <a:cubicBezTo>
                    <a:pt x="24080" y="48713"/>
                    <a:pt x="20112" y="51194"/>
                    <a:pt x="15647" y="51690"/>
                  </a:cubicBezTo>
                  <a:cubicBezTo>
                    <a:pt x="8206" y="52682"/>
                    <a:pt x="7710" y="55162"/>
                    <a:pt x="2749" y="50698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66705881-2BB2-2E4E-F36A-C5A3B6470CEA}"/>
                </a:ext>
              </a:extLst>
            </p:cNvPr>
            <p:cNvSpPr/>
            <p:nvPr/>
          </p:nvSpPr>
          <p:spPr>
            <a:xfrm>
              <a:off x="5898648" y="4922400"/>
              <a:ext cx="74680" cy="75187"/>
            </a:xfrm>
            <a:custGeom>
              <a:avLst/>
              <a:gdLst>
                <a:gd name="connsiteX0" fmla="*/ 2068 w 74680"/>
                <a:gd name="connsiteY0" fmla="*/ 73104 h 75187"/>
                <a:gd name="connsiteX1" fmla="*/ 3060 w 74680"/>
                <a:gd name="connsiteY1" fmla="*/ 58222 h 75187"/>
                <a:gd name="connsiteX2" fmla="*/ 6037 w 74680"/>
                <a:gd name="connsiteY2" fmla="*/ 44332 h 75187"/>
                <a:gd name="connsiteX3" fmla="*/ 11493 w 74680"/>
                <a:gd name="connsiteY3" fmla="*/ 30938 h 75187"/>
                <a:gd name="connsiteX4" fmla="*/ 18935 w 74680"/>
                <a:gd name="connsiteY4" fmla="*/ 19032 h 75187"/>
                <a:gd name="connsiteX5" fmla="*/ 30345 w 74680"/>
                <a:gd name="connsiteY5" fmla="*/ 10599 h 75187"/>
                <a:gd name="connsiteX6" fmla="*/ 43738 w 74680"/>
                <a:gd name="connsiteY6" fmla="*/ 5638 h 75187"/>
                <a:gd name="connsiteX7" fmla="*/ 58125 w 74680"/>
                <a:gd name="connsiteY7" fmla="*/ 2661 h 75187"/>
                <a:gd name="connsiteX8" fmla="*/ 72511 w 74680"/>
                <a:gd name="connsiteY8" fmla="*/ 2661 h 75187"/>
                <a:gd name="connsiteX9" fmla="*/ 71519 w 74680"/>
                <a:gd name="connsiteY9" fmla="*/ 17048 h 75187"/>
                <a:gd name="connsiteX10" fmla="*/ 70031 w 74680"/>
                <a:gd name="connsiteY10" fmla="*/ 31434 h 75187"/>
                <a:gd name="connsiteX11" fmla="*/ 63582 w 74680"/>
                <a:gd name="connsiteY11" fmla="*/ 44332 h 75187"/>
                <a:gd name="connsiteX12" fmla="*/ 55644 w 74680"/>
                <a:gd name="connsiteY12" fmla="*/ 56237 h 75187"/>
                <a:gd name="connsiteX13" fmla="*/ 43738 w 74680"/>
                <a:gd name="connsiteY13" fmla="*/ 64175 h 75187"/>
                <a:gd name="connsiteX14" fmla="*/ 30841 w 74680"/>
                <a:gd name="connsiteY14" fmla="*/ 70624 h 75187"/>
                <a:gd name="connsiteX15" fmla="*/ 16454 w 74680"/>
                <a:gd name="connsiteY15" fmla="*/ 72608 h 75187"/>
                <a:gd name="connsiteX16" fmla="*/ 2068 w 74680"/>
                <a:gd name="connsiteY16" fmla="*/ 73104 h 7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680" h="75187">
                  <a:moveTo>
                    <a:pt x="2068" y="73104"/>
                  </a:moveTo>
                  <a:cubicBezTo>
                    <a:pt x="-2892" y="68143"/>
                    <a:pt x="2564" y="66655"/>
                    <a:pt x="3060" y="58222"/>
                  </a:cubicBezTo>
                  <a:cubicBezTo>
                    <a:pt x="3556" y="53757"/>
                    <a:pt x="4549" y="49293"/>
                    <a:pt x="6037" y="44332"/>
                  </a:cubicBezTo>
                  <a:cubicBezTo>
                    <a:pt x="7029" y="39867"/>
                    <a:pt x="9013" y="35402"/>
                    <a:pt x="11493" y="30938"/>
                  </a:cubicBezTo>
                  <a:cubicBezTo>
                    <a:pt x="13478" y="26969"/>
                    <a:pt x="15462" y="22504"/>
                    <a:pt x="18935" y="19032"/>
                  </a:cubicBezTo>
                  <a:cubicBezTo>
                    <a:pt x="22407" y="15559"/>
                    <a:pt x="26376" y="12583"/>
                    <a:pt x="30345" y="10599"/>
                  </a:cubicBezTo>
                  <a:cubicBezTo>
                    <a:pt x="34809" y="8118"/>
                    <a:pt x="39274" y="6630"/>
                    <a:pt x="43738" y="5638"/>
                  </a:cubicBezTo>
                  <a:cubicBezTo>
                    <a:pt x="48699" y="4149"/>
                    <a:pt x="53660" y="3157"/>
                    <a:pt x="58125" y="2661"/>
                  </a:cubicBezTo>
                  <a:cubicBezTo>
                    <a:pt x="66558" y="1669"/>
                    <a:pt x="67550" y="-2796"/>
                    <a:pt x="72511" y="2661"/>
                  </a:cubicBezTo>
                  <a:cubicBezTo>
                    <a:pt x="77472" y="7622"/>
                    <a:pt x="72511" y="8614"/>
                    <a:pt x="71519" y="17048"/>
                  </a:cubicBezTo>
                  <a:cubicBezTo>
                    <a:pt x="71023" y="21512"/>
                    <a:pt x="71519" y="26473"/>
                    <a:pt x="70031" y="31434"/>
                  </a:cubicBezTo>
                  <a:cubicBezTo>
                    <a:pt x="69039" y="35898"/>
                    <a:pt x="66062" y="39867"/>
                    <a:pt x="63582" y="44332"/>
                  </a:cubicBezTo>
                  <a:cubicBezTo>
                    <a:pt x="61598" y="48300"/>
                    <a:pt x="59117" y="52765"/>
                    <a:pt x="55644" y="56237"/>
                  </a:cubicBezTo>
                  <a:cubicBezTo>
                    <a:pt x="52172" y="59710"/>
                    <a:pt x="48203" y="61695"/>
                    <a:pt x="43738" y="64175"/>
                  </a:cubicBezTo>
                  <a:cubicBezTo>
                    <a:pt x="39274" y="66655"/>
                    <a:pt x="35305" y="69136"/>
                    <a:pt x="30841" y="70624"/>
                  </a:cubicBezTo>
                  <a:cubicBezTo>
                    <a:pt x="25880" y="72112"/>
                    <a:pt x="20919" y="72112"/>
                    <a:pt x="16454" y="72608"/>
                  </a:cubicBezTo>
                  <a:cubicBezTo>
                    <a:pt x="8517" y="72608"/>
                    <a:pt x="7029" y="78065"/>
                    <a:pt x="2068" y="73104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E3ABD7F7-FB19-7FE5-F925-A308E91BF390}"/>
                </a:ext>
              </a:extLst>
            </p:cNvPr>
            <p:cNvSpPr/>
            <p:nvPr/>
          </p:nvSpPr>
          <p:spPr>
            <a:xfrm>
              <a:off x="6009839" y="5155772"/>
              <a:ext cx="53660" cy="52863"/>
            </a:xfrm>
            <a:custGeom>
              <a:avLst/>
              <a:gdLst>
                <a:gd name="connsiteX0" fmla="*/ 2991 w 53660"/>
                <a:gd name="connsiteY0" fmla="*/ 1949 h 52863"/>
                <a:gd name="connsiteX1" fmla="*/ 1503 w 53660"/>
                <a:gd name="connsiteY1" fmla="*/ 14848 h 52863"/>
                <a:gd name="connsiteX2" fmla="*/ 5472 w 53660"/>
                <a:gd name="connsiteY2" fmla="*/ 28242 h 52863"/>
                <a:gd name="connsiteX3" fmla="*/ 13409 w 53660"/>
                <a:gd name="connsiteY3" fmla="*/ 39155 h 52863"/>
                <a:gd name="connsiteX4" fmla="*/ 25315 w 53660"/>
                <a:gd name="connsiteY4" fmla="*/ 45604 h 52863"/>
                <a:gd name="connsiteX5" fmla="*/ 38213 w 53660"/>
                <a:gd name="connsiteY5" fmla="*/ 50069 h 52863"/>
                <a:gd name="connsiteX6" fmla="*/ 51607 w 53660"/>
                <a:gd name="connsiteY6" fmla="*/ 50565 h 52863"/>
                <a:gd name="connsiteX7" fmla="*/ 50119 w 53660"/>
                <a:gd name="connsiteY7" fmla="*/ 37171 h 52863"/>
                <a:gd name="connsiteX8" fmla="*/ 47638 w 53660"/>
                <a:gd name="connsiteY8" fmla="*/ 24273 h 52863"/>
                <a:gd name="connsiteX9" fmla="*/ 40197 w 53660"/>
                <a:gd name="connsiteY9" fmla="*/ 13359 h 52863"/>
                <a:gd name="connsiteX10" fmla="*/ 29780 w 53660"/>
                <a:gd name="connsiteY10" fmla="*/ 4430 h 52863"/>
                <a:gd name="connsiteX11" fmla="*/ 16385 w 53660"/>
                <a:gd name="connsiteY11" fmla="*/ 2942 h 52863"/>
                <a:gd name="connsiteX12" fmla="*/ 2991 w 53660"/>
                <a:gd name="connsiteY12" fmla="*/ 1949 h 5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60" h="52863">
                  <a:moveTo>
                    <a:pt x="2991" y="1949"/>
                  </a:moveTo>
                  <a:cubicBezTo>
                    <a:pt x="-1969" y="6910"/>
                    <a:pt x="511" y="7407"/>
                    <a:pt x="1503" y="14848"/>
                  </a:cubicBezTo>
                  <a:cubicBezTo>
                    <a:pt x="1999" y="18816"/>
                    <a:pt x="3487" y="23777"/>
                    <a:pt x="5472" y="28242"/>
                  </a:cubicBezTo>
                  <a:cubicBezTo>
                    <a:pt x="6960" y="32210"/>
                    <a:pt x="9937" y="36179"/>
                    <a:pt x="13409" y="39155"/>
                  </a:cubicBezTo>
                  <a:cubicBezTo>
                    <a:pt x="16881" y="42628"/>
                    <a:pt x="21346" y="43620"/>
                    <a:pt x="25315" y="45604"/>
                  </a:cubicBezTo>
                  <a:cubicBezTo>
                    <a:pt x="29780" y="47589"/>
                    <a:pt x="33748" y="49573"/>
                    <a:pt x="38213" y="50069"/>
                  </a:cubicBezTo>
                  <a:cubicBezTo>
                    <a:pt x="45654" y="51061"/>
                    <a:pt x="47142" y="55526"/>
                    <a:pt x="51607" y="50565"/>
                  </a:cubicBezTo>
                  <a:cubicBezTo>
                    <a:pt x="56567" y="45604"/>
                    <a:pt x="51111" y="44612"/>
                    <a:pt x="50119" y="37171"/>
                  </a:cubicBezTo>
                  <a:cubicBezTo>
                    <a:pt x="49623" y="33202"/>
                    <a:pt x="49126" y="28738"/>
                    <a:pt x="47638" y="24273"/>
                  </a:cubicBezTo>
                  <a:cubicBezTo>
                    <a:pt x="46150" y="20304"/>
                    <a:pt x="43174" y="16832"/>
                    <a:pt x="40197" y="13359"/>
                  </a:cubicBezTo>
                  <a:cubicBezTo>
                    <a:pt x="36724" y="9887"/>
                    <a:pt x="33748" y="6414"/>
                    <a:pt x="29780" y="4430"/>
                  </a:cubicBezTo>
                  <a:cubicBezTo>
                    <a:pt x="25315" y="2446"/>
                    <a:pt x="20354" y="3438"/>
                    <a:pt x="16385" y="2942"/>
                  </a:cubicBezTo>
                  <a:cubicBezTo>
                    <a:pt x="8448" y="1949"/>
                    <a:pt x="7952" y="-2515"/>
                    <a:pt x="2991" y="1949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9CBE4CC3-AE66-1868-DCB7-CD97D5FE3862}"/>
                </a:ext>
              </a:extLst>
            </p:cNvPr>
            <p:cNvSpPr/>
            <p:nvPr/>
          </p:nvSpPr>
          <p:spPr>
            <a:xfrm>
              <a:off x="5893276" y="4787151"/>
              <a:ext cx="991" cy="13890"/>
            </a:xfrm>
            <a:custGeom>
              <a:avLst/>
              <a:gdLst>
                <a:gd name="connsiteX0" fmla="*/ 992 w 991"/>
                <a:gd name="connsiteY0" fmla="*/ 0 h 13890"/>
                <a:gd name="connsiteX1" fmla="*/ 0 w 991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" h="13890">
                  <a:moveTo>
                    <a:pt x="992" y="0"/>
                  </a:moveTo>
                  <a:cubicBezTo>
                    <a:pt x="992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5411F258-CB7A-07E4-849C-ECB37C30E7D7}"/>
                </a:ext>
              </a:extLst>
            </p:cNvPr>
            <p:cNvSpPr/>
            <p:nvPr/>
          </p:nvSpPr>
          <p:spPr>
            <a:xfrm>
              <a:off x="5909646" y="4787151"/>
              <a:ext cx="1984" cy="13890"/>
            </a:xfrm>
            <a:custGeom>
              <a:avLst/>
              <a:gdLst>
                <a:gd name="connsiteX0" fmla="*/ 1984 w 1984"/>
                <a:gd name="connsiteY0" fmla="*/ 0 h 13890"/>
                <a:gd name="connsiteX1" fmla="*/ 0 w 1984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13890">
                  <a:moveTo>
                    <a:pt x="1984" y="0"/>
                  </a:moveTo>
                  <a:cubicBezTo>
                    <a:pt x="1984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1205CCDA-9127-A40E-B9ED-15DB403E1FE9}"/>
                </a:ext>
              </a:extLst>
            </p:cNvPr>
            <p:cNvSpPr/>
            <p:nvPr/>
          </p:nvSpPr>
          <p:spPr>
            <a:xfrm>
              <a:off x="5882362" y="4799553"/>
              <a:ext cx="40182" cy="22323"/>
            </a:xfrm>
            <a:custGeom>
              <a:avLst/>
              <a:gdLst>
                <a:gd name="connsiteX0" fmla="*/ 0 w 40182"/>
                <a:gd name="connsiteY0" fmla="*/ 0 h 22323"/>
                <a:gd name="connsiteX1" fmla="*/ 5457 w 40182"/>
                <a:gd name="connsiteY1" fmla="*/ 14882 h 22323"/>
                <a:gd name="connsiteX2" fmla="*/ 20339 w 40182"/>
                <a:gd name="connsiteY2" fmla="*/ 22324 h 22323"/>
                <a:gd name="connsiteX3" fmla="*/ 35718 w 40182"/>
                <a:gd name="connsiteY3" fmla="*/ 15875 h 22323"/>
                <a:gd name="connsiteX4" fmla="*/ 40182 w 40182"/>
                <a:gd name="connsiteY4" fmla="*/ 496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82" h="22323">
                  <a:moveTo>
                    <a:pt x="0" y="0"/>
                  </a:moveTo>
                  <a:cubicBezTo>
                    <a:pt x="0" y="5953"/>
                    <a:pt x="1488" y="10914"/>
                    <a:pt x="5457" y="14882"/>
                  </a:cubicBezTo>
                  <a:cubicBezTo>
                    <a:pt x="9426" y="18851"/>
                    <a:pt x="14386" y="22324"/>
                    <a:pt x="20339" y="22324"/>
                  </a:cubicBezTo>
                  <a:cubicBezTo>
                    <a:pt x="26292" y="22324"/>
                    <a:pt x="32245" y="19843"/>
                    <a:pt x="35718" y="15875"/>
                  </a:cubicBezTo>
                  <a:cubicBezTo>
                    <a:pt x="39686" y="11906"/>
                    <a:pt x="40182" y="5953"/>
                    <a:pt x="4018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35" name="Graphic 10">
              <a:extLst>
                <a:ext uri="{FF2B5EF4-FFF2-40B4-BE49-F238E27FC236}">
                  <a16:creationId xmlns:a16="http://schemas.microsoft.com/office/drawing/2014/main" id="{52CD060A-9B25-5E14-D0C9-41544D1B4C22}"/>
                </a:ext>
              </a:extLst>
            </p:cNvPr>
            <p:cNvGrpSpPr/>
            <p:nvPr/>
          </p:nvGrpSpPr>
          <p:grpSpPr>
            <a:xfrm>
              <a:off x="5992987" y="2459253"/>
              <a:ext cx="483180" cy="560372"/>
              <a:chOff x="5992987" y="2459253"/>
              <a:chExt cx="483180" cy="560372"/>
            </a:xfrm>
            <a:noFill/>
          </p:grpSpPr>
          <p:grpSp>
            <p:nvGrpSpPr>
              <p:cNvPr id="1573" name="Graphic 10">
                <a:extLst>
                  <a:ext uri="{FF2B5EF4-FFF2-40B4-BE49-F238E27FC236}">
                    <a16:creationId xmlns:a16="http://schemas.microsoft.com/office/drawing/2014/main" id="{F7C12332-067B-2437-9B66-332EA829C3B0}"/>
                  </a:ext>
                </a:extLst>
              </p:cNvPr>
              <p:cNvGrpSpPr/>
              <p:nvPr/>
            </p:nvGrpSpPr>
            <p:grpSpPr>
              <a:xfrm>
                <a:off x="6064315" y="2459253"/>
                <a:ext cx="332645" cy="331184"/>
                <a:chOff x="6064315" y="2459253"/>
                <a:chExt cx="332645" cy="331184"/>
              </a:xfrm>
              <a:noFill/>
            </p:grpSpPr>
            <p:grpSp>
              <p:nvGrpSpPr>
                <p:cNvPr id="1598" name="Graphic 10">
                  <a:extLst>
                    <a:ext uri="{FF2B5EF4-FFF2-40B4-BE49-F238E27FC236}">
                      <a16:creationId xmlns:a16="http://schemas.microsoft.com/office/drawing/2014/main" id="{C5E69711-38F7-50B1-989E-A7DC2E103767}"/>
                    </a:ext>
                  </a:extLst>
                </p:cNvPr>
                <p:cNvGrpSpPr/>
                <p:nvPr/>
              </p:nvGrpSpPr>
              <p:grpSpPr>
                <a:xfrm>
                  <a:off x="6064315" y="2459253"/>
                  <a:ext cx="332645" cy="331184"/>
                  <a:chOff x="6064315" y="2459253"/>
                  <a:chExt cx="332645" cy="331184"/>
                </a:xfrm>
                <a:noFill/>
              </p:grpSpPr>
              <p:sp>
                <p:nvSpPr>
                  <p:cNvPr id="1601" name="Freeform: Shape 1600">
                    <a:extLst>
                      <a:ext uri="{FF2B5EF4-FFF2-40B4-BE49-F238E27FC236}">
                        <a16:creationId xmlns:a16="http://schemas.microsoft.com/office/drawing/2014/main" id="{4C0BFC34-9892-D4CA-42C2-7AE05E53D23D}"/>
                      </a:ext>
                    </a:extLst>
                  </p:cNvPr>
                  <p:cNvSpPr/>
                  <p:nvPr/>
                </p:nvSpPr>
                <p:spPr>
                  <a:xfrm>
                    <a:off x="6064315" y="2459253"/>
                    <a:ext cx="332645" cy="330688"/>
                  </a:xfrm>
                  <a:custGeom>
                    <a:avLst/>
                    <a:gdLst>
                      <a:gd name="connsiteX0" fmla="*/ 1596 w 332645"/>
                      <a:gd name="connsiteY0" fmla="*/ 330688 h 330688"/>
                      <a:gd name="connsiteX1" fmla="*/ 2092 w 332645"/>
                      <a:gd name="connsiteY1" fmla="*/ 314318 h 330688"/>
                      <a:gd name="connsiteX2" fmla="*/ 2588 w 332645"/>
                      <a:gd name="connsiteY2" fmla="*/ 297947 h 330688"/>
                      <a:gd name="connsiteX3" fmla="*/ 1596 w 332645"/>
                      <a:gd name="connsiteY3" fmla="*/ 281577 h 330688"/>
                      <a:gd name="connsiteX4" fmla="*/ 1596 w 332645"/>
                      <a:gd name="connsiteY4" fmla="*/ 265206 h 330688"/>
                      <a:gd name="connsiteX5" fmla="*/ 2092 w 332645"/>
                      <a:gd name="connsiteY5" fmla="*/ 248836 h 330688"/>
                      <a:gd name="connsiteX6" fmla="*/ 3580 w 332645"/>
                      <a:gd name="connsiteY6" fmla="*/ 232465 h 330688"/>
                      <a:gd name="connsiteX7" fmla="*/ 2092 w 332645"/>
                      <a:gd name="connsiteY7" fmla="*/ 216094 h 330688"/>
                      <a:gd name="connsiteX8" fmla="*/ 2588 w 332645"/>
                      <a:gd name="connsiteY8" fmla="*/ 199724 h 330688"/>
                      <a:gd name="connsiteX9" fmla="*/ 3580 w 332645"/>
                      <a:gd name="connsiteY9" fmla="*/ 183353 h 330688"/>
                      <a:gd name="connsiteX10" fmla="*/ 1596 w 332645"/>
                      <a:gd name="connsiteY10" fmla="*/ 166983 h 330688"/>
                      <a:gd name="connsiteX11" fmla="*/ 1100 w 332645"/>
                      <a:gd name="connsiteY11" fmla="*/ 150612 h 330688"/>
                      <a:gd name="connsiteX12" fmla="*/ 1100 w 332645"/>
                      <a:gd name="connsiteY12" fmla="*/ 134241 h 330688"/>
                      <a:gd name="connsiteX13" fmla="*/ 3084 w 332645"/>
                      <a:gd name="connsiteY13" fmla="*/ 117871 h 330688"/>
                      <a:gd name="connsiteX14" fmla="*/ 3084 w 332645"/>
                      <a:gd name="connsiteY14" fmla="*/ 101500 h 330688"/>
                      <a:gd name="connsiteX15" fmla="*/ 2092 w 332645"/>
                      <a:gd name="connsiteY15" fmla="*/ 85130 h 330688"/>
                      <a:gd name="connsiteX16" fmla="*/ 2092 w 332645"/>
                      <a:gd name="connsiteY16" fmla="*/ 68759 h 330688"/>
                      <a:gd name="connsiteX17" fmla="*/ 3580 w 332645"/>
                      <a:gd name="connsiteY17" fmla="*/ 52389 h 330688"/>
                      <a:gd name="connsiteX18" fmla="*/ 2092 w 332645"/>
                      <a:gd name="connsiteY18" fmla="*/ 36018 h 330688"/>
                      <a:gd name="connsiteX19" fmla="*/ 3580 w 332645"/>
                      <a:gd name="connsiteY19" fmla="*/ 19647 h 330688"/>
                      <a:gd name="connsiteX20" fmla="*/ 2092 w 332645"/>
                      <a:gd name="connsiteY20" fmla="*/ 2781 h 330688"/>
                      <a:gd name="connsiteX21" fmla="*/ 18958 w 332645"/>
                      <a:gd name="connsiteY21" fmla="*/ 3277 h 330688"/>
                      <a:gd name="connsiteX22" fmla="*/ 35329 w 332645"/>
                      <a:gd name="connsiteY22" fmla="*/ 2781 h 330688"/>
                      <a:gd name="connsiteX23" fmla="*/ 51699 w 332645"/>
                      <a:gd name="connsiteY23" fmla="*/ 3277 h 330688"/>
                      <a:gd name="connsiteX24" fmla="*/ 68070 w 332645"/>
                      <a:gd name="connsiteY24" fmla="*/ 2285 h 330688"/>
                      <a:gd name="connsiteX25" fmla="*/ 84441 w 332645"/>
                      <a:gd name="connsiteY25" fmla="*/ 2285 h 330688"/>
                      <a:gd name="connsiteX26" fmla="*/ 100811 w 332645"/>
                      <a:gd name="connsiteY26" fmla="*/ 1789 h 330688"/>
                      <a:gd name="connsiteX27" fmla="*/ 117182 w 332645"/>
                      <a:gd name="connsiteY27" fmla="*/ 3277 h 330688"/>
                      <a:gd name="connsiteX28" fmla="*/ 133552 w 332645"/>
                      <a:gd name="connsiteY28" fmla="*/ 2781 h 330688"/>
                      <a:gd name="connsiteX29" fmla="*/ 149923 w 332645"/>
                      <a:gd name="connsiteY29" fmla="*/ 3277 h 330688"/>
                      <a:gd name="connsiteX30" fmla="*/ 166294 w 332645"/>
                      <a:gd name="connsiteY30" fmla="*/ 2781 h 330688"/>
                      <a:gd name="connsiteX31" fmla="*/ 182664 w 332645"/>
                      <a:gd name="connsiteY31" fmla="*/ 3277 h 330688"/>
                      <a:gd name="connsiteX32" fmla="*/ 199035 w 332645"/>
                      <a:gd name="connsiteY32" fmla="*/ 1789 h 330688"/>
                      <a:gd name="connsiteX33" fmla="*/ 215405 w 332645"/>
                      <a:gd name="connsiteY33" fmla="*/ 3773 h 330688"/>
                      <a:gd name="connsiteX34" fmla="*/ 231776 w 332645"/>
                      <a:gd name="connsiteY34" fmla="*/ 2285 h 330688"/>
                      <a:gd name="connsiteX35" fmla="*/ 248147 w 332645"/>
                      <a:gd name="connsiteY35" fmla="*/ 2285 h 330688"/>
                      <a:gd name="connsiteX36" fmla="*/ 264517 w 332645"/>
                      <a:gd name="connsiteY36" fmla="*/ 2781 h 330688"/>
                      <a:gd name="connsiteX37" fmla="*/ 280888 w 332645"/>
                      <a:gd name="connsiteY37" fmla="*/ 3773 h 330688"/>
                      <a:gd name="connsiteX38" fmla="*/ 297258 w 332645"/>
                      <a:gd name="connsiteY38" fmla="*/ 2285 h 330688"/>
                      <a:gd name="connsiteX39" fmla="*/ 313629 w 332645"/>
                      <a:gd name="connsiteY39" fmla="*/ 2285 h 330688"/>
                      <a:gd name="connsiteX40" fmla="*/ 330000 w 332645"/>
                      <a:gd name="connsiteY40" fmla="*/ 2781 h 330688"/>
                      <a:gd name="connsiteX41" fmla="*/ 330000 w 332645"/>
                      <a:gd name="connsiteY41" fmla="*/ 18655 h 330688"/>
                      <a:gd name="connsiteX42" fmla="*/ 329503 w 332645"/>
                      <a:gd name="connsiteY42" fmla="*/ 35026 h 330688"/>
                      <a:gd name="connsiteX43" fmla="*/ 330000 w 332645"/>
                      <a:gd name="connsiteY43" fmla="*/ 51396 h 330688"/>
                      <a:gd name="connsiteX44" fmla="*/ 331487 w 332645"/>
                      <a:gd name="connsiteY44" fmla="*/ 67767 h 330688"/>
                      <a:gd name="connsiteX45" fmla="*/ 330991 w 332645"/>
                      <a:gd name="connsiteY45" fmla="*/ 84138 h 330688"/>
                      <a:gd name="connsiteX46" fmla="*/ 330000 w 332645"/>
                      <a:gd name="connsiteY46" fmla="*/ 100508 h 330688"/>
                      <a:gd name="connsiteX47" fmla="*/ 331487 w 332645"/>
                      <a:gd name="connsiteY47" fmla="*/ 116879 h 330688"/>
                      <a:gd name="connsiteX48" fmla="*/ 331983 w 332645"/>
                      <a:gd name="connsiteY48" fmla="*/ 133249 h 330688"/>
                      <a:gd name="connsiteX49" fmla="*/ 330495 w 332645"/>
                      <a:gd name="connsiteY49" fmla="*/ 149620 h 330688"/>
                      <a:gd name="connsiteX50" fmla="*/ 330991 w 332645"/>
                      <a:gd name="connsiteY50" fmla="*/ 165990 h 330688"/>
                      <a:gd name="connsiteX51" fmla="*/ 329503 w 332645"/>
                      <a:gd name="connsiteY51" fmla="*/ 182361 h 330688"/>
                      <a:gd name="connsiteX52" fmla="*/ 331487 w 332645"/>
                      <a:gd name="connsiteY52" fmla="*/ 198731 h 330688"/>
                      <a:gd name="connsiteX53" fmla="*/ 330000 w 332645"/>
                      <a:gd name="connsiteY53" fmla="*/ 215102 h 330688"/>
                      <a:gd name="connsiteX54" fmla="*/ 329503 w 332645"/>
                      <a:gd name="connsiteY54" fmla="*/ 231473 h 330688"/>
                      <a:gd name="connsiteX55" fmla="*/ 330495 w 332645"/>
                      <a:gd name="connsiteY55" fmla="*/ 247843 h 330688"/>
                      <a:gd name="connsiteX56" fmla="*/ 329503 w 332645"/>
                      <a:gd name="connsiteY56" fmla="*/ 264214 h 330688"/>
                      <a:gd name="connsiteX57" fmla="*/ 330991 w 332645"/>
                      <a:gd name="connsiteY57" fmla="*/ 280584 h 330688"/>
                      <a:gd name="connsiteX58" fmla="*/ 329503 w 332645"/>
                      <a:gd name="connsiteY58" fmla="*/ 296955 h 330688"/>
                      <a:gd name="connsiteX59" fmla="*/ 330991 w 332645"/>
                      <a:gd name="connsiteY59" fmla="*/ 313326 h 330688"/>
                      <a:gd name="connsiteX60" fmla="*/ 329503 w 332645"/>
                      <a:gd name="connsiteY60" fmla="*/ 329696 h 3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32645" h="330688">
                        <a:moveTo>
                          <a:pt x="1596" y="330688"/>
                        </a:moveTo>
                        <a:cubicBezTo>
                          <a:pt x="1596" y="322751"/>
                          <a:pt x="2092" y="322751"/>
                          <a:pt x="2092" y="314318"/>
                        </a:cubicBezTo>
                        <a:cubicBezTo>
                          <a:pt x="2092" y="306380"/>
                          <a:pt x="2588" y="306380"/>
                          <a:pt x="2588" y="297947"/>
                        </a:cubicBezTo>
                        <a:cubicBezTo>
                          <a:pt x="2588" y="290010"/>
                          <a:pt x="1596" y="290010"/>
                          <a:pt x="1596" y="281577"/>
                        </a:cubicBezTo>
                        <a:cubicBezTo>
                          <a:pt x="1596" y="273639"/>
                          <a:pt x="1596" y="273639"/>
                          <a:pt x="1596" y="265206"/>
                        </a:cubicBezTo>
                        <a:cubicBezTo>
                          <a:pt x="1596" y="257269"/>
                          <a:pt x="2092" y="257269"/>
                          <a:pt x="2092" y="248836"/>
                        </a:cubicBezTo>
                        <a:cubicBezTo>
                          <a:pt x="2092" y="240898"/>
                          <a:pt x="3580" y="240898"/>
                          <a:pt x="3580" y="232465"/>
                        </a:cubicBezTo>
                        <a:cubicBezTo>
                          <a:pt x="3580" y="224528"/>
                          <a:pt x="2092" y="224528"/>
                          <a:pt x="2092" y="216094"/>
                        </a:cubicBezTo>
                        <a:cubicBezTo>
                          <a:pt x="2092" y="208157"/>
                          <a:pt x="2588" y="208157"/>
                          <a:pt x="2588" y="199724"/>
                        </a:cubicBezTo>
                        <a:cubicBezTo>
                          <a:pt x="2588" y="191787"/>
                          <a:pt x="3580" y="191787"/>
                          <a:pt x="3580" y="183353"/>
                        </a:cubicBezTo>
                        <a:cubicBezTo>
                          <a:pt x="3580" y="175416"/>
                          <a:pt x="1596" y="175416"/>
                          <a:pt x="1596" y="166983"/>
                        </a:cubicBezTo>
                        <a:cubicBezTo>
                          <a:pt x="1596" y="159045"/>
                          <a:pt x="1100" y="159045"/>
                          <a:pt x="1100" y="150612"/>
                        </a:cubicBezTo>
                        <a:cubicBezTo>
                          <a:pt x="1100" y="142675"/>
                          <a:pt x="1100" y="142675"/>
                          <a:pt x="1100" y="134241"/>
                        </a:cubicBezTo>
                        <a:cubicBezTo>
                          <a:pt x="1100" y="126304"/>
                          <a:pt x="3084" y="126304"/>
                          <a:pt x="3084" y="117871"/>
                        </a:cubicBezTo>
                        <a:cubicBezTo>
                          <a:pt x="3084" y="109934"/>
                          <a:pt x="3084" y="109934"/>
                          <a:pt x="3084" y="101500"/>
                        </a:cubicBezTo>
                        <a:cubicBezTo>
                          <a:pt x="3084" y="93563"/>
                          <a:pt x="2092" y="93563"/>
                          <a:pt x="2092" y="85130"/>
                        </a:cubicBezTo>
                        <a:cubicBezTo>
                          <a:pt x="2092" y="77192"/>
                          <a:pt x="2092" y="77192"/>
                          <a:pt x="2092" y="68759"/>
                        </a:cubicBezTo>
                        <a:cubicBezTo>
                          <a:pt x="2092" y="60822"/>
                          <a:pt x="3580" y="60822"/>
                          <a:pt x="3580" y="52389"/>
                        </a:cubicBezTo>
                        <a:cubicBezTo>
                          <a:pt x="3580" y="44451"/>
                          <a:pt x="2092" y="44451"/>
                          <a:pt x="2092" y="36018"/>
                        </a:cubicBezTo>
                        <a:cubicBezTo>
                          <a:pt x="2092" y="28081"/>
                          <a:pt x="3580" y="28081"/>
                          <a:pt x="3580" y="19647"/>
                        </a:cubicBezTo>
                        <a:cubicBezTo>
                          <a:pt x="3580" y="11214"/>
                          <a:pt x="-3365" y="8734"/>
                          <a:pt x="2092" y="2781"/>
                        </a:cubicBezTo>
                        <a:cubicBezTo>
                          <a:pt x="8045" y="-3172"/>
                          <a:pt x="11021" y="3277"/>
                          <a:pt x="18958" y="3277"/>
                        </a:cubicBezTo>
                        <a:cubicBezTo>
                          <a:pt x="27392" y="3277"/>
                          <a:pt x="27392" y="2781"/>
                          <a:pt x="35329" y="2781"/>
                        </a:cubicBezTo>
                        <a:cubicBezTo>
                          <a:pt x="43762" y="2781"/>
                          <a:pt x="43762" y="3277"/>
                          <a:pt x="51699" y="3277"/>
                        </a:cubicBezTo>
                        <a:cubicBezTo>
                          <a:pt x="60133" y="3277"/>
                          <a:pt x="60133" y="2285"/>
                          <a:pt x="68070" y="2285"/>
                        </a:cubicBezTo>
                        <a:cubicBezTo>
                          <a:pt x="76503" y="2285"/>
                          <a:pt x="76503" y="2285"/>
                          <a:pt x="84441" y="2285"/>
                        </a:cubicBezTo>
                        <a:cubicBezTo>
                          <a:pt x="92874" y="2285"/>
                          <a:pt x="92874" y="1789"/>
                          <a:pt x="100811" y="1789"/>
                        </a:cubicBezTo>
                        <a:cubicBezTo>
                          <a:pt x="109245" y="1789"/>
                          <a:pt x="109245" y="3277"/>
                          <a:pt x="117182" y="3277"/>
                        </a:cubicBezTo>
                        <a:cubicBezTo>
                          <a:pt x="125615" y="3277"/>
                          <a:pt x="125615" y="2781"/>
                          <a:pt x="133552" y="2781"/>
                        </a:cubicBezTo>
                        <a:cubicBezTo>
                          <a:pt x="141986" y="2781"/>
                          <a:pt x="141986" y="3277"/>
                          <a:pt x="149923" y="3277"/>
                        </a:cubicBezTo>
                        <a:cubicBezTo>
                          <a:pt x="158356" y="3277"/>
                          <a:pt x="158356" y="2781"/>
                          <a:pt x="166294" y="2781"/>
                        </a:cubicBezTo>
                        <a:cubicBezTo>
                          <a:pt x="174727" y="2781"/>
                          <a:pt x="174727" y="3277"/>
                          <a:pt x="182664" y="3277"/>
                        </a:cubicBezTo>
                        <a:cubicBezTo>
                          <a:pt x="191098" y="3277"/>
                          <a:pt x="191098" y="1789"/>
                          <a:pt x="199035" y="1789"/>
                        </a:cubicBezTo>
                        <a:cubicBezTo>
                          <a:pt x="207468" y="1789"/>
                          <a:pt x="207468" y="3773"/>
                          <a:pt x="215405" y="3773"/>
                        </a:cubicBezTo>
                        <a:cubicBezTo>
                          <a:pt x="223839" y="3773"/>
                          <a:pt x="223839" y="2285"/>
                          <a:pt x="231776" y="2285"/>
                        </a:cubicBezTo>
                        <a:cubicBezTo>
                          <a:pt x="240209" y="2285"/>
                          <a:pt x="240209" y="2285"/>
                          <a:pt x="248147" y="2285"/>
                        </a:cubicBezTo>
                        <a:cubicBezTo>
                          <a:pt x="256580" y="2285"/>
                          <a:pt x="256580" y="2781"/>
                          <a:pt x="264517" y="2781"/>
                        </a:cubicBezTo>
                        <a:cubicBezTo>
                          <a:pt x="272951" y="2781"/>
                          <a:pt x="272951" y="3773"/>
                          <a:pt x="280888" y="3773"/>
                        </a:cubicBezTo>
                        <a:cubicBezTo>
                          <a:pt x="289321" y="3773"/>
                          <a:pt x="289321" y="2285"/>
                          <a:pt x="297258" y="2285"/>
                        </a:cubicBezTo>
                        <a:cubicBezTo>
                          <a:pt x="305692" y="2285"/>
                          <a:pt x="305692" y="2285"/>
                          <a:pt x="313629" y="2285"/>
                        </a:cubicBezTo>
                        <a:cubicBezTo>
                          <a:pt x="322062" y="2285"/>
                          <a:pt x="324046" y="-3172"/>
                          <a:pt x="330000" y="2781"/>
                        </a:cubicBezTo>
                        <a:cubicBezTo>
                          <a:pt x="335952" y="8238"/>
                          <a:pt x="330000" y="10718"/>
                          <a:pt x="330000" y="18655"/>
                        </a:cubicBezTo>
                        <a:cubicBezTo>
                          <a:pt x="330000" y="26593"/>
                          <a:pt x="329503" y="26593"/>
                          <a:pt x="329503" y="35026"/>
                        </a:cubicBezTo>
                        <a:cubicBezTo>
                          <a:pt x="329503" y="42963"/>
                          <a:pt x="330000" y="42963"/>
                          <a:pt x="330000" y="51396"/>
                        </a:cubicBezTo>
                        <a:cubicBezTo>
                          <a:pt x="330000" y="59334"/>
                          <a:pt x="331487" y="59334"/>
                          <a:pt x="331487" y="67767"/>
                        </a:cubicBezTo>
                        <a:cubicBezTo>
                          <a:pt x="331487" y="75704"/>
                          <a:pt x="330991" y="75704"/>
                          <a:pt x="330991" y="84138"/>
                        </a:cubicBezTo>
                        <a:cubicBezTo>
                          <a:pt x="330991" y="92075"/>
                          <a:pt x="330000" y="92075"/>
                          <a:pt x="330000" y="100508"/>
                        </a:cubicBezTo>
                        <a:cubicBezTo>
                          <a:pt x="330000" y="108445"/>
                          <a:pt x="331487" y="108445"/>
                          <a:pt x="331487" y="116879"/>
                        </a:cubicBezTo>
                        <a:cubicBezTo>
                          <a:pt x="331487" y="124816"/>
                          <a:pt x="331983" y="124816"/>
                          <a:pt x="331983" y="133249"/>
                        </a:cubicBezTo>
                        <a:cubicBezTo>
                          <a:pt x="331983" y="141187"/>
                          <a:pt x="330495" y="141187"/>
                          <a:pt x="330495" y="149620"/>
                        </a:cubicBezTo>
                        <a:cubicBezTo>
                          <a:pt x="330495" y="157557"/>
                          <a:pt x="330991" y="157557"/>
                          <a:pt x="330991" y="165990"/>
                        </a:cubicBezTo>
                        <a:cubicBezTo>
                          <a:pt x="330991" y="173928"/>
                          <a:pt x="329503" y="173928"/>
                          <a:pt x="329503" y="182361"/>
                        </a:cubicBezTo>
                        <a:cubicBezTo>
                          <a:pt x="329503" y="190298"/>
                          <a:pt x="331487" y="190298"/>
                          <a:pt x="331487" y="198731"/>
                        </a:cubicBezTo>
                        <a:cubicBezTo>
                          <a:pt x="331487" y="206669"/>
                          <a:pt x="330000" y="206669"/>
                          <a:pt x="330000" y="215102"/>
                        </a:cubicBezTo>
                        <a:cubicBezTo>
                          <a:pt x="330000" y="223039"/>
                          <a:pt x="329503" y="223039"/>
                          <a:pt x="329503" y="231473"/>
                        </a:cubicBezTo>
                        <a:cubicBezTo>
                          <a:pt x="329503" y="239410"/>
                          <a:pt x="330495" y="239410"/>
                          <a:pt x="330495" y="247843"/>
                        </a:cubicBezTo>
                        <a:cubicBezTo>
                          <a:pt x="330495" y="255780"/>
                          <a:pt x="329503" y="255780"/>
                          <a:pt x="329503" y="264214"/>
                        </a:cubicBezTo>
                        <a:cubicBezTo>
                          <a:pt x="329503" y="272151"/>
                          <a:pt x="330991" y="272151"/>
                          <a:pt x="330991" y="280584"/>
                        </a:cubicBezTo>
                        <a:cubicBezTo>
                          <a:pt x="330991" y="288522"/>
                          <a:pt x="329503" y="288522"/>
                          <a:pt x="329503" y="296955"/>
                        </a:cubicBezTo>
                        <a:cubicBezTo>
                          <a:pt x="329503" y="304892"/>
                          <a:pt x="330991" y="304892"/>
                          <a:pt x="330991" y="313326"/>
                        </a:cubicBezTo>
                        <a:cubicBezTo>
                          <a:pt x="330991" y="321263"/>
                          <a:pt x="329503" y="321263"/>
                          <a:pt x="329503" y="32969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2" name="Freeform: Shape 1601">
                    <a:extLst>
                      <a:ext uri="{FF2B5EF4-FFF2-40B4-BE49-F238E27FC236}">
                        <a16:creationId xmlns:a16="http://schemas.microsoft.com/office/drawing/2014/main" id="{ABFD80F2-0781-8FEC-8455-00A0793B9EF3}"/>
                      </a:ext>
                    </a:extLst>
                  </p:cNvPr>
                  <p:cNvSpPr/>
                  <p:nvPr/>
                </p:nvSpPr>
                <p:spPr>
                  <a:xfrm>
                    <a:off x="6255909" y="2599129"/>
                    <a:ext cx="126444" cy="40047"/>
                  </a:xfrm>
                  <a:custGeom>
                    <a:avLst/>
                    <a:gdLst>
                      <a:gd name="connsiteX0" fmla="*/ 0 w 126444"/>
                      <a:gd name="connsiteY0" fmla="*/ 1807 h 40047"/>
                      <a:gd name="connsiteX1" fmla="*/ 15378 w 126444"/>
                      <a:gd name="connsiteY1" fmla="*/ 1311 h 40047"/>
                      <a:gd name="connsiteX2" fmla="*/ 30757 w 126444"/>
                      <a:gd name="connsiteY2" fmla="*/ 3295 h 40047"/>
                      <a:gd name="connsiteX3" fmla="*/ 46135 w 126444"/>
                      <a:gd name="connsiteY3" fmla="*/ 2799 h 40047"/>
                      <a:gd name="connsiteX4" fmla="*/ 61514 w 126444"/>
                      <a:gd name="connsiteY4" fmla="*/ 2799 h 40047"/>
                      <a:gd name="connsiteX5" fmla="*/ 76892 w 126444"/>
                      <a:gd name="connsiteY5" fmla="*/ 1807 h 40047"/>
                      <a:gd name="connsiteX6" fmla="*/ 92270 w 126444"/>
                      <a:gd name="connsiteY6" fmla="*/ 2799 h 40047"/>
                      <a:gd name="connsiteX7" fmla="*/ 107649 w 126444"/>
                      <a:gd name="connsiteY7" fmla="*/ 2799 h 40047"/>
                      <a:gd name="connsiteX8" fmla="*/ 123027 w 126444"/>
                      <a:gd name="connsiteY8" fmla="*/ 2303 h 40047"/>
                      <a:gd name="connsiteX9" fmla="*/ 124019 w 126444"/>
                      <a:gd name="connsiteY9" fmla="*/ 19666 h 40047"/>
                      <a:gd name="connsiteX10" fmla="*/ 124019 w 126444"/>
                      <a:gd name="connsiteY10" fmla="*/ 37525 h 40047"/>
                      <a:gd name="connsiteX11" fmla="*/ 108145 w 126444"/>
                      <a:gd name="connsiteY11" fmla="*/ 37029 h 40047"/>
                      <a:gd name="connsiteX12" fmla="*/ 92766 w 126444"/>
                      <a:gd name="connsiteY12" fmla="*/ 37525 h 40047"/>
                      <a:gd name="connsiteX13" fmla="*/ 77388 w 126444"/>
                      <a:gd name="connsiteY13" fmla="*/ 37525 h 40047"/>
                      <a:gd name="connsiteX14" fmla="*/ 62010 w 126444"/>
                      <a:gd name="connsiteY14" fmla="*/ 36036 h 40047"/>
                      <a:gd name="connsiteX15" fmla="*/ 46631 w 126444"/>
                      <a:gd name="connsiteY15" fmla="*/ 37029 h 40047"/>
                      <a:gd name="connsiteX16" fmla="*/ 31253 w 126444"/>
                      <a:gd name="connsiteY16" fmla="*/ 37525 h 40047"/>
                      <a:gd name="connsiteX17" fmla="*/ 15874 w 126444"/>
                      <a:gd name="connsiteY17" fmla="*/ 37525 h 40047"/>
                      <a:gd name="connsiteX18" fmla="*/ 496 w 126444"/>
                      <a:gd name="connsiteY18" fmla="*/ 36532 h 40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26444" h="40047">
                        <a:moveTo>
                          <a:pt x="0" y="1807"/>
                        </a:moveTo>
                        <a:cubicBezTo>
                          <a:pt x="7441" y="1807"/>
                          <a:pt x="7441" y="1311"/>
                          <a:pt x="15378" y="1311"/>
                        </a:cubicBezTo>
                        <a:cubicBezTo>
                          <a:pt x="22819" y="1311"/>
                          <a:pt x="22819" y="3295"/>
                          <a:pt x="30757" y="3295"/>
                        </a:cubicBezTo>
                        <a:cubicBezTo>
                          <a:pt x="38198" y="3295"/>
                          <a:pt x="38198" y="2799"/>
                          <a:pt x="46135" y="2799"/>
                        </a:cubicBezTo>
                        <a:cubicBezTo>
                          <a:pt x="53576" y="2799"/>
                          <a:pt x="53576" y="2799"/>
                          <a:pt x="61514" y="2799"/>
                        </a:cubicBezTo>
                        <a:cubicBezTo>
                          <a:pt x="68955" y="2799"/>
                          <a:pt x="68955" y="1807"/>
                          <a:pt x="76892" y="1807"/>
                        </a:cubicBezTo>
                        <a:cubicBezTo>
                          <a:pt x="84333" y="1807"/>
                          <a:pt x="84333" y="2799"/>
                          <a:pt x="92270" y="2799"/>
                        </a:cubicBezTo>
                        <a:cubicBezTo>
                          <a:pt x="99712" y="2799"/>
                          <a:pt x="99712" y="2799"/>
                          <a:pt x="107649" y="2799"/>
                        </a:cubicBezTo>
                        <a:cubicBezTo>
                          <a:pt x="115586" y="2799"/>
                          <a:pt x="117570" y="-3154"/>
                          <a:pt x="123027" y="2303"/>
                        </a:cubicBezTo>
                        <a:cubicBezTo>
                          <a:pt x="128980" y="8752"/>
                          <a:pt x="124019" y="10736"/>
                          <a:pt x="124019" y="19666"/>
                        </a:cubicBezTo>
                        <a:cubicBezTo>
                          <a:pt x="124019" y="28595"/>
                          <a:pt x="129476" y="31076"/>
                          <a:pt x="124019" y="37525"/>
                        </a:cubicBezTo>
                        <a:cubicBezTo>
                          <a:pt x="119059" y="43478"/>
                          <a:pt x="115586" y="37029"/>
                          <a:pt x="108145" y="37029"/>
                        </a:cubicBezTo>
                        <a:cubicBezTo>
                          <a:pt x="100703" y="37029"/>
                          <a:pt x="100703" y="37525"/>
                          <a:pt x="92766" y="37525"/>
                        </a:cubicBezTo>
                        <a:cubicBezTo>
                          <a:pt x="85325" y="37525"/>
                          <a:pt x="85325" y="37525"/>
                          <a:pt x="77388" y="37525"/>
                        </a:cubicBezTo>
                        <a:cubicBezTo>
                          <a:pt x="69947" y="37525"/>
                          <a:pt x="69947" y="36036"/>
                          <a:pt x="62010" y="36036"/>
                        </a:cubicBezTo>
                        <a:cubicBezTo>
                          <a:pt x="54569" y="36036"/>
                          <a:pt x="54569" y="37029"/>
                          <a:pt x="46631" y="37029"/>
                        </a:cubicBezTo>
                        <a:cubicBezTo>
                          <a:pt x="39190" y="37029"/>
                          <a:pt x="39190" y="37525"/>
                          <a:pt x="31253" y="37525"/>
                        </a:cubicBezTo>
                        <a:cubicBezTo>
                          <a:pt x="23811" y="37525"/>
                          <a:pt x="23811" y="37525"/>
                          <a:pt x="15874" y="37525"/>
                        </a:cubicBezTo>
                        <a:cubicBezTo>
                          <a:pt x="7937" y="37525"/>
                          <a:pt x="8433" y="36532"/>
                          <a:pt x="496" y="36532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3" name="Freeform: Shape 1602">
                    <a:extLst>
                      <a:ext uri="{FF2B5EF4-FFF2-40B4-BE49-F238E27FC236}">
                        <a16:creationId xmlns:a16="http://schemas.microsoft.com/office/drawing/2014/main" id="{C7A1E8E8-1758-AF52-A56A-9BE0DF8FB235}"/>
                      </a:ext>
                    </a:extLst>
                  </p:cNvPr>
                  <p:cNvSpPr/>
                  <p:nvPr/>
                </p:nvSpPr>
                <p:spPr>
                  <a:xfrm>
                    <a:off x="6080366" y="2599147"/>
                    <a:ext cx="130399" cy="40029"/>
                  </a:xfrm>
                  <a:custGeom>
                    <a:avLst/>
                    <a:gdLst>
                      <a:gd name="connsiteX0" fmla="*/ 130399 w 130399"/>
                      <a:gd name="connsiteY0" fmla="*/ 37010 h 40029"/>
                      <a:gd name="connsiteX1" fmla="*/ 114524 w 130399"/>
                      <a:gd name="connsiteY1" fmla="*/ 37506 h 40029"/>
                      <a:gd name="connsiteX2" fmla="*/ 98650 w 130399"/>
                      <a:gd name="connsiteY2" fmla="*/ 36514 h 40029"/>
                      <a:gd name="connsiteX3" fmla="*/ 82775 w 130399"/>
                      <a:gd name="connsiteY3" fmla="*/ 36018 h 40029"/>
                      <a:gd name="connsiteX4" fmla="*/ 66901 w 130399"/>
                      <a:gd name="connsiteY4" fmla="*/ 37010 h 40029"/>
                      <a:gd name="connsiteX5" fmla="*/ 51027 w 130399"/>
                      <a:gd name="connsiteY5" fmla="*/ 35522 h 40029"/>
                      <a:gd name="connsiteX6" fmla="*/ 35152 w 130399"/>
                      <a:gd name="connsiteY6" fmla="*/ 36018 h 40029"/>
                      <a:gd name="connsiteX7" fmla="*/ 19278 w 130399"/>
                      <a:gd name="connsiteY7" fmla="*/ 37010 h 40029"/>
                      <a:gd name="connsiteX8" fmla="*/ 2411 w 130399"/>
                      <a:gd name="connsiteY8" fmla="*/ 37506 h 40029"/>
                      <a:gd name="connsiteX9" fmla="*/ 3403 w 130399"/>
                      <a:gd name="connsiteY9" fmla="*/ 19151 h 40029"/>
                      <a:gd name="connsiteX10" fmla="*/ 3899 w 130399"/>
                      <a:gd name="connsiteY10" fmla="*/ 2781 h 40029"/>
                      <a:gd name="connsiteX11" fmla="*/ 18782 w 130399"/>
                      <a:gd name="connsiteY11" fmla="*/ 2285 h 40029"/>
                      <a:gd name="connsiteX12" fmla="*/ 34656 w 130399"/>
                      <a:gd name="connsiteY12" fmla="*/ 2781 h 40029"/>
                      <a:gd name="connsiteX13" fmla="*/ 50530 w 130399"/>
                      <a:gd name="connsiteY13" fmla="*/ 2781 h 40029"/>
                      <a:gd name="connsiteX14" fmla="*/ 66405 w 130399"/>
                      <a:gd name="connsiteY14" fmla="*/ 1789 h 40029"/>
                      <a:gd name="connsiteX15" fmla="*/ 82279 w 130399"/>
                      <a:gd name="connsiteY15" fmla="*/ 1789 h 40029"/>
                      <a:gd name="connsiteX16" fmla="*/ 98154 w 130399"/>
                      <a:gd name="connsiteY16" fmla="*/ 2781 h 40029"/>
                      <a:gd name="connsiteX17" fmla="*/ 114028 w 130399"/>
                      <a:gd name="connsiteY17" fmla="*/ 1789 h 40029"/>
                      <a:gd name="connsiteX18" fmla="*/ 129903 w 130399"/>
                      <a:gd name="connsiteY18" fmla="*/ 1789 h 400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0399" h="40029">
                        <a:moveTo>
                          <a:pt x="130399" y="37010"/>
                        </a:moveTo>
                        <a:cubicBezTo>
                          <a:pt x="122462" y="37010"/>
                          <a:pt x="122462" y="37506"/>
                          <a:pt x="114524" y="37506"/>
                        </a:cubicBezTo>
                        <a:cubicBezTo>
                          <a:pt x="106587" y="37506"/>
                          <a:pt x="106587" y="36514"/>
                          <a:pt x="98650" y="36514"/>
                        </a:cubicBezTo>
                        <a:cubicBezTo>
                          <a:pt x="90713" y="36514"/>
                          <a:pt x="90713" y="36018"/>
                          <a:pt x="82775" y="36018"/>
                        </a:cubicBezTo>
                        <a:cubicBezTo>
                          <a:pt x="74838" y="36018"/>
                          <a:pt x="74838" y="37010"/>
                          <a:pt x="66901" y="37010"/>
                        </a:cubicBezTo>
                        <a:cubicBezTo>
                          <a:pt x="58964" y="37010"/>
                          <a:pt x="58964" y="35522"/>
                          <a:pt x="51027" y="35522"/>
                        </a:cubicBezTo>
                        <a:cubicBezTo>
                          <a:pt x="43089" y="35522"/>
                          <a:pt x="43089" y="36018"/>
                          <a:pt x="35152" y="36018"/>
                        </a:cubicBezTo>
                        <a:cubicBezTo>
                          <a:pt x="27215" y="36018"/>
                          <a:pt x="27215" y="37010"/>
                          <a:pt x="19278" y="37010"/>
                        </a:cubicBezTo>
                        <a:cubicBezTo>
                          <a:pt x="11341" y="37010"/>
                          <a:pt x="7868" y="43459"/>
                          <a:pt x="2411" y="37506"/>
                        </a:cubicBezTo>
                        <a:cubicBezTo>
                          <a:pt x="-3542" y="31057"/>
                          <a:pt x="3403" y="28081"/>
                          <a:pt x="3403" y="19151"/>
                        </a:cubicBezTo>
                        <a:cubicBezTo>
                          <a:pt x="3403" y="10222"/>
                          <a:pt x="-2054" y="8734"/>
                          <a:pt x="3899" y="2781"/>
                        </a:cubicBezTo>
                        <a:cubicBezTo>
                          <a:pt x="9356" y="-3172"/>
                          <a:pt x="10844" y="2285"/>
                          <a:pt x="18782" y="2285"/>
                        </a:cubicBezTo>
                        <a:cubicBezTo>
                          <a:pt x="26719" y="2285"/>
                          <a:pt x="26719" y="2781"/>
                          <a:pt x="34656" y="2781"/>
                        </a:cubicBezTo>
                        <a:cubicBezTo>
                          <a:pt x="42593" y="2781"/>
                          <a:pt x="42593" y="2781"/>
                          <a:pt x="50530" y="2781"/>
                        </a:cubicBezTo>
                        <a:cubicBezTo>
                          <a:pt x="58468" y="2781"/>
                          <a:pt x="58468" y="1789"/>
                          <a:pt x="66405" y="1789"/>
                        </a:cubicBezTo>
                        <a:cubicBezTo>
                          <a:pt x="74342" y="1789"/>
                          <a:pt x="74342" y="1789"/>
                          <a:pt x="82279" y="1789"/>
                        </a:cubicBezTo>
                        <a:cubicBezTo>
                          <a:pt x="90216" y="1789"/>
                          <a:pt x="90216" y="2781"/>
                          <a:pt x="98154" y="2781"/>
                        </a:cubicBezTo>
                        <a:cubicBezTo>
                          <a:pt x="106091" y="2781"/>
                          <a:pt x="106091" y="1789"/>
                          <a:pt x="114028" y="1789"/>
                        </a:cubicBezTo>
                        <a:cubicBezTo>
                          <a:pt x="121966" y="1789"/>
                          <a:pt x="121966" y="1789"/>
                          <a:pt x="129903" y="1789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4" name="Freeform: Shape 1603">
                    <a:extLst>
                      <a:ext uri="{FF2B5EF4-FFF2-40B4-BE49-F238E27FC236}">
                        <a16:creationId xmlns:a16="http://schemas.microsoft.com/office/drawing/2014/main" id="{A4972B30-151D-277A-9F59-8A3350574BD3}"/>
                      </a:ext>
                    </a:extLst>
                  </p:cNvPr>
                  <p:cNvSpPr/>
                  <p:nvPr/>
                </p:nvSpPr>
                <p:spPr>
                  <a:xfrm>
                    <a:off x="6079360" y="2492491"/>
                    <a:ext cx="299122" cy="297947"/>
                  </a:xfrm>
                  <a:custGeom>
                    <a:avLst/>
                    <a:gdLst>
                      <a:gd name="connsiteX0" fmla="*/ 2425 w 299122"/>
                      <a:gd name="connsiteY0" fmla="*/ 297451 h 297947"/>
                      <a:gd name="connsiteX1" fmla="*/ 3417 w 299122"/>
                      <a:gd name="connsiteY1" fmla="*/ 281080 h 297947"/>
                      <a:gd name="connsiteX2" fmla="*/ 2921 w 299122"/>
                      <a:gd name="connsiteY2" fmla="*/ 264710 h 297947"/>
                      <a:gd name="connsiteX3" fmla="*/ 2921 w 299122"/>
                      <a:gd name="connsiteY3" fmla="*/ 248339 h 297947"/>
                      <a:gd name="connsiteX4" fmla="*/ 3913 w 299122"/>
                      <a:gd name="connsiteY4" fmla="*/ 231969 h 297947"/>
                      <a:gd name="connsiteX5" fmla="*/ 2921 w 299122"/>
                      <a:gd name="connsiteY5" fmla="*/ 215598 h 297947"/>
                      <a:gd name="connsiteX6" fmla="*/ 3417 w 299122"/>
                      <a:gd name="connsiteY6" fmla="*/ 199228 h 297947"/>
                      <a:gd name="connsiteX7" fmla="*/ 3913 w 299122"/>
                      <a:gd name="connsiteY7" fmla="*/ 182857 h 297947"/>
                      <a:gd name="connsiteX8" fmla="*/ 3417 w 299122"/>
                      <a:gd name="connsiteY8" fmla="*/ 166487 h 297947"/>
                      <a:gd name="connsiteX9" fmla="*/ 2921 w 299122"/>
                      <a:gd name="connsiteY9" fmla="*/ 150116 h 297947"/>
                      <a:gd name="connsiteX10" fmla="*/ 3417 w 299122"/>
                      <a:gd name="connsiteY10" fmla="*/ 133746 h 297947"/>
                      <a:gd name="connsiteX11" fmla="*/ 3417 w 299122"/>
                      <a:gd name="connsiteY11" fmla="*/ 117375 h 297947"/>
                      <a:gd name="connsiteX12" fmla="*/ 3913 w 299122"/>
                      <a:gd name="connsiteY12" fmla="*/ 101004 h 297947"/>
                      <a:gd name="connsiteX13" fmla="*/ 3417 w 299122"/>
                      <a:gd name="connsiteY13" fmla="*/ 84634 h 297947"/>
                      <a:gd name="connsiteX14" fmla="*/ 2425 w 299122"/>
                      <a:gd name="connsiteY14" fmla="*/ 68263 h 297947"/>
                      <a:gd name="connsiteX15" fmla="*/ 2425 w 299122"/>
                      <a:gd name="connsiteY15" fmla="*/ 51893 h 297947"/>
                      <a:gd name="connsiteX16" fmla="*/ 3417 w 299122"/>
                      <a:gd name="connsiteY16" fmla="*/ 35522 h 297947"/>
                      <a:gd name="connsiteX17" fmla="*/ 2425 w 299122"/>
                      <a:gd name="connsiteY17" fmla="*/ 19151 h 297947"/>
                      <a:gd name="connsiteX18" fmla="*/ 2425 w 299122"/>
                      <a:gd name="connsiteY18" fmla="*/ 2781 h 297947"/>
                      <a:gd name="connsiteX19" fmla="*/ 18300 w 299122"/>
                      <a:gd name="connsiteY19" fmla="*/ 2285 h 297947"/>
                      <a:gd name="connsiteX20" fmla="*/ 34671 w 299122"/>
                      <a:gd name="connsiteY20" fmla="*/ 2285 h 297947"/>
                      <a:gd name="connsiteX21" fmla="*/ 51041 w 299122"/>
                      <a:gd name="connsiteY21" fmla="*/ 2781 h 297947"/>
                      <a:gd name="connsiteX22" fmla="*/ 67412 w 299122"/>
                      <a:gd name="connsiteY22" fmla="*/ 2285 h 297947"/>
                      <a:gd name="connsiteX23" fmla="*/ 83782 w 299122"/>
                      <a:gd name="connsiteY23" fmla="*/ 2781 h 297947"/>
                      <a:gd name="connsiteX24" fmla="*/ 100153 w 299122"/>
                      <a:gd name="connsiteY24" fmla="*/ 1789 h 297947"/>
                      <a:gd name="connsiteX25" fmla="*/ 116523 w 299122"/>
                      <a:gd name="connsiteY25" fmla="*/ 1789 h 297947"/>
                      <a:gd name="connsiteX26" fmla="*/ 132894 w 299122"/>
                      <a:gd name="connsiteY26" fmla="*/ 2781 h 297947"/>
                      <a:gd name="connsiteX27" fmla="*/ 149264 w 299122"/>
                      <a:gd name="connsiteY27" fmla="*/ 3277 h 297947"/>
                      <a:gd name="connsiteX28" fmla="*/ 165635 w 299122"/>
                      <a:gd name="connsiteY28" fmla="*/ 2285 h 297947"/>
                      <a:gd name="connsiteX29" fmla="*/ 182005 w 299122"/>
                      <a:gd name="connsiteY29" fmla="*/ 1789 h 297947"/>
                      <a:gd name="connsiteX30" fmla="*/ 198376 w 299122"/>
                      <a:gd name="connsiteY30" fmla="*/ 3277 h 297947"/>
                      <a:gd name="connsiteX31" fmla="*/ 214746 w 299122"/>
                      <a:gd name="connsiteY31" fmla="*/ 3773 h 297947"/>
                      <a:gd name="connsiteX32" fmla="*/ 231117 w 299122"/>
                      <a:gd name="connsiteY32" fmla="*/ 2285 h 297947"/>
                      <a:gd name="connsiteX33" fmla="*/ 247488 w 299122"/>
                      <a:gd name="connsiteY33" fmla="*/ 2781 h 297947"/>
                      <a:gd name="connsiteX34" fmla="*/ 263858 w 299122"/>
                      <a:gd name="connsiteY34" fmla="*/ 3773 h 297947"/>
                      <a:gd name="connsiteX35" fmla="*/ 280229 w 299122"/>
                      <a:gd name="connsiteY35" fmla="*/ 2781 h 297947"/>
                      <a:gd name="connsiteX36" fmla="*/ 296599 w 299122"/>
                      <a:gd name="connsiteY36" fmla="*/ 3277 h 297947"/>
                      <a:gd name="connsiteX37" fmla="*/ 296103 w 299122"/>
                      <a:gd name="connsiteY37" fmla="*/ 19647 h 297947"/>
                      <a:gd name="connsiteX38" fmla="*/ 296599 w 299122"/>
                      <a:gd name="connsiteY38" fmla="*/ 36018 h 297947"/>
                      <a:gd name="connsiteX39" fmla="*/ 296103 w 299122"/>
                      <a:gd name="connsiteY39" fmla="*/ 52389 h 297947"/>
                      <a:gd name="connsiteX40" fmla="*/ 297592 w 299122"/>
                      <a:gd name="connsiteY40" fmla="*/ 68759 h 297947"/>
                      <a:gd name="connsiteX41" fmla="*/ 297592 w 299122"/>
                      <a:gd name="connsiteY41" fmla="*/ 85130 h 297947"/>
                      <a:gd name="connsiteX42" fmla="*/ 296599 w 299122"/>
                      <a:gd name="connsiteY42" fmla="*/ 101500 h 297947"/>
                      <a:gd name="connsiteX43" fmla="*/ 296103 w 299122"/>
                      <a:gd name="connsiteY43" fmla="*/ 117871 h 297947"/>
                      <a:gd name="connsiteX44" fmla="*/ 296103 w 299122"/>
                      <a:gd name="connsiteY44" fmla="*/ 134241 h 297947"/>
                      <a:gd name="connsiteX45" fmla="*/ 297592 w 299122"/>
                      <a:gd name="connsiteY45" fmla="*/ 150612 h 297947"/>
                      <a:gd name="connsiteX46" fmla="*/ 296599 w 299122"/>
                      <a:gd name="connsiteY46" fmla="*/ 166982 h 297947"/>
                      <a:gd name="connsiteX47" fmla="*/ 296103 w 299122"/>
                      <a:gd name="connsiteY47" fmla="*/ 183353 h 297947"/>
                      <a:gd name="connsiteX48" fmla="*/ 296103 w 299122"/>
                      <a:gd name="connsiteY48" fmla="*/ 199724 h 297947"/>
                      <a:gd name="connsiteX49" fmla="*/ 295607 w 299122"/>
                      <a:gd name="connsiteY49" fmla="*/ 216094 h 297947"/>
                      <a:gd name="connsiteX50" fmla="*/ 297095 w 299122"/>
                      <a:gd name="connsiteY50" fmla="*/ 232465 h 297947"/>
                      <a:gd name="connsiteX51" fmla="*/ 295607 w 299122"/>
                      <a:gd name="connsiteY51" fmla="*/ 248835 h 297947"/>
                      <a:gd name="connsiteX52" fmla="*/ 295607 w 299122"/>
                      <a:gd name="connsiteY52" fmla="*/ 265206 h 297947"/>
                      <a:gd name="connsiteX53" fmla="*/ 296103 w 299122"/>
                      <a:gd name="connsiteY53" fmla="*/ 281577 h 297947"/>
                      <a:gd name="connsiteX54" fmla="*/ 297095 w 299122"/>
                      <a:gd name="connsiteY54" fmla="*/ 297947 h 29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299122" h="297947">
                        <a:moveTo>
                          <a:pt x="2425" y="297451"/>
                        </a:moveTo>
                        <a:cubicBezTo>
                          <a:pt x="2425" y="289018"/>
                          <a:pt x="3417" y="289018"/>
                          <a:pt x="3417" y="281080"/>
                        </a:cubicBezTo>
                        <a:cubicBezTo>
                          <a:pt x="3417" y="272647"/>
                          <a:pt x="2921" y="272647"/>
                          <a:pt x="2921" y="264710"/>
                        </a:cubicBezTo>
                        <a:cubicBezTo>
                          <a:pt x="2921" y="256277"/>
                          <a:pt x="2921" y="256277"/>
                          <a:pt x="2921" y="248339"/>
                        </a:cubicBezTo>
                        <a:cubicBezTo>
                          <a:pt x="2921" y="239906"/>
                          <a:pt x="3913" y="239906"/>
                          <a:pt x="3913" y="231969"/>
                        </a:cubicBezTo>
                        <a:cubicBezTo>
                          <a:pt x="3913" y="223535"/>
                          <a:pt x="2921" y="223535"/>
                          <a:pt x="2921" y="215598"/>
                        </a:cubicBezTo>
                        <a:cubicBezTo>
                          <a:pt x="2921" y="207165"/>
                          <a:pt x="3417" y="207165"/>
                          <a:pt x="3417" y="199228"/>
                        </a:cubicBezTo>
                        <a:cubicBezTo>
                          <a:pt x="3417" y="190794"/>
                          <a:pt x="3913" y="190794"/>
                          <a:pt x="3913" y="182857"/>
                        </a:cubicBezTo>
                        <a:cubicBezTo>
                          <a:pt x="3913" y="174424"/>
                          <a:pt x="3417" y="174424"/>
                          <a:pt x="3417" y="166487"/>
                        </a:cubicBezTo>
                        <a:cubicBezTo>
                          <a:pt x="3417" y="158053"/>
                          <a:pt x="2921" y="158053"/>
                          <a:pt x="2921" y="150116"/>
                        </a:cubicBezTo>
                        <a:cubicBezTo>
                          <a:pt x="2921" y="141683"/>
                          <a:pt x="3417" y="141683"/>
                          <a:pt x="3417" y="133746"/>
                        </a:cubicBezTo>
                        <a:cubicBezTo>
                          <a:pt x="3417" y="125312"/>
                          <a:pt x="3417" y="125312"/>
                          <a:pt x="3417" y="117375"/>
                        </a:cubicBezTo>
                        <a:cubicBezTo>
                          <a:pt x="3417" y="108942"/>
                          <a:pt x="3913" y="108942"/>
                          <a:pt x="3913" y="101004"/>
                        </a:cubicBezTo>
                        <a:cubicBezTo>
                          <a:pt x="3913" y="92571"/>
                          <a:pt x="3417" y="92571"/>
                          <a:pt x="3417" y="84634"/>
                        </a:cubicBezTo>
                        <a:cubicBezTo>
                          <a:pt x="3417" y="76200"/>
                          <a:pt x="2425" y="76200"/>
                          <a:pt x="2425" y="68263"/>
                        </a:cubicBezTo>
                        <a:cubicBezTo>
                          <a:pt x="2425" y="59830"/>
                          <a:pt x="2425" y="59830"/>
                          <a:pt x="2425" y="51893"/>
                        </a:cubicBezTo>
                        <a:cubicBezTo>
                          <a:pt x="2425" y="43459"/>
                          <a:pt x="3417" y="43459"/>
                          <a:pt x="3417" y="35522"/>
                        </a:cubicBezTo>
                        <a:cubicBezTo>
                          <a:pt x="3417" y="27089"/>
                          <a:pt x="2425" y="27089"/>
                          <a:pt x="2425" y="19151"/>
                        </a:cubicBezTo>
                        <a:cubicBezTo>
                          <a:pt x="2425" y="11214"/>
                          <a:pt x="-3032" y="8734"/>
                          <a:pt x="2425" y="2781"/>
                        </a:cubicBezTo>
                        <a:cubicBezTo>
                          <a:pt x="8378" y="-3172"/>
                          <a:pt x="10363" y="2285"/>
                          <a:pt x="18300" y="2285"/>
                        </a:cubicBezTo>
                        <a:cubicBezTo>
                          <a:pt x="26237" y="2285"/>
                          <a:pt x="26237" y="2285"/>
                          <a:pt x="34671" y="2285"/>
                        </a:cubicBezTo>
                        <a:cubicBezTo>
                          <a:pt x="42608" y="2285"/>
                          <a:pt x="42608" y="2781"/>
                          <a:pt x="51041" y="2781"/>
                        </a:cubicBezTo>
                        <a:cubicBezTo>
                          <a:pt x="59474" y="2781"/>
                          <a:pt x="59474" y="2285"/>
                          <a:pt x="67412" y="2285"/>
                        </a:cubicBezTo>
                        <a:cubicBezTo>
                          <a:pt x="75349" y="2285"/>
                          <a:pt x="75349" y="2781"/>
                          <a:pt x="83782" y="2781"/>
                        </a:cubicBezTo>
                        <a:cubicBezTo>
                          <a:pt x="92215" y="2781"/>
                          <a:pt x="92215" y="1789"/>
                          <a:pt x="100153" y="1789"/>
                        </a:cubicBezTo>
                        <a:cubicBezTo>
                          <a:pt x="108090" y="1789"/>
                          <a:pt x="108090" y="1789"/>
                          <a:pt x="116523" y="1789"/>
                        </a:cubicBezTo>
                        <a:cubicBezTo>
                          <a:pt x="124956" y="1789"/>
                          <a:pt x="124956" y="2781"/>
                          <a:pt x="132894" y="2781"/>
                        </a:cubicBezTo>
                        <a:cubicBezTo>
                          <a:pt x="141327" y="2781"/>
                          <a:pt x="141327" y="3277"/>
                          <a:pt x="149264" y="3277"/>
                        </a:cubicBezTo>
                        <a:cubicBezTo>
                          <a:pt x="157698" y="3277"/>
                          <a:pt x="157698" y="2285"/>
                          <a:pt x="165635" y="2285"/>
                        </a:cubicBezTo>
                        <a:cubicBezTo>
                          <a:pt x="174068" y="2285"/>
                          <a:pt x="174068" y="1789"/>
                          <a:pt x="182005" y="1789"/>
                        </a:cubicBezTo>
                        <a:cubicBezTo>
                          <a:pt x="189943" y="1789"/>
                          <a:pt x="190439" y="3277"/>
                          <a:pt x="198376" y="3277"/>
                        </a:cubicBezTo>
                        <a:cubicBezTo>
                          <a:pt x="206809" y="3277"/>
                          <a:pt x="206809" y="3773"/>
                          <a:pt x="214746" y="3773"/>
                        </a:cubicBezTo>
                        <a:cubicBezTo>
                          <a:pt x="223180" y="3773"/>
                          <a:pt x="223180" y="2285"/>
                          <a:pt x="231117" y="2285"/>
                        </a:cubicBezTo>
                        <a:cubicBezTo>
                          <a:pt x="239550" y="2285"/>
                          <a:pt x="239550" y="2781"/>
                          <a:pt x="247488" y="2781"/>
                        </a:cubicBezTo>
                        <a:cubicBezTo>
                          <a:pt x="255921" y="2781"/>
                          <a:pt x="255921" y="3773"/>
                          <a:pt x="263858" y="3773"/>
                        </a:cubicBezTo>
                        <a:cubicBezTo>
                          <a:pt x="272291" y="3773"/>
                          <a:pt x="272291" y="2781"/>
                          <a:pt x="280229" y="2781"/>
                        </a:cubicBezTo>
                        <a:cubicBezTo>
                          <a:pt x="288166" y="2781"/>
                          <a:pt x="290647" y="-2676"/>
                          <a:pt x="296599" y="3277"/>
                        </a:cubicBezTo>
                        <a:cubicBezTo>
                          <a:pt x="302553" y="9230"/>
                          <a:pt x="296103" y="11214"/>
                          <a:pt x="296103" y="19647"/>
                        </a:cubicBezTo>
                        <a:cubicBezTo>
                          <a:pt x="296103" y="28081"/>
                          <a:pt x="296599" y="28081"/>
                          <a:pt x="296599" y="36018"/>
                        </a:cubicBezTo>
                        <a:cubicBezTo>
                          <a:pt x="296599" y="44451"/>
                          <a:pt x="296103" y="44451"/>
                          <a:pt x="296103" y="52389"/>
                        </a:cubicBezTo>
                        <a:cubicBezTo>
                          <a:pt x="296103" y="60822"/>
                          <a:pt x="297592" y="60822"/>
                          <a:pt x="297592" y="68759"/>
                        </a:cubicBezTo>
                        <a:cubicBezTo>
                          <a:pt x="297592" y="77193"/>
                          <a:pt x="297592" y="77193"/>
                          <a:pt x="297592" y="85130"/>
                        </a:cubicBezTo>
                        <a:cubicBezTo>
                          <a:pt x="297592" y="93563"/>
                          <a:pt x="296599" y="93563"/>
                          <a:pt x="296599" y="101500"/>
                        </a:cubicBezTo>
                        <a:cubicBezTo>
                          <a:pt x="296599" y="109934"/>
                          <a:pt x="296103" y="109934"/>
                          <a:pt x="296103" y="117871"/>
                        </a:cubicBezTo>
                        <a:cubicBezTo>
                          <a:pt x="296103" y="126304"/>
                          <a:pt x="296103" y="126304"/>
                          <a:pt x="296103" y="134241"/>
                        </a:cubicBezTo>
                        <a:cubicBezTo>
                          <a:pt x="296103" y="142675"/>
                          <a:pt x="297592" y="142675"/>
                          <a:pt x="297592" y="150612"/>
                        </a:cubicBezTo>
                        <a:cubicBezTo>
                          <a:pt x="297592" y="159045"/>
                          <a:pt x="296599" y="159045"/>
                          <a:pt x="296599" y="166982"/>
                        </a:cubicBezTo>
                        <a:cubicBezTo>
                          <a:pt x="296599" y="175416"/>
                          <a:pt x="296103" y="175416"/>
                          <a:pt x="296103" y="183353"/>
                        </a:cubicBezTo>
                        <a:cubicBezTo>
                          <a:pt x="296103" y="191786"/>
                          <a:pt x="296103" y="191786"/>
                          <a:pt x="296103" y="199724"/>
                        </a:cubicBezTo>
                        <a:cubicBezTo>
                          <a:pt x="296103" y="208157"/>
                          <a:pt x="295607" y="208157"/>
                          <a:pt x="295607" y="216094"/>
                        </a:cubicBezTo>
                        <a:cubicBezTo>
                          <a:pt x="295607" y="224528"/>
                          <a:pt x="297095" y="224528"/>
                          <a:pt x="297095" y="232465"/>
                        </a:cubicBezTo>
                        <a:cubicBezTo>
                          <a:pt x="297095" y="240898"/>
                          <a:pt x="295607" y="240898"/>
                          <a:pt x="295607" y="248835"/>
                        </a:cubicBezTo>
                        <a:cubicBezTo>
                          <a:pt x="295607" y="257269"/>
                          <a:pt x="295607" y="257269"/>
                          <a:pt x="295607" y="265206"/>
                        </a:cubicBezTo>
                        <a:cubicBezTo>
                          <a:pt x="295607" y="273639"/>
                          <a:pt x="296103" y="273639"/>
                          <a:pt x="296103" y="281577"/>
                        </a:cubicBezTo>
                        <a:cubicBezTo>
                          <a:pt x="296103" y="289514"/>
                          <a:pt x="297095" y="290010"/>
                          <a:pt x="297095" y="297947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sp>
              <p:nvSpPr>
                <p:cNvPr id="1599" name="Freeform: Shape 1598">
                  <a:extLst>
                    <a:ext uri="{FF2B5EF4-FFF2-40B4-BE49-F238E27FC236}">
                      <a16:creationId xmlns:a16="http://schemas.microsoft.com/office/drawing/2014/main" id="{FECE4F92-732F-9D4B-D580-3667C15EC553}"/>
                    </a:ext>
                  </a:extLst>
                </p:cNvPr>
                <p:cNvSpPr/>
                <p:nvPr/>
              </p:nvSpPr>
              <p:spPr>
                <a:xfrm>
                  <a:off x="6208781" y="2495271"/>
                  <a:ext cx="2480" cy="294670"/>
                </a:xfrm>
                <a:custGeom>
                  <a:avLst/>
                  <a:gdLst>
                    <a:gd name="connsiteX0" fmla="*/ 1488 w 2480"/>
                    <a:gd name="connsiteY0" fmla="*/ 294670 h 294670"/>
                    <a:gd name="connsiteX1" fmla="*/ 2480 w 2480"/>
                    <a:gd name="connsiteY1" fmla="*/ 278300 h 294670"/>
                    <a:gd name="connsiteX2" fmla="*/ 1984 w 2480"/>
                    <a:gd name="connsiteY2" fmla="*/ 261929 h 294670"/>
                    <a:gd name="connsiteX3" fmla="*/ 2480 w 2480"/>
                    <a:gd name="connsiteY3" fmla="*/ 245559 h 294670"/>
                    <a:gd name="connsiteX4" fmla="*/ 1488 w 2480"/>
                    <a:gd name="connsiteY4" fmla="*/ 229188 h 294670"/>
                    <a:gd name="connsiteX5" fmla="*/ 2480 w 2480"/>
                    <a:gd name="connsiteY5" fmla="*/ 212818 h 294670"/>
                    <a:gd name="connsiteX6" fmla="*/ 992 w 2480"/>
                    <a:gd name="connsiteY6" fmla="*/ 196447 h 294670"/>
                    <a:gd name="connsiteX7" fmla="*/ 2480 w 2480"/>
                    <a:gd name="connsiteY7" fmla="*/ 180076 h 294670"/>
                    <a:gd name="connsiteX8" fmla="*/ 2480 w 2480"/>
                    <a:gd name="connsiteY8" fmla="*/ 163706 h 294670"/>
                    <a:gd name="connsiteX9" fmla="*/ 992 w 2480"/>
                    <a:gd name="connsiteY9" fmla="*/ 147335 h 294670"/>
                    <a:gd name="connsiteX10" fmla="*/ 2480 w 2480"/>
                    <a:gd name="connsiteY10" fmla="*/ 130965 h 294670"/>
                    <a:gd name="connsiteX11" fmla="*/ 992 w 2480"/>
                    <a:gd name="connsiteY11" fmla="*/ 114594 h 294670"/>
                    <a:gd name="connsiteX12" fmla="*/ 496 w 2480"/>
                    <a:gd name="connsiteY12" fmla="*/ 98223 h 294670"/>
                    <a:gd name="connsiteX13" fmla="*/ 496 w 2480"/>
                    <a:gd name="connsiteY13" fmla="*/ 81853 h 294670"/>
                    <a:gd name="connsiteX14" fmla="*/ 1984 w 2480"/>
                    <a:gd name="connsiteY14" fmla="*/ 65482 h 294670"/>
                    <a:gd name="connsiteX15" fmla="*/ 1984 w 2480"/>
                    <a:gd name="connsiteY15" fmla="*/ 49112 h 294670"/>
                    <a:gd name="connsiteX16" fmla="*/ 1984 w 2480"/>
                    <a:gd name="connsiteY16" fmla="*/ 32741 h 294670"/>
                    <a:gd name="connsiteX17" fmla="*/ 0 w 2480"/>
                    <a:gd name="connsiteY17" fmla="*/ 16371 h 294670"/>
                    <a:gd name="connsiteX18" fmla="*/ 1488 w 2480"/>
                    <a:gd name="connsiteY18" fmla="*/ 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480" h="294670">
                      <a:moveTo>
                        <a:pt x="1488" y="294670"/>
                      </a:moveTo>
                      <a:cubicBezTo>
                        <a:pt x="1488" y="286237"/>
                        <a:pt x="2480" y="286237"/>
                        <a:pt x="2480" y="278300"/>
                      </a:cubicBezTo>
                      <a:cubicBezTo>
                        <a:pt x="2480" y="269867"/>
                        <a:pt x="1984" y="269867"/>
                        <a:pt x="1984" y="261929"/>
                      </a:cubicBezTo>
                      <a:cubicBezTo>
                        <a:pt x="1984" y="253496"/>
                        <a:pt x="2480" y="253496"/>
                        <a:pt x="2480" y="245559"/>
                      </a:cubicBezTo>
                      <a:cubicBezTo>
                        <a:pt x="2480" y="237125"/>
                        <a:pt x="1488" y="237125"/>
                        <a:pt x="1488" y="229188"/>
                      </a:cubicBezTo>
                      <a:cubicBezTo>
                        <a:pt x="1488" y="220755"/>
                        <a:pt x="2480" y="220755"/>
                        <a:pt x="2480" y="212818"/>
                      </a:cubicBezTo>
                      <a:cubicBezTo>
                        <a:pt x="2480" y="204384"/>
                        <a:pt x="992" y="204384"/>
                        <a:pt x="992" y="196447"/>
                      </a:cubicBezTo>
                      <a:cubicBezTo>
                        <a:pt x="992" y="188014"/>
                        <a:pt x="2480" y="188014"/>
                        <a:pt x="2480" y="180076"/>
                      </a:cubicBezTo>
                      <a:cubicBezTo>
                        <a:pt x="2480" y="171643"/>
                        <a:pt x="2480" y="171643"/>
                        <a:pt x="2480" y="163706"/>
                      </a:cubicBezTo>
                      <a:cubicBezTo>
                        <a:pt x="2480" y="155272"/>
                        <a:pt x="992" y="155272"/>
                        <a:pt x="992" y="147335"/>
                      </a:cubicBezTo>
                      <a:cubicBezTo>
                        <a:pt x="992" y="138902"/>
                        <a:pt x="2480" y="138902"/>
                        <a:pt x="2480" y="130965"/>
                      </a:cubicBezTo>
                      <a:cubicBezTo>
                        <a:pt x="2480" y="122531"/>
                        <a:pt x="992" y="122531"/>
                        <a:pt x="992" y="114594"/>
                      </a:cubicBezTo>
                      <a:cubicBezTo>
                        <a:pt x="992" y="106161"/>
                        <a:pt x="496" y="106161"/>
                        <a:pt x="496" y="98223"/>
                      </a:cubicBezTo>
                      <a:cubicBezTo>
                        <a:pt x="496" y="89790"/>
                        <a:pt x="496" y="89790"/>
                        <a:pt x="496" y="81853"/>
                      </a:cubicBezTo>
                      <a:cubicBezTo>
                        <a:pt x="496" y="73419"/>
                        <a:pt x="1984" y="73419"/>
                        <a:pt x="1984" y="65482"/>
                      </a:cubicBezTo>
                      <a:cubicBezTo>
                        <a:pt x="1984" y="57049"/>
                        <a:pt x="1984" y="57049"/>
                        <a:pt x="1984" y="49112"/>
                      </a:cubicBezTo>
                      <a:cubicBezTo>
                        <a:pt x="1984" y="40678"/>
                        <a:pt x="1984" y="40678"/>
                        <a:pt x="1984" y="32741"/>
                      </a:cubicBezTo>
                      <a:cubicBezTo>
                        <a:pt x="1984" y="24308"/>
                        <a:pt x="0" y="24308"/>
                        <a:pt x="0" y="16371"/>
                      </a:cubicBezTo>
                      <a:cubicBezTo>
                        <a:pt x="0" y="8433"/>
                        <a:pt x="1488" y="7937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00" name="Freeform: Shape 1599">
                  <a:extLst>
                    <a:ext uri="{FF2B5EF4-FFF2-40B4-BE49-F238E27FC236}">
                      <a16:creationId xmlns:a16="http://schemas.microsoft.com/office/drawing/2014/main" id="{01879ED0-5AAB-F628-9326-C91AE2CEEB50}"/>
                    </a:ext>
                  </a:extLst>
                </p:cNvPr>
                <p:cNvSpPr/>
                <p:nvPr/>
              </p:nvSpPr>
              <p:spPr>
                <a:xfrm>
                  <a:off x="6255413" y="2493287"/>
                  <a:ext cx="1983" cy="294670"/>
                </a:xfrm>
                <a:custGeom>
                  <a:avLst/>
                  <a:gdLst>
                    <a:gd name="connsiteX0" fmla="*/ 0 w 1983"/>
                    <a:gd name="connsiteY0" fmla="*/ 0 h 294670"/>
                    <a:gd name="connsiteX1" fmla="*/ 1488 w 1983"/>
                    <a:gd name="connsiteY1" fmla="*/ 16371 h 294670"/>
                    <a:gd name="connsiteX2" fmla="*/ 1488 w 1983"/>
                    <a:gd name="connsiteY2" fmla="*/ 32741 h 294670"/>
                    <a:gd name="connsiteX3" fmla="*/ 496 w 1983"/>
                    <a:gd name="connsiteY3" fmla="*/ 49112 h 294670"/>
                    <a:gd name="connsiteX4" fmla="*/ 496 w 1983"/>
                    <a:gd name="connsiteY4" fmla="*/ 65482 h 294670"/>
                    <a:gd name="connsiteX5" fmla="*/ 0 w 1983"/>
                    <a:gd name="connsiteY5" fmla="*/ 81853 h 294670"/>
                    <a:gd name="connsiteX6" fmla="*/ 992 w 1983"/>
                    <a:gd name="connsiteY6" fmla="*/ 98224 h 294670"/>
                    <a:gd name="connsiteX7" fmla="*/ 992 w 1983"/>
                    <a:gd name="connsiteY7" fmla="*/ 114594 h 294670"/>
                    <a:gd name="connsiteX8" fmla="*/ 1488 w 1983"/>
                    <a:gd name="connsiteY8" fmla="*/ 130965 h 294670"/>
                    <a:gd name="connsiteX9" fmla="*/ 496 w 1983"/>
                    <a:gd name="connsiteY9" fmla="*/ 147335 h 294670"/>
                    <a:gd name="connsiteX10" fmla="*/ 0 w 1983"/>
                    <a:gd name="connsiteY10" fmla="*/ 163706 h 294670"/>
                    <a:gd name="connsiteX11" fmla="*/ 1488 w 1983"/>
                    <a:gd name="connsiteY11" fmla="*/ 180076 h 294670"/>
                    <a:gd name="connsiteX12" fmla="*/ 1488 w 1983"/>
                    <a:gd name="connsiteY12" fmla="*/ 196447 h 294670"/>
                    <a:gd name="connsiteX13" fmla="*/ 496 w 1983"/>
                    <a:gd name="connsiteY13" fmla="*/ 212817 h 294670"/>
                    <a:gd name="connsiteX14" fmla="*/ 1984 w 1983"/>
                    <a:gd name="connsiteY14" fmla="*/ 229188 h 294670"/>
                    <a:gd name="connsiteX15" fmla="*/ 0 w 1983"/>
                    <a:gd name="connsiteY15" fmla="*/ 245558 h 294670"/>
                    <a:gd name="connsiteX16" fmla="*/ 992 w 1983"/>
                    <a:gd name="connsiteY16" fmla="*/ 261929 h 294670"/>
                    <a:gd name="connsiteX17" fmla="*/ 1488 w 1983"/>
                    <a:gd name="connsiteY17" fmla="*/ 278300 h 294670"/>
                    <a:gd name="connsiteX18" fmla="*/ 1984 w 1983"/>
                    <a:gd name="connsiteY18" fmla="*/ 29467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983" h="29467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371"/>
                      </a:cubicBezTo>
                      <a:cubicBezTo>
                        <a:pt x="1488" y="24804"/>
                        <a:pt x="1488" y="24804"/>
                        <a:pt x="1488" y="32741"/>
                      </a:cubicBezTo>
                      <a:cubicBezTo>
                        <a:pt x="1488" y="41174"/>
                        <a:pt x="496" y="41174"/>
                        <a:pt x="496" y="49112"/>
                      </a:cubicBezTo>
                      <a:cubicBezTo>
                        <a:pt x="496" y="57545"/>
                        <a:pt x="496" y="57545"/>
                        <a:pt x="496" y="65482"/>
                      </a:cubicBezTo>
                      <a:cubicBezTo>
                        <a:pt x="496" y="73916"/>
                        <a:pt x="0" y="73916"/>
                        <a:pt x="0" y="81853"/>
                      </a:cubicBezTo>
                      <a:cubicBezTo>
                        <a:pt x="0" y="90286"/>
                        <a:pt x="992" y="90286"/>
                        <a:pt x="992" y="98224"/>
                      </a:cubicBezTo>
                      <a:cubicBezTo>
                        <a:pt x="992" y="106657"/>
                        <a:pt x="992" y="106657"/>
                        <a:pt x="992" y="114594"/>
                      </a:cubicBezTo>
                      <a:cubicBezTo>
                        <a:pt x="992" y="123027"/>
                        <a:pt x="1488" y="123027"/>
                        <a:pt x="1488" y="130965"/>
                      </a:cubicBezTo>
                      <a:cubicBezTo>
                        <a:pt x="1488" y="139398"/>
                        <a:pt x="496" y="139398"/>
                        <a:pt x="496" y="147335"/>
                      </a:cubicBezTo>
                      <a:cubicBezTo>
                        <a:pt x="496" y="155768"/>
                        <a:pt x="0" y="155768"/>
                        <a:pt x="0" y="163706"/>
                      </a:cubicBezTo>
                      <a:cubicBezTo>
                        <a:pt x="0" y="172139"/>
                        <a:pt x="1488" y="172139"/>
                        <a:pt x="1488" y="180076"/>
                      </a:cubicBezTo>
                      <a:cubicBezTo>
                        <a:pt x="1488" y="188509"/>
                        <a:pt x="1488" y="188509"/>
                        <a:pt x="1488" y="196447"/>
                      </a:cubicBezTo>
                      <a:cubicBezTo>
                        <a:pt x="1488" y="204880"/>
                        <a:pt x="496" y="204880"/>
                        <a:pt x="496" y="212817"/>
                      </a:cubicBezTo>
                      <a:cubicBezTo>
                        <a:pt x="496" y="221251"/>
                        <a:pt x="1984" y="221251"/>
                        <a:pt x="1984" y="229188"/>
                      </a:cubicBezTo>
                      <a:cubicBezTo>
                        <a:pt x="1984" y="237621"/>
                        <a:pt x="0" y="237621"/>
                        <a:pt x="0" y="245558"/>
                      </a:cubicBezTo>
                      <a:cubicBezTo>
                        <a:pt x="0" y="253992"/>
                        <a:pt x="992" y="253992"/>
                        <a:pt x="992" y="261929"/>
                      </a:cubicBezTo>
                      <a:cubicBezTo>
                        <a:pt x="992" y="270362"/>
                        <a:pt x="1488" y="270362"/>
                        <a:pt x="1488" y="278300"/>
                      </a:cubicBezTo>
                      <a:cubicBezTo>
                        <a:pt x="1488" y="286237"/>
                        <a:pt x="1984" y="286733"/>
                        <a:pt x="1984" y="29467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574" name="Graphic 10">
                <a:extLst>
                  <a:ext uri="{FF2B5EF4-FFF2-40B4-BE49-F238E27FC236}">
                    <a16:creationId xmlns:a16="http://schemas.microsoft.com/office/drawing/2014/main" id="{F5C95152-F50C-842C-D5EF-15A425BF216A}"/>
                  </a:ext>
                </a:extLst>
              </p:cNvPr>
              <p:cNvGrpSpPr/>
              <p:nvPr/>
            </p:nvGrpSpPr>
            <p:grpSpPr>
              <a:xfrm>
                <a:off x="5992987" y="2786965"/>
                <a:ext cx="483180" cy="232660"/>
                <a:chOff x="5992987" y="2786965"/>
                <a:chExt cx="483180" cy="232660"/>
              </a:xfrm>
              <a:noFill/>
            </p:grpSpPr>
            <p:sp>
              <p:nvSpPr>
                <p:cNvPr id="1575" name="Freeform: Shape 1574">
                  <a:extLst>
                    <a:ext uri="{FF2B5EF4-FFF2-40B4-BE49-F238E27FC236}">
                      <a16:creationId xmlns:a16="http://schemas.microsoft.com/office/drawing/2014/main" id="{A457BA4C-D76C-C6A7-4D85-ED2657748C62}"/>
                    </a:ext>
                  </a:extLst>
                </p:cNvPr>
                <p:cNvSpPr/>
                <p:nvPr/>
              </p:nvSpPr>
              <p:spPr>
                <a:xfrm>
                  <a:off x="6003731" y="2980436"/>
                  <a:ext cx="463721" cy="39190"/>
                </a:xfrm>
                <a:custGeom>
                  <a:avLst/>
                  <a:gdLst>
                    <a:gd name="connsiteX0" fmla="*/ 447136 w 463721"/>
                    <a:gd name="connsiteY0" fmla="*/ 36710 h 39190"/>
                    <a:gd name="connsiteX1" fmla="*/ 454577 w 463721"/>
                    <a:gd name="connsiteY1" fmla="*/ 25300 h 39190"/>
                    <a:gd name="connsiteX2" fmla="*/ 461026 w 463721"/>
                    <a:gd name="connsiteY2" fmla="*/ 13394 h 39190"/>
                    <a:gd name="connsiteX3" fmla="*/ 461522 w 463721"/>
                    <a:gd name="connsiteY3" fmla="*/ 1984 h 39190"/>
                    <a:gd name="connsiteX4" fmla="*/ 444655 w 463721"/>
                    <a:gd name="connsiteY4" fmla="*/ 1984 h 39190"/>
                    <a:gd name="connsiteX5" fmla="*/ 428285 w 463721"/>
                    <a:gd name="connsiteY5" fmla="*/ 3473 h 39190"/>
                    <a:gd name="connsiteX6" fmla="*/ 411914 w 463721"/>
                    <a:gd name="connsiteY6" fmla="*/ 3968 h 39190"/>
                    <a:gd name="connsiteX7" fmla="*/ 395544 w 463721"/>
                    <a:gd name="connsiteY7" fmla="*/ 3473 h 39190"/>
                    <a:gd name="connsiteX8" fmla="*/ 379173 w 463721"/>
                    <a:gd name="connsiteY8" fmla="*/ 1984 h 39190"/>
                    <a:gd name="connsiteX9" fmla="*/ 362802 w 463721"/>
                    <a:gd name="connsiteY9" fmla="*/ 2480 h 39190"/>
                    <a:gd name="connsiteX10" fmla="*/ 346432 w 463721"/>
                    <a:gd name="connsiteY10" fmla="*/ 3473 h 39190"/>
                    <a:gd name="connsiteX11" fmla="*/ 330061 w 463721"/>
                    <a:gd name="connsiteY11" fmla="*/ 3968 h 39190"/>
                    <a:gd name="connsiteX12" fmla="*/ 313691 w 463721"/>
                    <a:gd name="connsiteY12" fmla="*/ 3968 h 39190"/>
                    <a:gd name="connsiteX13" fmla="*/ 297320 w 463721"/>
                    <a:gd name="connsiteY13" fmla="*/ 3473 h 39190"/>
                    <a:gd name="connsiteX14" fmla="*/ 280949 w 463721"/>
                    <a:gd name="connsiteY14" fmla="*/ 2480 h 39190"/>
                    <a:gd name="connsiteX15" fmla="*/ 264579 w 463721"/>
                    <a:gd name="connsiteY15" fmla="*/ 3968 h 39190"/>
                    <a:gd name="connsiteX16" fmla="*/ 248208 w 463721"/>
                    <a:gd name="connsiteY16" fmla="*/ 3473 h 39190"/>
                    <a:gd name="connsiteX17" fmla="*/ 231838 w 463721"/>
                    <a:gd name="connsiteY17" fmla="*/ 4465 h 39190"/>
                    <a:gd name="connsiteX18" fmla="*/ 215467 w 463721"/>
                    <a:gd name="connsiteY18" fmla="*/ 3473 h 39190"/>
                    <a:gd name="connsiteX19" fmla="*/ 199097 w 463721"/>
                    <a:gd name="connsiteY19" fmla="*/ 2977 h 39190"/>
                    <a:gd name="connsiteX20" fmla="*/ 182726 w 463721"/>
                    <a:gd name="connsiteY20" fmla="*/ 3968 h 39190"/>
                    <a:gd name="connsiteX21" fmla="*/ 166356 w 463721"/>
                    <a:gd name="connsiteY21" fmla="*/ 3473 h 39190"/>
                    <a:gd name="connsiteX22" fmla="*/ 149985 w 463721"/>
                    <a:gd name="connsiteY22" fmla="*/ 1984 h 39190"/>
                    <a:gd name="connsiteX23" fmla="*/ 133614 w 463721"/>
                    <a:gd name="connsiteY23" fmla="*/ 1984 h 39190"/>
                    <a:gd name="connsiteX24" fmla="*/ 117244 w 463721"/>
                    <a:gd name="connsiteY24" fmla="*/ 2977 h 39190"/>
                    <a:gd name="connsiteX25" fmla="*/ 100873 w 463721"/>
                    <a:gd name="connsiteY25" fmla="*/ 3473 h 39190"/>
                    <a:gd name="connsiteX26" fmla="*/ 84503 w 463721"/>
                    <a:gd name="connsiteY26" fmla="*/ 3968 h 39190"/>
                    <a:gd name="connsiteX27" fmla="*/ 68132 w 463721"/>
                    <a:gd name="connsiteY27" fmla="*/ 3473 h 39190"/>
                    <a:gd name="connsiteX28" fmla="*/ 51762 w 463721"/>
                    <a:gd name="connsiteY28" fmla="*/ 2977 h 39190"/>
                    <a:gd name="connsiteX29" fmla="*/ 35391 w 463721"/>
                    <a:gd name="connsiteY29" fmla="*/ 2977 h 39190"/>
                    <a:gd name="connsiteX30" fmla="*/ 19021 w 463721"/>
                    <a:gd name="connsiteY30" fmla="*/ 3473 h 39190"/>
                    <a:gd name="connsiteX31" fmla="*/ 2154 w 463721"/>
                    <a:gd name="connsiteY31" fmla="*/ 2480 h 39190"/>
                    <a:gd name="connsiteX32" fmla="*/ 3642 w 463721"/>
                    <a:gd name="connsiteY32" fmla="*/ 13890 h 39190"/>
                    <a:gd name="connsiteX33" fmla="*/ 13067 w 463721"/>
                    <a:gd name="connsiteY33" fmla="*/ 25300 h 39190"/>
                    <a:gd name="connsiteX34" fmla="*/ 22989 w 463721"/>
                    <a:gd name="connsiteY34" fmla="*/ 36710 h 39190"/>
                    <a:gd name="connsiteX35" fmla="*/ 37375 w 463721"/>
                    <a:gd name="connsiteY35" fmla="*/ 38694 h 39190"/>
                    <a:gd name="connsiteX36" fmla="*/ 52258 w 463721"/>
                    <a:gd name="connsiteY36" fmla="*/ 38694 h 39190"/>
                    <a:gd name="connsiteX37" fmla="*/ 67140 w 463721"/>
                    <a:gd name="connsiteY37" fmla="*/ 39190 h 39190"/>
                    <a:gd name="connsiteX38" fmla="*/ 82022 w 463721"/>
                    <a:gd name="connsiteY38" fmla="*/ 38198 h 39190"/>
                    <a:gd name="connsiteX39" fmla="*/ 96905 w 463721"/>
                    <a:gd name="connsiteY39" fmla="*/ 38694 h 39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463721" h="39190">
                      <a:moveTo>
                        <a:pt x="447136" y="36710"/>
                      </a:moveTo>
                      <a:cubicBezTo>
                        <a:pt x="450608" y="30757"/>
                        <a:pt x="451104" y="31253"/>
                        <a:pt x="454577" y="25300"/>
                      </a:cubicBezTo>
                      <a:cubicBezTo>
                        <a:pt x="458050" y="19347"/>
                        <a:pt x="459041" y="19843"/>
                        <a:pt x="461026" y="13394"/>
                      </a:cubicBezTo>
                      <a:cubicBezTo>
                        <a:pt x="462514" y="7937"/>
                        <a:pt x="465987" y="4961"/>
                        <a:pt x="461522" y="1984"/>
                      </a:cubicBezTo>
                      <a:cubicBezTo>
                        <a:pt x="454577" y="-2480"/>
                        <a:pt x="453089" y="1984"/>
                        <a:pt x="444655" y="1984"/>
                      </a:cubicBezTo>
                      <a:cubicBezTo>
                        <a:pt x="436222" y="1984"/>
                        <a:pt x="436222" y="3473"/>
                        <a:pt x="428285" y="3473"/>
                      </a:cubicBezTo>
                      <a:cubicBezTo>
                        <a:pt x="419851" y="3473"/>
                        <a:pt x="419851" y="3968"/>
                        <a:pt x="411914" y="3968"/>
                      </a:cubicBezTo>
                      <a:cubicBezTo>
                        <a:pt x="403481" y="3968"/>
                        <a:pt x="403481" y="3473"/>
                        <a:pt x="395544" y="3473"/>
                      </a:cubicBezTo>
                      <a:cubicBezTo>
                        <a:pt x="387110" y="3473"/>
                        <a:pt x="387110" y="1984"/>
                        <a:pt x="379173" y="1984"/>
                      </a:cubicBezTo>
                      <a:cubicBezTo>
                        <a:pt x="370740" y="1984"/>
                        <a:pt x="370740" y="2480"/>
                        <a:pt x="362802" y="2480"/>
                      </a:cubicBezTo>
                      <a:cubicBezTo>
                        <a:pt x="354369" y="2480"/>
                        <a:pt x="354369" y="3473"/>
                        <a:pt x="346432" y="3473"/>
                      </a:cubicBezTo>
                      <a:cubicBezTo>
                        <a:pt x="337998" y="3473"/>
                        <a:pt x="337998" y="3968"/>
                        <a:pt x="330061" y="3968"/>
                      </a:cubicBezTo>
                      <a:cubicBezTo>
                        <a:pt x="321628" y="3968"/>
                        <a:pt x="321628" y="3968"/>
                        <a:pt x="313691" y="3968"/>
                      </a:cubicBezTo>
                      <a:cubicBezTo>
                        <a:pt x="305257" y="3968"/>
                        <a:pt x="305257" y="3473"/>
                        <a:pt x="297320" y="3473"/>
                      </a:cubicBezTo>
                      <a:cubicBezTo>
                        <a:pt x="288887" y="3473"/>
                        <a:pt x="288887" y="2480"/>
                        <a:pt x="280949" y="2480"/>
                      </a:cubicBezTo>
                      <a:cubicBezTo>
                        <a:pt x="272516" y="2480"/>
                        <a:pt x="272516" y="3968"/>
                        <a:pt x="264579" y="3968"/>
                      </a:cubicBezTo>
                      <a:cubicBezTo>
                        <a:pt x="256145" y="3968"/>
                        <a:pt x="256145" y="3473"/>
                        <a:pt x="248208" y="3473"/>
                      </a:cubicBezTo>
                      <a:cubicBezTo>
                        <a:pt x="239775" y="3473"/>
                        <a:pt x="239775" y="4465"/>
                        <a:pt x="231838" y="4465"/>
                      </a:cubicBezTo>
                      <a:cubicBezTo>
                        <a:pt x="223404" y="4465"/>
                        <a:pt x="223404" y="3473"/>
                        <a:pt x="215467" y="3473"/>
                      </a:cubicBezTo>
                      <a:cubicBezTo>
                        <a:pt x="207034" y="3473"/>
                        <a:pt x="207034" y="2977"/>
                        <a:pt x="199097" y="2977"/>
                      </a:cubicBezTo>
                      <a:cubicBezTo>
                        <a:pt x="190663" y="2977"/>
                        <a:pt x="190663" y="3968"/>
                        <a:pt x="182726" y="3968"/>
                      </a:cubicBezTo>
                      <a:cubicBezTo>
                        <a:pt x="174293" y="3968"/>
                        <a:pt x="174293" y="3473"/>
                        <a:pt x="166356" y="3473"/>
                      </a:cubicBezTo>
                      <a:cubicBezTo>
                        <a:pt x="157922" y="3473"/>
                        <a:pt x="157922" y="1984"/>
                        <a:pt x="149985" y="1984"/>
                      </a:cubicBezTo>
                      <a:cubicBezTo>
                        <a:pt x="141552" y="1984"/>
                        <a:pt x="141552" y="1984"/>
                        <a:pt x="133614" y="1984"/>
                      </a:cubicBezTo>
                      <a:cubicBezTo>
                        <a:pt x="125181" y="1984"/>
                        <a:pt x="125181" y="2977"/>
                        <a:pt x="117244" y="2977"/>
                      </a:cubicBezTo>
                      <a:cubicBezTo>
                        <a:pt x="108811" y="2977"/>
                        <a:pt x="108811" y="3473"/>
                        <a:pt x="100873" y="3473"/>
                      </a:cubicBezTo>
                      <a:cubicBezTo>
                        <a:pt x="92440" y="3473"/>
                        <a:pt x="92440" y="3968"/>
                        <a:pt x="84503" y="3968"/>
                      </a:cubicBezTo>
                      <a:cubicBezTo>
                        <a:pt x="76070" y="3968"/>
                        <a:pt x="76070" y="3473"/>
                        <a:pt x="68132" y="3473"/>
                      </a:cubicBezTo>
                      <a:cubicBezTo>
                        <a:pt x="59699" y="3473"/>
                        <a:pt x="59699" y="2977"/>
                        <a:pt x="51762" y="2977"/>
                      </a:cubicBezTo>
                      <a:cubicBezTo>
                        <a:pt x="43329" y="2977"/>
                        <a:pt x="43329" y="2977"/>
                        <a:pt x="35391" y="2977"/>
                      </a:cubicBezTo>
                      <a:cubicBezTo>
                        <a:pt x="26958" y="2977"/>
                        <a:pt x="26958" y="3473"/>
                        <a:pt x="19021" y="3473"/>
                      </a:cubicBezTo>
                      <a:cubicBezTo>
                        <a:pt x="10587" y="3473"/>
                        <a:pt x="8603" y="-2480"/>
                        <a:pt x="2154" y="2480"/>
                      </a:cubicBezTo>
                      <a:cubicBezTo>
                        <a:pt x="-2311" y="5457"/>
                        <a:pt x="1162" y="8929"/>
                        <a:pt x="3642" y="13890"/>
                      </a:cubicBezTo>
                      <a:cubicBezTo>
                        <a:pt x="6619" y="20835"/>
                        <a:pt x="8107" y="19843"/>
                        <a:pt x="13067" y="25300"/>
                      </a:cubicBezTo>
                      <a:cubicBezTo>
                        <a:pt x="18028" y="31253"/>
                        <a:pt x="16044" y="33237"/>
                        <a:pt x="22989" y="36710"/>
                      </a:cubicBezTo>
                      <a:cubicBezTo>
                        <a:pt x="29934" y="39686"/>
                        <a:pt x="29934" y="38694"/>
                        <a:pt x="37375" y="38694"/>
                      </a:cubicBezTo>
                      <a:cubicBezTo>
                        <a:pt x="44816" y="38694"/>
                        <a:pt x="44816" y="38694"/>
                        <a:pt x="52258" y="38694"/>
                      </a:cubicBezTo>
                      <a:cubicBezTo>
                        <a:pt x="59699" y="38694"/>
                        <a:pt x="59699" y="39190"/>
                        <a:pt x="67140" y="39190"/>
                      </a:cubicBezTo>
                      <a:cubicBezTo>
                        <a:pt x="74581" y="39190"/>
                        <a:pt x="74581" y="38198"/>
                        <a:pt x="82022" y="38198"/>
                      </a:cubicBezTo>
                      <a:cubicBezTo>
                        <a:pt x="89463" y="38198"/>
                        <a:pt x="89463" y="38694"/>
                        <a:pt x="96905" y="38694"/>
                      </a:cubicBezTo>
                    </a:path>
                  </a:pathLst>
                </a:custGeom>
                <a:solidFill>
                  <a:srgbClr val="B6C2D6"/>
                </a:solidFill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576" name="Freeform: Shape 1575">
                  <a:extLst>
                    <a:ext uri="{FF2B5EF4-FFF2-40B4-BE49-F238E27FC236}">
                      <a16:creationId xmlns:a16="http://schemas.microsoft.com/office/drawing/2014/main" id="{7CB34D15-2D57-C307-FAE1-BF7724237AA0}"/>
                    </a:ext>
                  </a:extLst>
                </p:cNvPr>
                <p:cNvSpPr/>
                <p:nvPr/>
              </p:nvSpPr>
              <p:spPr>
                <a:xfrm>
                  <a:off x="5992987" y="2786965"/>
                  <a:ext cx="483180" cy="26788"/>
                </a:xfrm>
                <a:custGeom>
                  <a:avLst/>
                  <a:gdLst>
                    <a:gd name="connsiteX0" fmla="*/ 470282 w 483180"/>
                    <a:gd name="connsiteY0" fmla="*/ 25796 h 26788"/>
                    <a:gd name="connsiteX1" fmla="*/ 453911 w 483180"/>
                    <a:gd name="connsiteY1" fmla="*/ 25300 h 26788"/>
                    <a:gd name="connsiteX2" fmla="*/ 437541 w 483180"/>
                    <a:gd name="connsiteY2" fmla="*/ 26788 h 26788"/>
                    <a:gd name="connsiteX3" fmla="*/ 421170 w 483180"/>
                    <a:gd name="connsiteY3" fmla="*/ 26292 h 26788"/>
                    <a:gd name="connsiteX4" fmla="*/ 404799 w 483180"/>
                    <a:gd name="connsiteY4" fmla="*/ 25796 h 26788"/>
                    <a:gd name="connsiteX5" fmla="*/ 388429 w 483180"/>
                    <a:gd name="connsiteY5" fmla="*/ 26788 h 26788"/>
                    <a:gd name="connsiteX6" fmla="*/ 372058 w 483180"/>
                    <a:gd name="connsiteY6" fmla="*/ 25796 h 26788"/>
                    <a:gd name="connsiteX7" fmla="*/ 355688 w 483180"/>
                    <a:gd name="connsiteY7" fmla="*/ 25796 h 26788"/>
                    <a:gd name="connsiteX8" fmla="*/ 339317 w 483180"/>
                    <a:gd name="connsiteY8" fmla="*/ 26788 h 26788"/>
                    <a:gd name="connsiteX9" fmla="*/ 322947 w 483180"/>
                    <a:gd name="connsiteY9" fmla="*/ 25796 h 26788"/>
                    <a:gd name="connsiteX10" fmla="*/ 306576 w 483180"/>
                    <a:gd name="connsiteY10" fmla="*/ 26292 h 26788"/>
                    <a:gd name="connsiteX11" fmla="*/ 290206 w 483180"/>
                    <a:gd name="connsiteY11" fmla="*/ 25796 h 26788"/>
                    <a:gd name="connsiteX12" fmla="*/ 273835 w 483180"/>
                    <a:gd name="connsiteY12" fmla="*/ 26788 h 26788"/>
                    <a:gd name="connsiteX13" fmla="*/ 257465 w 483180"/>
                    <a:gd name="connsiteY13" fmla="*/ 26292 h 26788"/>
                    <a:gd name="connsiteX14" fmla="*/ 241094 w 483180"/>
                    <a:gd name="connsiteY14" fmla="*/ 25300 h 26788"/>
                    <a:gd name="connsiteX15" fmla="*/ 224723 w 483180"/>
                    <a:gd name="connsiteY15" fmla="*/ 26788 h 26788"/>
                    <a:gd name="connsiteX16" fmla="*/ 208353 w 483180"/>
                    <a:gd name="connsiteY16" fmla="*/ 25300 h 26788"/>
                    <a:gd name="connsiteX17" fmla="*/ 191982 w 483180"/>
                    <a:gd name="connsiteY17" fmla="*/ 25300 h 26788"/>
                    <a:gd name="connsiteX18" fmla="*/ 175612 w 483180"/>
                    <a:gd name="connsiteY18" fmla="*/ 25300 h 26788"/>
                    <a:gd name="connsiteX19" fmla="*/ 159241 w 483180"/>
                    <a:gd name="connsiteY19" fmla="*/ 25796 h 26788"/>
                    <a:gd name="connsiteX20" fmla="*/ 142870 w 483180"/>
                    <a:gd name="connsiteY20" fmla="*/ 25300 h 26788"/>
                    <a:gd name="connsiteX21" fmla="*/ 126500 w 483180"/>
                    <a:gd name="connsiteY21" fmla="*/ 26292 h 26788"/>
                    <a:gd name="connsiteX22" fmla="*/ 110129 w 483180"/>
                    <a:gd name="connsiteY22" fmla="*/ 25796 h 26788"/>
                    <a:gd name="connsiteX23" fmla="*/ 93759 w 483180"/>
                    <a:gd name="connsiteY23" fmla="*/ 25796 h 26788"/>
                    <a:gd name="connsiteX24" fmla="*/ 77388 w 483180"/>
                    <a:gd name="connsiteY24" fmla="*/ 25300 h 26788"/>
                    <a:gd name="connsiteX25" fmla="*/ 61017 w 483180"/>
                    <a:gd name="connsiteY25" fmla="*/ 25796 h 26788"/>
                    <a:gd name="connsiteX26" fmla="*/ 44647 w 483180"/>
                    <a:gd name="connsiteY26" fmla="*/ 25796 h 26788"/>
                    <a:gd name="connsiteX27" fmla="*/ 28276 w 483180"/>
                    <a:gd name="connsiteY27" fmla="*/ 25796 h 26788"/>
                    <a:gd name="connsiteX28" fmla="*/ 11906 w 483180"/>
                    <a:gd name="connsiteY28" fmla="*/ 26788 h 26788"/>
                    <a:gd name="connsiteX29" fmla="*/ 0 w 483180"/>
                    <a:gd name="connsiteY29" fmla="*/ 14386 h 26788"/>
                    <a:gd name="connsiteX30" fmla="*/ 992 w 483180"/>
                    <a:gd name="connsiteY30" fmla="*/ 14386 h 26788"/>
                    <a:gd name="connsiteX31" fmla="*/ 12402 w 483180"/>
                    <a:gd name="connsiteY31" fmla="*/ 3969 h 26788"/>
                    <a:gd name="connsiteX32" fmla="*/ 28772 w 483180"/>
                    <a:gd name="connsiteY32" fmla="*/ 2480 h 26788"/>
                    <a:gd name="connsiteX33" fmla="*/ 45143 w 483180"/>
                    <a:gd name="connsiteY33" fmla="*/ 3473 h 26788"/>
                    <a:gd name="connsiteX34" fmla="*/ 61514 w 483180"/>
                    <a:gd name="connsiteY34" fmla="*/ 2480 h 26788"/>
                    <a:gd name="connsiteX35" fmla="*/ 77884 w 483180"/>
                    <a:gd name="connsiteY35" fmla="*/ 1984 h 26788"/>
                    <a:gd name="connsiteX36" fmla="*/ 94255 w 483180"/>
                    <a:gd name="connsiteY36" fmla="*/ 1984 h 26788"/>
                    <a:gd name="connsiteX37" fmla="*/ 110625 w 483180"/>
                    <a:gd name="connsiteY37" fmla="*/ 1488 h 26788"/>
                    <a:gd name="connsiteX38" fmla="*/ 126996 w 483180"/>
                    <a:gd name="connsiteY38" fmla="*/ 2977 h 26788"/>
                    <a:gd name="connsiteX39" fmla="*/ 143367 w 483180"/>
                    <a:gd name="connsiteY39" fmla="*/ 2977 h 26788"/>
                    <a:gd name="connsiteX40" fmla="*/ 159737 w 483180"/>
                    <a:gd name="connsiteY40" fmla="*/ 3473 h 26788"/>
                    <a:gd name="connsiteX41" fmla="*/ 176108 w 483180"/>
                    <a:gd name="connsiteY41" fmla="*/ 1984 h 26788"/>
                    <a:gd name="connsiteX42" fmla="*/ 192478 w 483180"/>
                    <a:gd name="connsiteY42" fmla="*/ 992 h 26788"/>
                    <a:gd name="connsiteX43" fmla="*/ 208849 w 483180"/>
                    <a:gd name="connsiteY43" fmla="*/ 2480 h 26788"/>
                    <a:gd name="connsiteX44" fmla="*/ 225220 w 483180"/>
                    <a:gd name="connsiteY44" fmla="*/ 1488 h 26788"/>
                    <a:gd name="connsiteX45" fmla="*/ 241590 w 483180"/>
                    <a:gd name="connsiteY45" fmla="*/ 2977 h 26788"/>
                    <a:gd name="connsiteX46" fmla="*/ 257961 w 483180"/>
                    <a:gd name="connsiteY46" fmla="*/ 2977 h 26788"/>
                    <a:gd name="connsiteX47" fmla="*/ 274331 w 483180"/>
                    <a:gd name="connsiteY47" fmla="*/ 2977 h 26788"/>
                    <a:gd name="connsiteX48" fmla="*/ 290702 w 483180"/>
                    <a:gd name="connsiteY48" fmla="*/ 1488 h 26788"/>
                    <a:gd name="connsiteX49" fmla="*/ 307072 w 483180"/>
                    <a:gd name="connsiteY49" fmla="*/ 496 h 26788"/>
                    <a:gd name="connsiteX50" fmla="*/ 323443 w 483180"/>
                    <a:gd name="connsiteY50" fmla="*/ 496 h 26788"/>
                    <a:gd name="connsiteX51" fmla="*/ 339813 w 483180"/>
                    <a:gd name="connsiteY51" fmla="*/ 1984 h 26788"/>
                    <a:gd name="connsiteX52" fmla="*/ 356184 w 483180"/>
                    <a:gd name="connsiteY52" fmla="*/ 992 h 26788"/>
                    <a:gd name="connsiteX53" fmla="*/ 372554 w 483180"/>
                    <a:gd name="connsiteY53" fmla="*/ 2480 h 26788"/>
                    <a:gd name="connsiteX54" fmla="*/ 388925 w 483180"/>
                    <a:gd name="connsiteY54" fmla="*/ 1488 h 26788"/>
                    <a:gd name="connsiteX55" fmla="*/ 405295 w 483180"/>
                    <a:gd name="connsiteY55" fmla="*/ 496 h 26788"/>
                    <a:gd name="connsiteX56" fmla="*/ 421666 w 483180"/>
                    <a:gd name="connsiteY56" fmla="*/ 0 h 26788"/>
                    <a:gd name="connsiteX57" fmla="*/ 438036 w 483180"/>
                    <a:gd name="connsiteY57" fmla="*/ 496 h 26788"/>
                    <a:gd name="connsiteX58" fmla="*/ 454407 w 483180"/>
                    <a:gd name="connsiteY58" fmla="*/ 1488 h 26788"/>
                    <a:gd name="connsiteX59" fmla="*/ 470778 w 483180"/>
                    <a:gd name="connsiteY59" fmla="*/ 992 h 26788"/>
                    <a:gd name="connsiteX60" fmla="*/ 483180 w 483180"/>
                    <a:gd name="connsiteY60" fmla="*/ 12402 h 26788"/>
                    <a:gd name="connsiteX61" fmla="*/ 482188 w 483180"/>
                    <a:gd name="connsiteY61" fmla="*/ 12402 h 26788"/>
                    <a:gd name="connsiteX62" fmla="*/ 470282 w 483180"/>
                    <a:gd name="connsiteY62" fmla="*/ 25796 h 26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483180" h="26788">
                      <a:moveTo>
                        <a:pt x="470282" y="25796"/>
                      </a:moveTo>
                      <a:cubicBezTo>
                        <a:pt x="461848" y="25796"/>
                        <a:pt x="461848" y="25300"/>
                        <a:pt x="453911" y="25300"/>
                      </a:cubicBezTo>
                      <a:cubicBezTo>
                        <a:pt x="445478" y="25300"/>
                        <a:pt x="445478" y="26788"/>
                        <a:pt x="437541" y="26788"/>
                      </a:cubicBezTo>
                      <a:cubicBezTo>
                        <a:pt x="429107" y="26788"/>
                        <a:pt x="429107" y="26292"/>
                        <a:pt x="421170" y="26292"/>
                      </a:cubicBezTo>
                      <a:cubicBezTo>
                        <a:pt x="412737" y="26292"/>
                        <a:pt x="412737" y="25796"/>
                        <a:pt x="404799" y="25796"/>
                      </a:cubicBezTo>
                      <a:cubicBezTo>
                        <a:pt x="396366" y="25796"/>
                        <a:pt x="396366" y="26788"/>
                        <a:pt x="388429" y="26788"/>
                      </a:cubicBezTo>
                      <a:cubicBezTo>
                        <a:pt x="379996" y="26788"/>
                        <a:pt x="379996" y="25796"/>
                        <a:pt x="372058" y="25796"/>
                      </a:cubicBezTo>
                      <a:cubicBezTo>
                        <a:pt x="363625" y="25796"/>
                        <a:pt x="363625" y="25796"/>
                        <a:pt x="355688" y="25796"/>
                      </a:cubicBezTo>
                      <a:cubicBezTo>
                        <a:pt x="347255" y="25796"/>
                        <a:pt x="347255" y="26788"/>
                        <a:pt x="339317" y="26788"/>
                      </a:cubicBezTo>
                      <a:cubicBezTo>
                        <a:pt x="330884" y="26788"/>
                        <a:pt x="330884" y="25796"/>
                        <a:pt x="322947" y="25796"/>
                      </a:cubicBezTo>
                      <a:cubicBezTo>
                        <a:pt x="314514" y="25796"/>
                        <a:pt x="314514" y="26292"/>
                        <a:pt x="306576" y="26292"/>
                      </a:cubicBezTo>
                      <a:cubicBezTo>
                        <a:pt x="298639" y="26292"/>
                        <a:pt x="298143" y="25796"/>
                        <a:pt x="290206" y="25796"/>
                      </a:cubicBezTo>
                      <a:cubicBezTo>
                        <a:pt x="281772" y="25796"/>
                        <a:pt x="281772" y="26788"/>
                        <a:pt x="273835" y="26788"/>
                      </a:cubicBezTo>
                      <a:cubicBezTo>
                        <a:pt x="265402" y="26788"/>
                        <a:pt x="265402" y="26292"/>
                        <a:pt x="257465" y="26292"/>
                      </a:cubicBezTo>
                      <a:cubicBezTo>
                        <a:pt x="249031" y="26292"/>
                        <a:pt x="249031" y="25300"/>
                        <a:pt x="241094" y="25300"/>
                      </a:cubicBezTo>
                      <a:cubicBezTo>
                        <a:pt x="232661" y="25300"/>
                        <a:pt x="232661" y="26788"/>
                        <a:pt x="224723" y="26788"/>
                      </a:cubicBezTo>
                      <a:cubicBezTo>
                        <a:pt x="216290" y="26788"/>
                        <a:pt x="216290" y="25300"/>
                        <a:pt x="208353" y="25300"/>
                      </a:cubicBezTo>
                      <a:cubicBezTo>
                        <a:pt x="199919" y="25300"/>
                        <a:pt x="199919" y="25300"/>
                        <a:pt x="191982" y="25300"/>
                      </a:cubicBezTo>
                      <a:cubicBezTo>
                        <a:pt x="183549" y="25300"/>
                        <a:pt x="183549" y="25300"/>
                        <a:pt x="175612" y="25300"/>
                      </a:cubicBezTo>
                      <a:cubicBezTo>
                        <a:pt x="167178" y="25300"/>
                        <a:pt x="167178" y="25796"/>
                        <a:pt x="159241" y="25796"/>
                      </a:cubicBezTo>
                      <a:cubicBezTo>
                        <a:pt x="150808" y="25796"/>
                        <a:pt x="150808" y="25300"/>
                        <a:pt x="142870" y="25300"/>
                      </a:cubicBezTo>
                      <a:cubicBezTo>
                        <a:pt x="134437" y="25300"/>
                        <a:pt x="134437" y="26292"/>
                        <a:pt x="126500" y="26292"/>
                      </a:cubicBezTo>
                      <a:cubicBezTo>
                        <a:pt x="118563" y="26292"/>
                        <a:pt x="118066" y="25796"/>
                        <a:pt x="110129" y="25796"/>
                      </a:cubicBezTo>
                      <a:cubicBezTo>
                        <a:pt x="101696" y="25796"/>
                        <a:pt x="101696" y="25796"/>
                        <a:pt x="93759" y="25796"/>
                      </a:cubicBezTo>
                      <a:cubicBezTo>
                        <a:pt x="85325" y="25796"/>
                        <a:pt x="85325" y="25300"/>
                        <a:pt x="77388" y="25300"/>
                      </a:cubicBezTo>
                      <a:cubicBezTo>
                        <a:pt x="68955" y="25300"/>
                        <a:pt x="68955" y="25796"/>
                        <a:pt x="61017" y="25796"/>
                      </a:cubicBezTo>
                      <a:cubicBezTo>
                        <a:pt x="52584" y="25796"/>
                        <a:pt x="52584" y="25796"/>
                        <a:pt x="44647" y="25796"/>
                      </a:cubicBezTo>
                      <a:cubicBezTo>
                        <a:pt x="36213" y="25796"/>
                        <a:pt x="36213" y="25796"/>
                        <a:pt x="28276" y="25796"/>
                      </a:cubicBezTo>
                      <a:cubicBezTo>
                        <a:pt x="20339" y="25796"/>
                        <a:pt x="19843" y="26788"/>
                        <a:pt x="11906" y="26788"/>
                      </a:cubicBezTo>
                      <a:cubicBezTo>
                        <a:pt x="5457" y="26788"/>
                        <a:pt x="0" y="20835"/>
                        <a:pt x="0" y="14386"/>
                      </a:cubicBezTo>
                      <a:cubicBezTo>
                        <a:pt x="0" y="14386"/>
                        <a:pt x="992" y="14386"/>
                        <a:pt x="992" y="14386"/>
                      </a:cubicBezTo>
                      <a:cubicBezTo>
                        <a:pt x="992" y="7937"/>
                        <a:pt x="5953" y="3969"/>
                        <a:pt x="12402" y="3969"/>
                      </a:cubicBezTo>
                      <a:cubicBezTo>
                        <a:pt x="20835" y="3969"/>
                        <a:pt x="20835" y="2480"/>
                        <a:pt x="28772" y="2480"/>
                      </a:cubicBezTo>
                      <a:cubicBezTo>
                        <a:pt x="37206" y="2480"/>
                        <a:pt x="37206" y="3473"/>
                        <a:pt x="45143" y="3473"/>
                      </a:cubicBezTo>
                      <a:cubicBezTo>
                        <a:pt x="53576" y="3473"/>
                        <a:pt x="53576" y="2480"/>
                        <a:pt x="61514" y="2480"/>
                      </a:cubicBezTo>
                      <a:cubicBezTo>
                        <a:pt x="69947" y="2480"/>
                        <a:pt x="69947" y="1984"/>
                        <a:pt x="77884" y="1984"/>
                      </a:cubicBezTo>
                      <a:cubicBezTo>
                        <a:pt x="86318" y="1984"/>
                        <a:pt x="86318" y="1984"/>
                        <a:pt x="94255" y="1984"/>
                      </a:cubicBezTo>
                      <a:cubicBezTo>
                        <a:pt x="102688" y="1984"/>
                        <a:pt x="102688" y="1488"/>
                        <a:pt x="110625" y="1488"/>
                      </a:cubicBezTo>
                      <a:cubicBezTo>
                        <a:pt x="119059" y="1488"/>
                        <a:pt x="119059" y="2977"/>
                        <a:pt x="126996" y="2977"/>
                      </a:cubicBezTo>
                      <a:cubicBezTo>
                        <a:pt x="135429" y="2977"/>
                        <a:pt x="135429" y="2977"/>
                        <a:pt x="143367" y="2977"/>
                      </a:cubicBezTo>
                      <a:cubicBezTo>
                        <a:pt x="151800" y="2977"/>
                        <a:pt x="151800" y="3473"/>
                        <a:pt x="159737" y="3473"/>
                      </a:cubicBezTo>
                      <a:cubicBezTo>
                        <a:pt x="168171" y="3473"/>
                        <a:pt x="168171" y="1984"/>
                        <a:pt x="176108" y="1984"/>
                      </a:cubicBezTo>
                      <a:cubicBezTo>
                        <a:pt x="184045" y="1984"/>
                        <a:pt x="184541" y="992"/>
                        <a:pt x="192478" y="992"/>
                      </a:cubicBezTo>
                      <a:cubicBezTo>
                        <a:pt x="200912" y="992"/>
                        <a:pt x="200912" y="2480"/>
                        <a:pt x="208849" y="2480"/>
                      </a:cubicBezTo>
                      <a:cubicBezTo>
                        <a:pt x="217282" y="2480"/>
                        <a:pt x="217282" y="1488"/>
                        <a:pt x="225220" y="1488"/>
                      </a:cubicBezTo>
                      <a:cubicBezTo>
                        <a:pt x="233653" y="1488"/>
                        <a:pt x="233653" y="2977"/>
                        <a:pt x="241590" y="2977"/>
                      </a:cubicBezTo>
                      <a:cubicBezTo>
                        <a:pt x="250023" y="2977"/>
                        <a:pt x="250023" y="2977"/>
                        <a:pt x="257961" y="2977"/>
                      </a:cubicBezTo>
                      <a:cubicBezTo>
                        <a:pt x="266394" y="2977"/>
                        <a:pt x="266394" y="2977"/>
                        <a:pt x="274331" y="2977"/>
                      </a:cubicBezTo>
                      <a:cubicBezTo>
                        <a:pt x="282764" y="2977"/>
                        <a:pt x="282764" y="1488"/>
                        <a:pt x="290702" y="1488"/>
                      </a:cubicBezTo>
                      <a:cubicBezTo>
                        <a:pt x="299135" y="1488"/>
                        <a:pt x="299135" y="496"/>
                        <a:pt x="307072" y="496"/>
                      </a:cubicBezTo>
                      <a:cubicBezTo>
                        <a:pt x="315505" y="496"/>
                        <a:pt x="315505" y="496"/>
                        <a:pt x="323443" y="496"/>
                      </a:cubicBezTo>
                      <a:cubicBezTo>
                        <a:pt x="331876" y="496"/>
                        <a:pt x="331876" y="1984"/>
                        <a:pt x="339813" y="1984"/>
                      </a:cubicBezTo>
                      <a:cubicBezTo>
                        <a:pt x="348246" y="1984"/>
                        <a:pt x="348246" y="992"/>
                        <a:pt x="356184" y="992"/>
                      </a:cubicBezTo>
                      <a:cubicBezTo>
                        <a:pt x="364121" y="992"/>
                        <a:pt x="364617" y="2480"/>
                        <a:pt x="372554" y="2480"/>
                      </a:cubicBezTo>
                      <a:cubicBezTo>
                        <a:pt x="380988" y="2480"/>
                        <a:pt x="380988" y="1488"/>
                        <a:pt x="388925" y="1488"/>
                      </a:cubicBezTo>
                      <a:cubicBezTo>
                        <a:pt x="397358" y="1488"/>
                        <a:pt x="397358" y="496"/>
                        <a:pt x="405295" y="496"/>
                      </a:cubicBezTo>
                      <a:cubicBezTo>
                        <a:pt x="413729" y="496"/>
                        <a:pt x="413729" y="0"/>
                        <a:pt x="421666" y="0"/>
                      </a:cubicBezTo>
                      <a:cubicBezTo>
                        <a:pt x="430099" y="0"/>
                        <a:pt x="430099" y="496"/>
                        <a:pt x="438036" y="496"/>
                      </a:cubicBezTo>
                      <a:cubicBezTo>
                        <a:pt x="446470" y="496"/>
                        <a:pt x="446470" y="1488"/>
                        <a:pt x="454407" y="1488"/>
                      </a:cubicBezTo>
                      <a:cubicBezTo>
                        <a:pt x="462344" y="1488"/>
                        <a:pt x="462840" y="992"/>
                        <a:pt x="470778" y="992"/>
                      </a:cubicBezTo>
                      <a:cubicBezTo>
                        <a:pt x="477227" y="992"/>
                        <a:pt x="483180" y="5953"/>
                        <a:pt x="483180" y="12402"/>
                      </a:cubicBezTo>
                      <a:cubicBezTo>
                        <a:pt x="483180" y="12402"/>
                        <a:pt x="482188" y="12402"/>
                        <a:pt x="482188" y="12402"/>
                      </a:cubicBezTo>
                      <a:cubicBezTo>
                        <a:pt x="481196" y="20835"/>
                        <a:pt x="476731" y="25796"/>
                        <a:pt x="470282" y="25796"/>
                      </a:cubicBezTo>
                      <a:close/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grpSp>
              <p:nvGrpSpPr>
                <p:cNvPr id="1577" name="Graphic 10">
                  <a:extLst>
                    <a:ext uri="{FF2B5EF4-FFF2-40B4-BE49-F238E27FC236}">
                      <a16:creationId xmlns:a16="http://schemas.microsoft.com/office/drawing/2014/main" id="{451673FA-F114-63CC-081E-9953D6E96DE2}"/>
                    </a:ext>
                  </a:extLst>
                </p:cNvPr>
                <p:cNvGrpSpPr/>
                <p:nvPr/>
              </p:nvGrpSpPr>
              <p:grpSpPr>
                <a:xfrm>
                  <a:off x="6010846" y="2813257"/>
                  <a:ext cx="19347" cy="169658"/>
                  <a:chOff x="6010846" y="2813257"/>
                  <a:chExt cx="19347" cy="169658"/>
                </a:xfrm>
                <a:noFill/>
              </p:grpSpPr>
              <p:sp>
                <p:nvSpPr>
                  <p:cNvPr id="1596" name="Freeform: Shape 1595">
                    <a:extLst>
                      <a:ext uri="{FF2B5EF4-FFF2-40B4-BE49-F238E27FC236}">
                        <a16:creationId xmlns:a16="http://schemas.microsoft.com/office/drawing/2014/main" id="{193B7843-892C-BEAF-5104-CD5611773C68}"/>
                      </a:ext>
                    </a:extLst>
                  </p:cNvPr>
                  <p:cNvSpPr/>
                  <p:nvPr/>
                </p:nvSpPr>
                <p:spPr>
                  <a:xfrm>
                    <a:off x="6010846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992 w 2480"/>
                      <a:gd name="connsiteY2" fmla="*/ 134933 h 168666"/>
                      <a:gd name="connsiteX3" fmla="*/ 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1488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496 w 2480"/>
                      <a:gd name="connsiteY8" fmla="*/ 33733 h 168666"/>
                      <a:gd name="connsiteX9" fmla="*/ 1488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992" y="143367"/>
                          <a:pt x="992" y="134933"/>
                        </a:cubicBezTo>
                        <a:cubicBezTo>
                          <a:pt x="992" y="126500"/>
                          <a:pt x="0" y="126500"/>
                          <a:pt x="0" y="118066"/>
                        </a:cubicBezTo>
                        <a:cubicBezTo>
                          <a:pt x="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1488" y="25300"/>
                          <a:pt x="1488" y="16867"/>
                        </a:cubicBezTo>
                        <a:cubicBezTo>
                          <a:pt x="1488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7" name="Freeform: Shape 1596">
                    <a:extLst>
                      <a:ext uri="{FF2B5EF4-FFF2-40B4-BE49-F238E27FC236}">
                        <a16:creationId xmlns:a16="http://schemas.microsoft.com/office/drawing/2014/main" id="{38990D3C-7DA7-9874-95F4-7D350ECC8F3C}"/>
                      </a:ext>
                    </a:extLst>
                  </p:cNvPr>
                  <p:cNvSpPr/>
                  <p:nvPr/>
                </p:nvSpPr>
                <p:spPr>
                  <a:xfrm>
                    <a:off x="6027217" y="2813257"/>
                    <a:ext cx="2976" cy="168666"/>
                  </a:xfrm>
                  <a:custGeom>
                    <a:avLst/>
                    <a:gdLst>
                      <a:gd name="connsiteX0" fmla="*/ 2976 w 2976"/>
                      <a:gd name="connsiteY0" fmla="*/ 0 h 168666"/>
                      <a:gd name="connsiteX1" fmla="*/ 2480 w 2976"/>
                      <a:gd name="connsiteY1" fmla="*/ 16867 h 168666"/>
                      <a:gd name="connsiteX2" fmla="*/ 1984 w 2976"/>
                      <a:gd name="connsiteY2" fmla="*/ 33734 h 168666"/>
                      <a:gd name="connsiteX3" fmla="*/ 496 w 2976"/>
                      <a:gd name="connsiteY3" fmla="*/ 50600 h 168666"/>
                      <a:gd name="connsiteX4" fmla="*/ 1488 w 2976"/>
                      <a:gd name="connsiteY4" fmla="*/ 67467 h 168666"/>
                      <a:gd name="connsiteX5" fmla="*/ 0 w 2976"/>
                      <a:gd name="connsiteY5" fmla="*/ 84333 h 168666"/>
                      <a:gd name="connsiteX6" fmla="*/ 992 w 2976"/>
                      <a:gd name="connsiteY6" fmla="*/ 101200 h 168666"/>
                      <a:gd name="connsiteX7" fmla="*/ 992 w 2976"/>
                      <a:gd name="connsiteY7" fmla="*/ 118067 h 168666"/>
                      <a:gd name="connsiteX8" fmla="*/ 1488 w 2976"/>
                      <a:gd name="connsiteY8" fmla="*/ 134933 h 168666"/>
                      <a:gd name="connsiteX9" fmla="*/ 1984 w 2976"/>
                      <a:gd name="connsiteY9" fmla="*/ 151800 h 168666"/>
                      <a:gd name="connsiteX10" fmla="*/ 1488 w 2976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976" h="168666">
                        <a:moveTo>
                          <a:pt x="2976" y="0"/>
                        </a:moveTo>
                        <a:cubicBezTo>
                          <a:pt x="2976" y="8433"/>
                          <a:pt x="2480" y="8433"/>
                          <a:pt x="2480" y="16867"/>
                        </a:cubicBezTo>
                        <a:cubicBezTo>
                          <a:pt x="2480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496" y="42167"/>
                          <a:pt x="496" y="50600"/>
                        </a:cubicBezTo>
                        <a:cubicBezTo>
                          <a:pt x="496" y="59033"/>
                          <a:pt x="1488" y="59033"/>
                          <a:pt x="1488" y="67467"/>
                        </a:cubicBezTo>
                        <a:cubicBezTo>
                          <a:pt x="1488" y="75900"/>
                          <a:pt x="0" y="75900"/>
                          <a:pt x="0" y="84333"/>
                        </a:cubicBezTo>
                        <a:cubicBezTo>
                          <a:pt x="0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992" y="109633"/>
                          <a:pt x="992" y="118067"/>
                        </a:cubicBezTo>
                        <a:cubicBezTo>
                          <a:pt x="992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1984" y="143367"/>
                          <a:pt x="1984" y="151800"/>
                        </a:cubicBezTo>
                        <a:cubicBezTo>
                          <a:pt x="1984" y="160233"/>
                          <a:pt x="1488" y="160233"/>
                          <a:pt x="1488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8" name="Graphic 10">
                  <a:extLst>
                    <a:ext uri="{FF2B5EF4-FFF2-40B4-BE49-F238E27FC236}">
                      <a16:creationId xmlns:a16="http://schemas.microsoft.com/office/drawing/2014/main" id="{CE16CE46-642C-FA77-9140-81946F8492E1}"/>
                    </a:ext>
                  </a:extLst>
                </p:cNvPr>
                <p:cNvGrpSpPr/>
                <p:nvPr/>
              </p:nvGrpSpPr>
              <p:grpSpPr>
                <a:xfrm>
                  <a:off x="6080793" y="2814249"/>
                  <a:ext cx="19347" cy="170650"/>
                  <a:chOff x="6080793" y="2814249"/>
                  <a:chExt cx="19347" cy="170650"/>
                </a:xfrm>
                <a:noFill/>
              </p:grpSpPr>
              <p:sp>
                <p:nvSpPr>
                  <p:cNvPr id="1594" name="Freeform: Shape 1593">
                    <a:extLst>
                      <a:ext uri="{FF2B5EF4-FFF2-40B4-BE49-F238E27FC236}">
                        <a16:creationId xmlns:a16="http://schemas.microsoft.com/office/drawing/2014/main" id="{5989A068-A268-2F18-D7D8-A23B53A3D59B}"/>
                      </a:ext>
                    </a:extLst>
                  </p:cNvPr>
                  <p:cNvSpPr/>
                  <p:nvPr/>
                </p:nvSpPr>
                <p:spPr>
                  <a:xfrm>
                    <a:off x="6080793" y="2814249"/>
                    <a:ext cx="2480" cy="168666"/>
                  </a:xfrm>
                  <a:custGeom>
                    <a:avLst/>
                    <a:gdLst>
                      <a:gd name="connsiteX0" fmla="*/ 993 w 2480"/>
                      <a:gd name="connsiteY0" fmla="*/ 168666 h 168666"/>
                      <a:gd name="connsiteX1" fmla="*/ 2480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248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993 w 2480"/>
                      <a:gd name="connsiteY6" fmla="*/ 67467 h 168666"/>
                      <a:gd name="connsiteX7" fmla="*/ 2480 w 2480"/>
                      <a:gd name="connsiteY7" fmla="*/ 50600 h 168666"/>
                      <a:gd name="connsiteX8" fmla="*/ 2480 w 2480"/>
                      <a:gd name="connsiteY8" fmla="*/ 33733 h 168666"/>
                      <a:gd name="connsiteX9" fmla="*/ 2480 w 2480"/>
                      <a:gd name="connsiteY9" fmla="*/ 16867 h 168666"/>
                      <a:gd name="connsiteX10" fmla="*/ 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993" y="168666"/>
                        </a:moveTo>
                        <a:cubicBezTo>
                          <a:pt x="993" y="160233"/>
                          <a:pt x="2480" y="160233"/>
                          <a:pt x="2480" y="151800"/>
                        </a:cubicBezTo>
                        <a:cubicBezTo>
                          <a:pt x="2480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2480" y="126500"/>
                          <a:pt x="2480" y="118066"/>
                        </a:cubicBezTo>
                        <a:cubicBezTo>
                          <a:pt x="248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993" y="75900"/>
                          <a:pt x="993" y="67467"/>
                        </a:cubicBezTo>
                        <a:cubicBezTo>
                          <a:pt x="993" y="59033"/>
                          <a:pt x="2480" y="59033"/>
                          <a:pt x="2480" y="50600"/>
                        </a:cubicBezTo>
                        <a:cubicBezTo>
                          <a:pt x="2480" y="42167"/>
                          <a:pt x="2480" y="42167"/>
                          <a:pt x="2480" y="33733"/>
                        </a:cubicBezTo>
                        <a:cubicBezTo>
                          <a:pt x="2480" y="25300"/>
                          <a:pt x="2480" y="25300"/>
                          <a:pt x="2480" y="16867"/>
                        </a:cubicBezTo>
                        <a:cubicBezTo>
                          <a:pt x="2480" y="8433"/>
                          <a:pt x="0" y="8433"/>
                          <a:pt x="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5" name="Freeform: Shape 1594">
                    <a:extLst>
                      <a:ext uri="{FF2B5EF4-FFF2-40B4-BE49-F238E27FC236}">
                        <a16:creationId xmlns:a16="http://schemas.microsoft.com/office/drawing/2014/main" id="{DF83FE7E-2108-9687-6B0C-6B04B8F0BE23}"/>
                      </a:ext>
                    </a:extLst>
                  </p:cNvPr>
                  <p:cNvSpPr/>
                  <p:nvPr/>
                </p:nvSpPr>
                <p:spPr>
                  <a:xfrm>
                    <a:off x="6098155" y="2833100"/>
                    <a:ext cx="1984" cy="151800"/>
                  </a:xfrm>
                  <a:custGeom>
                    <a:avLst/>
                    <a:gdLst>
                      <a:gd name="connsiteX0" fmla="*/ 1984 w 1984"/>
                      <a:gd name="connsiteY0" fmla="*/ 0 h 151800"/>
                      <a:gd name="connsiteX1" fmla="*/ 496 w 1984"/>
                      <a:gd name="connsiteY1" fmla="*/ 16867 h 151800"/>
                      <a:gd name="connsiteX2" fmla="*/ 1984 w 1984"/>
                      <a:gd name="connsiteY2" fmla="*/ 33734 h 151800"/>
                      <a:gd name="connsiteX3" fmla="*/ 0 w 1984"/>
                      <a:gd name="connsiteY3" fmla="*/ 50600 h 151800"/>
                      <a:gd name="connsiteX4" fmla="*/ 0 w 1984"/>
                      <a:gd name="connsiteY4" fmla="*/ 67467 h 151800"/>
                      <a:gd name="connsiteX5" fmla="*/ 496 w 1984"/>
                      <a:gd name="connsiteY5" fmla="*/ 84333 h 151800"/>
                      <a:gd name="connsiteX6" fmla="*/ 993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496 w 1984"/>
                      <a:gd name="connsiteY8" fmla="*/ 134933 h 151800"/>
                      <a:gd name="connsiteX9" fmla="*/ 1984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1984" y="0"/>
                        </a:moveTo>
                        <a:cubicBezTo>
                          <a:pt x="1984" y="8433"/>
                          <a:pt x="496" y="8433"/>
                          <a:pt x="496" y="16867"/>
                        </a:cubicBezTo>
                        <a:cubicBezTo>
                          <a:pt x="496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0" y="42167"/>
                          <a:pt x="0" y="50600"/>
                        </a:cubicBezTo>
                        <a:cubicBezTo>
                          <a:pt x="0" y="59033"/>
                          <a:pt x="0" y="59033"/>
                          <a:pt x="0" y="67467"/>
                        </a:cubicBezTo>
                        <a:cubicBezTo>
                          <a:pt x="0" y="75900"/>
                          <a:pt x="496" y="75900"/>
                          <a:pt x="496" y="84333"/>
                        </a:cubicBezTo>
                        <a:cubicBezTo>
                          <a:pt x="496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984" y="143367"/>
                          <a:pt x="1984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9" name="Graphic 10">
                  <a:extLst>
                    <a:ext uri="{FF2B5EF4-FFF2-40B4-BE49-F238E27FC236}">
                      <a16:creationId xmlns:a16="http://schemas.microsoft.com/office/drawing/2014/main" id="{4FE666FC-A0E0-3DD3-8C38-AFBAD1468B1E}"/>
                    </a:ext>
                  </a:extLst>
                </p:cNvPr>
                <p:cNvGrpSpPr/>
                <p:nvPr/>
              </p:nvGrpSpPr>
              <p:grpSpPr>
                <a:xfrm>
                  <a:off x="6151732" y="2814249"/>
                  <a:ext cx="18850" cy="170650"/>
                  <a:chOff x="6151732" y="2814249"/>
                  <a:chExt cx="18850" cy="170650"/>
                </a:xfrm>
                <a:noFill/>
              </p:grpSpPr>
              <p:sp>
                <p:nvSpPr>
                  <p:cNvPr id="1592" name="Freeform: Shape 1591">
                    <a:extLst>
                      <a:ext uri="{FF2B5EF4-FFF2-40B4-BE49-F238E27FC236}">
                        <a16:creationId xmlns:a16="http://schemas.microsoft.com/office/drawing/2014/main" id="{1F7FA43D-A262-77E9-85C5-FD5E5FBFAE0E}"/>
                      </a:ext>
                    </a:extLst>
                  </p:cNvPr>
                  <p:cNvSpPr/>
                  <p:nvPr/>
                </p:nvSpPr>
                <p:spPr>
                  <a:xfrm>
                    <a:off x="6151732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984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0 w 2480"/>
                      <a:gd name="connsiteY4" fmla="*/ 101200 h 168666"/>
                      <a:gd name="connsiteX5" fmla="*/ 992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992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984" y="160233"/>
                          <a:pt x="1984" y="151800"/>
                        </a:cubicBezTo>
                        <a:cubicBezTo>
                          <a:pt x="1984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992" y="92767"/>
                          <a:pt x="992" y="84333"/>
                        </a:cubicBezTo>
                        <a:cubicBezTo>
                          <a:pt x="992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3" name="Freeform: Shape 1592">
                    <a:extLst>
                      <a:ext uri="{FF2B5EF4-FFF2-40B4-BE49-F238E27FC236}">
                        <a16:creationId xmlns:a16="http://schemas.microsoft.com/office/drawing/2014/main" id="{96A8AA3C-E754-ACEA-10CB-55126CFCF515}"/>
                      </a:ext>
                    </a:extLst>
                  </p:cNvPr>
                  <p:cNvSpPr/>
                  <p:nvPr/>
                </p:nvSpPr>
                <p:spPr>
                  <a:xfrm>
                    <a:off x="6168102" y="2833100"/>
                    <a:ext cx="2480" cy="151800"/>
                  </a:xfrm>
                  <a:custGeom>
                    <a:avLst/>
                    <a:gdLst>
                      <a:gd name="connsiteX0" fmla="*/ 1488 w 2480"/>
                      <a:gd name="connsiteY0" fmla="*/ 0 h 151800"/>
                      <a:gd name="connsiteX1" fmla="*/ 1984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993 w 2480"/>
                      <a:gd name="connsiteY3" fmla="*/ 50600 h 151800"/>
                      <a:gd name="connsiteX4" fmla="*/ 497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993 w 2480"/>
                      <a:gd name="connsiteY6" fmla="*/ 101200 h 151800"/>
                      <a:gd name="connsiteX7" fmla="*/ 993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497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1488" y="0"/>
                        </a:moveTo>
                        <a:cubicBezTo>
                          <a:pt x="1488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993" y="42167"/>
                          <a:pt x="993" y="50600"/>
                        </a:cubicBezTo>
                        <a:cubicBezTo>
                          <a:pt x="993" y="59033"/>
                          <a:pt x="497" y="59033"/>
                          <a:pt x="497" y="67467"/>
                        </a:cubicBezTo>
                        <a:cubicBezTo>
                          <a:pt x="497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993" y="109633"/>
                          <a:pt x="993" y="118067"/>
                        </a:cubicBezTo>
                        <a:cubicBezTo>
                          <a:pt x="993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497" y="143367"/>
                          <a:pt x="497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0" name="Graphic 10">
                  <a:extLst>
                    <a:ext uri="{FF2B5EF4-FFF2-40B4-BE49-F238E27FC236}">
                      <a16:creationId xmlns:a16="http://schemas.microsoft.com/office/drawing/2014/main" id="{39100B04-01D4-AEC7-DF5D-28640C66743F}"/>
                    </a:ext>
                  </a:extLst>
                </p:cNvPr>
                <p:cNvGrpSpPr/>
                <p:nvPr/>
              </p:nvGrpSpPr>
              <p:grpSpPr>
                <a:xfrm>
                  <a:off x="6221679" y="2814249"/>
                  <a:ext cx="19347" cy="170650"/>
                  <a:chOff x="6221679" y="2814249"/>
                  <a:chExt cx="19347" cy="170650"/>
                </a:xfrm>
                <a:noFill/>
              </p:grpSpPr>
              <p:sp>
                <p:nvSpPr>
                  <p:cNvPr id="1590" name="Freeform: Shape 1589">
                    <a:extLst>
                      <a:ext uri="{FF2B5EF4-FFF2-40B4-BE49-F238E27FC236}">
                        <a16:creationId xmlns:a16="http://schemas.microsoft.com/office/drawing/2014/main" id="{7596F632-3243-11C3-D3B9-F14859D20021}"/>
                      </a:ext>
                    </a:extLst>
                  </p:cNvPr>
                  <p:cNvSpPr/>
                  <p:nvPr/>
                </p:nvSpPr>
                <p:spPr>
                  <a:xfrm>
                    <a:off x="6221679" y="2814249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496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1488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0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496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168666"/>
                        </a:moveTo>
                        <a:cubicBezTo>
                          <a:pt x="1984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496" y="143367"/>
                          <a:pt x="496" y="134933"/>
                        </a:cubicBezTo>
                        <a:cubicBezTo>
                          <a:pt x="496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0" y="75900"/>
                          <a:pt x="0" y="67467"/>
                        </a:cubicBezTo>
                        <a:cubicBezTo>
                          <a:pt x="0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1" name="Freeform: Shape 1590">
                    <a:extLst>
                      <a:ext uri="{FF2B5EF4-FFF2-40B4-BE49-F238E27FC236}">
                        <a16:creationId xmlns:a16="http://schemas.microsoft.com/office/drawing/2014/main" id="{DAE8081B-461C-44A6-7F82-EF6246DA7C33}"/>
                      </a:ext>
                    </a:extLst>
                  </p:cNvPr>
                  <p:cNvSpPr/>
                  <p:nvPr/>
                </p:nvSpPr>
                <p:spPr>
                  <a:xfrm>
                    <a:off x="6238546" y="2833100"/>
                    <a:ext cx="2480" cy="151800"/>
                  </a:xfrm>
                  <a:custGeom>
                    <a:avLst/>
                    <a:gdLst>
                      <a:gd name="connsiteX0" fmla="*/ 496 w 2480"/>
                      <a:gd name="connsiteY0" fmla="*/ 0 h 151800"/>
                      <a:gd name="connsiteX1" fmla="*/ 992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1984 w 2480"/>
                      <a:gd name="connsiteY3" fmla="*/ 50600 h 151800"/>
                      <a:gd name="connsiteX4" fmla="*/ 2480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496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496" y="0"/>
                        </a:moveTo>
                        <a:cubicBezTo>
                          <a:pt x="496" y="8433"/>
                          <a:pt x="992" y="8433"/>
                          <a:pt x="992" y="16867"/>
                        </a:cubicBezTo>
                        <a:cubicBezTo>
                          <a:pt x="992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2480" y="59033"/>
                          <a:pt x="2480" y="67467"/>
                        </a:cubicBezTo>
                        <a:cubicBezTo>
                          <a:pt x="2480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496" y="109633"/>
                          <a:pt x="496" y="118067"/>
                        </a:cubicBezTo>
                        <a:cubicBezTo>
                          <a:pt x="496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1" name="Graphic 10">
                  <a:extLst>
                    <a:ext uri="{FF2B5EF4-FFF2-40B4-BE49-F238E27FC236}">
                      <a16:creationId xmlns:a16="http://schemas.microsoft.com/office/drawing/2014/main" id="{84B95AB3-F297-9E7A-80F5-CFC38E75F3FC}"/>
                    </a:ext>
                  </a:extLst>
                </p:cNvPr>
                <p:cNvGrpSpPr/>
                <p:nvPr/>
              </p:nvGrpSpPr>
              <p:grpSpPr>
                <a:xfrm>
                  <a:off x="6292618" y="2814249"/>
                  <a:ext cx="18850" cy="170650"/>
                  <a:chOff x="6292618" y="2814249"/>
                  <a:chExt cx="18850" cy="170650"/>
                </a:xfrm>
                <a:noFill/>
              </p:grpSpPr>
              <p:sp>
                <p:nvSpPr>
                  <p:cNvPr id="1588" name="Freeform: Shape 1587">
                    <a:extLst>
                      <a:ext uri="{FF2B5EF4-FFF2-40B4-BE49-F238E27FC236}">
                        <a16:creationId xmlns:a16="http://schemas.microsoft.com/office/drawing/2014/main" id="{EB0EE5CA-591D-BA66-036E-2809F7948C40}"/>
                      </a:ext>
                    </a:extLst>
                  </p:cNvPr>
                  <p:cNvSpPr/>
                  <p:nvPr/>
                </p:nvSpPr>
                <p:spPr>
                  <a:xfrm>
                    <a:off x="6292618" y="2814249"/>
                    <a:ext cx="1487" cy="168666"/>
                  </a:xfrm>
                  <a:custGeom>
                    <a:avLst/>
                    <a:gdLst>
                      <a:gd name="connsiteX0" fmla="*/ 496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1488 w 1487"/>
                      <a:gd name="connsiteY3" fmla="*/ 118066 h 168666"/>
                      <a:gd name="connsiteX4" fmla="*/ 496 w 1487"/>
                      <a:gd name="connsiteY4" fmla="*/ 101200 h 168666"/>
                      <a:gd name="connsiteX5" fmla="*/ 496 w 1487"/>
                      <a:gd name="connsiteY5" fmla="*/ 84333 h 168666"/>
                      <a:gd name="connsiteX6" fmla="*/ 496 w 1487"/>
                      <a:gd name="connsiteY6" fmla="*/ 67467 h 168666"/>
                      <a:gd name="connsiteX7" fmla="*/ 992 w 1487"/>
                      <a:gd name="connsiteY7" fmla="*/ 50600 h 168666"/>
                      <a:gd name="connsiteX8" fmla="*/ 496 w 1487"/>
                      <a:gd name="connsiteY8" fmla="*/ 33733 h 168666"/>
                      <a:gd name="connsiteX9" fmla="*/ 992 w 1487"/>
                      <a:gd name="connsiteY9" fmla="*/ 16867 h 168666"/>
                      <a:gd name="connsiteX10" fmla="*/ 496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496" y="168666"/>
                        </a:moveTo>
                        <a:cubicBezTo>
                          <a:pt x="496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1488" y="126500"/>
                          <a:pt x="1488" y="118066"/>
                        </a:cubicBezTo>
                        <a:cubicBezTo>
                          <a:pt x="1488" y="109633"/>
                          <a:pt x="496" y="109633"/>
                          <a:pt x="496" y="101200"/>
                        </a:cubicBezTo>
                        <a:cubicBezTo>
                          <a:pt x="496" y="92767"/>
                          <a:pt x="496" y="92767"/>
                          <a:pt x="496" y="84333"/>
                        </a:cubicBezTo>
                        <a:cubicBezTo>
                          <a:pt x="496" y="75900"/>
                          <a:pt x="496" y="75900"/>
                          <a:pt x="496" y="67467"/>
                        </a:cubicBezTo>
                        <a:cubicBezTo>
                          <a:pt x="496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992" y="25300"/>
                          <a:pt x="992" y="16867"/>
                        </a:cubicBezTo>
                        <a:cubicBezTo>
                          <a:pt x="992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9" name="Freeform: Shape 1588">
                    <a:extLst>
                      <a:ext uri="{FF2B5EF4-FFF2-40B4-BE49-F238E27FC236}">
                        <a16:creationId xmlns:a16="http://schemas.microsoft.com/office/drawing/2014/main" id="{CF902D36-9983-5009-AE28-567159C9D6F9}"/>
                      </a:ext>
                    </a:extLst>
                  </p:cNvPr>
                  <p:cNvSpPr/>
                  <p:nvPr/>
                </p:nvSpPr>
                <p:spPr>
                  <a:xfrm>
                    <a:off x="6308989" y="2833100"/>
                    <a:ext cx="2480" cy="151800"/>
                  </a:xfrm>
                  <a:custGeom>
                    <a:avLst/>
                    <a:gdLst>
                      <a:gd name="connsiteX0" fmla="*/ 2480 w 2480"/>
                      <a:gd name="connsiteY0" fmla="*/ 0 h 151800"/>
                      <a:gd name="connsiteX1" fmla="*/ 0 w 2480"/>
                      <a:gd name="connsiteY1" fmla="*/ 16867 h 151800"/>
                      <a:gd name="connsiteX2" fmla="*/ 496 w 2480"/>
                      <a:gd name="connsiteY2" fmla="*/ 33734 h 151800"/>
                      <a:gd name="connsiteX3" fmla="*/ 0 w 2480"/>
                      <a:gd name="connsiteY3" fmla="*/ 50600 h 151800"/>
                      <a:gd name="connsiteX4" fmla="*/ 993 w 2480"/>
                      <a:gd name="connsiteY4" fmla="*/ 67467 h 151800"/>
                      <a:gd name="connsiteX5" fmla="*/ 993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1984 w 2480"/>
                      <a:gd name="connsiteY7" fmla="*/ 118067 h 151800"/>
                      <a:gd name="connsiteX8" fmla="*/ 496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2480" y="0"/>
                        </a:moveTo>
                        <a:cubicBezTo>
                          <a:pt x="2480" y="8433"/>
                          <a:pt x="0" y="8433"/>
                          <a:pt x="0" y="16867"/>
                        </a:cubicBezTo>
                        <a:cubicBezTo>
                          <a:pt x="0" y="25300"/>
                          <a:pt x="496" y="25300"/>
                          <a:pt x="496" y="33734"/>
                        </a:cubicBezTo>
                        <a:cubicBezTo>
                          <a:pt x="496" y="42167"/>
                          <a:pt x="0" y="42167"/>
                          <a:pt x="0" y="50600"/>
                        </a:cubicBezTo>
                        <a:cubicBezTo>
                          <a:pt x="0" y="59033"/>
                          <a:pt x="993" y="59033"/>
                          <a:pt x="993" y="67467"/>
                        </a:cubicBezTo>
                        <a:cubicBezTo>
                          <a:pt x="993" y="75900"/>
                          <a:pt x="993" y="75900"/>
                          <a:pt x="993" y="84333"/>
                        </a:cubicBezTo>
                        <a:cubicBezTo>
                          <a:pt x="993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2" name="Graphic 10">
                  <a:extLst>
                    <a:ext uri="{FF2B5EF4-FFF2-40B4-BE49-F238E27FC236}">
                      <a16:creationId xmlns:a16="http://schemas.microsoft.com/office/drawing/2014/main" id="{72252E47-7169-12D7-3234-C5F168D7096F}"/>
                    </a:ext>
                  </a:extLst>
                </p:cNvPr>
                <p:cNvGrpSpPr/>
                <p:nvPr/>
              </p:nvGrpSpPr>
              <p:grpSpPr>
                <a:xfrm>
                  <a:off x="6362565" y="2814249"/>
                  <a:ext cx="18354" cy="170650"/>
                  <a:chOff x="6362565" y="2814249"/>
                  <a:chExt cx="18354" cy="170650"/>
                </a:xfrm>
                <a:noFill/>
              </p:grpSpPr>
              <p:sp>
                <p:nvSpPr>
                  <p:cNvPr id="1586" name="Freeform: Shape 1585">
                    <a:extLst>
                      <a:ext uri="{FF2B5EF4-FFF2-40B4-BE49-F238E27FC236}">
                        <a16:creationId xmlns:a16="http://schemas.microsoft.com/office/drawing/2014/main" id="{49CFE53A-47B9-E3BE-F708-64A02F2C2B01}"/>
                      </a:ext>
                    </a:extLst>
                  </p:cNvPr>
                  <p:cNvSpPr/>
                  <p:nvPr/>
                </p:nvSpPr>
                <p:spPr>
                  <a:xfrm>
                    <a:off x="6362565" y="2814249"/>
                    <a:ext cx="1487" cy="168666"/>
                  </a:xfrm>
                  <a:custGeom>
                    <a:avLst/>
                    <a:gdLst>
                      <a:gd name="connsiteX0" fmla="*/ 0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496 w 1487"/>
                      <a:gd name="connsiteY3" fmla="*/ 118066 h 168666"/>
                      <a:gd name="connsiteX4" fmla="*/ 1488 w 1487"/>
                      <a:gd name="connsiteY4" fmla="*/ 101200 h 168666"/>
                      <a:gd name="connsiteX5" fmla="*/ 1488 w 1487"/>
                      <a:gd name="connsiteY5" fmla="*/ 84333 h 168666"/>
                      <a:gd name="connsiteX6" fmla="*/ 0 w 1487"/>
                      <a:gd name="connsiteY6" fmla="*/ 67467 h 168666"/>
                      <a:gd name="connsiteX7" fmla="*/ 496 w 1487"/>
                      <a:gd name="connsiteY7" fmla="*/ 50600 h 168666"/>
                      <a:gd name="connsiteX8" fmla="*/ 992 w 1487"/>
                      <a:gd name="connsiteY8" fmla="*/ 33733 h 168666"/>
                      <a:gd name="connsiteX9" fmla="*/ 0 w 1487"/>
                      <a:gd name="connsiteY9" fmla="*/ 16867 h 168666"/>
                      <a:gd name="connsiteX10" fmla="*/ 992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0" y="168666"/>
                        </a:moveTo>
                        <a:cubicBezTo>
                          <a:pt x="0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0" y="75900"/>
                          <a:pt x="0" y="67467"/>
                        </a:cubicBezTo>
                        <a:cubicBezTo>
                          <a:pt x="0" y="59033"/>
                          <a:pt x="496" y="59033"/>
                          <a:pt x="496" y="50600"/>
                        </a:cubicBezTo>
                        <a:cubicBezTo>
                          <a:pt x="496" y="42167"/>
                          <a:pt x="992" y="42167"/>
                          <a:pt x="992" y="33733"/>
                        </a:cubicBezTo>
                        <a:cubicBezTo>
                          <a:pt x="992" y="25300"/>
                          <a:pt x="0" y="25300"/>
                          <a:pt x="0" y="16867"/>
                        </a:cubicBezTo>
                        <a:cubicBezTo>
                          <a:pt x="0" y="8433"/>
                          <a:pt x="992" y="8433"/>
                          <a:pt x="992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7" name="Freeform: Shape 1586">
                    <a:extLst>
                      <a:ext uri="{FF2B5EF4-FFF2-40B4-BE49-F238E27FC236}">
                        <a16:creationId xmlns:a16="http://schemas.microsoft.com/office/drawing/2014/main" id="{7B3DD097-B783-2874-C022-C4BDEC4B059F}"/>
                      </a:ext>
                    </a:extLst>
                  </p:cNvPr>
                  <p:cNvSpPr/>
                  <p:nvPr/>
                </p:nvSpPr>
                <p:spPr>
                  <a:xfrm>
                    <a:off x="6378935" y="2833100"/>
                    <a:ext cx="1984" cy="151800"/>
                  </a:xfrm>
                  <a:custGeom>
                    <a:avLst/>
                    <a:gdLst>
                      <a:gd name="connsiteX0" fmla="*/ 497 w 1984"/>
                      <a:gd name="connsiteY0" fmla="*/ 0 h 151800"/>
                      <a:gd name="connsiteX1" fmla="*/ 993 w 1984"/>
                      <a:gd name="connsiteY1" fmla="*/ 16867 h 151800"/>
                      <a:gd name="connsiteX2" fmla="*/ 1488 w 1984"/>
                      <a:gd name="connsiteY2" fmla="*/ 33734 h 151800"/>
                      <a:gd name="connsiteX3" fmla="*/ 1984 w 1984"/>
                      <a:gd name="connsiteY3" fmla="*/ 50600 h 151800"/>
                      <a:gd name="connsiteX4" fmla="*/ 1984 w 1984"/>
                      <a:gd name="connsiteY4" fmla="*/ 67467 h 151800"/>
                      <a:gd name="connsiteX5" fmla="*/ 497 w 1984"/>
                      <a:gd name="connsiteY5" fmla="*/ 84333 h 151800"/>
                      <a:gd name="connsiteX6" fmla="*/ 1984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0 w 1984"/>
                      <a:gd name="connsiteY8" fmla="*/ 134933 h 151800"/>
                      <a:gd name="connsiteX9" fmla="*/ 993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497" y="0"/>
                        </a:moveTo>
                        <a:cubicBezTo>
                          <a:pt x="497" y="8433"/>
                          <a:pt x="993" y="8433"/>
                          <a:pt x="993" y="16867"/>
                        </a:cubicBezTo>
                        <a:cubicBezTo>
                          <a:pt x="993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497" y="75900"/>
                          <a:pt x="497" y="84333"/>
                        </a:cubicBezTo>
                        <a:cubicBezTo>
                          <a:pt x="497" y="92767"/>
                          <a:pt x="1984" y="92767"/>
                          <a:pt x="1984" y="101200"/>
                        </a:cubicBezTo>
                        <a:cubicBezTo>
                          <a:pt x="1984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993" y="143367"/>
                          <a:pt x="993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3" name="Graphic 10">
                  <a:extLst>
                    <a:ext uri="{FF2B5EF4-FFF2-40B4-BE49-F238E27FC236}">
                      <a16:creationId xmlns:a16="http://schemas.microsoft.com/office/drawing/2014/main" id="{A52ECA90-8C94-57DF-159A-6D5CD2E2142A}"/>
                    </a:ext>
                  </a:extLst>
                </p:cNvPr>
                <p:cNvGrpSpPr/>
                <p:nvPr/>
              </p:nvGrpSpPr>
              <p:grpSpPr>
                <a:xfrm>
                  <a:off x="6432512" y="2813257"/>
                  <a:ext cx="19347" cy="169658"/>
                  <a:chOff x="6432512" y="2813257"/>
                  <a:chExt cx="19347" cy="169658"/>
                </a:xfrm>
                <a:noFill/>
              </p:grpSpPr>
              <p:sp>
                <p:nvSpPr>
                  <p:cNvPr id="1584" name="Freeform: Shape 1583">
                    <a:extLst>
                      <a:ext uri="{FF2B5EF4-FFF2-40B4-BE49-F238E27FC236}">
                        <a16:creationId xmlns:a16="http://schemas.microsoft.com/office/drawing/2014/main" id="{4CDAEED6-A5E0-4577-5D86-01C097E257B9}"/>
                      </a:ext>
                    </a:extLst>
                  </p:cNvPr>
                  <p:cNvSpPr/>
                  <p:nvPr/>
                </p:nvSpPr>
                <p:spPr>
                  <a:xfrm>
                    <a:off x="6432512" y="2814249"/>
                    <a:ext cx="1984" cy="168666"/>
                  </a:xfrm>
                  <a:custGeom>
                    <a:avLst/>
                    <a:gdLst>
                      <a:gd name="connsiteX0" fmla="*/ 0 w 1984"/>
                      <a:gd name="connsiteY0" fmla="*/ 168666 h 168666"/>
                      <a:gd name="connsiteX1" fmla="*/ 496 w 1984"/>
                      <a:gd name="connsiteY1" fmla="*/ 151800 h 168666"/>
                      <a:gd name="connsiteX2" fmla="*/ 1984 w 1984"/>
                      <a:gd name="connsiteY2" fmla="*/ 134933 h 168666"/>
                      <a:gd name="connsiteX3" fmla="*/ 496 w 1984"/>
                      <a:gd name="connsiteY3" fmla="*/ 118066 h 168666"/>
                      <a:gd name="connsiteX4" fmla="*/ 0 w 1984"/>
                      <a:gd name="connsiteY4" fmla="*/ 101200 h 168666"/>
                      <a:gd name="connsiteX5" fmla="*/ 1488 w 1984"/>
                      <a:gd name="connsiteY5" fmla="*/ 84333 h 168666"/>
                      <a:gd name="connsiteX6" fmla="*/ 992 w 1984"/>
                      <a:gd name="connsiteY6" fmla="*/ 67467 h 168666"/>
                      <a:gd name="connsiteX7" fmla="*/ 992 w 1984"/>
                      <a:gd name="connsiteY7" fmla="*/ 50600 h 168666"/>
                      <a:gd name="connsiteX8" fmla="*/ 1984 w 1984"/>
                      <a:gd name="connsiteY8" fmla="*/ 33733 h 168666"/>
                      <a:gd name="connsiteX9" fmla="*/ 1984 w 1984"/>
                      <a:gd name="connsiteY9" fmla="*/ 16867 h 168666"/>
                      <a:gd name="connsiteX10" fmla="*/ 496 w 1984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84" h="168666">
                        <a:moveTo>
                          <a:pt x="0" y="168666"/>
                        </a:moveTo>
                        <a:cubicBezTo>
                          <a:pt x="0" y="160233"/>
                          <a:pt x="496" y="160233"/>
                          <a:pt x="496" y="151800"/>
                        </a:cubicBezTo>
                        <a:cubicBezTo>
                          <a:pt x="496" y="143367"/>
                          <a:pt x="1984" y="143367"/>
                          <a:pt x="1984" y="134933"/>
                        </a:cubicBezTo>
                        <a:cubicBezTo>
                          <a:pt x="1984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992" y="75900"/>
                          <a:pt x="992" y="67467"/>
                        </a:cubicBezTo>
                        <a:cubicBezTo>
                          <a:pt x="992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984" y="42167"/>
                          <a:pt x="1984" y="33733"/>
                        </a:cubicBezTo>
                        <a:cubicBezTo>
                          <a:pt x="1984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5" name="Freeform: Shape 1584">
                    <a:extLst>
                      <a:ext uri="{FF2B5EF4-FFF2-40B4-BE49-F238E27FC236}">
                        <a16:creationId xmlns:a16="http://schemas.microsoft.com/office/drawing/2014/main" id="{AD0C6B5F-22D1-377F-8695-530C896E959A}"/>
                      </a:ext>
                    </a:extLst>
                  </p:cNvPr>
                  <p:cNvSpPr/>
                  <p:nvPr/>
                </p:nvSpPr>
                <p:spPr>
                  <a:xfrm>
                    <a:off x="6449379" y="2813257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0 h 168666"/>
                      <a:gd name="connsiteX1" fmla="*/ 1984 w 2480"/>
                      <a:gd name="connsiteY1" fmla="*/ 16867 h 168666"/>
                      <a:gd name="connsiteX2" fmla="*/ 1488 w 2480"/>
                      <a:gd name="connsiteY2" fmla="*/ 33734 h 168666"/>
                      <a:gd name="connsiteX3" fmla="*/ 2480 w 2480"/>
                      <a:gd name="connsiteY3" fmla="*/ 50600 h 168666"/>
                      <a:gd name="connsiteX4" fmla="*/ 1984 w 2480"/>
                      <a:gd name="connsiteY4" fmla="*/ 67467 h 168666"/>
                      <a:gd name="connsiteX5" fmla="*/ 992 w 2480"/>
                      <a:gd name="connsiteY5" fmla="*/ 84333 h 168666"/>
                      <a:gd name="connsiteX6" fmla="*/ 992 w 2480"/>
                      <a:gd name="connsiteY6" fmla="*/ 101200 h 168666"/>
                      <a:gd name="connsiteX7" fmla="*/ 1984 w 2480"/>
                      <a:gd name="connsiteY7" fmla="*/ 118067 h 168666"/>
                      <a:gd name="connsiteX8" fmla="*/ 1488 w 2480"/>
                      <a:gd name="connsiteY8" fmla="*/ 134933 h 168666"/>
                      <a:gd name="connsiteX9" fmla="*/ 0 w 2480"/>
                      <a:gd name="connsiteY9" fmla="*/ 151800 h 168666"/>
                      <a:gd name="connsiteX10" fmla="*/ 0 w 2480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0"/>
                        </a:moveTo>
                        <a:cubicBezTo>
                          <a:pt x="1984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2480" y="42167"/>
                          <a:pt x="2480" y="50600"/>
                        </a:cubicBezTo>
                        <a:cubicBezTo>
                          <a:pt x="2480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992" y="75900"/>
                          <a:pt x="992" y="84333"/>
                        </a:cubicBezTo>
                        <a:cubicBezTo>
                          <a:pt x="992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0" y="143367"/>
                          <a:pt x="0" y="151800"/>
                        </a:cubicBezTo>
                        <a:cubicBezTo>
                          <a:pt x="0" y="160233"/>
                          <a:pt x="0" y="160233"/>
                          <a:pt x="0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</p:grpSp>
        </p:grp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88302901-B9F6-AAC4-CD1E-026C59D33C1B}"/>
                </a:ext>
              </a:extLst>
            </p:cNvPr>
            <p:cNvSpPr/>
            <p:nvPr/>
          </p:nvSpPr>
          <p:spPr>
            <a:xfrm>
              <a:off x="6284681" y="2655505"/>
              <a:ext cx="59033" cy="58537"/>
            </a:xfrm>
            <a:custGeom>
              <a:avLst/>
              <a:gdLst>
                <a:gd name="connsiteX0" fmla="*/ 59033 w 59033"/>
                <a:gd name="connsiteY0" fmla="*/ 0 h 58537"/>
                <a:gd name="connsiteX1" fmla="*/ 48120 w 59033"/>
                <a:gd name="connsiteY1" fmla="*/ 12402 h 58537"/>
                <a:gd name="connsiteX2" fmla="*/ 35718 w 59033"/>
                <a:gd name="connsiteY2" fmla="*/ 23316 h 58537"/>
                <a:gd name="connsiteX3" fmla="*/ 23812 w 59033"/>
                <a:gd name="connsiteY3" fmla="*/ 35222 h 58537"/>
                <a:gd name="connsiteX4" fmla="*/ 12402 w 59033"/>
                <a:gd name="connsiteY4" fmla="*/ 47624 h 58537"/>
                <a:gd name="connsiteX5" fmla="*/ 0 w 59033"/>
                <a:gd name="connsiteY5" fmla="*/ 58537 h 5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58537">
                  <a:moveTo>
                    <a:pt x="59033" y="0"/>
                  </a:moveTo>
                  <a:cubicBezTo>
                    <a:pt x="53081" y="5953"/>
                    <a:pt x="54073" y="6945"/>
                    <a:pt x="48120" y="12402"/>
                  </a:cubicBezTo>
                  <a:cubicBezTo>
                    <a:pt x="42167" y="18355"/>
                    <a:pt x="41671" y="17363"/>
                    <a:pt x="35718" y="23316"/>
                  </a:cubicBezTo>
                  <a:cubicBezTo>
                    <a:pt x="29765" y="29269"/>
                    <a:pt x="29765" y="29269"/>
                    <a:pt x="23812" y="35222"/>
                  </a:cubicBezTo>
                  <a:cubicBezTo>
                    <a:pt x="17859" y="41174"/>
                    <a:pt x="18355" y="41671"/>
                    <a:pt x="12402" y="47624"/>
                  </a:cubicBezTo>
                  <a:cubicBezTo>
                    <a:pt x="6449" y="53576"/>
                    <a:pt x="5953" y="52584"/>
                    <a:pt x="0" y="585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7C6FB53-283B-B6AA-11EF-C6AF011696F7}"/>
                </a:ext>
              </a:extLst>
            </p:cNvPr>
            <p:cNvSpPr/>
            <p:nvPr/>
          </p:nvSpPr>
          <p:spPr>
            <a:xfrm>
              <a:off x="6322383" y="2700152"/>
              <a:ext cx="13393" cy="13394"/>
            </a:xfrm>
            <a:custGeom>
              <a:avLst/>
              <a:gdLst>
                <a:gd name="connsiteX0" fmla="*/ 13394 w 13393"/>
                <a:gd name="connsiteY0" fmla="*/ 0 h 13394"/>
                <a:gd name="connsiteX1" fmla="*/ 0 w 13393"/>
                <a:gd name="connsiteY1" fmla="*/ 13394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3" h="13394">
                  <a:moveTo>
                    <a:pt x="13394" y="0"/>
                  </a:moveTo>
                  <a:cubicBezTo>
                    <a:pt x="6945" y="6449"/>
                    <a:pt x="6449" y="6449"/>
                    <a:pt x="0" y="133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2922F940-143E-0705-C508-0F28F344208F}"/>
                </a:ext>
              </a:extLst>
            </p:cNvPr>
            <p:cNvSpPr/>
            <p:nvPr/>
          </p:nvSpPr>
          <p:spPr>
            <a:xfrm>
              <a:off x="6118991" y="2671875"/>
              <a:ext cx="46134" cy="47127"/>
            </a:xfrm>
            <a:custGeom>
              <a:avLst/>
              <a:gdLst>
                <a:gd name="connsiteX0" fmla="*/ 46135 w 46134"/>
                <a:gd name="connsiteY0" fmla="*/ 0 h 47127"/>
                <a:gd name="connsiteX1" fmla="*/ 34725 w 46134"/>
                <a:gd name="connsiteY1" fmla="*/ 11906 h 47127"/>
                <a:gd name="connsiteX2" fmla="*/ 23315 w 46134"/>
                <a:gd name="connsiteY2" fmla="*/ 23812 h 47127"/>
                <a:gd name="connsiteX3" fmla="*/ 11905 w 46134"/>
                <a:gd name="connsiteY3" fmla="*/ 35718 h 47127"/>
                <a:gd name="connsiteX4" fmla="*/ 0 w 46134"/>
                <a:gd name="connsiteY4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34" h="47127">
                  <a:moveTo>
                    <a:pt x="46135" y="0"/>
                  </a:moveTo>
                  <a:cubicBezTo>
                    <a:pt x="40182" y="5953"/>
                    <a:pt x="40678" y="5953"/>
                    <a:pt x="34725" y="11906"/>
                  </a:cubicBezTo>
                  <a:cubicBezTo>
                    <a:pt x="28772" y="17859"/>
                    <a:pt x="29268" y="17859"/>
                    <a:pt x="23315" y="23812"/>
                  </a:cubicBezTo>
                  <a:cubicBezTo>
                    <a:pt x="17363" y="29765"/>
                    <a:pt x="17859" y="29765"/>
                    <a:pt x="11905" y="35718"/>
                  </a:cubicBezTo>
                  <a:cubicBezTo>
                    <a:pt x="5953" y="41671"/>
                    <a:pt x="5953" y="41175"/>
                    <a:pt x="0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33C245E0-650D-8B5E-65E5-838B363B31C8}"/>
                </a:ext>
              </a:extLst>
            </p:cNvPr>
            <p:cNvSpPr/>
            <p:nvPr/>
          </p:nvSpPr>
          <p:spPr>
            <a:xfrm>
              <a:off x="6292618" y="2505689"/>
              <a:ext cx="35221" cy="35717"/>
            </a:xfrm>
            <a:custGeom>
              <a:avLst/>
              <a:gdLst>
                <a:gd name="connsiteX0" fmla="*/ 35221 w 35221"/>
                <a:gd name="connsiteY0" fmla="*/ 0 h 35717"/>
                <a:gd name="connsiteX1" fmla="*/ 22819 w 35221"/>
                <a:gd name="connsiteY1" fmla="*/ 10914 h 35717"/>
                <a:gd name="connsiteX2" fmla="*/ 11905 w 35221"/>
                <a:gd name="connsiteY2" fmla="*/ 23812 h 35717"/>
                <a:gd name="connsiteX3" fmla="*/ 0 w 35221"/>
                <a:gd name="connsiteY3" fmla="*/ 35718 h 3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21" h="35717">
                  <a:moveTo>
                    <a:pt x="35221" y="0"/>
                  </a:moveTo>
                  <a:cubicBezTo>
                    <a:pt x="29268" y="5953"/>
                    <a:pt x="28772" y="4961"/>
                    <a:pt x="22819" y="10914"/>
                  </a:cubicBezTo>
                  <a:cubicBezTo>
                    <a:pt x="16866" y="16867"/>
                    <a:pt x="17859" y="17859"/>
                    <a:pt x="11905" y="23812"/>
                  </a:cubicBezTo>
                  <a:cubicBezTo>
                    <a:pt x="5953" y="29765"/>
                    <a:pt x="5953" y="29765"/>
                    <a:pt x="0" y="3571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12A8C1D4-E28B-D2A7-F39D-A85831692CC0}"/>
                </a:ext>
              </a:extLst>
            </p:cNvPr>
            <p:cNvSpPr/>
            <p:nvPr/>
          </p:nvSpPr>
          <p:spPr>
            <a:xfrm>
              <a:off x="6288154" y="2505193"/>
              <a:ext cx="70938" cy="70443"/>
            </a:xfrm>
            <a:custGeom>
              <a:avLst/>
              <a:gdLst>
                <a:gd name="connsiteX0" fmla="*/ 70939 w 70938"/>
                <a:gd name="connsiteY0" fmla="*/ 0 h 70443"/>
                <a:gd name="connsiteX1" fmla="*/ 59033 w 70938"/>
                <a:gd name="connsiteY1" fmla="*/ 11410 h 70443"/>
                <a:gd name="connsiteX2" fmla="*/ 48119 w 70938"/>
                <a:gd name="connsiteY2" fmla="*/ 23812 h 70443"/>
                <a:gd name="connsiteX3" fmla="*/ 36710 w 70938"/>
                <a:gd name="connsiteY3" fmla="*/ 35718 h 70443"/>
                <a:gd name="connsiteX4" fmla="*/ 24308 w 70938"/>
                <a:gd name="connsiteY4" fmla="*/ 47127 h 70443"/>
                <a:gd name="connsiteX5" fmla="*/ 13394 w 70938"/>
                <a:gd name="connsiteY5" fmla="*/ 60025 h 70443"/>
                <a:gd name="connsiteX6" fmla="*/ 0 w 7093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38" h="70443">
                  <a:moveTo>
                    <a:pt x="70939" y="0"/>
                  </a:moveTo>
                  <a:cubicBezTo>
                    <a:pt x="64986" y="5953"/>
                    <a:pt x="64986" y="5457"/>
                    <a:pt x="59033" y="11410"/>
                  </a:cubicBezTo>
                  <a:cubicBezTo>
                    <a:pt x="53080" y="17363"/>
                    <a:pt x="54073" y="17859"/>
                    <a:pt x="48119" y="23812"/>
                  </a:cubicBezTo>
                  <a:cubicBezTo>
                    <a:pt x="42167" y="29765"/>
                    <a:pt x="42663" y="29765"/>
                    <a:pt x="36710" y="35718"/>
                  </a:cubicBezTo>
                  <a:cubicBezTo>
                    <a:pt x="30757" y="41671"/>
                    <a:pt x="30261" y="41174"/>
                    <a:pt x="24308" y="47127"/>
                  </a:cubicBezTo>
                  <a:cubicBezTo>
                    <a:pt x="18355" y="53080"/>
                    <a:pt x="19347" y="54073"/>
                    <a:pt x="13394" y="60025"/>
                  </a:cubicBezTo>
                  <a:cubicBezTo>
                    <a:pt x="7441" y="65978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84F92A56-5390-16CE-2DDB-D91E69D839A5}"/>
                </a:ext>
              </a:extLst>
            </p:cNvPr>
            <p:cNvSpPr/>
            <p:nvPr/>
          </p:nvSpPr>
          <p:spPr>
            <a:xfrm>
              <a:off x="3179729" y="4543081"/>
              <a:ext cx="206368" cy="1984"/>
            </a:xfrm>
            <a:custGeom>
              <a:avLst/>
              <a:gdLst>
                <a:gd name="connsiteX0" fmla="*/ 0 w 206368"/>
                <a:gd name="connsiteY0" fmla="*/ 0 h 1984"/>
                <a:gd name="connsiteX1" fmla="*/ 15875 w 206368"/>
                <a:gd name="connsiteY1" fmla="*/ 992 h 1984"/>
                <a:gd name="connsiteX2" fmla="*/ 31749 w 206368"/>
                <a:gd name="connsiteY2" fmla="*/ 1984 h 1984"/>
                <a:gd name="connsiteX3" fmla="*/ 47624 w 206368"/>
                <a:gd name="connsiteY3" fmla="*/ 1488 h 1984"/>
                <a:gd name="connsiteX4" fmla="*/ 63498 w 206368"/>
                <a:gd name="connsiteY4" fmla="*/ 496 h 1984"/>
                <a:gd name="connsiteX5" fmla="*/ 79372 w 206368"/>
                <a:gd name="connsiteY5" fmla="*/ 0 h 1984"/>
                <a:gd name="connsiteX6" fmla="*/ 95247 w 206368"/>
                <a:gd name="connsiteY6" fmla="*/ 1984 h 1984"/>
                <a:gd name="connsiteX7" fmla="*/ 111122 w 206368"/>
                <a:gd name="connsiteY7" fmla="*/ 992 h 1984"/>
                <a:gd name="connsiteX8" fmla="*/ 126996 w 206368"/>
                <a:gd name="connsiteY8" fmla="*/ 0 h 1984"/>
                <a:gd name="connsiteX9" fmla="*/ 142870 w 206368"/>
                <a:gd name="connsiteY9" fmla="*/ 1984 h 1984"/>
                <a:gd name="connsiteX10" fmla="*/ 158745 w 206368"/>
                <a:gd name="connsiteY10" fmla="*/ 992 h 1984"/>
                <a:gd name="connsiteX11" fmla="*/ 174619 w 206368"/>
                <a:gd name="connsiteY11" fmla="*/ 1488 h 1984"/>
                <a:gd name="connsiteX12" fmla="*/ 190494 w 206368"/>
                <a:gd name="connsiteY12" fmla="*/ 0 h 1984"/>
                <a:gd name="connsiteX13" fmla="*/ 206369 w 206368"/>
                <a:gd name="connsiteY13" fmla="*/ 1984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68" h="1984">
                  <a:moveTo>
                    <a:pt x="0" y="0"/>
                  </a:moveTo>
                  <a:cubicBezTo>
                    <a:pt x="7937" y="0"/>
                    <a:pt x="7937" y="992"/>
                    <a:pt x="15875" y="992"/>
                  </a:cubicBezTo>
                  <a:cubicBezTo>
                    <a:pt x="23812" y="992"/>
                    <a:pt x="23812" y="1984"/>
                    <a:pt x="31749" y="1984"/>
                  </a:cubicBezTo>
                  <a:cubicBezTo>
                    <a:pt x="39686" y="1984"/>
                    <a:pt x="39686" y="1488"/>
                    <a:pt x="47624" y="1488"/>
                  </a:cubicBezTo>
                  <a:cubicBezTo>
                    <a:pt x="55561" y="1488"/>
                    <a:pt x="55561" y="496"/>
                    <a:pt x="63498" y="496"/>
                  </a:cubicBezTo>
                  <a:cubicBezTo>
                    <a:pt x="71435" y="496"/>
                    <a:pt x="71435" y="0"/>
                    <a:pt x="79372" y="0"/>
                  </a:cubicBezTo>
                  <a:cubicBezTo>
                    <a:pt x="87310" y="0"/>
                    <a:pt x="87310" y="1984"/>
                    <a:pt x="95247" y="1984"/>
                  </a:cubicBezTo>
                  <a:cubicBezTo>
                    <a:pt x="103184" y="1984"/>
                    <a:pt x="103184" y="992"/>
                    <a:pt x="111122" y="992"/>
                  </a:cubicBezTo>
                  <a:cubicBezTo>
                    <a:pt x="119059" y="992"/>
                    <a:pt x="119059" y="0"/>
                    <a:pt x="126996" y="0"/>
                  </a:cubicBezTo>
                  <a:cubicBezTo>
                    <a:pt x="134933" y="0"/>
                    <a:pt x="134933" y="1984"/>
                    <a:pt x="142870" y="1984"/>
                  </a:cubicBezTo>
                  <a:cubicBezTo>
                    <a:pt x="150808" y="1984"/>
                    <a:pt x="150808" y="992"/>
                    <a:pt x="158745" y="992"/>
                  </a:cubicBezTo>
                  <a:cubicBezTo>
                    <a:pt x="166682" y="992"/>
                    <a:pt x="166682" y="1488"/>
                    <a:pt x="174619" y="1488"/>
                  </a:cubicBezTo>
                  <a:cubicBezTo>
                    <a:pt x="182557" y="1488"/>
                    <a:pt x="182557" y="0"/>
                    <a:pt x="190494" y="0"/>
                  </a:cubicBezTo>
                  <a:cubicBezTo>
                    <a:pt x="198431" y="0"/>
                    <a:pt x="198431" y="1984"/>
                    <a:pt x="20636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B55FD553-56AB-E356-A31B-ABFE0881DDEB}"/>
                </a:ext>
              </a:extLst>
            </p:cNvPr>
            <p:cNvSpPr/>
            <p:nvPr/>
          </p:nvSpPr>
          <p:spPr>
            <a:xfrm>
              <a:off x="2321514" y="4543081"/>
              <a:ext cx="785291" cy="678634"/>
            </a:xfrm>
            <a:custGeom>
              <a:avLst/>
              <a:gdLst>
                <a:gd name="connsiteX0" fmla="*/ 785291 w 785291"/>
                <a:gd name="connsiteY0" fmla="*/ 675658 h 678634"/>
                <a:gd name="connsiteX1" fmla="*/ 768921 w 785291"/>
                <a:gd name="connsiteY1" fmla="*/ 676154 h 678634"/>
                <a:gd name="connsiteX2" fmla="*/ 752550 w 785291"/>
                <a:gd name="connsiteY2" fmla="*/ 676650 h 678634"/>
                <a:gd name="connsiteX3" fmla="*/ 736180 w 785291"/>
                <a:gd name="connsiteY3" fmla="*/ 676154 h 678634"/>
                <a:gd name="connsiteX4" fmla="*/ 719809 w 785291"/>
                <a:gd name="connsiteY4" fmla="*/ 676650 h 678634"/>
                <a:gd name="connsiteX5" fmla="*/ 703439 w 785291"/>
                <a:gd name="connsiteY5" fmla="*/ 677147 h 678634"/>
                <a:gd name="connsiteX6" fmla="*/ 687068 w 785291"/>
                <a:gd name="connsiteY6" fmla="*/ 676650 h 678634"/>
                <a:gd name="connsiteX7" fmla="*/ 670697 w 785291"/>
                <a:gd name="connsiteY7" fmla="*/ 675658 h 678634"/>
                <a:gd name="connsiteX8" fmla="*/ 654327 w 785291"/>
                <a:gd name="connsiteY8" fmla="*/ 676650 h 678634"/>
                <a:gd name="connsiteX9" fmla="*/ 637956 w 785291"/>
                <a:gd name="connsiteY9" fmla="*/ 677147 h 678634"/>
                <a:gd name="connsiteX10" fmla="*/ 621586 w 785291"/>
                <a:gd name="connsiteY10" fmla="*/ 678139 h 678634"/>
                <a:gd name="connsiteX11" fmla="*/ 605215 w 785291"/>
                <a:gd name="connsiteY11" fmla="*/ 677643 h 678634"/>
                <a:gd name="connsiteX12" fmla="*/ 588845 w 785291"/>
                <a:gd name="connsiteY12" fmla="*/ 677643 h 678634"/>
                <a:gd name="connsiteX13" fmla="*/ 572474 w 785291"/>
                <a:gd name="connsiteY13" fmla="*/ 678635 h 678634"/>
                <a:gd name="connsiteX14" fmla="*/ 556103 w 785291"/>
                <a:gd name="connsiteY14" fmla="*/ 677643 h 678634"/>
                <a:gd name="connsiteX15" fmla="*/ 539733 w 785291"/>
                <a:gd name="connsiteY15" fmla="*/ 676650 h 678634"/>
                <a:gd name="connsiteX16" fmla="*/ 523362 w 785291"/>
                <a:gd name="connsiteY16" fmla="*/ 677643 h 678634"/>
                <a:gd name="connsiteX17" fmla="*/ 506992 w 785291"/>
                <a:gd name="connsiteY17" fmla="*/ 677643 h 678634"/>
                <a:gd name="connsiteX18" fmla="*/ 490621 w 785291"/>
                <a:gd name="connsiteY18" fmla="*/ 676650 h 678634"/>
                <a:gd name="connsiteX19" fmla="*/ 474251 w 785291"/>
                <a:gd name="connsiteY19" fmla="*/ 678139 h 678634"/>
                <a:gd name="connsiteX20" fmla="*/ 457880 w 785291"/>
                <a:gd name="connsiteY20" fmla="*/ 677643 h 678634"/>
                <a:gd name="connsiteX21" fmla="*/ 441509 w 785291"/>
                <a:gd name="connsiteY21" fmla="*/ 677147 h 678634"/>
                <a:gd name="connsiteX22" fmla="*/ 425139 w 785291"/>
                <a:gd name="connsiteY22" fmla="*/ 678139 h 678634"/>
                <a:gd name="connsiteX23" fmla="*/ 408768 w 785291"/>
                <a:gd name="connsiteY23" fmla="*/ 677147 h 678634"/>
                <a:gd name="connsiteX24" fmla="*/ 392398 w 785291"/>
                <a:gd name="connsiteY24" fmla="*/ 676154 h 678634"/>
                <a:gd name="connsiteX25" fmla="*/ 376027 w 785291"/>
                <a:gd name="connsiteY25" fmla="*/ 676650 h 678634"/>
                <a:gd name="connsiteX26" fmla="*/ 359657 w 785291"/>
                <a:gd name="connsiteY26" fmla="*/ 678139 h 678634"/>
                <a:gd name="connsiteX27" fmla="*/ 343286 w 785291"/>
                <a:gd name="connsiteY27" fmla="*/ 678139 h 678634"/>
                <a:gd name="connsiteX28" fmla="*/ 326915 w 785291"/>
                <a:gd name="connsiteY28" fmla="*/ 678139 h 678634"/>
                <a:gd name="connsiteX29" fmla="*/ 310545 w 785291"/>
                <a:gd name="connsiteY29" fmla="*/ 675658 h 678634"/>
                <a:gd name="connsiteX30" fmla="*/ 294174 w 785291"/>
                <a:gd name="connsiteY30" fmla="*/ 676650 h 678634"/>
                <a:gd name="connsiteX31" fmla="*/ 277804 w 785291"/>
                <a:gd name="connsiteY31" fmla="*/ 677147 h 678634"/>
                <a:gd name="connsiteX32" fmla="*/ 261433 w 785291"/>
                <a:gd name="connsiteY32" fmla="*/ 676154 h 678634"/>
                <a:gd name="connsiteX33" fmla="*/ 245559 w 785291"/>
                <a:gd name="connsiteY33" fmla="*/ 675162 h 678634"/>
                <a:gd name="connsiteX34" fmla="*/ 229188 w 785291"/>
                <a:gd name="connsiteY34" fmla="*/ 674170 h 678634"/>
                <a:gd name="connsiteX35" fmla="*/ 213314 w 785291"/>
                <a:gd name="connsiteY35" fmla="*/ 669706 h 678634"/>
                <a:gd name="connsiteX36" fmla="*/ 196943 w 785291"/>
                <a:gd name="connsiteY36" fmla="*/ 668713 h 678634"/>
                <a:gd name="connsiteX37" fmla="*/ 181565 w 785291"/>
                <a:gd name="connsiteY37" fmla="*/ 663256 h 678634"/>
                <a:gd name="connsiteX38" fmla="*/ 165690 w 785291"/>
                <a:gd name="connsiteY38" fmla="*/ 660776 h 678634"/>
                <a:gd name="connsiteX39" fmla="*/ 150312 w 785291"/>
                <a:gd name="connsiteY39" fmla="*/ 655319 h 678634"/>
                <a:gd name="connsiteX40" fmla="*/ 135429 w 785291"/>
                <a:gd name="connsiteY40" fmla="*/ 649366 h 678634"/>
                <a:gd name="connsiteX41" fmla="*/ 120547 w 785291"/>
                <a:gd name="connsiteY41" fmla="*/ 643413 h 678634"/>
                <a:gd name="connsiteX42" fmla="*/ 106161 w 785291"/>
                <a:gd name="connsiteY42" fmla="*/ 635476 h 678634"/>
                <a:gd name="connsiteX43" fmla="*/ 92271 w 785291"/>
                <a:gd name="connsiteY43" fmla="*/ 627539 h 678634"/>
                <a:gd name="connsiteX44" fmla="*/ 78877 w 785291"/>
                <a:gd name="connsiteY44" fmla="*/ 618113 h 678634"/>
                <a:gd name="connsiteX45" fmla="*/ 66971 w 785291"/>
                <a:gd name="connsiteY45" fmla="*/ 607199 h 678634"/>
                <a:gd name="connsiteX46" fmla="*/ 54073 w 785291"/>
                <a:gd name="connsiteY46" fmla="*/ 597278 h 678634"/>
                <a:gd name="connsiteX47" fmla="*/ 42167 w 785291"/>
                <a:gd name="connsiteY47" fmla="*/ 586364 h 678634"/>
                <a:gd name="connsiteX48" fmla="*/ 31749 w 785291"/>
                <a:gd name="connsiteY48" fmla="*/ 573962 h 678634"/>
                <a:gd name="connsiteX49" fmla="*/ 23316 w 785291"/>
                <a:gd name="connsiteY49" fmla="*/ 560072 h 678634"/>
                <a:gd name="connsiteX50" fmla="*/ 15378 w 785291"/>
                <a:gd name="connsiteY50" fmla="*/ 546182 h 678634"/>
                <a:gd name="connsiteX51" fmla="*/ 8433 w 785291"/>
                <a:gd name="connsiteY51" fmla="*/ 531300 h 678634"/>
                <a:gd name="connsiteX52" fmla="*/ 5457 w 785291"/>
                <a:gd name="connsiteY52" fmla="*/ 515425 h 678634"/>
                <a:gd name="connsiteX53" fmla="*/ 496 w 785291"/>
                <a:gd name="connsiteY53" fmla="*/ 500046 h 678634"/>
                <a:gd name="connsiteX54" fmla="*/ 992 w 785291"/>
                <a:gd name="connsiteY54" fmla="*/ 483676 h 678634"/>
                <a:gd name="connsiteX55" fmla="*/ 0 w 785291"/>
                <a:gd name="connsiteY55" fmla="*/ 483676 h 678634"/>
                <a:gd name="connsiteX56" fmla="*/ 2480 w 785291"/>
                <a:gd name="connsiteY56" fmla="*/ 467801 h 678634"/>
                <a:gd name="connsiteX57" fmla="*/ 3473 w 785291"/>
                <a:gd name="connsiteY57" fmla="*/ 451431 h 678634"/>
                <a:gd name="connsiteX58" fmla="*/ 8433 w 785291"/>
                <a:gd name="connsiteY58" fmla="*/ 436053 h 678634"/>
                <a:gd name="connsiteX59" fmla="*/ 16371 w 785291"/>
                <a:gd name="connsiteY59" fmla="*/ 421666 h 678634"/>
                <a:gd name="connsiteX60" fmla="*/ 24308 w 785291"/>
                <a:gd name="connsiteY60" fmla="*/ 407776 h 678634"/>
                <a:gd name="connsiteX61" fmla="*/ 32245 w 785291"/>
                <a:gd name="connsiteY61" fmla="*/ 393886 h 678634"/>
                <a:gd name="connsiteX62" fmla="*/ 42167 w 785291"/>
                <a:gd name="connsiteY62" fmla="*/ 381484 h 678634"/>
                <a:gd name="connsiteX63" fmla="*/ 55065 w 785291"/>
                <a:gd name="connsiteY63" fmla="*/ 371562 h 678634"/>
                <a:gd name="connsiteX64" fmla="*/ 65978 w 785291"/>
                <a:gd name="connsiteY64" fmla="*/ 359657 h 678634"/>
                <a:gd name="connsiteX65" fmla="*/ 79372 w 785291"/>
                <a:gd name="connsiteY65" fmla="*/ 350727 h 678634"/>
                <a:gd name="connsiteX66" fmla="*/ 92271 w 785291"/>
                <a:gd name="connsiteY66" fmla="*/ 340806 h 678634"/>
                <a:gd name="connsiteX67" fmla="*/ 107153 w 785291"/>
                <a:gd name="connsiteY67" fmla="*/ 334357 h 678634"/>
                <a:gd name="connsiteX68" fmla="*/ 120547 w 785291"/>
                <a:gd name="connsiteY68" fmla="*/ 325427 h 678634"/>
                <a:gd name="connsiteX69" fmla="*/ 135429 w 785291"/>
                <a:gd name="connsiteY69" fmla="*/ 319474 h 678634"/>
                <a:gd name="connsiteX70" fmla="*/ 150808 w 785291"/>
                <a:gd name="connsiteY70" fmla="*/ 315009 h 678634"/>
                <a:gd name="connsiteX71" fmla="*/ 166186 w 785291"/>
                <a:gd name="connsiteY71" fmla="*/ 310049 h 678634"/>
                <a:gd name="connsiteX72" fmla="*/ 181068 w 785291"/>
                <a:gd name="connsiteY72" fmla="*/ 303600 h 678634"/>
                <a:gd name="connsiteX73" fmla="*/ 196943 w 785291"/>
                <a:gd name="connsiteY73" fmla="*/ 300127 h 678634"/>
                <a:gd name="connsiteX74" fmla="*/ 212818 w 785291"/>
                <a:gd name="connsiteY74" fmla="*/ 298639 h 678634"/>
                <a:gd name="connsiteX75" fmla="*/ 228692 w 785291"/>
                <a:gd name="connsiteY75" fmla="*/ 296159 h 678634"/>
                <a:gd name="connsiteX76" fmla="*/ 244567 w 785291"/>
                <a:gd name="connsiteY76" fmla="*/ 293182 h 678634"/>
                <a:gd name="connsiteX77" fmla="*/ 260937 w 785291"/>
                <a:gd name="connsiteY77" fmla="*/ 293678 h 678634"/>
                <a:gd name="connsiteX78" fmla="*/ 276812 w 785291"/>
                <a:gd name="connsiteY78" fmla="*/ 293182 h 678634"/>
                <a:gd name="connsiteX79" fmla="*/ 293182 w 785291"/>
                <a:gd name="connsiteY79" fmla="*/ 293182 h 678634"/>
                <a:gd name="connsiteX80" fmla="*/ 309553 w 785291"/>
                <a:gd name="connsiteY80" fmla="*/ 292190 h 678634"/>
                <a:gd name="connsiteX81" fmla="*/ 325923 w 785291"/>
                <a:gd name="connsiteY81" fmla="*/ 294174 h 678634"/>
                <a:gd name="connsiteX82" fmla="*/ 342294 w 785291"/>
                <a:gd name="connsiteY82" fmla="*/ 293678 h 678634"/>
                <a:gd name="connsiteX83" fmla="*/ 358664 w 785291"/>
                <a:gd name="connsiteY83" fmla="*/ 291694 h 678634"/>
                <a:gd name="connsiteX84" fmla="*/ 375035 w 785291"/>
                <a:gd name="connsiteY84" fmla="*/ 293182 h 678634"/>
                <a:gd name="connsiteX85" fmla="*/ 391406 w 785291"/>
                <a:gd name="connsiteY85" fmla="*/ 293678 h 678634"/>
                <a:gd name="connsiteX86" fmla="*/ 407776 w 785291"/>
                <a:gd name="connsiteY86" fmla="*/ 293182 h 678634"/>
                <a:gd name="connsiteX87" fmla="*/ 424147 w 785291"/>
                <a:gd name="connsiteY87" fmla="*/ 292190 h 678634"/>
                <a:gd name="connsiteX88" fmla="*/ 440517 w 785291"/>
                <a:gd name="connsiteY88" fmla="*/ 292686 h 678634"/>
                <a:gd name="connsiteX89" fmla="*/ 456888 w 785291"/>
                <a:gd name="connsiteY89" fmla="*/ 293182 h 678634"/>
                <a:gd name="connsiteX90" fmla="*/ 473258 w 785291"/>
                <a:gd name="connsiteY90" fmla="*/ 291694 h 678634"/>
                <a:gd name="connsiteX91" fmla="*/ 489629 w 785291"/>
                <a:gd name="connsiteY91" fmla="*/ 292190 h 678634"/>
                <a:gd name="connsiteX92" fmla="*/ 506000 w 785291"/>
                <a:gd name="connsiteY92" fmla="*/ 293182 h 678634"/>
                <a:gd name="connsiteX93" fmla="*/ 522370 w 785291"/>
                <a:gd name="connsiteY93" fmla="*/ 292686 h 678634"/>
                <a:gd name="connsiteX94" fmla="*/ 537749 w 785291"/>
                <a:gd name="connsiteY94" fmla="*/ 290206 h 678634"/>
                <a:gd name="connsiteX95" fmla="*/ 551143 w 785291"/>
                <a:gd name="connsiteY95" fmla="*/ 282268 h 678634"/>
                <a:gd name="connsiteX96" fmla="*/ 557096 w 785291"/>
                <a:gd name="connsiteY96" fmla="*/ 268378 h 678634"/>
                <a:gd name="connsiteX97" fmla="*/ 558584 w 785291"/>
                <a:gd name="connsiteY97" fmla="*/ 268378 h 678634"/>
                <a:gd name="connsiteX98" fmla="*/ 551143 w 785291"/>
                <a:gd name="connsiteY98" fmla="*/ 254984 h 678634"/>
                <a:gd name="connsiteX99" fmla="*/ 538245 w 785291"/>
                <a:gd name="connsiteY99" fmla="*/ 246055 h 678634"/>
                <a:gd name="connsiteX100" fmla="*/ 522370 w 785291"/>
                <a:gd name="connsiteY100" fmla="*/ 244566 h 678634"/>
                <a:gd name="connsiteX101" fmla="*/ 515921 w 785291"/>
                <a:gd name="connsiteY101" fmla="*/ 243574 h 678634"/>
                <a:gd name="connsiteX102" fmla="*/ 499054 w 785291"/>
                <a:gd name="connsiteY102" fmla="*/ 244070 h 678634"/>
                <a:gd name="connsiteX103" fmla="*/ 482684 w 785291"/>
                <a:gd name="connsiteY103" fmla="*/ 241094 h 678634"/>
                <a:gd name="connsiteX104" fmla="*/ 465817 w 785291"/>
                <a:gd name="connsiteY104" fmla="*/ 240102 h 678634"/>
                <a:gd name="connsiteX105" fmla="*/ 449943 w 785291"/>
                <a:gd name="connsiteY105" fmla="*/ 234645 h 678634"/>
                <a:gd name="connsiteX106" fmla="*/ 434068 w 785291"/>
                <a:gd name="connsiteY106" fmla="*/ 229684 h 678634"/>
                <a:gd name="connsiteX107" fmla="*/ 418690 w 785291"/>
                <a:gd name="connsiteY107" fmla="*/ 223235 h 678634"/>
                <a:gd name="connsiteX108" fmla="*/ 403311 w 785291"/>
                <a:gd name="connsiteY108" fmla="*/ 216290 h 678634"/>
                <a:gd name="connsiteX109" fmla="*/ 388429 w 785291"/>
                <a:gd name="connsiteY109" fmla="*/ 207857 h 678634"/>
                <a:gd name="connsiteX110" fmla="*/ 375531 w 785291"/>
                <a:gd name="connsiteY110" fmla="*/ 196943 h 678634"/>
                <a:gd name="connsiteX111" fmla="*/ 364121 w 785291"/>
                <a:gd name="connsiteY111" fmla="*/ 184541 h 678634"/>
                <a:gd name="connsiteX112" fmla="*/ 355688 w 785291"/>
                <a:gd name="connsiteY112" fmla="*/ 170155 h 678634"/>
                <a:gd name="connsiteX113" fmla="*/ 346263 w 785291"/>
                <a:gd name="connsiteY113" fmla="*/ 156265 h 678634"/>
                <a:gd name="connsiteX114" fmla="*/ 343782 w 785291"/>
                <a:gd name="connsiteY114" fmla="*/ 139398 h 678634"/>
                <a:gd name="connsiteX115" fmla="*/ 340310 w 785291"/>
                <a:gd name="connsiteY115" fmla="*/ 123027 h 678634"/>
                <a:gd name="connsiteX116" fmla="*/ 341798 w 785291"/>
                <a:gd name="connsiteY116" fmla="*/ 123027 h 678634"/>
                <a:gd name="connsiteX117" fmla="*/ 342790 w 785291"/>
                <a:gd name="connsiteY117" fmla="*/ 106161 h 678634"/>
                <a:gd name="connsiteX118" fmla="*/ 347255 w 785291"/>
                <a:gd name="connsiteY118" fmla="*/ 89790 h 678634"/>
                <a:gd name="connsiteX119" fmla="*/ 355688 w 785291"/>
                <a:gd name="connsiteY119" fmla="*/ 75404 h 678634"/>
                <a:gd name="connsiteX120" fmla="*/ 364121 w 785291"/>
                <a:gd name="connsiteY120" fmla="*/ 61018 h 678634"/>
                <a:gd name="connsiteX121" fmla="*/ 377019 w 785291"/>
                <a:gd name="connsiteY121" fmla="*/ 50600 h 678634"/>
                <a:gd name="connsiteX122" fmla="*/ 388429 w 785291"/>
                <a:gd name="connsiteY122" fmla="*/ 38198 h 678634"/>
                <a:gd name="connsiteX123" fmla="*/ 402815 w 785291"/>
                <a:gd name="connsiteY123" fmla="*/ 29765 h 678634"/>
                <a:gd name="connsiteX124" fmla="*/ 417202 w 785291"/>
                <a:gd name="connsiteY124" fmla="*/ 21331 h 678634"/>
                <a:gd name="connsiteX125" fmla="*/ 433076 w 785291"/>
                <a:gd name="connsiteY125" fmla="*/ 15379 h 678634"/>
                <a:gd name="connsiteX126" fmla="*/ 448951 w 785291"/>
                <a:gd name="connsiteY126" fmla="*/ 9426 h 678634"/>
                <a:gd name="connsiteX127" fmla="*/ 465321 w 785291"/>
                <a:gd name="connsiteY127" fmla="*/ 5953 h 678634"/>
                <a:gd name="connsiteX128" fmla="*/ 481692 w 785291"/>
                <a:gd name="connsiteY128" fmla="*/ 3473 h 678634"/>
                <a:gd name="connsiteX129" fmla="*/ 498558 w 785291"/>
                <a:gd name="connsiteY129" fmla="*/ 1984 h 678634"/>
                <a:gd name="connsiteX130" fmla="*/ 515425 w 785291"/>
                <a:gd name="connsiteY130" fmla="*/ 496 h 678634"/>
                <a:gd name="connsiteX131" fmla="*/ 531796 w 785291"/>
                <a:gd name="connsiteY131" fmla="*/ 1488 h 678634"/>
                <a:gd name="connsiteX132" fmla="*/ 548662 w 785291"/>
                <a:gd name="connsiteY132" fmla="*/ 1488 h 678634"/>
                <a:gd name="connsiteX133" fmla="*/ 565529 w 785291"/>
                <a:gd name="connsiteY133" fmla="*/ 496 h 678634"/>
                <a:gd name="connsiteX134" fmla="*/ 582396 w 785291"/>
                <a:gd name="connsiteY134" fmla="*/ 1984 h 678634"/>
                <a:gd name="connsiteX135" fmla="*/ 599262 w 785291"/>
                <a:gd name="connsiteY135" fmla="*/ 496 h 678634"/>
                <a:gd name="connsiteX136" fmla="*/ 616129 w 785291"/>
                <a:gd name="connsiteY136" fmla="*/ 992 h 678634"/>
                <a:gd name="connsiteX137" fmla="*/ 632995 w 785291"/>
                <a:gd name="connsiteY137" fmla="*/ 1488 h 678634"/>
                <a:gd name="connsiteX138" fmla="*/ 649862 w 785291"/>
                <a:gd name="connsiteY138" fmla="*/ 992 h 678634"/>
                <a:gd name="connsiteX139" fmla="*/ 666729 w 785291"/>
                <a:gd name="connsiteY139" fmla="*/ 0 h 678634"/>
                <a:gd name="connsiteX140" fmla="*/ 683596 w 785291"/>
                <a:gd name="connsiteY140" fmla="*/ 0 h 678634"/>
                <a:gd name="connsiteX141" fmla="*/ 700462 w 785291"/>
                <a:gd name="connsiteY141" fmla="*/ 992 h 678634"/>
                <a:gd name="connsiteX142" fmla="*/ 717329 w 785291"/>
                <a:gd name="connsiteY142" fmla="*/ 2480 h 678634"/>
                <a:gd name="connsiteX143" fmla="*/ 734195 w 785291"/>
                <a:gd name="connsiteY143" fmla="*/ 1488 h 678634"/>
                <a:gd name="connsiteX144" fmla="*/ 751062 w 785291"/>
                <a:gd name="connsiteY144" fmla="*/ 496 h 67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5291" h="678634">
                  <a:moveTo>
                    <a:pt x="785291" y="675658"/>
                  </a:moveTo>
                  <a:cubicBezTo>
                    <a:pt x="777354" y="675658"/>
                    <a:pt x="777354" y="676154"/>
                    <a:pt x="768921" y="676154"/>
                  </a:cubicBezTo>
                  <a:cubicBezTo>
                    <a:pt x="760984" y="676154"/>
                    <a:pt x="760984" y="676650"/>
                    <a:pt x="752550" y="676650"/>
                  </a:cubicBezTo>
                  <a:cubicBezTo>
                    <a:pt x="744613" y="676650"/>
                    <a:pt x="744613" y="676154"/>
                    <a:pt x="736180" y="676154"/>
                  </a:cubicBezTo>
                  <a:cubicBezTo>
                    <a:pt x="728243" y="676154"/>
                    <a:pt x="728243" y="676650"/>
                    <a:pt x="719809" y="676650"/>
                  </a:cubicBezTo>
                  <a:cubicBezTo>
                    <a:pt x="711872" y="676650"/>
                    <a:pt x="711872" y="677147"/>
                    <a:pt x="703439" y="677147"/>
                  </a:cubicBezTo>
                  <a:cubicBezTo>
                    <a:pt x="695501" y="677147"/>
                    <a:pt x="695501" y="676650"/>
                    <a:pt x="687068" y="676650"/>
                  </a:cubicBezTo>
                  <a:cubicBezTo>
                    <a:pt x="679131" y="676650"/>
                    <a:pt x="679131" y="675658"/>
                    <a:pt x="670697" y="675658"/>
                  </a:cubicBezTo>
                  <a:cubicBezTo>
                    <a:pt x="662760" y="675658"/>
                    <a:pt x="662760" y="676650"/>
                    <a:pt x="654327" y="676650"/>
                  </a:cubicBezTo>
                  <a:cubicBezTo>
                    <a:pt x="646390" y="676650"/>
                    <a:pt x="646390" y="677147"/>
                    <a:pt x="637956" y="677147"/>
                  </a:cubicBezTo>
                  <a:cubicBezTo>
                    <a:pt x="630019" y="677147"/>
                    <a:pt x="630019" y="678139"/>
                    <a:pt x="621586" y="678139"/>
                  </a:cubicBezTo>
                  <a:cubicBezTo>
                    <a:pt x="613648" y="678139"/>
                    <a:pt x="613648" y="677643"/>
                    <a:pt x="605215" y="677643"/>
                  </a:cubicBezTo>
                  <a:cubicBezTo>
                    <a:pt x="597278" y="677643"/>
                    <a:pt x="597278" y="677643"/>
                    <a:pt x="588845" y="677643"/>
                  </a:cubicBezTo>
                  <a:cubicBezTo>
                    <a:pt x="580907" y="677643"/>
                    <a:pt x="580907" y="678635"/>
                    <a:pt x="572474" y="678635"/>
                  </a:cubicBezTo>
                  <a:cubicBezTo>
                    <a:pt x="564537" y="678635"/>
                    <a:pt x="564537" y="677643"/>
                    <a:pt x="556103" y="677643"/>
                  </a:cubicBezTo>
                  <a:cubicBezTo>
                    <a:pt x="548166" y="677643"/>
                    <a:pt x="548166" y="676650"/>
                    <a:pt x="539733" y="676650"/>
                  </a:cubicBezTo>
                  <a:cubicBezTo>
                    <a:pt x="531796" y="676650"/>
                    <a:pt x="531796" y="677643"/>
                    <a:pt x="523362" y="677643"/>
                  </a:cubicBezTo>
                  <a:cubicBezTo>
                    <a:pt x="515425" y="677643"/>
                    <a:pt x="515425" y="677643"/>
                    <a:pt x="506992" y="677643"/>
                  </a:cubicBezTo>
                  <a:cubicBezTo>
                    <a:pt x="499054" y="677643"/>
                    <a:pt x="499054" y="676650"/>
                    <a:pt x="490621" y="676650"/>
                  </a:cubicBezTo>
                  <a:cubicBezTo>
                    <a:pt x="482684" y="676650"/>
                    <a:pt x="482684" y="678139"/>
                    <a:pt x="474251" y="678139"/>
                  </a:cubicBezTo>
                  <a:cubicBezTo>
                    <a:pt x="466313" y="678139"/>
                    <a:pt x="466313" y="677643"/>
                    <a:pt x="457880" y="677643"/>
                  </a:cubicBezTo>
                  <a:cubicBezTo>
                    <a:pt x="449943" y="677643"/>
                    <a:pt x="449943" y="677147"/>
                    <a:pt x="441509" y="677147"/>
                  </a:cubicBezTo>
                  <a:cubicBezTo>
                    <a:pt x="433572" y="677147"/>
                    <a:pt x="433572" y="678139"/>
                    <a:pt x="425139" y="678139"/>
                  </a:cubicBezTo>
                  <a:cubicBezTo>
                    <a:pt x="417202" y="678139"/>
                    <a:pt x="417202" y="677147"/>
                    <a:pt x="408768" y="677147"/>
                  </a:cubicBezTo>
                  <a:cubicBezTo>
                    <a:pt x="400831" y="677147"/>
                    <a:pt x="400831" y="676154"/>
                    <a:pt x="392398" y="676154"/>
                  </a:cubicBezTo>
                  <a:cubicBezTo>
                    <a:pt x="384460" y="676154"/>
                    <a:pt x="384460" y="676650"/>
                    <a:pt x="376027" y="676650"/>
                  </a:cubicBezTo>
                  <a:cubicBezTo>
                    <a:pt x="368090" y="676650"/>
                    <a:pt x="368090" y="678139"/>
                    <a:pt x="359657" y="678139"/>
                  </a:cubicBezTo>
                  <a:cubicBezTo>
                    <a:pt x="351719" y="678139"/>
                    <a:pt x="351719" y="678139"/>
                    <a:pt x="343286" y="678139"/>
                  </a:cubicBezTo>
                  <a:cubicBezTo>
                    <a:pt x="335349" y="678139"/>
                    <a:pt x="335349" y="678139"/>
                    <a:pt x="326915" y="678139"/>
                  </a:cubicBezTo>
                  <a:cubicBezTo>
                    <a:pt x="318978" y="678139"/>
                    <a:pt x="318978" y="675658"/>
                    <a:pt x="310545" y="675658"/>
                  </a:cubicBezTo>
                  <a:cubicBezTo>
                    <a:pt x="302608" y="675658"/>
                    <a:pt x="302608" y="676650"/>
                    <a:pt x="294174" y="676650"/>
                  </a:cubicBezTo>
                  <a:cubicBezTo>
                    <a:pt x="285741" y="676650"/>
                    <a:pt x="286237" y="677147"/>
                    <a:pt x="277804" y="677147"/>
                  </a:cubicBezTo>
                  <a:cubicBezTo>
                    <a:pt x="272347" y="677147"/>
                    <a:pt x="266890" y="676650"/>
                    <a:pt x="261433" y="676154"/>
                  </a:cubicBezTo>
                  <a:cubicBezTo>
                    <a:pt x="255976" y="676154"/>
                    <a:pt x="250519" y="675658"/>
                    <a:pt x="245559" y="675162"/>
                  </a:cubicBezTo>
                  <a:cubicBezTo>
                    <a:pt x="240102" y="674666"/>
                    <a:pt x="234645" y="674666"/>
                    <a:pt x="229188" y="674170"/>
                  </a:cubicBezTo>
                  <a:cubicBezTo>
                    <a:pt x="223731" y="673674"/>
                    <a:pt x="218770" y="670697"/>
                    <a:pt x="213314" y="669706"/>
                  </a:cubicBezTo>
                  <a:cubicBezTo>
                    <a:pt x="207857" y="668713"/>
                    <a:pt x="202400" y="669706"/>
                    <a:pt x="196943" y="668713"/>
                  </a:cubicBezTo>
                  <a:cubicBezTo>
                    <a:pt x="191486" y="667721"/>
                    <a:pt x="186525" y="664745"/>
                    <a:pt x="181565" y="663256"/>
                  </a:cubicBezTo>
                  <a:cubicBezTo>
                    <a:pt x="176108" y="661768"/>
                    <a:pt x="170651" y="662264"/>
                    <a:pt x="165690" y="660776"/>
                  </a:cubicBezTo>
                  <a:cubicBezTo>
                    <a:pt x="160729" y="659287"/>
                    <a:pt x="155769" y="656807"/>
                    <a:pt x="150312" y="655319"/>
                  </a:cubicBezTo>
                  <a:cubicBezTo>
                    <a:pt x="145351" y="653335"/>
                    <a:pt x="140390" y="651350"/>
                    <a:pt x="135429" y="649366"/>
                  </a:cubicBezTo>
                  <a:cubicBezTo>
                    <a:pt x="130469" y="647382"/>
                    <a:pt x="125012" y="645398"/>
                    <a:pt x="120547" y="643413"/>
                  </a:cubicBezTo>
                  <a:cubicBezTo>
                    <a:pt x="115586" y="640933"/>
                    <a:pt x="111122" y="638452"/>
                    <a:pt x="106161" y="635476"/>
                  </a:cubicBezTo>
                  <a:cubicBezTo>
                    <a:pt x="101200" y="632996"/>
                    <a:pt x="96735" y="630515"/>
                    <a:pt x="92271" y="627539"/>
                  </a:cubicBezTo>
                  <a:cubicBezTo>
                    <a:pt x="87806" y="624562"/>
                    <a:pt x="83341" y="621090"/>
                    <a:pt x="78877" y="618113"/>
                  </a:cubicBezTo>
                  <a:cubicBezTo>
                    <a:pt x="74412" y="615137"/>
                    <a:pt x="70939" y="610672"/>
                    <a:pt x="66971" y="607199"/>
                  </a:cubicBezTo>
                  <a:cubicBezTo>
                    <a:pt x="63002" y="603727"/>
                    <a:pt x="58041" y="601247"/>
                    <a:pt x="54073" y="597278"/>
                  </a:cubicBezTo>
                  <a:cubicBezTo>
                    <a:pt x="50104" y="593309"/>
                    <a:pt x="45639" y="590333"/>
                    <a:pt x="42167" y="586364"/>
                  </a:cubicBezTo>
                  <a:cubicBezTo>
                    <a:pt x="38694" y="582395"/>
                    <a:pt x="35222" y="577931"/>
                    <a:pt x="31749" y="573962"/>
                  </a:cubicBezTo>
                  <a:cubicBezTo>
                    <a:pt x="28277" y="569497"/>
                    <a:pt x="25796" y="564537"/>
                    <a:pt x="23316" y="560072"/>
                  </a:cubicBezTo>
                  <a:cubicBezTo>
                    <a:pt x="20339" y="555608"/>
                    <a:pt x="17859" y="550647"/>
                    <a:pt x="15378" y="546182"/>
                  </a:cubicBezTo>
                  <a:cubicBezTo>
                    <a:pt x="12898" y="541221"/>
                    <a:pt x="10418" y="536756"/>
                    <a:pt x="8433" y="531300"/>
                  </a:cubicBezTo>
                  <a:cubicBezTo>
                    <a:pt x="6449" y="526339"/>
                    <a:pt x="6945" y="520386"/>
                    <a:pt x="5457" y="515425"/>
                  </a:cubicBezTo>
                  <a:cubicBezTo>
                    <a:pt x="3969" y="509968"/>
                    <a:pt x="992" y="505504"/>
                    <a:pt x="496" y="500046"/>
                  </a:cubicBezTo>
                  <a:cubicBezTo>
                    <a:pt x="0" y="494590"/>
                    <a:pt x="992" y="489133"/>
                    <a:pt x="992" y="483676"/>
                  </a:cubicBezTo>
                  <a:cubicBezTo>
                    <a:pt x="992" y="483676"/>
                    <a:pt x="0" y="483676"/>
                    <a:pt x="0" y="483676"/>
                  </a:cubicBezTo>
                  <a:cubicBezTo>
                    <a:pt x="0" y="478219"/>
                    <a:pt x="1984" y="472762"/>
                    <a:pt x="2480" y="467801"/>
                  </a:cubicBezTo>
                  <a:cubicBezTo>
                    <a:pt x="2976" y="462345"/>
                    <a:pt x="2480" y="456888"/>
                    <a:pt x="3473" y="451431"/>
                  </a:cubicBezTo>
                  <a:cubicBezTo>
                    <a:pt x="4961" y="445974"/>
                    <a:pt x="6449" y="441013"/>
                    <a:pt x="8433" y="436053"/>
                  </a:cubicBezTo>
                  <a:cubicBezTo>
                    <a:pt x="10418" y="431092"/>
                    <a:pt x="13890" y="426627"/>
                    <a:pt x="16371" y="421666"/>
                  </a:cubicBezTo>
                  <a:cubicBezTo>
                    <a:pt x="18851" y="416705"/>
                    <a:pt x="21331" y="412241"/>
                    <a:pt x="24308" y="407776"/>
                  </a:cubicBezTo>
                  <a:cubicBezTo>
                    <a:pt x="27284" y="403311"/>
                    <a:pt x="28773" y="397855"/>
                    <a:pt x="32245" y="393886"/>
                  </a:cubicBezTo>
                  <a:cubicBezTo>
                    <a:pt x="35222" y="389421"/>
                    <a:pt x="38694" y="385453"/>
                    <a:pt x="42167" y="381484"/>
                  </a:cubicBezTo>
                  <a:cubicBezTo>
                    <a:pt x="45639" y="377515"/>
                    <a:pt x="51096" y="375035"/>
                    <a:pt x="55065" y="371562"/>
                  </a:cubicBezTo>
                  <a:cubicBezTo>
                    <a:pt x="59033" y="368090"/>
                    <a:pt x="62010" y="363129"/>
                    <a:pt x="65978" y="359657"/>
                  </a:cubicBezTo>
                  <a:cubicBezTo>
                    <a:pt x="69947" y="356184"/>
                    <a:pt x="74908" y="353704"/>
                    <a:pt x="79372" y="350727"/>
                  </a:cubicBezTo>
                  <a:cubicBezTo>
                    <a:pt x="83837" y="347751"/>
                    <a:pt x="87310" y="343782"/>
                    <a:pt x="92271" y="340806"/>
                  </a:cubicBezTo>
                  <a:cubicBezTo>
                    <a:pt x="96735" y="337829"/>
                    <a:pt x="102192" y="336837"/>
                    <a:pt x="107153" y="334357"/>
                  </a:cubicBezTo>
                  <a:cubicBezTo>
                    <a:pt x="111618" y="331876"/>
                    <a:pt x="115586" y="327411"/>
                    <a:pt x="120547" y="325427"/>
                  </a:cubicBezTo>
                  <a:cubicBezTo>
                    <a:pt x="125508" y="322947"/>
                    <a:pt x="130469" y="321458"/>
                    <a:pt x="135429" y="319474"/>
                  </a:cubicBezTo>
                  <a:cubicBezTo>
                    <a:pt x="140390" y="317490"/>
                    <a:pt x="145847" y="316498"/>
                    <a:pt x="150808" y="315009"/>
                  </a:cubicBezTo>
                  <a:cubicBezTo>
                    <a:pt x="155769" y="313025"/>
                    <a:pt x="160729" y="311537"/>
                    <a:pt x="166186" y="310049"/>
                  </a:cubicBezTo>
                  <a:cubicBezTo>
                    <a:pt x="171147" y="308561"/>
                    <a:pt x="176108" y="305088"/>
                    <a:pt x="181068" y="303600"/>
                  </a:cubicBezTo>
                  <a:cubicBezTo>
                    <a:pt x="186029" y="302112"/>
                    <a:pt x="191486" y="301119"/>
                    <a:pt x="196943" y="300127"/>
                  </a:cubicBezTo>
                  <a:cubicBezTo>
                    <a:pt x="202400" y="299135"/>
                    <a:pt x="207857" y="299135"/>
                    <a:pt x="212818" y="298639"/>
                  </a:cubicBezTo>
                  <a:cubicBezTo>
                    <a:pt x="218274" y="297647"/>
                    <a:pt x="223235" y="296655"/>
                    <a:pt x="228692" y="296159"/>
                  </a:cubicBezTo>
                  <a:cubicBezTo>
                    <a:pt x="234149" y="295663"/>
                    <a:pt x="239110" y="293678"/>
                    <a:pt x="244567" y="293182"/>
                  </a:cubicBezTo>
                  <a:cubicBezTo>
                    <a:pt x="250023" y="292686"/>
                    <a:pt x="255480" y="294174"/>
                    <a:pt x="260937" y="293678"/>
                  </a:cubicBezTo>
                  <a:cubicBezTo>
                    <a:pt x="266394" y="293678"/>
                    <a:pt x="271851" y="293182"/>
                    <a:pt x="276812" y="293182"/>
                  </a:cubicBezTo>
                  <a:cubicBezTo>
                    <a:pt x="284749" y="293182"/>
                    <a:pt x="284749" y="293182"/>
                    <a:pt x="293182" y="293182"/>
                  </a:cubicBezTo>
                  <a:cubicBezTo>
                    <a:pt x="301119" y="293182"/>
                    <a:pt x="301119" y="292190"/>
                    <a:pt x="309553" y="292190"/>
                  </a:cubicBezTo>
                  <a:cubicBezTo>
                    <a:pt x="317490" y="292190"/>
                    <a:pt x="317490" y="294174"/>
                    <a:pt x="325923" y="294174"/>
                  </a:cubicBezTo>
                  <a:cubicBezTo>
                    <a:pt x="333861" y="294174"/>
                    <a:pt x="333861" y="293678"/>
                    <a:pt x="342294" y="293678"/>
                  </a:cubicBezTo>
                  <a:cubicBezTo>
                    <a:pt x="350231" y="293678"/>
                    <a:pt x="350231" y="291694"/>
                    <a:pt x="358664" y="291694"/>
                  </a:cubicBezTo>
                  <a:cubicBezTo>
                    <a:pt x="366602" y="291694"/>
                    <a:pt x="366602" y="293182"/>
                    <a:pt x="375035" y="293182"/>
                  </a:cubicBezTo>
                  <a:cubicBezTo>
                    <a:pt x="382972" y="293182"/>
                    <a:pt x="382972" y="293678"/>
                    <a:pt x="391406" y="293678"/>
                  </a:cubicBezTo>
                  <a:cubicBezTo>
                    <a:pt x="399343" y="293678"/>
                    <a:pt x="399343" y="293182"/>
                    <a:pt x="407776" y="293182"/>
                  </a:cubicBezTo>
                  <a:cubicBezTo>
                    <a:pt x="415713" y="293182"/>
                    <a:pt x="415713" y="292190"/>
                    <a:pt x="424147" y="292190"/>
                  </a:cubicBezTo>
                  <a:cubicBezTo>
                    <a:pt x="432084" y="292190"/>
                    <a:pt x="432084" y="292686"/>
                    <a:pt x="440517" y="292686"/>
                  </a:cubicBezTo>
                  <a:cubicBezTo>
                    <a:pt x="448455" y="292686"/>
                    <a:pt x="448455" y="293182"/>
                    <a:pt x="456888" y="293182"/>
                  </a:cubicBezTo>
                  <a:cubicBezTo>
                    <a:pt x="464825" y="293182"/>
                    <a:pt x="464825" y="291694"/>
                    <a:pt x="473258" y="291694"/>
                  </a:cubicBezTo>
                  <a:cubicBezTo>
                    <a:pt x="481196" y="291694"/>
                    <a:pt x="481196" y="292190"/>
                    <a:pt x="489629" y="292190"/>
                  </a:cubicBezTo>
                  <a:cubicBezTo>
                    <a:pt x="497566" y="292190"/>
                    <a:pt x="497566" y="293182"/>
                    <a:pt x="506000" y="293182"/>
                  </a:cubicBezTo>
                  <a:cubicBezTo>
                    <a:pt x="513937" y="293182"/>
                    <a:pt x="513937" y="292686"/>
                    <a:pt x="522370" y="292686"/>
                  </a:cubicBezTo>
                  <a:cubicBezTo>
                    <a:pt x="527827" y="292686"/>
                    <a:pt x="532788" y="291694"/>
                    <a:pt x="537749" y="290206"/>
                  </a:cubicBezTo>
                  <a:cubicBezTo>
                    <a:pt x="543205" y="288221"/>
                    <a:pt x="547670" y="285741"/>
                    <a:pt x="551143" y="282268"/>
                  </a:cubicBezTo>
                  <a:cubicBezTo>
                    <a:pt x="555111" y="278300"/>
                    <a:pt x="557096" y="273835"/>
                    <a:pt x="557096" y="268378"/>
                  </a:cubicBezTo>
                  <a:cubicBezTo>
                    <a:pt x="557096" y="268378"/>
                    <a:pt x="558584" y="268378"/>
                    <a:pt x="558584" y="268378"/>
                  </a:cubicBezTo>
                  <a:cubicBezTo>
                    <a:pt x="558584" y="262921"/>
                    <a:pt x="555111" y="258953"/>
                    <a:pt x="551143" y="254984"/>
                  </a:cubicBezTo>
                  <a:cubicBezTo>
                    <a:pt x="547670" y="251512"/>
                    <a:pt x="543701" y="248039"/>
                    <a:pt x="538245" y="246055"/>
                  </a:cubicBezTo>
                  <a:cubicBezTo>
                    <a:pt x="533780" y="244566"/>
                    <a:pt x="528323" y="244566"/>
                    <a:pt x="522370" y="244566"/>
                  </a:cubicBezTo>
                  <a:cubicBezTo>
                    <a:pt x="518898" y="244566"/>
                    <a:pt x="518898" y="243574"/>
                    <a:pt x="515921" y="243574"/>
                  </a:cubicBezTo>
                  <a:cubicBezTo>
                    <a:pt x="510464" y="243574"/>
                    <a:pt x="504511" y="244566"/>
                    <a:pt x="499054" y="244070"/>
                  </a:cubicBezTo>
                  <a:cubicBezTo>
                    <a:pt x="493598" y="243574"/>
                    <a:pt x="488141" y="241590"/>
                    <a:pt x="482684" y="241094"/>
                  </a:cubicBezTo>
                  <a:cubicBezTo>
                    <a:pt x="477227" y="240102"/>
                    <a:pt x="471274" y="241094"/>
                    <a:pt x="465817" y="240102"/>
                  </a:cubicBezTo>
                  <a:cubicBezTo>
                    <a:pt x="460360" y="239110"/>
                    <a:pt x="455400" y="236133"/>
                    <a:pt x="449943" y="234645"/>
                  </a:cubicBezTo>
                  <a:cubicBezTo>
                    <a:pt x="444486" y="233157"/>
                    <a:pt x="439029" y="231668"/>
                    <a:pt x="434068" y="229684"/>
                  </a:cubicBezTo>
                  <a:cubicBezTo>
                    <a:pt x="428611" y="227700"/>
                    <a:pt x="423651" y="225220"/>
                    <a:pt x="418690" y="223235"/>
                  </a:cubicBezTo>
                  <a:cubicBezTo>
                    <a:pt x="413729" y="220755"/>
                    <a:pt x="408272" y="219267"/>
                    <a:pt x="403311" y="216290"/>
                  </a:cubicBezTo>
                  <a:cubicBezTo>
                    <a:pt x="398351" y="213314"/>
                    <a:pt x="392894" y="211329"/>
                    <a:pt x="388429" y="207857"/>
                  </a:cubicBezTo>
                  <a:cubicBezTo>
                    <a:pt x="383964" y="204384"/>
                    <a:pt x="379500" y="200416"/>
                    <a:pt x="375531" y="196943"/>
                  </a:cubicBezTo>
                  <a:cubicBezTo>
                    <a:pt x="371563" y="192974"/>
                    <a:pt x="367594" y="189006"/>
                    <a:pt x="364121" y="184541"/>
                  </a:cubicBezTo>
                  <a:cubicBezTo>
                    <a:pt x="360649" y="180076"/>
                    <a:pt x="358664" y="174619"/>
                    <a:pt x="355688" y="170155"/>
                  </a:cubicBezTo>
                  <a:cubicBezTo>
                    <a:pt x="352711" y="165194"/>
                    <a:pt x="348743" y="161225"/>
                    <a:pt x="346263" y="156265"/>
                  </a:cubicBezTo>
                  <a:cubicBezTo>
                    <a:pt x="344278" y="150808"/>
                    <a:pt x="344774" y="144855"/>
                    <a:pt x="343782" y="139398"/>
                  </a:cubicBezTo>
                  <a:cubicBezTo>
                    <a:pt x="342790" y="133941"/>
                    <a:pt x="340310" y="128484"/>
                    <a:pt x="340310" y="123027"/>
                  </a:cubicBezTo>
                  <a:cubicBezTo>
                    <a:pt x="340310" y="123027"/>
                    <a:pt x="341798" y="123027"/>
                    <a:pt x="341798" y="123027"/>
                  </a:cubicBezTo>
                  <a:cubicBezTo>
                    <a:pt x="341798" y="117571"/>
                    <a:pt x="341798" y="111618"/>
                    <a:pt x="342790" y="106161"/>
                  </a:cubicBezTo>
                  <a:cubicBezTo>
                    <a:pt x="343782" y="100704"/>
                    <a:pt x="345270" y="95247"/>
                    <a:pt x="347255" y="89790"/>
                  </a:cubicBezTo>
                  <a:cubicBezTo>
                    <a:pt x="349239" y="84830"/>
                    <a:pt x="352711" y="80365"/>
                    <a:pt x="355688" y="75404"/>
                  </a:cubicBezTo>
                  <a:cubicBezTo>
                    <a:pt x="358664" y="70939"/>
                    <a:pt x="360649" y="65482"/>
                    <a:pt x="364121" y="61018"/>
                  </a:cubicBezTo>
                  <a:cubicBezTo>
                    <a:pt x="367594" y="57049"/>
                    <a:pt x="373051" y="54073"/>
                    <a:pt x="377019" y="50600"/>
                  </a:cubicBezTo>
                  <a:cubicBezTo>
                    <a:pt x="380988" y="47127"/>
                    <a:pt x="383964" y="41671"/>
                    <a:pt x="388429" y="38198"/>
                  </a:cubicBezTo>
                  <a:cubicBezTo>
                    <a:pt x="392894" y="35222"/>
                    <a:pt x="398351" y="32741"/>
                    <a:pt x="402815" y="29765"/>
                  </a:cubicBezTo>
                  <a:cubicBezTo>
                    <a:pt x="407776" y="26788"/>
                    <a:pt x="412241" y="23812"/>
                    <a:pt x="417202" y="21331"/>
                  </a:cubicBezTo>
                  <a:cubicBezTo>
                    <a:pt x="422162" y="18851"/>
                    <a:pt x="427619" y="17363"/>
                    <a:pt x="433076" y="15379"/>
                  </a:cubicBezTo>
                  <a:cubicBezTo>
                    <a:pt x="438037" y="13394"/>
                    <a:pt x="443494" y="10914"/>
                    <a:pt x="448951" y="9426"/>
                  </a:cubicBezTo>
                  <a:cubicBezTo>
                    <a:pt x="454407" y="7937"/>
                    <a:pt x="459864" y="6945"/>
                    <a:pt x="465321" y="5953"/>
                  </a:cubicBezTo>
                  <a:cubicBezTo>
                    <a:pt x="470778" y="4961"/>
                    <a:pt x="476235" y="3969"/>
                    <a:pt x="481692" y="3473"/>
                  </a:cubicBezTo>
                  <a:cubicBezTo>
                    <a:pt x="487149" y="2977"/>
                    <a:pt x="492605" y="2480"/>
                    <a:pt x="498558" y="1984"/>
                  </a:cubicBezTo>
                  <a:cubicBezTo>
                    <a:pt x="504015" y="1488"/>
                    <a:pt x="509472" y="496"/>
                    <a:pt x="515425" y="496"/>
                  </a:cubicBezTo>
                  <a:cubicBezTo>
                    <a:pt x="523858" y="496"/>
                    <a:pt x="523858" y="1488"/>
                    <a:pt x="531796" y="1488"/>
                  </a:cubicBezTo>
                  <a:cubicBezTo>
                    <a:pt x="540229" y="1488"/>
                    <a:pt x="540229" y="1488"/>
                    <a:pt x="548662" y="1488"/>
                  </a:cubicBezTo>
                  <a:cubicBezTo>
                    <a:pt x="557096" y="1488"/>
                    <a:pt x="557096" y="496"/>
                    <a:pt x="565529" y="496"/>
                  </a:cubicBezTo>
                  <a:cubicBezTo>
                    <a:pt x="573962" y="496"/>
                    <a:pt x="573962" y="1984"/>
                    <a:pt x="582396" y="1984"/>
                  </a:cubicBezTo>
                  <a:cubicBezTo>
                    <a:pt x="590829" y="1984"/>
                    <a:pt x="590829" y="496"/>
                    <a:pt x="599262" y="496"/>
                  </a:cubicBezTo>
                  <a:cubicBezTo>
                    <a:pt x="607695" y="496"/>
                    <a:pt x="607695" y="992"/>
                    <a:pt x="616129" y="992"/>
                  </a:cubicBezTo>
                  <a:cubicBezTo>
                    <a:pt x="624562" y="992"/>
                    <a:pt x="624562" y="1488"/>
                    <a:pt x="632995" y="1488"/>
                  </a:cubicBezTo>
                  <a:cubicBezTo>
                    <a:pt x="641429" y="1488"/>
                    <a:pt x="641429" y="992"/>
                    <a:pt x="649862" y="992"/>
                  </a:cubicBezTo>
                  <a:cubicBezTo>
                    <a:pt x="658296" y="992"/>
                    <a:pt x="658296" y="0"/>
                    <a:pt x="666729" y="0"/>
                  </a:cubicBezTo>
                  <a:cubicBezTo>
                    <a:pt x="675162" y="0"/>
                    <a:pt x="675162" y="0"/>
                    <a:pt x="683596" y="0"/>
                  </a:cubicBezTo>
                  <a:cubicBezTo>
                    <a:pt x="692029" y="0"/>
                    <a:pt x="692029" y="992"/>
                    <a:pt x="700462" y="992"/>
                  </a:cubicBezTo>
                  <a:cubicBezTo>
                    <a:pt x="708896" y="992"/>
                    <a:pt x="708896" y="2480"/>
                    <a:pt x="717329" y="2480"/>
                  </a:cubicBezTo>
                  <a:cubicBezTo>
                    <a:pt x="725762" y="2480"/>
                    <a:pt x="725762" y="1488"/>
                    <a:pt x="734195" y="1488"/>
                  </a:cubicBezTo>
                  <a:cubicBezTo>
                    <a:pt x="742629" y="1488"/>
                    <a:pt x="742629" y="496"/>
                    <a:pt x="75106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079970FD-7F9B-87A2-AFB2-9F9990D6AC39}"/>
                </a:ext>
              </a:extLst>
            </p:cNvPr>
            <p:cNvSpPr/>
            <p:nvPr/>
          </p:nvSpPr>
          <p:spPr>
            <a:xfrm>
              <a:off x="2536812" y="4953338"/>
              <a:ext cx="306576" cy="25299"/>
            </a:xfrm>
            <a:custGeom>
              <a:avLst/>
              <a:gdLst>
                <a:gd name="connsiteX0" fmla="*/ 306576 w 306576"/>
                <a:gd name="connsiteY0" fmla="*/ 24308 h 25299"/>
                <a:gd name="connsiteX1" fmla="*/ 292686 w 306576"/>
                <a:gd name="connsiteY1" fmla="*/ 20339 h 25299"/>
                <a:gd name="connsiteX2" fmla="*/ 280780 w 306576"/>
                <a:gd name="connsiteY2" fmla="*/ 12402 h 25299"/>
                <a:gd name="connsiteX3" fmla="*/ 269370 w 306576"/>
                <a:gd name="connsiteY3" fmla="*/ 3969 h 25299"/>
                <a:gd name="connsiteX4" fmla="*/ 255480 w 306576"/>
                <a:gd name="connsiteY4" fmla="*/ 992 h 25299"/>
                <a:gd name="connsiteX5" fmla="*/ 241590 w 306576"/>
                <a:gd name="connsiteY5" fmla="*/ 3473 h 25299"/>
                <a:gd name="connsiteX6" fmla="*/ 229684 w 306576"/>
                <a:gd name="connsiteY6" fmla="*/ 12402 h 25299"/>
                <a:gd name="connsiteX7" fmla="*/ 218770 w 306576"/>
                <a:gd name="connsiteY7" fmla="*/ 21828 h 25299"/>
                <a:gd name="connsiteX8" fmla="*/ 204384 w 306576"/>
                <a:gd name="connsiteY8" fmla="*/ 24308 h 25299"/>
                <a:gd name="connsiteX9" fmla="*/ 190494 w 306576"/>
                <a:gd name="connsiteY9" fmla="*/ 20835 h 25299"/>
                <a:gd name="connsiteX10" fmla="*/ 179084 w 306576"/>
                <a:gd name="connsiteY10" fmla="*/ 12402 h 25299"/>
                <a:gd name="connsiteX11" fmla="*/ 167674 w 306576"/>
                <a:gd name="connsiteY11" fmla="*/ 2976 h 25299"/>
                <a:gd name="connsiteX12" fmla="*/ 153288 w 306576"/>
                <a:gd name="connsiteY12" fmla="*/ 1488 h 25299"/>
                <a:gd name="connsiteX13" fmla="*/ 138902 w 306576"/>
                <a:gd name="connsiteY13" fmla="*/ 2976 h 25299"/>
                <a:gd name="connsiteX14" fmla="*/ 127492 w 306576"/>
                <a:gd name="connsiteY14" fmla="*/ 11906 h 25299"/>
                <a:gd name="connsiteX15" fmla="*/ 116578 w 306576"/>
                <a:gd name="connsiteY15" fmla="*/ 21331 h 25299"/>
                <a:gd name="connsiteX16" fmla="*/ 102192 w 306576"/>
                <a:gd name="connsiteY16" fmla="*/ 23812 h 25299"/>
                <a:gd name="connsiteX17" fmla="*/ 88302 w 306576"/>
                <a:gd name="connsiteY17" fmla="*/ 20835 h 25299"/>
                <a:gd name="connsiteX18" fmla="*/ 77388 w 306576"/>
                <a:gd name="connsiteY18" fmla="*/ 11410 h 25299"/>
                <a:gd name="connsiteX19" fmla="*/ 65482 w 306576"/>
                <a:gd name="connsiteY19" fmla="*/ 2480 h 25299"/>
                <a:gd name="connsiteX20" fmla="*/ 51096 w 306576"/>
                <a:gd name="connsiteY20" fmla="*/ 0 h 25299"/>
                <a:gd name="connsiteX21" fmla="*/ 37206 w 306576"/>
                <a:gd name="connsiteY21" fmla="*/ 3473 h 25299"/>
                <a:gd name="connsiteX22" fmla="*/ 25796 w 306576"/>
                <a:gd name="connsiteY22" fmla="*/ 12402 h 25299"/>
                <a:gd name="connsiteX23" fmla="*/ 13890 w 306576"/>
                <a:gd name="connsiteY23" fmla="*/ 20835 h 25299"/>
                <a:gd name="connsiteX24" fmla="*/ 0 w 306576"/>
                <a:gd name="connsiteY24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576" h="25299">
                  <a:moveTo>
                    <a:pt x="306576" y="24308"/>
                  </a:moveTo>
                  <a:cubicBezTo>
                    <a:pt x="300623" y="24308"/>
                    <a:pt x="296655" y="22324"/>
                    <a:pt x="292686" y="20339"/>
                  </a:cubicBezTo>
                  <a:cubicBezTo>
                    <a:pt x="288221" y="17859"/>
                    <a:pt x="284253" y="15378"/>
                    <a:pt x="280780" y="12402"/>
                  </a:cubicBezTo>
                  <a:cubicBezTo>
                    <a:pt x="277308" y="8929"/>
                    <a:pt x="273835" y="6449"/>
                    <a:pt x="269370" y="3969"/>
                  </a:cubicBezTo>
                  <a:cubicBezTo>
                    <a:pt x="265402" y="1984"/>
                    <a:pt x="261433" y="992"/>
                    <a:pt x="255480" y="992"/>
                  </a:cubicBezTo>
                  <a:cubicBezTo>
                    <a:pt x="249527" y="992"/>
                    <a:pt x="245062" y="1488"/>
                    <a:pt x="241590" y="3473"/>
                  </a:cubicBezTo>
                  <a:cubicBezTo>
                    <a:pt x="237125" y="5953"/>
                    <a:pt x="233157" y="8929"/>
                    <a:pt x="229684" y="12402"/>
                  </a:cubicBezTo>
                  <a:cubicBezTo>
                    <a:pt x="226211" y="15875"/>
                    <a:pt x="223235" y="19843"/>
                    <a:pt x="218770" y="21828"/>
                  </a:cubicBezTo>
                  <a:cubicBezTo>
                    <a:pt x="214802" y="23812"/>
                    <a:pt x="210337" y="24308"/>
                    <a:pt x="204384" y="24308"/>
                  </a:cubicBezTo>
                  <a:cubicBezTo>
                    <a:pt x="198431" y="24308"/>
                    <a:pt x="194462" y="22819"/>
                    <a:pt x="190494" y="20835"/>
                  </a:cubicBezTo>
                  <a:cubicBezTo>
                    <a:pt x="186029" y="18355"/>
                    <a:pt x="182557" y="15875"/>
                    <a:pt x="179084" y="12402"/>
                  </a:cubicBezTo>
                  <a:cubicBezTo>
                    <a:pt x="175612" y="8929"/>
                    <a:pt x="172139" y="5457"/>
                    <a:pt x="167674" y="2976"/>
                  </a:cubicBezTo>
                  <a:cubicBezTo>
                    <a:pt x="163706" y="992"/>
                    <a:pt x="159241" y="1488"/>
                    <a:pt x="153288" y="1488"/>
                  </a:cubicBezTo>
                  <a:cubicBezTo>
                    <a:pt x="147335" y="1488"/>
                    <a:pt x="142870" y="992"/>
                    <a:pt x="138902" y="2976"/>
                  </a:cubicBezTo>
                  <a:cubicBezTo>
                    <a:pt x="134437" y="5457"/>
                    <a:pt x="130965" y="8929"/>
                    <a:pt x="127492" y="11906"/>
                  </a:cubicBezTo>
                  <a:cubicBezTo>
                    <a:pt x="124019" y="15378"/>
                    <a:pt x="121043" y="19347"/>
                    <a:pt x="116578" y="21331"/>
                  </a:cubicBezTo>
                  <a:cubicBezTo>
                    <a:pt x="112610" y="23316"/>
                    <a:pt x="108145" y="23812"/>
                    <a:pt x="102192" y="23812"/>
                  </a:cubicBezTo>
                  <a:cubicBezTo>
                    <a:pt x="96239" y="23812"/>
                    <a:pt x="92270" y="22819"/>
                    <a:pt x="88302" y="20835"/>
                  </a:cubicBezTo>
                  <a:cubicBezTo>
                    <a:pt x="83837" y="18355"/>
                    <a:pt x="80861" y="14882"/>
                    <a:pt x="77388" y="11410"/>
                  </a:cubicBezTo>
                  <a:cubicBezTo>
                    <a:pt x="73916" y="7937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206" y="3473"/>
                  </a:cubicBezTo>
                  <a:cubicBezTo>
                    <a:pt x="32741" y="5953"/>
                    <a:pt x="29269" y="8929"/>
                    <a:pt x="25796" y="12402"/>
                  </a:cubicBezTo>
                  <a:cubicBezTo>
                    <a:pt x="22324" y="15875"/>
                    <a:pt x="18355" y="18355"/>
                    <a:pt x="13890" y="20835"/>
                  </a:cubicBezTo>
                  <a:cubicBezTo>
                    <a:pt x="9922" y="22819"/>
                    <a:pt x="5953" y="25300"/>
                    <a:pt x="0" y="253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BD4CB746-1643-DEAA-F601-D6A8C4F6474C}"/>
                </a:ext>
              </a:extLst>
            </p:cNvPr>
            <p:cNvSpPr/>
            <p:nvPr/>
          </p:nvSpPr>
          <p:spPr>
            <a:xfrm>
              <a:off x="2814120" y="5030726"/>
              <a:ext cx="305584" cy="25796"/>
            </a:xfrm>
            <a:custGeom>
              <a:avLst/>
              <a:gdLst>
                <a:gd name="connsiteX0" fmla="*/ 305584 w 305584"/>
                <a:gd name="connsiteY0" fmla="*/ 25796 h 25796"/>
                <a:gd name="connsiteX1" fmla="*/ 291694 w 305584"/>
                <a:gd name="connsiteY1" fmla="*/ 21332 h 25796"/>
                <a:gd name="connsiteX2" fmla="*/ 280780 w 305584"/>
                <a:gd name="connsiteY2" fmla="*/ 11906 h 25796"/>
                <a:gd name="connsiteX3" fmla="*/ 268874 w 305584"/>
                <a:gd name="connsiteY3" fmla="*/ 3473 h 25796"/>
                <a:gd name="connsiteX4" fmla="*/ 254488 w 305584"/>
                <a:gd name="connsiteY4" fmla="*/ 0 h 25796"/>
                <a:gd name="connsiteX5" fmla="*/ 240102 w 305584"/>
                <a:gd name="connsiteY5" fmla="*/ 2977 h 25796"/>
                <a:gd name="connsiteX6" fmla="*/ 229684 w 305584"/>
                <a:gd name="connsiteY6" fmla="*/ 12898 h 25796"/>
                <a:gd name="connsiteX7" fmla="*/ 217778 w 305584"/>
                <a:gd name="connsiteY7" fmla="*/ 21332 h 25796"/>
                <a:gd name="connsiteX8" fmla="*/ 203888 w 305584"/>
                <a:gd name="connsiteY8" fmla="*/ 25796 h 25796"/>
                <a:gd name="connsiteX9" fmla="*/ 190494 w 305584"/>
                <a:gd name="connsiteY9" fmla="*/ 20339 h 25796"/>
                <a:gd name="connsiteX10" fmla="*/ 178588 w 305584"/>
                <a:gd name="connsiteY10" fmla="*/ 12402 h 25796"/>
                <a:gd name="connsiteX11" fmla="*/ 167674 w 305584"/>
                <a:gd name="connsiteY11" fmla="*/ 2977 h 25796"/>
                <a:gd name="connsiteX12" fmla="*/ 153288 w 305584"/>
                <a:gd name="connsiteY12" fmla="*/ 496 h 25796"/>
                <a:gd name="connsiteX13" fmla="*/ 139398 w 305584"/>
                <a:gd name="connsiteY13" fmla="*/ 3473 h 25796"/>
                <a:gd name="connsiteX14" fmla="*/ 128484 w 305584"/>
                <a:gd name="connsiteY14" fmla="*/ 12898 h 25796"/>
                <a:gd name="connsiteX15" fmla="*/ 116578 w 305584"/>
                <a:gd name="connsiteY15" fmla="*/ 21828 h 25796"/>
                <a:gd name="connsiteX16" fmla="*/ 102192 w 305584"/>
                <a:gd name="connsiteY16" fmla="*/ 23316 h 25796"/>
                <a:gd name="connsiteX17" fmla="*/ 87806 w 305584"/>
                <a:gd name="connsiteY17" fmla="*/ 21332 h 25796"/>
                <a:gd name="connsiteX18" fmla="*/ 75900 w 305584"/>
                <a:gd name="connsiteY18" fmla="*/ 12898 h 25796"/>
                <a:gd name="connsiteX19" fmla="*/ 65482 w 305584"/>
                <a:gd name="connsiteY19" fmla="*/ 2480 h 25796"/>
                <a:gd name="connsiteX20" fmla="*/ 51096 w 305584"/>
                <a:gd name="connsiteY20" fmla="*/ 0 h 25796"/>
                <a:gd name="connsiteX21" fmla="*/ 37702 w 305584"/>
                <a:gd name="connsiteY21" fmla="*/ 3969 h 25796"/>
                <a:gd name="connsiteX22" fmla="*/ 25300 w 305584"/>
                <a:gd name="connsiteY22" fmla="*/ 11410 h 25796"/>
                <a:gd name="connsiteX23" fmla="*/ 13890 w 305584"/>
                <a:gd name="connsiteY23" fmla="*/ 20339 h 25796"/>
                <a:gd name="connsiteX24" fmla="*/ 0 w 305584"/>
                <a:gd name="connsiteY24" fmla="*/ 24308 h 2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5584" h="25796">
                  <a:moveTo>
                    <a:pt x="305584" y="25796"/>
                  </a:moveTo>
                  <a:cubicBezTo>
                    <a:pt x="299631" y="25796"/>
                    <a:pt x="295662" y="23316"/>
                    <a:pt x="291694" y="21332"/>
                  </a:cubicBezTo>
                  <a:cubicBezTo>
                    <a:pt x="287229" y="18851"/>
                    <a:pt x="284253" y="15379"/>
                    <a:pt x="280780" y="11906"/>
                  </a:cubicBezTo>
                  <a:cubicBezTo>
                    <a:pt x="277308" y="8433"/>
                    <a:pt x="273339" y="5953"/>
                    <a:pt x="268874" y="3473"/>
                  </a:cubicBezTo>
                  <a:cubicBezTo>
                    <a:pt x="264906" y="1488"/>
                    <a:pt x="260441" y="0"/>
                    <a:pt x="254488" y="0"/>
                  </a:cubicBezTo>
                  <a:cubicBezTo>
                    <a:pt x="248535" y="0"/>
                    <a:pt x="244070" y="992"/>
                    <a:pt x="240102" y="2977"/>
                  </a:cubicBezTo>
                  <a:cubicBezTo>
                    <a:pt x="235637" y="5457"/>
                    <a:pt x="233157" y="9922"/>
                    <a:pt x="229684" y="12898"/>
                  </a:cubicBezTo>
                  <a:cubicBezTo>
                    <a:pt x="226212" y="16371"/>
                    <a:pt x="222243" y="18851"/>
                    <a:pt x="217778" y="21332"/>
                  </a:cubicBezTo>
                  <a:cubicBezTo>
                    <a:pt x="213810" y="23316"/>
                    <a:pt x="209841" y="25796"/>
                    <a:pt x="203888" y="25796"/>
                  </a:cubicBezTo>
                  <a:cubicBezTo>
                    <a:pt x="197935" y="25796"/>
                    <a:pt x="193967" y="22324"/>
                    <a:pt x="190494" y="20339"/>
                  </a:cubicBezTo>
                  <a:cubicBezTo>
                    <a:pt x="186029" y="17859"/>
                    <a:pt x="182061" y="15875"/>
                    <a:pt x="178588" y="12402"/>
                  </a:cubicBezTo>
                  <a:cubicBezTo>
                    <a:pt x="175115" y="8930"/>
                    <a:pt x="172139" y="4961"/>
                    <a:pt x="167674" y="2977"/>
                  </a:cubicBezTo>
                  <a:cubicBezTo>
                    <a:pt x="163706" y="992"/>
                    <a:pt x="159241" y="496"/>
                    <a:pt x="153288" y="496"/>
                  </a:cubicBezTo>
                  <a:cubicBezTo>
                    <a:pt x="147335" y="496"/>
                    <a:pt x="142870" y="1984"/>
                    <a:pt x="139398" y="3473"/>
                  </a:cubicBezTo>
                  <a:cubicBezTo>
                    <a:pt x="134933" y="5953"/>
                    <a:pt x="131957" y="9426"/>
                    <a:pt x="128484" y="12898"/>
                  </a:cubicBezTo>
                  <a:cubicBezTo>
                    <a:pt x="125012" y="16371"/>
                    <a:pt x="121043" y="19347"/>
                    <a:pt x="116578" y="21828"/>
                  </a:cubicBezTo>
                  <a:cubicBezTo>
                    <a:pt x="112610" y="23812"/>
                    <a:pt x="108145" y="23316"/>
                    <a:pt x="102192" y="23316"/>
                  </a:cubicBezTo>
                  <a:cubicBezTo>
                    <a:pt x="96239" y="23316"/>
                    <a:pt x="91774" y="23316"/>
                    <a:pt x="87806" y="21332"/>
                  </a:cubicBezTo>
                  <a:cubicBezTo>
                    <a:pt x="83341" y="18851"/>
                    <a:pt x="79372" y="16371"/>
                    <a:pt x="75900" y="12898"/>
                  </a:cubicBezTo>
                  <a:cubicBezTo>
                    <a:pt x="72427" y="9426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702" y="3969"/>
                  </a:cubicBezTo>
                  <a:cubicBezTo>
                    <a:pt x="33237" y="6449"/>
                    <a:pt x="28772" y="7937"/>
                    <a:pt x="25300" y="11410"/>
                  </a:cubicBezTo>
                  <a:cubicBezTo>
                    <a:pt x="21827" y="14882"/>
                    <a:pt x="18355" y="17859"/>
                    <a:pt x="13890" y="20339"/>
                  </a:cubicBezTo>
                  <a:cubicBezTo>
                    <a:pt x="9922" y="22324"/>
                    <a:pt x="5953" y="24308"/>
                    <a:pt x="0" y="2430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93A4E20F-328D-DDED-4FCC-FA8192108DF8}"/>
                </a:ext>
              </a:extLst>
            </p:cNvPr>
            <p:cNvSpPr/>
            <p:nvPr/>
          </p:nvSpPr>
          <p:spPr>
            <a:xfrm>
              <a:off x="3056702" y="4791616"/>
              <a:ext cx="306080" cy="26788"/>
            </a:xfrm>
            <a:custGeom>
              <a:avLst/>
              <a:gdLst>
                <a:gd name="connsiteX0" fmla="*/ 306080 w 306080"/>
                <a:gd name="connsiteY0" fmla="*/ 25300 h 26788"/>
                <a:gd name="connsiteX1" fmla="*/ 292190 w 306080"/>
                <a:gd name="connsiteY1" fmla="*/ 22324 h 26788"/>
                <a:gd name="connsiteX2" fmla="*/ 280284 w 306080"/>
                <a:gd name="connsiteY2" fmla="*/ 13890 h 26788"/>
                <a:gd name="connsiteX3" fmla="*/ 268874 w 306080"/>
                <a:gd name="connsiteY3" fmla="*/ 4961 h 26788"/>
                <a:gd name="connsiteX4" fmla="*/ 254984 w 306080"/>
                <a:gd name="connsiteY4" fmla="*/ 992 h 26788"/>
                <a:gd name="connsiteX5" fmla="*/ 240102 w 306080"/>
                <a:gd name="connsiteY5" fmla="*/ 3969 h 26788"/>
                <a:gd name="connsiteX6" fmla="*/ 229188 w 306080"/>
                <a:gd name="connsiteY6" fmla="*/ 13890 h 26788"/>
                <a:gd name="connsiteX7" fmla="*/ 217282 w 306080"/>
                <a:gd name="connsiteY7" fmla="*/ 21827 h 26788"/>
                <a:gd name="connsiteX8" fmla="*/ 203888 w 306080"/>
                <a:gd name="connsiteY8" fmla="*/ 24804 h 26788"/>
                <a:gd name="connsiteX9" fmla="*/ 189998 w 306080"/>
                <a:gd name="connsiteY9" fmla="*/ 22324 h 26788"/>
                <a:gd name="connsiteX10" fmla="*/ 178588 w 306080"/>
                <a:gd name="connsiteY10" fmla="*/ 13394 h 26788"/>
                <a:gd name="connsiteX11" fmla="*/ 167178 w 306080"/>
                <a:gd name="connsiteY11" fmla="*/ 4961 h 26788"/>
                <a:gd name="connsiteX12" fmla="*/ 153288 w 306080"/>
                <a:gd name="connsiteY12" fmla="*/ 0 h 26788"/>
                <a:gd name="connsiteX13" fmla="*/ 138902 w 306080"/>
                <a:gd name="connsiteY13" fmla="*/ 3969 h 26788"/>
                <a:gd name="connsiteX14" fmla="*/ 127492 w 306080"/>
                <a:gd name="connsiteY14" fmla="*/ 13394 h 26788"/>
                <a:gd name="connsiteX15" fmla="*/ 116578 w 306080"/>
                <a:gd name="connsiteY15" fmla="*/ 22819 h 26788"/>
                <a:gd name="connsiteX16" fmla="*/ 102192 w 306080"/>
                <a:gd name="connsiteY16" fmla="*/ 26788 h 26788"/>
                <a:gd name="connsiteX17" fmla="*/ 88302 w 306080"/>
                <a:gd name="connsiteY17" fmla="*/ 22324 h 26788"/>
                <a:gd name="connsiteX18" fmla="*/ 75900 w 306080"/>
                <a:gd name="connsiteY18" fmla="*/ 14386 h 26788"/>
                <a:gd name="connsiteX19" fmla="*/ 65482 w 306080"/>
                <a:gd name="connsiteY19" fmla="*/ 3969 h 26788"/>
                <a:gd name="connsiteX20" fmla="*/ 51096 w 306080"/>
                <a:gd name="connsiteY20" fmla="*/ 1984 h 26788"/>
                <a:gd name="connsiteX21" fmla="*/ 37702 w 306080"/>
                <a:gd name="connsiteY21" fmla="*/ 5953 h 26788"/>
                <a:gd name="connsiteX22" fmla="*/ 26292 w 306080"/>
                <a:gd name="connsiteY22" fmla="*/ 14882 h 26788"/>
                <a:gd name="connsiteX23" fmla="*/ 13890 w 306080"/>
                <a:gd name="connsiteY23" fmla="*/ 22324 h 26788"/>
                <a:gd name="connsiteX24" fmla="*/ 0 w 306080"/>
                <a:gd name="connsiteY24" fmla="*/ 26292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080" h="26788">
                  <a:moveTo>
                    <a:pt x="306080" y="25300"/>
                  </a:moveTo>
                  <a:cubicBezTo>
                    <a:pt x="300127" y="25300"/>
                    <a:pt x="295662" y="24308"/>
                    <a:pt x="292190" y="22324"/>
                  </a:cubicBezTo>
                  <a:cubicBezTo>
                    <a:pt x="287725" y="19843"/>
                    <a:pt x="283757" y="16866"/>
                    <a:pt x="280284" y="13890"/>
                  </a:cubicBezTo>
                  <a:cubicBezTo>
                    <a:pt x="276811" y="10418"/>
                    <a:pt x="273339" y="6945"/>
                    <a:pt x="268874" y="4961"/>
                  </a:cubicBezTo>
                  <a:cubicBezTo>
                    <a:pt x="264906" y="2976"/>
                    <a:pt x="260937" y="992"/>
                    <a:pt x="254984" y="992"/>
                  </a:cubicBezTo>
                  <a:cubicBezTo>
                    <a:pt x="249031" y="992"/>
                    <a:pt x="244070" y="1984"/>
                    <a:pt x="240102" y="3969"/>
                  </a:cubicBezTo>
                  <a:cubicBezTo>
                    <a:pt x="235637" y="6449"/>
                    <a:pt x="232661" y="10418"/>
                    <a:pt x="229188" y="13890"/>
                  </a:cubicBezTo>
                  <a:cubicBezTo>
                    <a:pt x="225715" y="17363"/>
                    <a:pt x="221747" y="19843"/>
                    <a:pt x="217282" y="21827"/>
                  </a:cubicBezTo>
                  <a:cubicBezTo>
                    <a:pt x="213314" y="23812"/>
                    <a:pt x="209345" y="24804"/>
                    <a:pt x="203888" y="24804"/>
                  </a:cubicBezTo>
                  <a:cubicBezTo>
                    <a:pt x="197935" y="24804"/>
                    <a:pt x="193470" y="24308"/>
                    <a:pt x="189998" y="22324"/>
                  </a:cubicBezTo>
                  <a:cubicBezTo>
                    <a:pt x="185533" y="19843"/>
                    <a:pt x="182061" y="16866"/>
                    <a:pt x="178588" y="13394"/>
                  </a:cubicBezTo>
                  <a:cubicBezTo>
                    <a:pt x="175115" y="9922"/>
                    <a:pt x="171643" y="6945"/>
                    <a:pt x="167178" y="4961"/>
                  </a:cubicBezTo>
                  <a:cubicBezTo>
                    <a:pt x="163210" y="2976"/>
                    <a:pt x="159241" y="0"/>
                    <a:pt x="153288" y="0"/>
                  </a:cubicBezTo>
                  <a:cubicBezTo>
                    <a:pt x="147335" y="0"/>
                    <a:pt x="142870" y="1984"/>
                    <a:pt x="138902" y="3969"/>
                  </a:cubicBezTo>
                  <a:cubicBezTo>
                    <a:pt x="134437" y="6449"/>
                    <a:pt x="130965" y="9922"/>
                    <a:pt x="127492" y="13394"/>
                  </a:cubicBezTo>
                  <a:cubicBezTo>
                    <a:pt x="124019" y="16866"/>
                    <a:pt x="121043" y="20835"/>
                    <a:pt x="116578" y="22819"/>
                  </a:cubicBezTo>
                  <a:cubicBezTo>
                    <a:pt x="112610" y="24804"/>
                    <a:pt x="108145" y="26788"/>
                    <a:pt x="102192" y="26788"/>
                  </a:cubicBezTo>
                  <a:cubicBezTo>
                    <a:pt x="96239" y="26788"/>
                    <a:pt x="92271" y="24308"/>
                    <a:pt x="88302" y="22324"/>
                  </a:cubicBezTo>
                  <a:cubicBezTo>
                    <a:pt x="83837" y="19843"/>
                    <a:pt x="79372" y="17859"/>
                    <a:pt x="75900" y="14386"/>
                  </a:cubicBezTo>
                  <a:cubicBezTo>
                    <a:pt x="72427" y="10913"/>
                    <a:pt x="69947" y="6449"/>
                    <a:pt x="65482" y="3969"/>
                  </a:cubicBezTo>
                  <a:cubicBezTo>
                    <a:pt x="61514" y="1984"/>
                    <a:pt x="57049" y="1984"/>
                    <a:pt x="51096" y="1984"/>
                  </a:cubicBezTo>
                  <a:cubicBezTo>
                    <a:pt x="45143" y="1984"/>
                    <a:pt x="41174" y="3969"/>
                    <a:pt x="37702" y="5953"/>
                  </a:cubicBezTo>
                  <a:cubicBezTo>
                    <a:pt x="33237" y="8433"/>
                    <a:pt x="29765" y="11410"/>
                    <a:pt x="26292" y="14882"/>
                  </a:cubicBezTo>
                  <a:cubicBezTo>
                    <a:pt x="22820" y="18355"/>
                    <a:pt x="18355" y="19843"/>
                    <a:pt x="13890" y="22324"/>
                  </a:cubicBezTo>
                  <a:cubicBezTo>
                    <a:pt x="9922" y="24308"/>
                    <a:pt x="5953" y="26292"/>
                    <a:pt x="0" y="262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46" name="Graphic 10">
              <a:extLst>
                <a:ext uri="{FF2B5EF4-FFF2-40B4-BE49-F238E27FC236}">
                  <a16:creationId xmlns:a16="http://schemas.microsoft.com/office/drawing/2014/main" id="{4CD1E156-13B8-17F9-79AA-5B4D69F43F9C}"/>
                </a:ext>
              </a:extLst>
            </p:cNvPr>
            <p:cNvGrpSpPr/>
            <p:nvPr/>
          </p:nvGrpSpPr>
          <p:grpSpPr>
            <a:xfrm>
              <a:off x="3175264" y="3922778"/>
              <a:ext cx="260519" cy="615838"/>
              <a:chOff x="3175264" y="3922778"/>
              <a:chExt cx="260519" cy="615838"/>
            </a:xfrm>
            <a:noFill/>
          </p:grpSpPr>
          <p:sp>
            <p:nvSpPr>
              <p:cNvPr id="1568" name="Freeform: Shape 1567">
                <a:extLst>
                  <a:ext uri="{FF2B5EF4-FFF2-40B4-BE49-F238E27FC236}">
                    <a16:creationId xmlns:a16="http://schemas.microsoft.com/office/drawing/2014/main" id="{EF0388FF-E08E-AA7B-FF34-A868EE4A726B}"/>
                  </a:ext>
                </a:extLst>
              </p:cNvPr>
              <p:cNvSpPr/>
              <p:nvPr/>
            </p:nvSpPr>
            <p:spPr>
              <a:xfrm>
                <a:off x="3305733" y="4063870"/>
                <a:ext cx="1984" cy="474746"/>
              </a:xfrm>
              <a:custGeom>
                <a:avLst/>
                <a:gdLst>
                  <a:gd name="connsiteX0" fmla="*/ 992 w 1984"/>
                  <a:gd name="connsiteY0" fmla="*/ 0 h 474746"/>
                  <a:gd name="connsiteX1" fmla="*/ 1984 w 1984"/>
                  <a:gd name="connsiteY1" fmla="*/ 16371 h 474746"/>
                  <a:gd name="connsiteX2" fmla="*/ 1488 w 1984"/>
                  <a:gd name="connsiteY2" fmla="*/ 32741 h 474746"/>
                  <a:gd name="connsiteX3" fmla="*/ 1984 w 1984"/>
                  <a:gd name="connsiteY3" fmla="*/ 49112 h 474746"/>
                  <a:gd name="connsiteX4" fmla="*/ 0 w 1984"/>
                  <a:gd name="connsiteY4" fmla="*/ 65482 h 474746"/>
                  <a:gd name="connsiteX5" fmla="*/ 496 w 1984"/>
                  <a:gd name="connsiteY5" fmla="*/ 81853 h 474746"/>
                  <a:gd name="connsiteX6" fmla="*/ 496 w 1984"/>
                  <a:gd name="connsiteY6" fmla="*/ 98223 h 474746"/>
                  <a:gd name="connsiteX7" fmla="*/ 0 w 1984"/>
                  <a:gd name="connsiteY7" fmla="*/ 114594 h 474746"/>
                  <a:gd name="connsiteX8" fmla="*/ 0 w 1984"/>
                  <a:gd name="connsiteY8" fmla="*/ 130964 h 474746"/>
                  <a:gd name="connsiteX9" fmla="*/ 1984 w 1984"/>
                  <a:gd name="connsiteY9" fmla="*/ 147335 h 474746"/>
                  <a:gd name="connsiteX10" fmla="*/ 992 w 1984"/>
                  <a:gd name="connsiteY10" fmla="*/ 163706 h 474746"/>
                  <a:gd name="connsiteX11" fmla="*/ 992 w 1984"/>
                  <a:gd name="connsiteY11" fmla="*/ 180076 h 474746"/>
                  <a:gd name="connsiteX12" fmla="*/ 1984 w 1984"/>
                  <a:gd name="connsiteY12" fmla="*/ 196447 h 474746"/>
                  <a:gd name="connsiteX13" fmla="*/ 1488 w 1984"/>
                  <a:gd name="connsiteY13" fmla="*/ 212817 h 474746"/>
                  <a:gd name="connsiteX14" fmla="*/ 496 w 1984"/>
                  <a:gd name="connsiteY14" fmla="*/ 229188 h 474746"/>
                  <a:gd name="connsiteX15" fmla="*/ 1984 w 1984"/>
                  <a:gd name="connsiteY15" fmla="*/ 245559 h 474746"/>
                  <a:gd name="connsiteX16" fmla="*/ 0 w 1984"/>
                  <a:gd name="connsiteY16" fmla="*/ 261929 h 474746"/>
                  <a:gd name="connsiteX17" fmla="*/ 992 w 1984"/>
                  <a:gd name="connsiteY17" fmla="*/ 278300 h 474746"/>
                  <a:gd name="connsiteX18" fmla="*/ 1984 w 1984"/>
                  <a:gd name="connsiteY18" fmla="*/ 294670 h 474746"/>
                  <a:gd name="connsiteX19" fmla="*/ 1488 w 1984"/>
                  <a:gd name="connsiteY19" fmla="*/ 311041 h 474746"/>
                  <a:gd name="connsiteX20" fmla="*/ 1488 w 1984"/>
                  <a:gd name="connsiteY20" fmla="*/ 327411 h 474746"/>
                  <a:gd name="connsiteX21" fmla="*/ 496 w 1984"/>
                  <a:gd name="connsiteY21" fmla="*/ 343782 h 474746"/>
                  <a:gd name="connsiteX22" fmla="*/ 992 w 1984"/>
                  <a:gd name="connsiteY22" fmla="*/ 360152 h 474746"/>
                  <a:gd name="connsiteX23" fmla="*/ 496 w 1984"/>
                  <a:gd name="connsiteY23" fmla="*/ 376523 h 474746"/>
                  <a:gd name="connsiteX24" fmla="*/ 992 w 1984"/>
                  <a:gd name="connsiteY24" fmla="*/ 392894 h 474746"/>
                  <a:gd name="connsiteX25" fmla="*/ 0 w 1984"/>
                  <a:gd name="connsiteY25" fmla="*/ 409264 h 474746"/>
                  <a:gd name="connsiteX26" fmla="*/ 496 w 1984"/>
                  <a:gd name="connsiteY26" fmla="*/ 425635 h 474746"/>
                  <a:gd name="connsiteX27" fmla="*/ 1984 w 1984"/>
                  <a:gd name="connsiteY27" fmla="*/ 442005 h 474746"/>
                  <a:gd name="connsiteX28" fmla="*/ 496 w 1984"/>
                  <a:gd name="connsiteY28" fmla="*/ 458376 h 474746"/>
                  <a:gd name="connsiteX29" fmla="*/ 1984 w 1984"/>
                  <a:gd name="connsiteY29" fmla="*/ 474747 h 47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84" h="474746">
                    <a:moveTo>
                      <a:pt x="992" y="0"/>
                    </a:moveTo>
                    <a:cubicBezTo>
                      <a:pt x="992" y="8433"/>
                      <a:pt x="1984" y="8433"/>
                      <a:pt x="1984" y="16371"/>
                    </a:cubicBezTo>
                    <a:cubicBezTo>
                      <a:pt x="1984" y="24804"/>
                      <a:pt x="1488" y="24804"/>
                      <a:pt x="1488" y="32741"/>
                    </a:cubicBezTo>
                    <a:cubicBezTo>
                      <a:pt x="1488" y="41174"/>
                      <a:pt x="1984" y="41174"/>
                      <a:pt x="1984" y="49112"/>
                    </a:cubicBezTo>
                    <a:cubicBezTo>
                      <a:pt x="1984" y="57545"/>
                      <a:pt x="0" y="57545"/>
                      <a:pt x="0" y="65482"/>
                    </a:cubicBezTo>
                    <a:cubicBezTo>
                      <a:pt x="0" y="73915"/>
                      <a:pt x="496" y="73915"/>
                      <a:pt x="496" y="81853"/>
                    </a:cubicBezTo>
                    <a:cubicBezTo>
                      <a:pt x="496" y="90286"/>
                      <a:pt x="496" y="90286"/>
                      <a:pt x="496" y="98223"/>
                    </a:cubicBezTo>
                    <a:cubicBezTo>
                      <a:pt x="496" y="106657"/>
                      <a:pt x="0" y="106657"/>
                      <a:pt x="0" y="114594"/>
                    </a:cubicBezTo>
                    <a:cubicBezTo>
                      <a:pt x="0" y="123027"/>
                      <a:pt x="0" y="123027"/>
                      <a:pt x="0" y="130964"/>
                    </a:cubicBezTo>
                    <a:cubicBezTo>
                      <a:pt x="0" y="139398"/>
                      <a:pt x="1984" y="139398"/>
                      <a:pt x="1984" y="147335"/>
                    </a:cubicBezTo>
                    <a:cubicBezTo>
                      <a:pt x="1984" y="155768"/>
                      <a:pt x="992" y="155768"/>
                      <a:pt x="992" y="163706"/>
                    </a:cubicBezTo>
                    <a:cubicBezTo>
                      <a:pt x="992" y="172139"/>
                      <a:pt x="992" y="172139"/>
                      <a:pt x="992" y="180076"/>
                    </a:cubicBezTo>
                    <a:cubicBezTo>
                      <a:pt x="992" y="188510"/>
                      <a:pt x="1984" y="188510"/>
                      <a:pt x="1984" y="196447"/>
                    </a:cubicBezTo>
                    <a:cubicBezTo>
                      <a:pt x="1984" y="204880"/>
                      <a:pt x="1488" y="204880"/>
                      <a:pt x="1488" y="212817"/>
                    </a:cubicBezTo>
                    <a:cubicBezTo>
                      <a:pt x="1488" y="221251"/>
                      <a:pt x="496" y="221251"/>
                      <a:pt x="496" y="229188"/>
                    </a:cubicBezTo>
                    <a:cubicBezTo>
                      <a:pt x="496" y="237621"/>
                      <a:pt x="1984" y="237621"/>
                      <a:pt x="1984" y="245559"/>
                    </a:cubicBezTo>
                    <a:cubicBezTo>
                      <a:pt x="1984" y="253992"/>
                      <a:pt x="0" y="253992"/>
                      <a:pt x="0" y="261929"/>
                    </a:cubicBezTo>
                    <a:cubicBezTo>
                      <a:pt x="0" y="270362"/>
                      <a:pt x="992" y="270362"/>
                      <a:pt x="992" y="278300"/>
                    </a:cubicBezTo>
                    <a:cubicBezTo>
                      <a:pt x="992" y="286733"/>
                      <a:pt x="1984" y="286733"/>
                      <a:pt x="1984" y="294670"/>
                    </a:cubicBezTo>
                    <a:cubicBezTo>
                      <a:pt x="1984" y="303104"/>
                      <a:pt x="1488" y="303104"/>
                      <a:pt x="1488" y="311041"/>
                    </a:cubicBezTo>
                    <a:cubicBezTo>
                      <a:pt x="1488" y="319474"/>
                      <a:pt x="1488" y="319474"/>
                      <a:pt x="1488" y="327411"/>
                    </a:cubicBezTo>
                    <a:cubicBezTo>
                      <a:pt x="1488" y="335845"/>
                      <a:pt x="496" y="335845"/>
                      <a:pt x="496" y="343782"/>
                    </a:cubicBezTo>
                    <a:cubicBezTo>
                      <a:pt x="496" y="352215"/>
                      <a:pt x="992" y="352215"/>
                      <a:pt x="992" y="360152"/>
                    </a:cubicBezTo>
                    <a:cubicBezTo>
                      <a:pt x="992" y="368090"/>
                      <a:pt x="496" y="368586"/>
                      <a:pt x="496" y="376523"/>
                    </a:cubicBezTo>
                    <a:cubicBezTo>
                      <a:pt x="496" y="384956"/>
                      <a:pt x="992" y="384956"/>
                      <a:pt x="992" y="392894"/>
                    </a:cubicBezTo>
                    <a:cubicBezTo>
                      <a:pt x="992" y="401327"/>
                      <a:pt x="0" y="401327"/>
                      <a:pt x="0" y="409264"/>
                    </a:cubicBezTo>
                    <a:cubicBezTo>
                      <a:pt x="0" y="417698"/>
                      <a:pt x="496" y="417698"/>
                      <a:pt x="496" y="425635"/>
                    </a:cubicBezTo>
                    <a:cubicBezTo>
                      <a:pt x="496" y="434068"/>
                      <a:pt x="1984" y="434068"/>
                      <a:pt x="1984" y="442005"/>
                    </a:cubicBezTo>
                    <a:cubicBezTo>
                      <a:pt x="1984" y="450439"/>
                      <a:pt x="496" y="450439"/>
                      <a:pt x="496" y="458376"/>
                    </a:cubicBezTo>
                    <a:cubicBezTo>
                      <a:pt x="496" y="466809"/>
                      <a:pt x="1984" y="466809"/>
                      <a:pt x="1984" y="47474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69" name="Freeform: Shape 1568">
                <a:extLst>
                  <a:ext uri="{FF2B5EF4-FFF2-40B4-BE49-F238E27FC236}">
                    <a16:creationId xmlns:a16="http://schemas.microsoft.com/office/drawing/2014/main" id="{D601E19B-6DB1-720B-B432-1D13F5674974}"/>
                  </a:ext>
                </a:extLst>
              </p:cNvPr>
              <p:cNvSpPr/>
              <p:nvPr/>
            </p:nvSpPr>
            <p:spPr>
              <a:xfrm>
                <a:off x="3251660" y="4147211"/>
                <a:ext cx="55560" cy="53080"/>
              </a:xfrm>
              <a:custGeom>
                <a:avLst/>
                <a:gdLst>
                  <a:gd name="connsiteX0" fmla="*/ 0 w 55560"/>
                  <a:gd name="connsiteY0" fmla="*/ 0 h 53080"/>
                  <a:gd name="connsiteX1" fmla="*/ 11410 w 55560"/>
                  <a:gd name="connsiteY1" fmla="*/ 10418 h 53080"/>
                  <a:gd name="connsiteX2" fmla="*/ 22324 w 55560"/>
                  <a:gd name="connsiteY2" fmla="*/ 20835 h 53080"/>
                  <a:gd name="connsiteX3" fmla="*/ 32741 w 55560"/>
                  <a:gd name="connsiteY3" fmla="*/ 32245 h 53080"/>
                  <a:gd name="connsiteX4" fmla="*/ 44647 w 55560"/>
                  <a:gd name="connsiteY4" fmla="*/ 42167 h 53080"/>
                  <a:gd name="connsiteX5" fmla="*/ 55561 w 55560"/>
                  <a:gd name="connsiteY5" fmla="*/ 53080 h 5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0" h="53080">
                    <a:moveTo>
                      <a:pt x="0" y="0"/>
                    </a:moveTo>
                    <a:cubicBezTo>
                      <a:pt x="5457" y="5457"/>
                      <a:pt x="5953" y="4961"/>
                      <a:pt x="11410" y="10418"/>
                    </a:cubicBezTo>
                    <a:cubicBezTo>
                      <a:pt x="16867" y="15875"/>
                      <a:pt x="17363" y="15378"/>
                      <a:pt x="22324" y="20835"/>
                    </a:cubicBezTo>
                    <a:cubicBezTo>
                      <a:pt x="27781" y="26292"/>
                      <a:pt x="27284" y="26788"/>
                      <a:pt x="32741" y="32245"/>
                    </a:cubicBezTo>
                    <a:cubicBezTo>
                      <a:pt x="38198" y="37702"/>
                      <a:pt x="39190" y="36710"/>
                      <a:pt x="44647" y="42167"/>
                    </a:cubicBezTo>
                    <a:cubicBezTo>
                      <a:pt x="50104" y="47623"/>
                      <a:pt x="50104" y="47623"/>
                      <a:pt x="55561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0" name="Freeform: Shape 1569">
                <a:extLst>
                  <a:ext uri="{FF2B5EF4-FFF2-40B4-BE49-F238E27FC236}">
                    <a16:creationId xmlns:a16="http://schemas.microsoft.com/office/drawing/2014/main" id="{1411C8C2-E7C1-CA4B-14AD-E876D73A9225}"/>
                  </a:ext>
                </a:extLst>
              </p:cNvPr>
              <p:cNvSpPr/>
              <p:nvPr/>
            </p:nvSpPr>
            <p:spPr>
              <a:xfrm>
                <a:off x="3305733" y="4223111"/>
                <a:ext cx="48119" cy="47127"/>
              </a:xfrm>
              <a:custGeom>
                <a:avLst/>
                <a:gdLst>
                  <a:gd name="connsiteX0" fmla="*/ 48120 w 48119"/>
                  <a:gd name="connsiteY0" fmla="*/ 0 h 47127"/>
                  <a:gd name="connsiteX1" fmla="*/ 35718 w 48119"/>
                  <a:gd name="connsiteY1" fmla="*/ 11410 h 47127"/>
                  <a:gd name="connsiteX2" fmla="*/ 24804 w 48119"/>
                  <a:gd name="connsiteY2" fmla="*/ 24308 h 47127"/>
                  <a:gd name="connsiteX3" fmla="*/ 12402 w 48119"/>
                  <a:gd name="connsiteY3" fmla="*/ 35718 h 47127"/>
                  <a:gd name="connsiteX4" fmla="*/ 0 w 48119"/>
                  <a:gd name="connsiteY4" fmla="*/ 47127 h 47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19" h="47127">
                    <a:moveTo>
                      <a:pt x="48120" y="0"/>
                    </a:moveTo>
                    <a:cubicBezTo>
                      <a:pt x="42167" y="5953"/>
                      <a:pt x="41670" y="5457"/>
                      <a:pt x="35718" y="11410"/>
                    </a:cubicBezTo>
                    <a:cubicBezTo>
                      <a:pt x="29765" y="17363"/>
                      <a:pt x="30757" y="18355"/>
                      <a:pt x="24804" y="24308"/>
                    </a:cubicBezTo>
                    <a:cubicBezTo>
                      <a:pt x="18851" y="30261"/>
                      <a:pt x="18355" y="29765"/>
                      <a:pt x="12402" y="35718"/>
                    </a:cubicBezTo>
                    <a:cubicBezTo>
                      <a:pt x="6449" y="41671"/>
                      <a:pt x="5953" y="41174"/>
                      <a:pt x="0" y="4712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1" name="Freeform: Shape 1570">
                <a:extLst>
                  <a:ext uri="{FF2B5EF4-FFF2-40B4-BE49-F238E27FC236}">
                    <a16:creationId xmlns:a16="http://schemas.microsoft.com/office/drawing/2014/main" id="{1E557951-3AEE-9F23-04F0-BAB3A8DC5B46}"/>
                  </a:ext>
                </a:extLst>
              </p:cNvPr>
              <p:cNvSpPr/>
              <p:nvPr/>
            </p:nvSpPr>
            <p:spPr>
              <a:xfrm>
                <a:off x="3257117" y="4266766"/>
                <a:ext cx="50103" cy="48119"/>
              </a:xfrm>
              <a:custGeom>
                <a:avLst/>
                <a:gdLst>
                  <a:gd name="connsiteX0" fmla="*/ 0 w 50103"/>
                  <a:gd name="connsiteY0" fmla="*/ 0 h 48119"/>
                  <a:gd name="connsiteX1" fmla="*/ 12402 w 50103"/>
                  <a:gd name="connsiteY1" fmla="*/ 11906 h 48119"/>
                  <a:gd name="connsiteX2" fmla="*/ 24308 w 50103"/>
                  <a:gd name="connsiteY2" fmla="*/ 24308 h 48119"/>
                  <a:gd name="connsiteX3" fmla="*/ 37206 w 50103"/>
                  <a:gd name="connsiteY3" fmla="*/ 36214 h 48119"/>
                  <a:gd name="connsiteX4" fmla="*/ 50104 w 50103"/>
                  <a:gd name="connsiteY4" fmla="*/ 48120 h 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03" h="48119">
                    <a:moveTo>
                      <a:pt x="0" y="0"/>
                    </a:moveTo>
                    <a:cubicBezTo>
                      <a:pt x="5953" y="5953"/>
                      <a:pt x="6449" y="5953"/>
                      <a:pt x="12402" y="11906"/>
                    </a:cubicBezTo>
                    <a:cubicBezTo>
                      <a:pt x="18355" y="17859"/>
                      <a:pt x="18355" y="18355"/>
                      <a:pt x="24308" y="24308"/>
                    </a:cubicBezTo>
                    <a:cubicBezTo>
                      <a:pt x="30261" y="30261"/>
                      <a:pt x="30757" y="29765"/>
                      <a:pt x="37206" y="36214"/>
                    </a:cubicBezTo>
                    <a:cubicBezTo>
                      <a:pt x="43159" y="42167"/>
                      <a:pt x="43655" y="41671"/>
                      <a:pt x="50104" y="481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2" name="Freeform: Shape 1571">
                <a:extLst>
                  <a:ext uri="{FF2B5EF4-FFF2-40B4-BE49-F238E27FC236}">
                    <a16:creationId xmlns:a16="http://schemas.microsoft.com/office/drawing/2014/main" id="{74B38F58-8550-48DC-71CF-6CF7002D9977}"/>
                  </a:ext>
                </a:extLst>
              </p:cNvPr>
              <p:cNvSpPr/>
              <p:nvPr/>
            </p:nvSpPr>
            <p:spPr>
              <a:xfrm>
                <a:off x="3175264" y="3922778"/>
                <a:ext cx="260519" cy="493802"/>
              </a:xfrm>
              <a:custGeom>
                <a:avLst/>
                <a:gdLst>
                  <a:gd name="connsiteX0" fmla="*/ 130965 w 260519"/>
                  <a:gd name="connsiteY0" fmla="*/ 493803 h 493802"/>
                  <a:gd name="connsiteX1" fmla="*/ 142374 w 260519"/>
                  <a:gd name="connsiteY1" fmla="*/ 482889 h 493802"/>
                  <a:gd name="connsiteX2" fmla="*/ 154280 w 260519"/>
                  <a:gd name="connsiteY2" fmla="*/ 472472 h 493802"/>
                  <a:gd name="connsiteX3" fmla="*/ 164698 w 260519"/>
                  <a:gd name="connsiteY3" fmla="*/ 460566 h 493802"/>
                  <a:gd name="connsiteX4" fmla="*/ 176108 w 260519"/>
                  <a:gd name="connsiteY4" fmla="*/ 449652 h 493802"/>
                  <a:gd name="connsiteX5" fmla="*/ 187021 w 260519"/>
                  <a:gd name="connsiteY5" fmla="*/ 438242 h 493802"/>
                  <a:gd name="connsiteX6" fmla="*/ 198927 w 260519"/>
                  <a:gd name="connsiteY6" fmla="*/ 427825 h 493802"/>
                  <a:gd name="connsiteX7" fmla="*/ 209841 w 260519"/>
                  <a:gd name="connsiteY7" fmla="*/ 416415 h 493802"/>
                  <a:gd name="connsiteX8" fmla="*/ 220259 w 260519"/>
                  <a:gd name="connsiteY8" fmla="*/ 404509 h 493802"/>
                  <a:gd name="connsiteX9" fmla="*/ 231668 w 260519"/>
                  <a:gd name="connsiteY9" fmla="*/ 392603 h 493802"/>
                  <a:gd name="connsiteX10" fmla="*/ 239606 w 260519"/>
                  <a:gd name="connsiteY10" fmla="*/ 378217 h 493802"/>
                  <a:gd name="connsiteX11" fmla="*/ 247543 w 260519"/>
                  <a:gd name="connsiteY11" fmla="*/ 363830 h 493802"/>
                  <a:gd name="connsiteX12" fmla="*/ 252504 w 260519"/>
                  <a:gd name="connsiteY12" fmla="*/ 347956 h 493802"/>
                  <a:gd name="connsiteX13" fmla="*/ 256968 w 260519"/>
                  <a:gd name="connsiteY13" fmla="*/ 332082 h 493802"/>
                  <a:gd name="connsiteX14" fmla="*/ 258457 w 260519"/>
                  <a:gd name="connsiteY14" fmla="*/ 315711 h 493802"/>
                  <a:gd name="connsiteX15" fmla="*/ 260441 w 260519"/>
                  <a:gd name="connsiteY15" fmla="*/ 299340 h 493802"/>
                  <a:gd name="connsiteX16" fmla="*/ 256968 w 260519"/>
                  <a:gd name="connsiteY16" fmla="*/ 282970 h 493802"/>
                  <a:gd name="connsiteX17" fmla="*/ 253496 w 260519"/>
                  <a:gd name="connsiteY17" fmla="*/ 266599 h 493802"/>
                  <a:gd name="connsiteX18" fmla="*/ 247543 w 260519"/>
                  <a:gd name="connsiteY18" fmla="*/ 251221 h 493802"/>
                  <a:gd name="connsiteX19" fmla="*/ 240102 w 260519"/>
                  <a:gd name="connsiteY19" fmla="*/ 236835 h 493802"/>
                  <a:gd name="connsiteX20" fmla="*/ 233653 w 260519"/>
                  <a:gd name="connsiteY20" fmla="*/ 221952 h 493802"/>
                  <a:gd name="connsiteX21" fmla="*/ 225219 w 260519"/>
                  <a:gd name="connsiteY21" fmla="*/ 208062 h 493802"/>
                  <a:gd name="connsiteX22" fmla="*/ 220259 w 260519"/>
                  <a:gd name="connsiteY22" fmla="*/ 192188 h 493802"/>
                  <a:gd name="connsiteX23" fmla="*/ 212817 w 260519"/>
                  <a:gd name="connsiteY23" fmla="*/ 177801 h 493802"/>
                  <a:gd name="connsiteX24" fmla="*/ 204880 w 260519"/>
                  <a:gd name="connsiteY24" fmla="*/ 163415 h 493802"/>
                  <a:gd name="connsiteX25" fmla="*/ 198431 w 260519"/>
                  <a:gd name="connsiteY25" fmla="*/ 148533 h 493802"/>
                  <a:gd name="connsiteX26" fmla="*/ 190990 w 260519"/>
                  <a:gd name="connsiteY26" fmla="*/ 134146 h 493802"/>
                  <a:gd name="connsiteX27" fmla="*/ 185533 w 260519"/>
                  <a:gd name="connsiteY27" fmla="*/ 118768 h 493802"/>
                  <a:gd name="connsiteX28" fmla="*/ 177596 w 260519"/>
                  <a:gd name="connsiteY28" fmla="*/ 104382 h 493802"/>
                  <a:gd name="connsiteX29" fmla="*/ 172139 w 260519"/>
                  <a:gd name="connsiteY29" fmla="*/ 89003 h 493802"/>
                  <a:gd name="connsiteX30" fmla="*/ 165194 w 260519"/>
                  <a:gd name="connsiteY30" fmla="*/ 74121 h 493802"/>
                  <a:gd name="connsiteX31" fmla="*/ 158249 w 260519"/>
                  <a:gd name="connsiteY31" fmla="*/ 59239 h 493802"/>
                  <a:gd name="connsiteX32" fmla="*/ 150312 w 260519"/>
                  <a:gd name="connsiteY32" fmla="*/ 44852 h 493802"/>
                  <a:gd name="connsiteX33" fmla="*/ 144359 w 260519"/>
                  <a:gd name="connsiteY33" fmla="*/ 29474 h 493802"/>
                  <a:gd name="connsiteX34" fmla="*/ 136422 w 260519"/>
                  <a:gd name="connsiteY34" fmla="*/ 15088 h 493802"/>
                  <a:gd name="connsiteX35" fmla="*/ 128980 w 260519"/>
                  <a:gd name="connsiteY35" fmla="*/ 702 h 493802"/>
                  <a:gd name="connsiteX36" fmla="*/ 128980 w 260519"/>
                  <a:gd name="connsiteY36" fmla="*/ 205 h 493802"/>
                  <a:gd name="connsiteX37" fmla="*/ 122035 w 260519"/>
                  <a:gd name="connsiteY37" fmla="*/ 15088 h 493802"/>
                  <a:gd name="connsiteX38" fmla="*/ 115586 w 260519"/>
                  <a:gd name="connsiteY38" fmla="*/ 29970 h 493802"/>
                  <a:gd name="connsiteX39" fmla="*/ 108641 w 260519"/>
                  <a:gd name="connsiteY39" fmla="*/ 44852 h 493802"/>
                  <a:gd name="connsiteX40" fmla="*/ 102192 w 260519"/>
                  <a:gd name="connsiteY40" fmla="*/ 59735 h 493802"/>
                  <a:gd name="connsiteX41" fmla="*/ 95247 w 260519"/>
                  <a:gd name="connsiteY41" fmla="*/ 74617 h 493802"/>
                  <a:gd name="connsiteX42" fmla="*/ 88302 w 260519"/>
                  <a:gd name="connsiteY42" fmla="*/ 89499 h 493802"/>
                  <a:gd name="connsiteX43" fmla="*/ 81357 w 260519"/>
                  <a:gd name="connsiteY43" fmla="*/ 104382 h 493802"/>
                  <a:gd name="connsiteX44" fmla="*/ 74908 w 260519"/>
                  <a:gd name="connsiteY44" fmla="*/ 119264 h 493802"/>
                  <a:gd name="connsiteX45" fmla="*/ 67963 w 260519"/>
                  <a:gd name="connsiteY45" fmla="*/ 134146 h 493802"/>
                  <a:gd name="connsiteX46" fmla="*/ 61514 w 260519"/>
                  <a:gd name="connsiteY46" fmla="*/ 149029 h 493802"/>
                  <a:gd name="connsiteX47" fmla="*/ 53080 w 260519"/>
                  <a:gd name="connsiteY47" fmla="*/ 163415 h 493802"/>
                  <a:gd name="connsiteX48" fmla="*/ 47127 w 260519"/>
                  <a:gd name="connsiteY48" fmla="*/ 178793 h 493802"/>
                  <a:gd name="connsiteX49" fmla="*/ 40182 w 260519"/>
                  <a:gd name="connsiteY49" fmla="*/ 193676 h 493802"/>
                  <a:gd name="connsiteX50" fmla="*/ 33733 w 260519"/>
                  <a:gd name="connsiteY50" fmla="*/ 208558 h 493802"/>
                  <a:gd name="connsiteX51" fmla="*/ 26788 w 260519"/>
                  <a:gd name="connsiteY51" fmla="*/ 223440 h 493802"/>
                  <a:gd name="connsiteX52" fmla="*/ 19843 w 260519"/>
                  <a:gd name="connsiteY52" fmla="*/ 238323 h 493802"/>
                  <a:gd name="connsiteX53" fmla="*/ 11906 w 260519"/>
                  <a:gd name="connsiteY53" fmla="*/ 252709 h 493802"/>
                  <a:gd name="connsiteX54" fmla="*/ 5953 w 260519"/>
                  <a:gd name="connsiteY54" fmla="*/ 268088 h 493802"/>
                  <a:gd name="connsiteX55" fmla="*/ 3473 w 260519"/>
                  <a:gd name="connsiteY55" fmla="*/ 284458 h 493802"/>
                  <a:gd name="connsiteX56" fmla="*/ 992 w 260519"/>
                  <a:gd name="connsiteY56" fmla="*/ 300829 h 493802"/>
                  <a:gd name="connsiteX57" fmla="*/ 0 w 260519"/>
                  <a:gd name="connsiteY57" fmla="*/ 317199 h 493802"/>
                  <a:gd name="connsiteX58" fmla="*/ 1984 w 260519"/>
                  <a:gd name="connsiteY58" fmla="*/ 333570 h 493802"/>
                  <a:gd name="connsiteX59" fmla="*/ 6449 w 260519"/>
                  <a:gd name="connsiteY59" fmla="*/ 349444 h 493802"/>
                  <a:gd name="connsiteX60" fmla="*/ 12402 w 260519"/>
                  <a:gd name="connsiteY60" fmla="*/ 364823 h 493802"/>
                  <a:gd name="connsiteX61" fmla="*/ 19347 w 260519"/>
                  <a:gd name="connsiteY61" fmla="*/ 379705 h 493802"/>
                  <a:gd name="connsiteX62" fmla="*/ 30261 w 260519"/>
                  <a:gd name="connsiteY62" fmla="*/ 392603 h 493802"/>
                  <a:gd name="connsiteX63" fmla="*/ 39686 w 260519"/>
                  <a:gd name="connsiteY63" fmla="*/ 406493 h 493802"/>
                  <a:gd name="connsiteX64" fmla="*/ 52584 w 260519"/>
                  <a:gd name="connsiteY64" fmla="*/ 417407 h 493802"/>
                  <a:gd name="connsiteX65" fmla="*/ 64490 w 260519"/>
                  <a:gd name="connsiteY65" fmla="*/ 428817 h 493802"/>
                  <a:gd name="connsiteX66" fmla="*/ 76396 w 260519"/>
                  <a:gd name="connsiteY66" fmla="*/ 440723 h 493802"/>
                  <a:gd name="connsiteX67" fmla="*/ 86814 w 260519"/>
                  <a:gd name="connsiteY67" fmla="*/ 453621 h 49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60519" h="493802">
                    <a:moveTo>
                      <a:pt x="130965" y="493803"/>
                    </a:moveTo>
                    <a:cubicBezTo>
                      <a:pt x="136422" y="488346"/>
                      <a:pt x="136918" y="488346"/>
                      <a:pt x="142374" y="482889"/>
                    </a:cubicBezTo>
                    <a:cubicBezTo>
                      <a:pt x="147831" y="477432"/>
                      <a:pt x="148327" y="477928"/>
                      <a:pt x="154280" y="472472"/>
                    </a:cubicBezTo>
                    <a:cubicBezTo>
                      <a:pt x="159737" y="467015"/>
                      <a:pt x="159241" y="466023"/>
                      <a:pt x="164698" y="460566"/>
                    </a:cubicBezTo>
                    <a:cubicBezTo>
                      <a:pt x="170155" y="455109"/>
                      <a:pt x="170651" y="455109"/>
                      <a:pt x="176108" y="449652"/>
                    </a:cubicBezTo>
                    <a:cubicBezTo>
                      <a:pt x="181565" y="444195"/>
                      <a:pt x="181565" y="444195"/>
                      <a:pt x="187021" y="438242"/>
                    </a:cubicBezTo>
                    <a:cubicBezTo>
                      <a:pt x="192478" y="432785"/>
                      <a:pt x="193471" y="433778"/>
                      <a:pt x="198927" y="427825"/>
                    </a:cubicBezTo>
                    <a:cubicBezTo>
                      <a:pt x="204384" y="422368"/>
                      <a:pt x="204384" y="421872"/>
                      <a:pt x="209841" y="416415"/>
                    </a:cubicBezTo>
                    <a:cubicBezTo>
                      <a:pt x="215298" y="410958"/>
                      <a:pt x="214802" y="409966"/>
                      <a:pt x="220259" y="404509"/>
                    </a:cubicBezTo>
                    <a:cubicBezTo>
                      <a:pt x="224227" y="400540"/>
                      <a:pt x="228196" y="396572"/>
                      <a:pt x="231668" y="392603"/>
                    </a:cubicBezTo>
                    <a:cubicBezTo>
                      <a:pt x="235141" y="388138"/>
                      <a:pt x="237125" y="382682"/>
                      <a:pt x="239606" y="378217"/>
                    </a:cubicBezTo>
                    <a:cubicBezTo>
                      <a:pt x="242582" y="373256"/>
                      <a:pt x="245559" y="368791"/>
                      <a:pt x="247543" y="363830"/>
                    </a:cubicBezTo>
                    <a:cubicBezTo>
                      <a:pt x="250023" y="358870"/>
                      <a:pt x="251015" y="353413"/>
                      <a:pt x="252504" y="347956"/>
                    </a:cubicBezTo>
                    <a:cubicBezTo>
                      <a:pt x="253992" y="342499"/>
                      <a:pt x="255976" y="337538"/>
                      <a:pt x="256968" y="332082"/>
                    </a:cubicBezTo>
                    <a:cubicBezTo>
                      <a:pt x="257961" y="326625"/>
                      <a:pt x="257961" y="321168"/>
                      <a:pt x="258457" y="315711"/>
                    </a:cubicBezTo>
                    <a:cubicBezTo>
                      <a:pt x="258953" y="310254"/>
                      <a:pt x="260937" y="304797"/>
                      <a:pt x="260441" y="299340"/>
                    </a:cubicBezTo>
                    <a:cubicBezTo>
                      <a:pt x="259945" y="293884"/>
                      <a:pt x="258457" y="288427"/>
                      <a:pt x="256968" y="282970"/>
                    </a:cubicBezTo>
                    <a:cubicBezTo>
                      <a:pt x="255976" y="277513"/>
                      <a:pt x="255480" y="272056"/>
                      <a:pt x="253496" y="266599"/>
                    </a:cubicBezTo>
                    <a:cubicBezTo>
                      <a:pt x="252008" y="261143"/>
                      <a:pt x="250023" y="256182"/>
                      <a:pt x="247543" y="251221"/>
                    </a:cubicBezTo>
                    <a:cubicBezTo>
                      <a:pt x="244070" y="243780"/>
                      <a:pt x="243574" y="243780"/>
                      <a:pt x="240102" y="236835"/>
                    </a:cubicBezTo>
                    <a:cubicBezTo>
                      <a:pt x="236629" y="229393"/>
                      <a:pt x="236629" y="229393"/>
                      <a:pt x="233653" y="221952"/>
                    </a:cubicBezTo>
                    <a:cubicBezTo>
                      <a:pt x="230180" y="214511"/>
                      <a:pt x="228692" y="215503"/>
                      <a:pt x="225219" y="208062"/>
                    </a:cubicBezTo>
                    <a:cubicBezTo>
                      <a:pt x="221747" y="200621"/>
                      <a:pt x="223731" y="199629"/>
                      <a:pt x="220259" y="192188"/>
                    </a:cubicBezTo>
                    <a:cubicBezTo>
                      <a:pt x="216786" y="184746"/>
                      <a:pt x="216290" y="184746"/>
                      <a:pt x="212817" y="177801"/>
                    </a:cubicBezTo>
                    <a:cubicBezTo>
                      <a:pt x="209345" y="170360"/>
                      <a:pt x="208353" y="170856"/>
                      <a:pt x="204880" y="163415"/>
                    </a:cubicBezTo>
                    <a:cubicBezTo>
                      <a:pt x="201408" y="155974"/>
                      <a:pt x="201904" y="155974"/>
                      <a:pt x="198431" y="148533"/>
                    </a:cubicBezTo>
                    <a:cubicBezTo>
                      <a:pt x="194959" y="141092"/>
                      <a:pt x="194462" y="141588"/>
                      <a:pt x="190990" y="134146"/>
                    </a:cubicBezTo>
                    <a:cubicBezTo>
                      <a:pt x="187518" y="126705"/>
                      <a:pt x="189006" y="126209"/>
                      <a:pt x="185533" y="118768"/>
                    </a:cubicBezTo>
                    <a:cubicBezTo>
                      <a:pt x="182061" y="111327"/>
                      <a:pt x="181069" y="111823"/>
                      <a:pt x="177596" y="104382"/>
                    </a:cubicBezTo>
                    <a:cubicBezTo>
                      <a:pt x="174123" y="96941"/>
                      <a:pt x="175612" y="96445"/>
                      <a:pt x="172139" y="89003"/>
                    </a:cubicBezTo>
                    <a:cubicBezTo>
                      <a:pt x="168667" y="81562"/>
                      <a:pt x="168667" y="81562"/>
                      <a:pt x="165194" y="74121"/>
                    </a:cubicBezTo>
                    <a:cubicBezTo>
                      <a:pt x="161721" y="66680"/>
                      <a:pt x="161721" y="66680"/>
                      <a:pt x="158249" y="59239"/>
                    </a:cubicBezTo>
                    <a:cubicBezTo>
                      <a:pt x="154776" y="51798"/>
                      <a:pt x="153784" y="52294"/>
                      <a:pt x="150312" y="44852"/>
                    </a:cubicBezTo>
                    <a:cubicBezTo>
                      <a:pt x="146839" y="37411"/>
                      <a:pt x="147831" y="36915"/>
                      <a:pt x="144359" y="29474"/>
                    </a:cubicBezTo>
                    <a:cubicBezTo>
                      <a:pt x="140886" y="22033"/>
                      <a:pt x="139894" y="22529"/>
                      <a:pt x="136422" y="15088"/>
                    </a:cubicBezTo>
                    <a:cubicBezTo>
                      <a:pt x="132949" y="7647"/>
                      <a:pt x="132949" y="7647"/>
                      <a:pt x="128980" y="702"/>
                    </a:cubicBezTo>
                    <a:cubicBezTo>
                      <a:pt x="128484" y="205"/>
                      <a:pt x="129476" y="-291"/>
                      <a:pt x="128980" y="205"/>
                    </a:cubicBezTo>
                    <a:cubicBezTo>
                      <a:pt x="125012" y="7151"/>
                      <a:pt x="125508" y="7647"/>
                      <a:pt x="122035" y="15088"/>
                    </a:cubicBezTo>
                    <a:cubicBezTo>
                      <a:pt x="118563" y="22529"/>
                      <a:pt x="118563" y="22529"/>
                      <a:pt x="115586" y="29970"/>
                    </a:cubicBezTo>
                    <a:cubicBezTo>
                      <a:pt x="112114" y="37411"/>
                      <a:pt x="111618" y="37411"/>
                      <a:pt x="108641" y="44852"/>
                    </a:cubicBezTo>
                    <a:cubicBezTo>
                      <a:pt x="105168" y="52294"/>
                      <a:pt x="105665" y="52294"/>
                      <a:pt x="102192" y="59735"/>
                    </a:cubicBezTo>
                    <a:cubicBezTo>
                      <a:pt x="98719" y="67176"/>
                      <a:pt x="98719" y="67176"/>
                      <a:pt x="95247" y="74617"/>
                    </a:cubicBezTo>
                    <a:cubicBezTo>
                      <a:pt x="91775" y="82058"/>
                      <a:pt x="91775" y="82058"/>
                      <a:pt x="88302" y="89499"/>
                    </a:cubicBezTo>
                    <a:cubicBezTo>
                      <a:pt x="84829" y="96941"/>
                      <a:pt x="84829" y="96941"/>
                      <a:pt x="81357" y="104382"/>
                    </a:cubicBezTo>
                    <a:cubicBezTo>
                      <a:pt x="77884" y="111823"/>
                      <a:pt x="78380" y="111823"/>
                      <a:pt x="74908" y="119264"/>
                    </a:cubicBezTo>
                    <a:cubicBezTo>
                      <a:pt x="71435" y="126705"/>
                      <a:pt x="71435" y="126705"/>
                      <a:pt x="67963" y="134146"/>
                    </a:cubicBezTo>
                    <a:cubicBezTo>
                      <a:pt x="64490" y="141588"/>
                      <a:pt x="64986" y="142084"/>
                      <a:pt x="61514" y="149029"/>
                    </a:cubicBezTo>
                    <a:cubicBezTo>
                      <a:pt x="58041" y="156470"/>
                      <a:pt x="56553" y="155974"/>
                      <a:pt x="53080" y="163415"/>
                    </a:cubicBezTo>
                    <a:cubicBezTo>
                      <a:pt x="49608" y="170856"/>
                      <a:pt x="50600" y="171352"/>
                      <a:pt x="47127" y="178793"/>
                    </a:cubicBezTo>
                    <a:cubicBezTo>
                      <a:pt x="43655" y="186235"/>
                      <a:pt x="43655" y="186235"/>
                      <a:pt x="40182" y="193676"/>
                    </a:cubicBezTo>
                    <a:cubicBezTo>
                      <a:pt x="36710" y="201117"/>
                      <a:pt x="37206" y="201117"/>
                      <a:pt x="33733" y="208558"/>
                    </a:cubicBezTo>
                    <a:cubicBezTo>
                      <a:pt x="30261" y="215999"/>
                      <a:pt x="30261" y="215999"/>
                      <a:pt x="26788" y="223440"/>
                    </a:cubicBezTo>
                    <a:cubicBezTo>
                      <a:pt x="23316" y="230882"/>
                      <a:pt x="23316" y="230882"/>
                      <a:pt x="19843" y="238323"/>
                    </a:cubicBezTo>
                    <a:cubicBezTo>
                      <a:pt x="16371" y="245764"/>
                      <a:pt x="15378" y="245268"/>
                      <a:pt x="11906" y="252709"/>
                    </a:cubicBezTo>
                    <a:cubicBezTo>
                      <a:pt x="9425" y="257670"/>
                      <a:pt x="7441" y="263127"/>
                      <a:pt x="5953" y="268088"/>
                    </a:cubicBezTo>
                    <a:cubicBezTo>
                      <a:pt x="4465" y="273545"/>
                      <a:pt x="4465" y="279001"/>
                      <a:pt x="3473" y="284458"/>
                    </a:cubicBezTo>
                    <a:cubicBezTo>
                      <a:pt x="2480" y="289915"/>
                      <a:pt x="992" y="295372"/>
                      <a:pt x="992" y="300829"/>
                    </a:cubicBezTo>
                    <a:cubicBezTo>
                      <a:pt x="496" y="306286"/>
                      <a:pt x="0" y="311742"/>
                      <a:pt x="0" y="317199"/>
                    </a:cubicBezTo>
                    <a:cubicBezTo>
                      <a:pt x="496" y="322656"/>
                      <a:pt x="992" y="328113"/>
                      <a:pt x="1984" y="333570"/>
                    </a:cubicBezTo>
                    <a:cubicBezTo>
                      <a:pt x="2976" y="339027"/>
                      <a:pt x="4465" y="344484"/>
                      <a:pt x="6449" y="349444"/>
                    </a:cubicBezTo>
                    <a:cubicBezTo>
                      <a:pt x="7937" y="354901"/>
                      <a:pt x="10418" y="359862"/>
                      <a:pt x="12402" y="364823"/>
                    </a:cubicBezTo>
                    <a:cubicBezTo>
                      <a:pt x="14882" y="369783"/>
                      <a:pt x="16371" y="375241"/>
                      <a:pt x="19347" y="379705"/>
                    </a:cubicBezTo>
                    <a:cubicBezTo>
                      <a:pt x="22324" y="384170"/>
                      <a:pt x="26788" y="388138"/>
                      <a:pt x="30261" y="392603"/>
                    </a:cubicBezTo>
                    <a:cubicBezTo>
                      <a:pt x="33733" y="397068"/>
                      <a:pt x="35718" y="402525"/>
                      <a:pt x="39686" y="406493"/>
                    </a:cubicBezTo>
                    <a:cubicBezTo>
                      <a:pt x="45639" y="412446"/>
                      <a:pt x="46631" y="411454"/>
                      <a:pt x="52584" y="417407"/>
                    </a:cubicBezTo>
                    <a:cubicBezTo>
                      <a:pt x="58537" y="423360"/>
                      <a:pt x="59033" y="422864"/>
                      <a:pt x="64490" y="428817"/>
                    </a:cubicBezTo>
                    <a:cubicBezTo>
                      <a:pt x="70443" y="434770"/>
                      <a:pt x="70443" y="434770"/>
                      <a:pt x="76396" y="440723"/>
                    </a:cubicBezTo>
                    <a:cubicBezTo>
                      <a:pt x="82349" y="446676"/>
                      <a:pt x="81357" y="447668"/>
                      <a:pt x="86814" y="45362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E53EA313-B21C-162F-44D7-9DFE31F227CF}"/>
                </a:ext>
              </a:extLst>
            </p:cNvPr>
            <p:cNvSpPr/>
            <p:nvPr/>
          </p:nvSpPr>
          <p:spPr>
            <a:xfrm>
              <a:off x="3447472" y="4433242"/>
              <a:ext cx="174634" cy="221095"/>
            </a:xfrm>
            <a:custGeom>
              <a:avLst/>
              <a:gdLst>
                <a:gd name="connsiteX0" fmla="*/ 117213 w 174634"/>
                <a:gd name="connsiteY0" fmla="*/ 18561 h 221095"/>
                <a:gd name="connsiteX1" fmla="*/ 128127 w 174634"/>
                <a:gd name="connsiteY1" fmla="*/ 29474 h 221095"/>
                <a:gd name="connsiteX2" fmla="*/ 138545 w 174634"/>
                <a:gd name="connsiteY2" fmla="*/ 40884 h 221095"/>
                <a:gd name="connsiteX3" fmla="*/ 147970 w 174634"/>
                <a:gd name="connsiteY3" fmla="*/ 53286 h 221095"/>
                <a:gd name="connsiteX4" fmla="*/ 155411 w 174634"/>
                <a:gd name="connsiteY4" fmla="*/ 66680 h 221095"/>
                <a:gd name="connsiteX5" fmla="*/ 163349 w 174634"/>
                <a:gd name="connsiteY5" fmla="*/ 80074 h 221095"/>
                <a:gd name="connsiteX6" fmla="*/ 167813 w 174634"/>
                <a:gd name="connsiteY6" fmla="*/ 94956 h 221095"/>
                <a:gd name="connsiteX7" fmla="*/ 171286 w 174634"/>
                <a:gd name="connsiteY7" fmla="*/ 109839 h 221095"/>
                <a:gd name="connsiteX8" fmla="*/ 174262 w 174634"/>
                <a:gd name="connsiteY8" fmla="*/ 125217 h 221095"/>
                <a:gd name="connsiteX9" fmla="*/ 174262 w 174634"/>
                <a:gd name="connsiteY9" fmla="*/ 140596 h 221095"/>
                <a:gd name="connsiteX10" fmla="*/ 172774 w 174634"/>
                <a:gd name="connsiteY10" fmla="*/ 155974 h 221095"/>
                <a:gd name="connsiteX11" fmla="*/ 168805 w 174634"/>
                <a:gd name="connsiteY11" fmla="*/ 170856 h 221095"/>
                <a:gd name="connsiteX12" fmla="*/ 163349 w 174634"/>
                <a:gd name="connsiteY12" fmla="*/ 185739 h 221095"/>
                <a:gd name="connsiteX13" fmla="*/ 154419 w 174634"/>
                <a:gd name="connsiteY13" fmla="*/ 198140 h 221095"/>
                <a:gd name="connsiteX14" fmla="*/ 143505 w 174634"/>
                <a:gd name="connsiteY14" fmla="*/ 209551 h 221095"/>
                <a:gd name="connsiteX15" fmla="*/ 129615 w 174634"/>
                <a:gd name="connsiteY15" fmla="*/ 216495 h 221095"/>
                <a:gd name="connsiteX16" fmla="*/ 114733 w 174634"/>
                <a:gd name="connsiteY16" fmla="*/ 219968 h 221095"/>
                <a:gd name="connsiteX17" fmla="*/ 99354 w 174634"/>
                <a:gd name="connsiteY17" fmla="*/ 220960 h 221095"/>
                <a:gd name="connsiteX18" fmla="*/ 84472 w 174634"/>
                <a:gd name="connsiteY18" fmla="*/ 216495 h 221095"/>
                <a:gd name="connsiteX19" fmla="*/ 70086 w 174634"/>
                <a:gd name="connsiteY19" fmla="*/ 210542 h 221095"/>
                <a:gd name="connsiteX20" fmla="*/ 56692 w 174634"/>
                <a:gd name="connsiteY20" fmla="*/ 202605 h 221095"/>
                <a:gd name="connsiteX21" fmla="*/ 45282 w 174634"/>
                <a:gd name="connsiteY21" fmla="*/ 192188 h 221095"/>
                <a:gd name="connsiteX22" fmla="*/ 34864 w 174634"/>
                <a:gd name="connsiteY22" fmla="*/ 180778 h 221095"/>
                <a:gd name="connsiteX23" fmla="*/ 25439 w 174634"/>
                <a:gd name="connsiteY23" fmla="*/ 168872 h 221095"/>
                <a:gd name="connsiteX24" fmla="*/ 17502 w 174634"/>
                <a:gd name="connsiteY24" fmla="*/ 155478 h 221095"/>
                <a:gd name="connsiteX25" fmla="*/ 11549 w 174634"/>
                <a:gd name="connsiteY25" fmla="*/ 141092 h 221095"/>
                <a:gd name="connsiteX26" fmla="*/ 7580 w 174634"/>
                <a:gd name="connsiteY26" fmla="*/ 126209 h 221095"/>
                <a:gd name="connsiteX27" fmla="*/ 2619 w 174634"/>
                <a:gd name="connsiteY27" fmla="*/ 111327 h 221095"/>
                <a:gd name="connsiteX28" fmla="*/ 139 w 174634"/>
                <a:gd name="connsiteY28" fmla="*/ 95949 h 221095"/>
                <a:gd name="connsiteX29" fmla="*/ 635 w 174634"/>
                <a:gd name="connsiteY29" fmla="*/ 80570 h 221095"/>
                <a:gd name="connsiteX30" fmla="*/ 2123 w 174634"/>
                <a:gd name="connsiteY30" fmla="*/ 65192 h 221095"/>
                <a:gd name="connsiteX31" fmla="*/ 4107 w 174634"/>
                <a:gd name="connsiteY31" fmla="*/ 49813 h 221095"/>
                <a:gd name="connsiteX32" fmla="*/ 10557 w 174634"/>
                <a:gd name="connsiteY32" fmla="*/ 35923 h 221095"/>
                <a:gd name="connsiteX33" fmla="*/ 17502 w 174634"/>
                <a:gd name="connsiteY33" fmla="*/ 22033 h 221095"/>
                <a:gd name="connsiteX34" fmla="*/ 29904 w 174634"/>
                <a:gd name="connsiteY34" fmla="*/ 12608 h 221095"/>
                <a:gd name="connsiteX35" fmla="*/ 43298 w 174634"/>
                <a:gd name="connsiteY35" fmla="*/ 5166 h 221095"/>
                <a:gd name="connsiteX36" fmla="*/ 57684 w 174634"/>
                <a:gd name="connsiteY36" fmla="*/ 702 h 221095"/>
                <a:gd name="connsiteX37" fmla="*/ 73062 w 174634"/>
                <a:gd name="connsiteY37" fmla="*/ 206 h 221095"/>
                <a:gd name="connsiteX38" fmla="*/ 80999 w 174634"/>
                <a:gd name="connsiteY38" fmla="*/ 206 h 22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4634" h="221095">
                  <a:moveTo>
                    <a:pt x="117213" y="18561"/>
                  </a:moveTo>
                  <a:cubicBezTo>
                    <a:pt x="121182" y="21537"/>
                    <a:pt x="124655" y="25505"/>
                    <a:pt x="128127" y="29474"/>
                  </a:cubicBezTo>
                  <a:cubicBezTo>
                    <a:pt x="131599" y="32947"/>
                    <a:pt x="135072" y="36915"/>
                    <a:pt x="138545" y="40884"/>
                  </a:cubicBezTo>
                  <a:cubicBezTo>
                    <a:pt x="141521" y="44853"/>
                    <a:pt x="144994" y="48821"/>
                    <a:pt x="147970" y="53286"/>
                  </a:cubicBezTo>
                  <a:cubicBezTo>
                    <a:pt x="150947" y="57750"/>
                    <a:pt x="152931" y="62215"/>
                    <a:pt x="155411" y="66680"/>
                  </a:cubicBezTo>
                  <a:cubicBezTo>
                    <a:pt x="157892" y="71145"/>
                    <a:pt x="161364" y="75113"/>
                    <a:pt x="163349" y="80074"/>
                  </a:cubicBezTo>
                  <a:cubicBezTo>
                    <a:pt x="165333" y="85035"/>
                    <a:pt x="166325" y="89996"/>
                    <a:pt x="167813" y="94956"/>
                  </a:cubicBezTo>
                  <a:cubicBezTo>
                    <a:pt x="169302" y="99917"/>
                    <a:pt x="170294" y="104878"/>
                    <a:pt x="171286" y="109839"/>
                  </a:cubicBezTo>
                  <a:cubicBezTo>
                    <a:pt x="172278" y="114799"/>
                    <a:pt x="174262" y="120256"/>
                    <a:pt x="174262" y="125217"/>
                  </a:cubicBezTo>
                  <a:cubicBezTo>
                    <a:pt x="174758" y="130674"/>
                    <a:pt x="174758" y="135635"/>
                    <a:pt x="174262" y="140596"/>
                  </a:cubicBezTo>
                  <a:cubicBezTo>
                    <a:pt x="174262" y="146052"/>
                    <a:pt x="173270" y="151013"/>
                    <a:pt x="172774" y="155974"/>
                  </a:cubicBezTo>
                  <a:cubicBezTo>
                    <a:pt x="171782" y="161431"/>
                    <a:pt x="170294" y="166392"/>
                    <a:pt x="168805" y="170856"/>
                  </a:cubicBezTo>
                  <a:cubicBezTo>
                    <a:pt x="167317" y="175817"/>
                    <a:pt x="165829" y="181274"/>
                    <a:pt x="163349" y="185739"/>
                  </a:cubicBezTo>
                  <a:cubicBezTo>
                    <a:pt x="160868" y="190203"/>
                    <a:pt x="157396" y="194668"/>
                    <a:pt x="154419" y="198140"/>
                  </a:cubicBezTo>
                  <a:cubicBezTo>
                    <a:pt x="150947" y="202109"/>
                    <a:pt x="147474" y="206078"/>
                    <a:pt x="143505" y="209551"/>
                  </a:cubicBezTo>
                  <a:cubicBezTo>
                    <a:pt x="139537" y="212527"/>
                    <a:pt x="134576" y="214511"/>
                    <a:pt x="129615" y="216495"/>
                  </a:cubicBezTo>
                  <a:cubicBezTo>
                    <a:pt x="124655" y="218480"/>
                    <a:pt x="119694" y="218976"/>
                    <a:pt x="114733" y="219968"/>
                  </a:cubicBezTo>
                  <a:cubicBezTo>
                    <a:pt x="109772" y="220464"/>
                    <a:pt x="104315" y="221456"/>
                    <a:pt x="99354" y="220960"/>
                  </a:cubicBezTo>
                  <a:cubicBezTo>
                    <a:pt x="94394" y="220464"/>
                    <a:pt x="89433" y="217984"/>
                    <a:pt x="84472" y="216495"/>
                  </a:cubicBezTo>
                  <a:cubicBezTo>
                    <a:pt x="79511" y="215007"/>
                    <a:pt x="75047" y="213023"/>
                    <a:pt x="70086" y="210542"/>
                  </a:cubicBezTo>
                  <a:cubicBezTo>
                    <a:pt x="65621" y="208062"/>
                    <a:pt x="61156" y="205582"/>
                    <a:pt x="56692" y="202605"/>
                  </a:cubicBezTo>
                  <a:cubicBezTo>
                    <a:pt x="52723" y="199629"/>
                    <a:pt x="49251" y="195660"/>
                    <a:pt x="45282" y="192188"/>
                  </a:cubicBezTo>
                  <a:cubicBezTo>
                    <a:pt x="41810" y="188715"/>
                    <a:pt x="37841" y="185243"/>
                    <a:pt x="34864" y="180778"/>
                  </a:cubicBezTo>
                  <a:cubicBezTo>
                    <a:pt x="31888" y="176809"/>
                    <a:pt x="28415" y="172841"/>
                    <a:pt x="25439" y="168872"/>
                  </a:cubicBezTo>
                  <a:cubicBezTo>
                    <a:pt x="22462" y="164407"/>
                    <a:pt x="19982" y="159943"/>
                    <a:pt x="17502" y="155478"/>
                  </a:cubicBezTo>
                  <a:cubicBezTo>
                    <a:pt x="15021" y="151013"/>
                    <a:pt x="13533" y="146052"/>
                    <a:pt x="11549" y="141092"/>
                  </a:cubicBezTo>
                  <a:cubicBezTo>
                    <a:pt x="9564" y="136131"/>
                    <a:pt x="9068" y="131170"/>
                    <a:pt x="7580" y="126209"/>
                  </a:cubicBezTo>
                  <a:cubicBezTo>
                    <a:pt x="6092" y="121248"/>
                    <a:pt x="3611" y="116288"/>
                    <a:pt x="2619" y="111327"/>
                  </a:cubicBezTo>
                  <a:cubicBezTo>
                    <a:pt x="1627" y="106366"/>
                    <a:pt x="635" y="100909"/>
                    <a:pt x="139" y="95949"/>
                  </a:cubicBezTo>
                  <a:cubicBezTo>
                    <a:pt x="-357" y="90492"/>
                    <a:pt x="635" y="85531"/>
                    <a:pt x="635" y="80570"/>
                  </a:cubicBezTo>
                  <a:cubicBezTo>
                    <a:pt x="635" y="75113"/>
                    <a:pt x="1627" y="70152"/>
                    <a:pt x="2123" y="65192"/>
                  </a:cubicBezTo>
                  <a:cubicBezTo>
                    <a:pt x="3115" y="59735"/>
                    <a:pt x="2619" y="54774"/>
                    <a:pt x="4107" y="49813"/>
                  </a:cubicBezTo>
                  <a:cubicBezTo>
                    <a:pt x="5596" y="44853"/>
                    <a:pt x="8572" y="40388"/>
                    <a:pt x="10557" y="35923"/>
                  </a:cubicBezTo>
                  <a:cubicBezTo>
                    <a:pt x="13037" y="31458"/>
                    <a:pt x="14525" y="26002"/>
                    <a:pt x="17502" y="22033"/>
                  </a:cubicBezTo>
                  <a:cubicBezTo>
                    <a:pt x="20974" y="18064"/>
                    <a:pt x="25935" y="16080"/>
                    <a:pt x="29904" y="12608"/>
                  </a:cubicBezTo>
                  <a:cubicBezTo>
                    <a:pt x="33872" y="9631"/>
                    <a:pt x="38337" y="7150"/>
                    <a:pt x="43298" y="5166"/>
                  </a:cubicBezTo>
                  <a:cubicBezTo>
                    <a:pt x="48258" y="3182"/>
                    <a:pt x="52723" y="1694"/>
                    <a:pt x="57684" y="702"/>
                  </a:cubicBezTo>
                  <a:cubicBezTo>
                    <a:pt x="62645" y="206"/>
                    <a:pt x="67606" y="-291"/>
                    <a:pt x="73062" y="206"/>
                  </a:cubicBezTo>
                  <a:cubicBezTo>
                    <a:pt x="75543" y="702"/>
                    <a:pt x="78519" y="-291"/>
                    <a:pt x="80999" y="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228C24F7-5381-7318-E804-1740ED6EA116}"/>
                </a:ext>
              </a:extLst>
            </p:cNvPr>
            <p:cNvSpPr/>
            <p:nvPr/>
          </p:nvSpPr>
          <p:spPr>
            <a:xfrm>
              <a:off x="3511605" y="4520262"/>
              <a:ext cx="91774" cy="56205"/>
            </a:xfrm>
            <a:custGeom>
              <a:avLst/>
              <a:gdLst>
                <a:gd name="connsiteX0" fmla="*/ 0 w 91774"/>
                <a:gd name="connsiteY0" fmla="*/ 37206 h 56205"/>
                <a:gd name="connsiteX1" fmla="*/ 13890 w 91774"/>
                <a:gd name="connsiteY1" fmla="*/ 46631 h 56205"/>
                <a:gd name="connsiteX2" fmla="*/ 29765 w 91774"/>
                <a:gd name="connsiteY2" fmla="*/ 51592 h 56205"/>
                <a:gd name="connsiteX3" fmla="*/ 45639 w 91774"/>
                <a:gd name="connsiteY3" fmla="*/ 55065 h 56205"/>
                <a:gd name="connsiteX4" fmla="*/ 62010 w 91774"/>
                <a:gd name="connsiteY4" fmla="*/ 55561 h 56205"/>
                <a:gd name="connsiteX5" fmla="*/ 76396 w 91774"/>
                <a:gd name="connsiteY5" fmla="*/ 47127 h 56205"/>
                <a:gd name="connsiteX6" fmla="*/ 83837 w 91774"/>
                <a:gd name="connsiteY6" fmla="*/ 32245 h 56205"/>
                <a:gd name="connsiteX7" fmla="*/ 88798 w 91774"/>
                <a:gd name="connsiteY7" fmla="*/ 16371 h 56205"/>
                <a:gd name="connsiteX8" fmla="*/ 91774 w 91774"/>
                <a:gd name="connsiteY8" fmla="*/ 0 h 5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774" h="56205">
                  <a:moveTo>
                    <a:pt x="0" y="37206"/>
                  </a:moveTo>
                  <a:cubicBezTo>
                    <a:pt x="6945" y="42167"/>
                    <a:pt x="5457" y="42167"/>
                    <a:pt x="13890" y="46631"/>
                  </a:cubicBezTo>
                  <a:cubicBezTo>
                    <a:pt x="18355" y="49112"/>
                    <a:pt x="24308" y="49608"/>
                    <a:pt x="29765" y="51592"/>
                  </a:cubicBezTo>
                  <a:cubicBezTo>
                    <a:pt x="34725" y="53576"/>
                    <a:pt x="40182" y="54569"/>
                    <a:pt x="45639" y="55065"/>
                  </a:cubicBezTo>
                  <a:cubicBezTo>
                    <a:pt x="51096" y="55561"/>
                    <a:pt x="57049" y="57049"/>
                    <a:pt x="62010" y="55561"/>
                  </a:cubicBezTo>
                  <a:cubicBezTo>
                    <a:pt x="66971" y="54072"/>
                    <a:pt x="72427" y="51592"/>
                    <a:pt x="76396" y="47127"/>
                  </a:cubicBezTo>
                  <a:cubicBezTo>
                    <a:pt x="79868" y="43655"/>
                    <a:pt x="81357" y="38198"/>
                    <a:pt x="83837" y="32245"/>
                  </a:cubicBezTo>
                  <a:cubicBezTo>
                    <a:pt x="85821" y="27780"/>
                    <a:pt x="87806" y="22819"/>
                    <a:pt x="88798" y="16371"/>
                  </a:cubicBezTo>
                  <a:cubicBezTo>
                    <a:pt x="89790" y="11410"/>
                    <a:pt x="91278" y="5953"/>
                    <a:pt x="9177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B3310D3-3E6C-0487-0153-07D82B5027E0}"/>
                </a:ext>
              </a:extLst>
            </p:cNvPr>
            <p:cNvSpPr/>
            <p:nvPr/>
          </p:nvSpPr>
          <p:spPr>
            <a:xfrm>
              <a:off x="3539882" y="4502899"/>
              <a:ext cx="8433" cy="19346"/>
            </a:xfrm>
            <a:custGeom>
              <a:avLst/>
              <a:gdLst>
                <a:gd name="connsiteX0" fmla="*/ 0 w 8433"/>
                <a:gd name="connsiteY0" fmla="*/ 0 h 19346"/>
                <a:gd name="connsiteX1" fmla="*/ 8433 w 8433"/>
                <a:gd name="connsiteY1" fmla="*/ 19347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3" h="19346">
                  <a:moveTo>
                    <a:pt x="0" y="0"/>
                  </a:moveTo>
                  <a:cubicBezTo>
                    <a:pt x="4465" y="9425"/>
                    <a:pt x="3969" y="9922"/>
                    <a:pt x="8433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B045F95D-DAA1-23AC-D8D8-2812AE24380B}"/>
                </a:ext>
              </a:extLst>
            </p:cNvPr>
            <p:cNvSpPr/>
            <p:nvPr/>
          </p:nvSpPr>
          <p:spPr>
            <a:xfrm>
              <a:off x="3558236" y="4492977"/>
              <a:ext cx="7441" cy="19843"/>
            </a:xfrm>
            <a:custGeom>
              <a:avLst/>
              <a:gdLst>
                <a:gd name="connsiteX0" fmla="*/ 0 w 7441"/>
                <a:gd name="connsiteY0" fmla="*/ 0 h 19843"/>
                <a:gd name="connsiteX1" fmla="*/ 7441 w 7441"/>
                <a:gd name="connsiteY1" fmla="*/ 19843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1" h="19843">
                  <a:moveTo>
                    <a:pt x="0" y="0"/>
                  </a:moveTo>
                  <a:cubicBezTo>
                    <a:pt x="4465" y="9425"/>
                    <a:pt x="2977" y="10418"/>
                    <a:pt x="7441" y="198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2812C2E9-9C2D-C96D-122D-92837B1E36F6}"/>
                </a:ext>
              </a:extLst>
            </p:cNvPr>
            <p:cNvSpPr/>
            <p:nvPr/>
          </p:nvSpPr>
          <p:spPr>
            <a:xfrm>
              <a:off x="3450092" y="4351018"/>
              <a:ext cx="154123" cy="196527"/>
            </a:xfrm>
            <a:custGeom>
              <a:avLst/>
              <a:gdLst>
                <a:gd name="connsiteX0" fmla="*/ 73419 w 154123"/>
                <a:gd name="connsiteY0" fmla="*/ 113186 h 196527"/>
                <a:gd name="connsiteX1" fmla="*/ 77884 w 154123"/>
                <a:gd name="connsiteY1" fmla="*/ 98800 h 196527"/>
                <a:gd name="connsiteX2" fmla="*/ 81853 w 154123"/>
                <a:gd name="connsiteY2" fmla="*/ 84414 h 196527"/>
                <a:gd name="connsiteX3" fmla="*/ 85821 w 154123"/>
                <a:gd name="connsiteY3" fmla="*/ 69531 h 196527"/>
                <a:gd name="connsiteX4" fmla="*/ 86318 w 154123"/>
                <a:gd name="connsiteY4" fmla="*/ 54153 h 196527"/>
                <a:gd name="connsiteX5" fmla="*/ 88302 w 154123"/>
                <a:gd name="connsiteY5" fmla="*/ 39271 h 196527"/>
                <a:gd name="connsiteX6" fmla="*/ 87310 w 154123"/>
                <a:gd name="connsiteY6" fmla="*/ 24388 h 196527"/>
                <a:gd name="connsiteX7" fmla="*/ 91774 w 154123"/>
                <a:gd name="connsiteY7" fmla="*/ 10002 h 196527"/>
                <a:gd name="connsiteX8" fmla="*/ 105665 w 154123"/>
                <a:gd name="connsiteY8" fmla="*/ 3057 h 196527"/>
                <a:gd name="connsiteX9" fmla="*/ 121043 w 154123"/>
                <a:gd name="connsiteY9" fmla="*/ 1073 h 196527"/>
                <a:gd name="connsiteX10" fmla="*/ 136421 w 154123"/>
                <a:gd name="connsiteY10" fmla="*/ 2065 h 196527"/>
                <a:gd name="connsiteX11" fmla="*/ 151304 w 154123"/>
                <a:gd name="connsiteY11" fmla="*/ 2561 h 196527"/>
                <a:gd name="connsiteX12" fmla="*/ 151800 w 154123"/>
                <a:gd name="connsiteY12" fmla="*/ 17939 h 196527"/>
                <a:gd name="connsiteX13" fmla="*/ 148327 w 154123"/>
                <a:gd name="connsiteY13" fmla="*/ 33318 h 196527"/>
                <a:gd name="connsiteX14" fmla="*/ 144359 w 154123"/>
                <a:gd name="connsiteY14" fmla="*/ 48696 h 196527"/>
                <a:gd name="connsiteX15" fmla="*/ 138406 w 154123"/>
                <a:gd name="connsiteY15" fmla="*/ 63082 h 196527"/>
                <a:gd name="connsiteX16" fmla="*/ 130468 w 154123"/>
                <a:gd name="connsiteY16" fmla="*/ 76973 h 196527"/>
                <a:gd name="connsiteX17" fmla="*/ 119059 w 154123"/>
                <a:gd name="connsiteY17" fmla="*/ 88383 h 196527"/>
                <a:gd name="connsiteX18" fmla="*/ 104673 w 154123"/>
                <a:gd name="connsiteY18" fmla="*/ 94832 h 196527"/>
                <a:gd name="connsiteX19" fmla="*/ 89294 w 154123"/>
                <a:gd name="connsiteY19" fmla="*/ 101280 h 196527"/>
                <a:gd name="connsiteX20" fmla="*/ 76892 w 154123"/>
                <a:gd name="connsiteY20" fmla="*/ 112194 h 196527"/>
                <a:gd name="connsiteX21" fmla="*/ 63498 w 154123"/>
                <a:gd name="connsiteY21" fmla="*/ 121620 h 196527"/>
                <a:gd name="connsiteX22" fmla="*/ 51592 w 154123"/>
                <a:gd name="connsiteY22" fmla="*/ 133030 h 196527"/>
                <a:gd name="connsiteX23" fmla="*/ 40182 w 154123"/>
                <a:gd name="connsiteY23" fmla="*/ 144935 h 196527"/>
                <a:gd name="connsiteX24" fmla="*/ 29269 w 154123"/>
                <a:gd name="connsiteY24" fmla="*/ 157337 h 196527"/>
                <a:gd name="connsiteX25" fmla="*/ 19347 w 154123"/>
                <a:gd name="connsiteY25" fmla="*/ 170731 h 196527"/>
                <a:gd name="connsiteX26" fmla="*/ 8929 w 154123"/>
                <a:gd name="connsiteY26" fmla="*/ 183133 h 196527"/>
                <a:gd name="connsiteX27" fmla="*/ 0 w 154123"/>
                <a:gd name="connsiteY27" fmla="*/ 196527 h 196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4123" h="196527">
                  <a:moveTo>
                    <a:pt x="73419" y="113186"/>
                  </a:moveTo>
                  <a:cubicBezTo>
                    <a:pt x="75900" y="106241"/>
                    <a:pt x="75404" y="107729"/>
                    <a:pt x="77884" y="98800"/>
                  </a:cubicBezTo>
                  <a:cubicBezTo>
                    <a:pt x="79372" y="94335"/>
                    <a:pt x="80861" y="89374"/>
                    <a:pt x="81853" y="84414"/>
                  </a:cubicBezTo>
                  <a:cubicBezTo>
                    <a:pt x="82845" y="79949"/>
                    <a:pt x="84830" y="74988"/>
                    <a:pt x="85821" y="69531"/>
                  </a:cubicBezTo>
                  <a:cubicBezTo>
                    <a:pt x="86814" y="64571"/>
                    <a:pt x="85325" y="59114"/>
                    <a:pt x="86318" y="54153"/>
                  </a:cubicBezTo>
                  <a:cubicBezTo>
                    <a:pt x="86814" y="49192"/>
                    <a:pt x="87806" y="44231"/>
                    <a:pt x="88302" y="39271"/>
                  </a:cubicBezTo>
                  <a:cubicBezTo>
                    <a:pt x="88302" y="33814"/>
                    <a:pt x="88302" y="28853"/>
                    <a:pt x="87310" y="24388"/>
                  </a:cubicBezTo>
                  <a:cubicBezTo>
                    <a:pt x="85821" y="18435"/>
                    <a:pt x="88302" y="13475"/>
                    <a:pt x="91774" y="10002"/>
                  </a:cubicBezTo>
                  <a:cubicBezTo>
                    <a:pt x="95247" y="7026"/>
                    <a:pt x="100208" y="4049"/>
                    <a:pt x="105665" y="3057"/>
                  </a:cubicBezTo>
                  <a:cubicBezTo>
                    <a:pt x="110625" y="2065"/>
                    <a:pt x="116082" y="1569"/>
                    <a:pt x="121043" y="1073"/>
                  </a:cubicBezTo>
                  <a:cubicBezTo>
                    <a:pt x="126500" y="577"/>
                    <a:pt x="131957" y="2065"/>
                    <a:pt x="136421" y="2065"/>
                  </a:cubicBezTo>
                  <a:cubicBezTo>
                    <a:pt x="145351" y="2065"/>
                    <a:pt x="145847" y="-2896"/>
                    <a:pt x="151304" y="2561"/>
                  </a:cubicBezTo>
                  <a:cubicBezTo>
                    <a:pt x="156761" y="8514"/>
                    <a:pt x="152792" y="8514"/>
                    <a:pt x="151800" y="17939"/>
                  </a:cubicBezTo>
                  <a:cubicBezTo>
                    <a:pt x="151304" y="22404"/>
                    <a:pt x="149320" y="27861"/>
                    <a:pt x="148327" y="33318"/>
                  </a:cubicBezTo>
                  <a:cubicBezTo>
                    <a:pt x="147335" y="38279"/>
                    <a:pt x="145847" y="43239"/>
                    <a:pt x="144359" y="48696"/>
                  </a:cubicBezTo>
                  <a:cubicBezTo>
                    <a:pt x="142870" y="53657"/>
                    <a:pt x="140886" y="58618"/>
                    <a:pt x="138406" y="63082"/>
                  </a:cubicBezTo>
                  <a:cubicBezTo>
                    <a:pt x="135925" y="68043"/>
                    <a:pt x="133941" y="72508"/>
                    <a:pt x="130468" y="76973"/>
                  </a:cubicBezTo>
                  <a:cubicBezTo>
                    <a:pt x="126996" y="80941"/>
                    <a:pt x="123524" y="84910"/>
                    <a:pt x="119059" y="88383"/>
                  </a:cubicBezTo>
                  <a:cubicBezTo>
                    <a:pt x="115090" y="91359"/>
                    <a:pt x="110129" y="93343"/>
                    <a:pt x="104673" y="94832"/>
                  </a:cubicBezTo>
                  <a:cubicBezTo>
                    <a:pt x="99712" y="96320"/>
                    <a:pt x="94255" y="98304"/>
                    <a:pt x="89294" y="101280"/>
                  </a:cubicBezTo>
                  <a:cubicBezTo>
                    <a:pt x="84830" y="103761"/>
                    <a:pt x="81357" y="108722"/>
                    <a:pt x="76892" y="112194"/>
                  </a:cubicBezTo>
                  <a:cubicBezTo>
                    <a:pt x="72924" y="115667"/>
                    <a:pt x="67467" y="118147"/>
                    <a:pt x="63498" y="121620"/>
                  </a:cubicBezTo>
                  <a:cubicBezTo>
                    <a:pt x="59529" y="125092"/>
                    <a:pt x="55561" y="129061"/>
                    <a:pt x="51592" y="133030"/>
                  </a:cubicBezTo>
                  <a:cubicBezTo>
                    <a:pt x="47624" y="136998"/>
                    <a:pt x="43655" y="140967"/>
                    <a:pt x="40182" y="144935"/>
                  </a:cubicBezTo>
                  <a:cubicBezTo>
                    <a:pt x="36710" y="148904"/>
                    <a:pt x="32741" y="153369"/>
                    <a:pt x="29269" y="157337"/>
                  </a:cubicBezTo>
                  <a:cubicBezTo>
                    <a:pt x="25796" y="161802"/>
                    <a:pt x="22820" y="166267"/>
                    <a:pt x="19347" y="170731"/>
                  </a:cubicBezTo>
                  <a:cubicBezTo>
                    <a:pt x="15875" y="175692"/>
                    <a:pt x="11410" y="179661"/>
                    <a:pt x="8929" y="183133"/>
                  </a:cubicBezTo>
                  <a:cubicBezTo>
                    <a:pt x="2977" y="191567"/>
                    <a:pt x="4465" y="190079"/>
                    <a:pt x="0" y="1965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904C3AA0-1EA7-DC29-3294-76ECAC38D759}"/>
                </a:ext>
              </a:extLst>
            </p:cNvPr>
            <p:cNvSpPr/>
            <p:nvPr/>
          </p:nvSpPr>
          <p:spPr>
            <a:xfrm>
              <a:off x="3442154" y="4626918"/>
              <a:ext cx="79372" cy="249712"/>
            </a:xfrm>
            <a:custGeom>
              <a:avLst/>
              <a:gdLst>
                <a:gd name="connsiteX0" fmla="*/ 53576 w 79372"/>
                <a:gd name="connsiteY0" fmla="*/ 0 h 249712"/>
                <a:gd name="connsiteX1" fmla="*/ 47623 w 79372"/>
                <a:gd name="connsiteY1" fmla="*/ 14882 h 249712"/>
                <a:gd name="connsiteX2" fmla="*/ 43655 w 79372"/>
                <a:gd name="connsiteY2" fmla="*/ 30757 h 249712"/>
                <a:gd name="connsiteX3" fmla="*/ 38198 w 79372"/>
                <a:gd name="connsiteY3" fmla="*/ 46135 h 249712"/>
                <a:gd name="connsiteX4" fmla="*/ 34725 w 79372"/>
                <a:gd name="connsiteY4" fmla="*/ 62010 h 249712"/>
                <a:gd name="connsiteX5" fmla="*/ 31253 w 79372"/>
                <a:gd name="connsiteY5" fmla="*/ 77884 h 249712"/>
                <a:gd name="connsiteX6" fmla="*/ 25300 w 79372"/>
                <a:gd name="connsiteY6" fmla="*/ 92767 h 249712"/>
                <a:gd name="connsiteX7" fmla="*/ 21827 w 79372"/>
                <a:gd name="connsiteY7" fmla="*/ 108641 h 249712"/>
                <a:gd name="connsiteX8" fmla="*/ 18355 w 79372"/>
                <a:gd name="connsiteY8" fmla="*/ 124515 h 249712"/>
                <a:gd name="connsiteX9" fmla="*/ 14882 w 79372"/>
                <a:gd name="connsiteY9" fmla="*/ 140390 h 249712"/>
                <a:gd name="connsiteX10" fmla="*/ 11906 w 79372"/>
                <a:gd name="connsiteY10" fmla="*/ 156265 h 249712"/>
                <a:gd name="connsiteX11" fmla="*/ 7441 w 79372"/>
                <a:gd name="connsiteY11" fmla="*/ 171643 h 249712"/>
                <a:gd name="connsiteX12" fmla="*/ 4465 w 79372"/>
                <a:gd name="connsiteY12" fmla="*/ 187517 h 249712"/>
                <a:gd name="connsiteX13" fmla="*/ 2976 w 79372"/>
                <a:gd name="connsiteY13" fmla="*/ 203392 h 249712"/>
                <a:gd name="connsiteX14" fmla="*/ 2480 w 79372"/>
                <a:gd name="connsiteY14" fmla="*/ 219267 h 249712"/>
                <a:gd name="connsiteX15" fmla="*/ 0 w 79372"/>
                <a:gd name="connsiteY15" fmla="*/ 235141 h 249712"/>
                <a:gd name="connsiteX16" fmla="*/ 4465 w 79372"/>
                <a:gd name="connsiteY16" fmla="*/ 249527 h 249712"/>
                <a:gd name="connsiteX17" fmla="*/ 15378 w 79372"/>
                <a:gd name="connsiteY17" fmla="*/ 240102 h 249712"/>
                <a:gd name="connsiteX18" fmla="*/ 23316 w 79372"/>
                <a:gd name="connsiteY18" fmla="*/ 225715 h 249712"/>
                <a:gd name="connsiteX19" fmla="*/ 30757 w 79372"/>
                <a:gd name="connsiteY19" fmla="*/ 210833 h 249712"/>
                <a:gd name="connsiteX20" fmla="*/ 37702 w 79372"/>
                <a:gd name="connsiteY20" fmla="*/ 195951 h 249712"/>
                <a:gd name="connsiteX21" fmla="*/ 43159 w 79372"/>
                <a:gd name="connsiteY21" fmla="*/ 180572 h 249712"/>
                <a:gd name="connsiteX22" fmla="*/ 49608 w 79372"/>
                <a:gd name="connsiteY22" fmla="*/ 165690 h 249712"/>
                <a:gd name="connsiteX23" fmla="*/ 56057 w 79372"/>
                <a:gd name="connsiteY23" fmla="*/ 150808 h 249712"/>
                <a:gd name="connsiteX24" fmla="*/ 62010 w 79372"/>
                <a:gd name="connsiteY24" fmla="*/ 135429 h 249712"/>
                <a:gd name="connsiteX25" fmla="*/ 67466 w 79372"/>
                <a:gd name="connsiteY25" fmla="*/ 120051 h 249712"/>
                <a:gd name="connsiteX26" fmla="*/ 73419 w 79372"/>
                <a:gd name="connsiteY26" fmla="*/ 104672 h 249712"/>
                <a:gd name="connsiteX27" fmla="*/ 79372 w 79372"/>
                <a:gd name="connsiteY27" fmla="*/ 89294 h 24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9372" h="249712">
                  <a:moveTo>
                    <a:pt x="53576" y="0"/>
                  </a:moveTo>
                  <a:cubicBezTo>
                    <a:pt x="51096" y="7441"/>
                    <a:pt x="50600" y="5457"/>
                    <a:pt x="47623" y="14882"/>
                  </a:cubicBezTo>
                  <a:cubicBezTo>
                    <a:pt x="46135" y="19347"/>
                    <a:pt x="45639" y="24804"/>
                    <a:pt x="43655" y="30757"/>
                  </a:cubicBezTo>
                  <a:cubicBezTo>
                    <a:pt x="42167" y="35718"/>
                    <a:pt x="40182" y="40678"/>
                    <a:pt x="38198" y="46135"/>
                  </a:cubicBezTo>
                  <a:cubicBezTo>
                    <a:pt x="36710" y="51096"/>
                    <a:pt x="36214" y="56553"/>
                    <a:pt x="34725" y="62010"/>
                  </a:cubicBezTo>
                  <a:cubicBezTo>
                    <a:pt x="33237" y="66971"/>
                    <a:pt x="32741" y="72427"/>
                    <a:pt x="31253" y="77884"/>
                  </a:cubicBezTo>
                  <a:cubicBezTo>
                    <a:pt x="29765" y="82845"/>
                    <a:pt x="26292" y="87806"/>
                    <a:pt x="25300" y="92767"/>
                  </a:cubicBezTo>
                  <a:cubicBezTo>
                    <a:pt x="23812" y="97727"/>
                    <a:pt x="23316" y="103184"/>
                    <a:pt x="21827" y="108641"/>
                  </a:cubicBezTo>
                  <a:cubicBezTo>
                    <a:pt x="20339" y="113602"/>
                    <a:pt x="19843" y="119059"/>
                    <a:pt x="18355" y="124515"/>
                  </a:cubicBezTo>
                  <a:cubicBezTo>
                    <a:pt x="17363" y="129972"/>
                    <a:pt x="15875" y="134933"/>
                    <a:pt x="14882" y="140390"/>
                  </a:cubicBezTo>
                  <a:cubicBezTo>
                    <a:pt x="13890" y="145847"/>
                    <a:pt x="12898" y="150808"/>
                    <a:pt x="11906" y="156265"/>
                  </a:cubicBezTo>
                  <a:cubicBezTo>
                    <a:pt x="10914" y="161721"/>
                    <a:pt x="8433" y="166682"/>
                    <a:pt x="7441" y="171643"/>
                  </a:cubicBezTo>
                  <a:cubicBezTo>
                    <a:pt x="6449" y="177100"/>
                    <a:pt x="5457" y="182557"/>
                    <a:pt x="4465" y="187517"/>
                  </a:cubicBezTo>
                  <a:cubicBezTo>
                    <a:pt x="3473" y="192974"/>
                    <a:pt x="3473" y="198431"/>
                    <a:pt x="2976" y="203392"/>
                  </a:cubicBezTo>
                  <a:cubicBezTo>
                    <a:pt x="2480" y="208849"/>
                    <a:pt x="2976" y="214306"/>
                    <a:pt x="2480" y="219267"/>
                  </a:cubicBezTo>
                  <a:cubicBezTo>
                    <a:pt x="1984" y="224723"/>
                    <a:pt x="0" y="230180"/>
                    <a:pt x="0" y="235141"/>
                  </a:cubicBezTo>
                  <a:cubicBezTo>
                    <a:pt x="0" y="245062"/>
                    <a:pt x="2480" y="248535"/>
                    <a:pt x="4465" y="249527"/>
                  </a:cubicBezTo>
                  <a:cubicBezTo>
                    <a:pt x="6945" y="250519"/>
                    <a:pt x="10914" y="247543"/>
                    <a:pt x="15378" y="240102"/>
                  </a:cubicBezTo>
                  <a:cubicBezTo>
                    <a:pt x="17859" y="236133"/>
                    <a:pt x="20835" y="231172"/>
                    <a:pt x="23316" y="225715"/>
                  </a:cubicBezTo>
                  <a:cubicBezTo>
                    <a:pt x="25796" y="221251"/>
                    <a:pt x="28277" y="216290"/>
                    <a:pt x="30757" y="210833"/>
                  </a:cubicBezTo>
                  <a:cubicBezTo>
                    <a:pt x="32741" y="205872"/>
                    <a:pt x="35718" y="201408"/>
                    <a:pt x="37702" y="195951"/>
                  </a:cubicBezTo>
                  <a:cubicBezTo>
                    <a:pt x="39686" y="190990"/>
                    <a:pt x="41174" y="185533"/>
                    <a:pt x="43159" y="180572"/>
                  </a:cubicBezTo>
                  <a:cubicBezTo>
                    <a:pt x="45143" y="175611"/>
                    <a:pt x="47623" y="170651"/>
                    <a:pt x="49608" y="165690"/>
                  </a:cubicBezTo>
                  <a:cubicBezTo>
                    <a:pt x="51592" y="160729"/>
                    <a:pt x="54072" y="155768"/>
                    <a:pt x="56057" y="150808"/>
                  </a:cubicBezTo>
                  <a:cubicBezTo>
                    <a:pt x="58041" y="145351"/>
                    <a:pt x="60025" y="140390"/>
                    <a:pt x="62010" y="135429"/>
                  </a:cubicBezTo>
                  <a:cubicBezTo>
                    <a:pt x="63994" y="129972"/>
                    <a:pt x="65978" y="124515"/>
                    <a:pt x="67466" y="120051"/>
                  </a:cubicBezTo>
                  <a:cubicBezTo>
                    <a:pt x="69451" y="114098"/>
                    <a:pt x="71435" y="109137"/>
                    <a:pt x="73419" y="104672"/>
                  </a:cubicBezTo>
                  <a:cubicBezTo>
                    <a:pt x="76892" y="95247"/>
                    <a:pt x="76892" y="97231"/>
                    <a:pt x="79372" y="892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E6F73FDC-D1D4-C4B4-BD9B-6BA11EA571A9}"/>
                </a:ext>
              </a:extLst>
            </p:cNvPr>
            <p:cNvSpPr/>
            <p:nvPr/>
          </p:nvSpPr>
          <p:spPr>
            <a:xfrm>
              <a:off x="3481841" y="4616997"/>
              <a:ext cx="141806" cy="273008"/>
            </a:xfrm>
            <a:custGeom>
              <a:avLst/>
              <a:gdLst>
                <a:gd name="connsiteX0" fmla="*/ 130964 w 141806"/>
                <a:gd name="connsiteY0" fmla="*/ 0 h 273008"/>
                <a:gd name="connsiteX1" fmla="*/ 130468 w 141806"/>
                <a:gd name="connsiteY1" fmla="*/ 15875 h 273008"/>
                <a:gd name="connsiteX2" fmla="*/ 131957 w 141806"/>
                <a:gd name="connsiteY2" fmla="*/ 31749 h 273008"/>
                <a:gd name="connsiteX3" fmla="*/ 132453 w 141806"/>
                <a:gd name="connsiteY3" fmla="*/ 47623 h 273008"/>
                <a:gd name="connsiteX4" fmla="*/ 131461 w 141806"/>
                <a:gd name="connsiteY4" fmla="*/ 63498 h 273008"/>
                <a:gd name="connsiteX5" fmla="*/ 132453 w 141806"/>
                <a:gd name="connsiteY5" fmla="*/ 79372 h 273008"/>
                <a:gd name="connsiteX6" fmla="*/ 133941 w 141806"/>
                <a:gd name="connsiteY6" fmla="*/ 95247 h 273008"/>
                <a:gd name="connsiteX7" fmla="*/ 133941 w 141806"/>
                <a:gd name="connsiteY7" fmla="*/ 111121 h 273008"/>
                <a:gd name="connsiteX8" fmla="*/ 133445 w 141806"/>
                <a:gd name="connsiteY8" fmla="*/ 126996 h 273008"/>
                <a:gd name="connsiteX9" fmla="*/ 134437 w 141806"/>
                <a:gd name="connsiteY9" fmla="*/ 142870 h 273008"/>
                <a:gd name="connsiteX10" fmla="*/ 134933 w 141806"/>
                <a:gd name="connsiteY10" fmla="*/ 158745 h 273008"/>
                <a:gd name="connsiteX11" fmla="*/ 135429 w 141806"/>
                <a:gd name="connsiteY11" fmla="*/ 174619 h 273008"/>
                <a:gd name="connsiteX12" fmla="*/ 136421 w 141806"/>
                <a:gd name="connsiteY12" fmla="*/ 190494 h 273008"/>
                <a:gd name="connsiteX13" fmla="*/ 136421 w 141806"/>
                <a:gd name="connsiteY13" fmla="*/ 206368 h 273008"/>
                <a:gd name="connsiteX14" fmla="*/ 138406 w 141806"/>
                <a:gd name="connsiteY14" fmla="*/ 222243 h 273008"/>
                <a:gd name="connsiteX15" fmla="*/ 137910 w 141806"/>
                <a:gd name="connsiteY15" fmla="*/ 238117 h 273008"/>
                <a:gd name="connsiteX16" fmla="*/ 139398 w 141806"/>
                <a:gd name="connsiteY16" fmla="*/ 253992 h 273008"/>
                <a:gd name="connsiteX17" fmla="*/ 138902 w 141806"/>
                <a:gd name="connsiteY17" fmla="*/ 270362 h 273008"/>
                <a:gd name="connsiteX18" fmla="*/ 121539 w 141806"/>
                <a:gd name="connsiteY18" fmla="*/ 270362 h 273008"/>
                <a:gd name="connsiteX19" fmla="*/ 104176 w 141806"/>
                <a:gd name="connsiteY19" fmla="*/ 271355 h 273008"/>
                <a:gd name="connsiteX20" fmla="*/ 86814 w 141806"/>
                <a:gd name="connsiteY20" fmla="*/ 269866 h 273008"/>
                <a:gd name="connsiteX21" fmla="*/ 69451 w 141806"/>
                <a:gd name="connsiteY21" fmla="*/ 270362 h 273008"/>
                <a:gd name="connsiteX22" fmla="*/ 52088 w 141806"/>
                <a:gd name="connsiteY22" fmla="*/ 269866 h 273008"/>
                <a:gd name="connsiteX23" fmla="*/ 34725 w 141806"/>
                <a:gd name="connsiteY23" fmla="*/ 269370 h 273008"/>
                <a:gd name="connsiteX24" fmla="*/ 17363 w 141806"/>
                <a:gd name="connsiteY24" fmla="*/ 270362 h 273008"/>
                <a:gd name="connsiteX25" fmla="*/ 0 w 141806"/>
                <a:gd name="connsiteY25" fmla="*/ 271355 h 27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806" h="273008">
                  <a:moveTo>
                    <a:pt x="130964" y="0"/>
                  </a:moveTo>
                  <a:cubicBezTo>
                    <a:pt x="131461" y="7937"/>
                    <a:pt x="130468" y="7937"/>
                    <a:pt x="130468" y="15875"/>
                  </a:cubicBezTo>
                  <a:cubicBezTo>
                    <a:pt x="130964" y="23812"/>
                    <a:pt x="131461" y="23812"/>
                    <a:pt x="131957" y="31749"/>
                  </a:cubicBezTo>
                  <a:cubicBezTo>
                    <a:pt x="132453" y="39686"/>
                    <a:pt x="131957" y="39686"/>
                    <a:pt x="132453" y="47623"/>
                  </a:cubicBezTo>
                  <a:cubicBezTo>
                    <a:pt x="132949" y="55561"/>
                    <a:pt x="131461" y="55561"/>
                    <a:pt x="131461" y="63498"/>
                  </a:cubicBezTo>
                  <a:cubicBezTo>
                    <a:pt x="131957" y="71435"/>
                    <a:pt x="132453" y="71435"/>
                    <a:pt x="132453" y="79372"/>
                  </a:cubicBezTo>
                  <a:cubicBezTo>
                    <a:pt x="132949" y="87310"/>
                    <a:pt x="133941" y="87310"/>
                    <a:pt x="133941" y="95247"/>
                  </a:cubicBezTo>
                  <a:cubicBezTo>
                    <a:pt x="134437" y="103184"/>
                    <a:pt x="133941" y="103184"/>
                    <a:pt x="133941" y="111121"/>
                  </a:cubicBezTo>
                  <a:cubicBezTo>
                    <a:pt x="134437" y="119059"/>
                    <a:pt x="132949" y="119059"/>
                    <a:pt x="133445" y="126996"/>
                  </a:cubicBezTo>
                  <a:cubicBezTo>
                    <a:pt x="133941" y="134933"/>
                    <a:pt x="134437" y="134933"/>
                    <a:pt x="134437" y="142870"/>
                  </a:cubicBezTo>
                  <a:cubicBezTo>
                    <a:pt x="134933" y="150808"/>
                    <a:pt x="134933" y="150808"/>
                    <a:pt x="134933" y="158745"/>
                  </a:cubicBezTo>
                  <a:cubicBezTo>
                    <a:pt x="135429" y="166682"/>
                    <a:pt x="135429" y="166682"/>
                    <a:pt x="135429" y="174619"/>
                  </a:cubicBezTo>
                  <a:cubicBezTo>
                    <a:pt x="135925" y="182557"/>
                    <a:pt x="135925" y="182557"/>
                    <a:pt x="136421" y="190494"/>
                  </a:cubicBezTo>
                  <a:cubicBezTo>
                    <a:pt x="136917" y="198431"/>
                    <a:pt x="136421" y="198431"/>
                    <a:pt x="136421" y="206368"/>
                  </a:cubicBezTo>
                  <a:cubicBezTo>
                    <a:pt x="136917" y="214306"/>
                    <a:pt x="137910" y="214306"/>
                    <a:pt x="138406" y="222243"/>
                  </a:cubicBezTo>
                  <a:cubicBezTo>
                    <a:pt x="138902" y="230180"/>
                    <a:pt x="137910" y="230180"/>
                    <a:pt x="137910" y="238117"/>
                  </a:cubicBezTo>
                  <a:cubicBezTo>
                    <a:pt x="138406" y="246055"/>
                    <a:pt x="138902" y="246055"/>
                    <a:pt x="139398" y="253992"/>
                  </a:cubicBezTo>
                  <a:cubicBezTo>
                    <a:pt x="139894" y="261929"/>
                    <a:pt x="144855" y="264409"/>
                    <a:pt x="138902" y="270362"/>
                  </a:cubicBezTo>
                  <a:cubicBezTo>
                    <a:pt x="132949" y="276315"/>
                    <a:pt x="130468" y="270362"/>
                    <a:pt x="121539" y="270362"/>
                  </a:cubicBezTo>
                  <a:cubicBezTo>
                    <a:pt x="113106" y="270362"/>
                    <a:pt x="113106" y="271355"/>
                    <a:pt x="104176" y="271355"/>
                  </a:cubicBezTo>
                  <a:cubicBezTo>
                    <a:pt x="95743" y="271355"/>
                    <a:pt x="95743" y="269866"/>
                    <a:pt x="86814" y="269866"/>
                  </a:cubicBezTo>
                  <a:cubicBezTo>
                    <a:pt x="78380" y="269866"/>
                    <a:pt x="78380" y="270362"/>
                    <a:pt x="69451" y="270362"/>
                  </a:cubicBezTo>
                  <a:cubicBezTo>
                    <a:pt x="61018" y="270362"/>
                    <a:pt x="61018" y="269866"/>
                    <a:pt x="52088" y="269866"/>
                  </a:cubicBezTo>
                  <a:cubicBezTo>
                    <a:pt x="43655" y="269866"/>
                    <a:pt x="43655" y="269370"/>
                    <a:pt x="34725" y="269370"/>
                  </a:cubicBezTo>
                  <a:cubicBezTo>
                    <a:pt x="26292" y="269370"/>
                    <a:pt x="26292" y="270362"/>
                    <a:pt x="17363" y="270362"/>
                  </a:cubicBezTo>
                  <a:cubicBezTo>
                    <a:pt x="8433" y="270362"/>
                    <a:pt x="8929" y="271355"/>
                    <a:pt x="0" y="271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8FABE609-4BF4-AFB7-575E-F3559A6CA214}"/>
                </a:ext>
              </a:extLst>
            </p:cNvPr>
            <p:cNvSpPr/>
            <p:nvPr/>
          </p:nvSpPr>
          <p:spPr>
            <a:xfrm>
              <a:off x="3622231" y="4542585"/>
              <a:ext cx="166371" cy="159737"/>
            </a:xfrm>
            <a:custGeom>
              <a:avLst/>
              <a:gdLst>
                <a:gd name="connsiteX0" fmla="*/ 0 w 166371"/>
                <a:gd name="connsiteY0" fmla="*/ 95743 h 159737"/>
                <a:gd name="connsiteX1" fmla="*/ 12898 w 166371"/>
                <a:gd name="connsiteY1" fmla="*/ 86317 h 159737"/>
                <a:gd name="connsiteX2" fmla="*/ 26292 w 166371"/>
                <a:gd name="connsiteY2" fmla="*/ 77388 h 159737"/>
                <a:gd name="connsiteX3" fmla="*/ 39190 w 166371"/>
                <a:gd name="connsiteY3" fmla="*/ 68459 h 159737"/>
                <a:gd name="connsiteX4" fmla="*/ 54073 w 166371"/>
                <a:gd name="connsiteY4" fmla="*/ 62010 h 159737"/>
                <a:gd name="connsiteX5" fmla="*/ 66971 w 166371"/>
                <a:gd name="connsiteY5" fmla="*/ 52584 h 159737"/>
                <a:gd name="connsiteX6" fmla="*/ 80861 w 166371"/>
                <a:gd name="connsiteY6" fmla="*/ 44647 h 159737"/>
                <a:gd name="connsiteX7" fmla="*/ 93759 w 166371"/>
                <a:gd name="connsiteY7" fmla="*/ 35718 h 159737"/>
                <a:gd name="connsiteX8" fmla="*/ 107649 w 166371"/>
                <a:gd name="connsiteY8" fmla="*/ 28277 h 159737"/>
                <a:gd name="connsiteX9" fmla="*/ 121043 w 166371"/>
                <a:gd name="connsiteY9" fmla="*/ 19843 h 159737"/>
                <a:gd name="connsiteX10" fmla="*/ 135429 w 166371"/>
                <a:gd name="connsiteY10" fmla="*/ 12402 h 159737"/>
                <a:gd name="connsiteX11" fmla="*/ 149816 w 166371"/>
                <a:gd name="connsiteY11" fmla="*/ 5953 h 159737"/>
                <a:gd name="connsiteX12" fmla="*/ 164698 w 166371"/>
                <a:gd name="connsiteY12" fmla="*/ 0 h 159737"/>
                <a:gd name="connsiteX13" fmla="*/ 159241 w 166371"/>
                <a:gd name="connsiteY13" fmla="*/ 13890 h 159737"/>
                <a:gd name="connsiteX14" fmla="*/ 147831 w 166371"/>
                <a:gd name="connsiteY14" fmla="*/ 25796 h 159737"/>
                <a:gd name="connsiteX15" fmla="*/ 136917 w 166371"/>
                <a:gd name="connsiteY15" fmla="*/ 37702 h 159737"/>
                <a:gd name="connsiteX16" fmla="*/ 126004 w 166371"/>
                <a:gd name="connsiteY16" fmla="*/ 49608 h 159737"/>
                <a:gd name="connsiteX17" fmla="*/ 114098 w 166371"/>
                <a:gd name="connsiteY17" fmla="*/ 61018 h 159737"/>
                <a:gd name="connsiteX18" fmla="*/ 101696 w 166371"/>
                <a:gd name="connsiteY18" fmla="*/ 71435 h 159737"/>
                <a:gd name="connsiteX19" fmla="*/ 88798 w 166371"/>
                <a:gd name="connsiteY19" fmla="*/ 81853 h 159737"/>
                <a:gd name="connsiteX20" fmla="*/ 77388 w 166371"/>
                <a:gd name="connsiteY20" fmla="*/ 93759 h 159737"/>
                <a:gd name="connsiteX21" fmla="*/ 65978 w 166371"/>
                <a:gd name="connsiteY21" fmla="*/ 105169 h 159737"/>
                <a:gd name="connsiteX22" fmla="*/ 54073 w 166371"/>
                <a:gd name="connsiteY22" fmla="*/ 116082 h 159737"/>
                <a:gd name="connsiteX23" fmla="*/ 40678 w 166371"/>
                <a:gd name="connsiteY23" fmla="*/ 125508 h 159737"/>
                <a:gd name="connsiteX24" fmla="*/ 29765 w 166371"/>
                <a:gd name="connsiteY24" fmla="*/ 137910 h 159737"/>
                <a:gd name="connsiteX25" fmla="*/ 16371 w 166371"/>
                <a:gd name="connsiteY25" fmla="*/ 147831 h 159737"/>
                <a:gd name="connsiteX26" fmla="*/ 4961 w 166371"/>
                <a:gd name="connsiteY26" fmla="*/ 159737 h 1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6371" h="159737">
                  <a:moveTo>
                    <a:pt x="0" y="95743"/>
                  </a:moveTo>
                  <a:cubicBezTo>
                    <a:pt x="6449" y="91278"/>
                    <a:pt x="4465" y="91774"/>
                    <a:pt x="12898" y="86317"/>
                  </a:cubicBezTo>
                  <a:cubicBezTo>
                    <a:pt x="16867" y="83837"/>
                    <a:pt x="20835" y="80861"/>
                    <a:pt x="26292" y="77388"/>
                  </a:cubicBezTo>
                  <a:cubicBezTo>
                    <a:pt x="30261" y="74908"/>
                    <a:pt x="34725" y="71435"/>
                    <a:pt x="39190" y="68459"/>
                  </a:cubicBezTo>
                  <a:cubicBezTo>
                    <a:pt x="43655" y="65978"/>
                    <a:pt x="49112" y="64986"/>
                    <a:pt x="54073" y="62010"/>
                  </a:cubicBezTo>
                  <a:cubicBezTo>
                    <a:pt x="58537" y="59529"/>
                    <a:pt x="62506" y="55561"/>
                    <a:pt x="66971" y="52584"/>
                  </a:cubicBezTo>
                  <a:cubicBezTo>
                    <a:pt x="71435" y="50104"/>
                    <a:pt x="76396" y="47623"/>
                    <a:pt x="80861" y="44647"/>
                  </a:cubicBezTo>
                  <a:cubicBezTo>
                    <a:pt x="85325" y="42167"/>
                    <a:pt x="89294" y="38198"/>
                    <a:pt x="93759" y="35718"/>
                  </a:cubicBezTo>
                  <a:cubicBezTo>
                    <a:pt x="98223" y="33237"/>
                    <a:pt x="103184" y="30757"/>
                    <a:pt x="107649" y="28277"/>
                  </a:cubicBezTo>
                  <a:cubicBezTo>
                    <a:pt x="112610" y="25796"/>
                    <a:pt x="116578" y="22324"/>
                    <a:pt x="121043" y="19843"/>
                  </a:cubicBezTo>
                  <a:cubicBezTo>
                    <a:pt x="126004" y="17363"/>
                    <a:pt x="130965" y="14882"/>
                    <a:pt x="135429" y="12402"/>
                  </a:cubicBezTo>
                  <a:cubicBezTo>
                    <a:pt x="140886" y="9425"/>
                    <a:pt x="145847" y="7937"/>
                    <a:pt x="149816" y="5953"/>
                  </a:cubicBezTo>
                  <a:cubicBezTo>
                    <a:pt x="156761" y="2976"/>
                    <a:pt x="161721" y="0"/>
                    <a:pt x="164698" y="0"/>
                  </a:cubicBezTo>
                  <a:cubicBezTo>
                    <a:pt x="168171" y="0"/>
                    <a:pt x="166186" y="5953"/>
                    <a:pt x="159241" y="13890"/>
                  </a:cubicBezTo>
                  <a:cubicBezTo>
                    <a:pt x="156265" y="17363"/>
                    <a:pt x="152296" y="21331"/>
                    <a:pt x="147831" y="25796"/>
                  </a:cubicBezTo>
                  <a:cubicBezTo>
                    <a:pt x="144359" y="29268"/>
                    <a:pt x="140886" y="33733"/>
                    <a:pt x="136917" y="37702"/>
                  </a:cubicBezTo>
                  <a:cubicBezTo>
                    <a:pt x="133445" y="41174"/>
                    <a:pt x="129972" y="45639"/>
                    <a:pt x="126004" y="49608"/>
                  </a:cubicBezTo>
                  <a:cubicBezTo>
                    <a:pt x="122035" y="53080"/>
                    <a:pt x="118066" y="57049"/>
                    <a:pt x="114098" y="61018"/>
                  </a:cubicBezTo>
                  <a:cubicBezTo>
                    <a:pt x="110129" y="64490"/>
                    <a:pt x="105665" y="67963"/>
                    <a:pt x="101696" y="71435"/>
                  </a:cubicBezTo>
                  <a:cubicBezTo>
                    <a:pt x="97727" y="74908"/>
                    <a:pt x="92767" y="77884"/>
                    <a:pt x="88798" y="81853"/>
                  </a:cubicBezTo>
                  <a:cubicBezTo>
                    <a:pt x="84829" y="85325"/>
                    <a:pt x="81357" y="90286"/>
                    <a:pt x="77388" y="93759"/>
                  </a:cubicBezTo>
                  <a:cubicBezTo>
                    <a:pt x="73419" y="97727"/>
                    <a:pt x="69947" y="101696"/>
                    <a:pt x="65978" y="105169"/>
                  </a:cubicBezTo>
                  <a:cubicBezTo>
                    <a:pt x="62010" y="109137"/>
                    <a:pt x="58041" y="112610"/>
                    <a:pt x="54073" y="116082"/>
                  </a:cubicBezTo>
                  <a:cubicBezTo>
                    <a:pt x="50104" y="120051"/>
                    <a:pt x="44647" y="122035"/>
                    <a:pt x="40678" y="125508"/>
                  </a:cubicBezTo>
                  <a:cubicBezTo>
                    <a:pt x="36214" y="129476"/>
                    <a:pt x="33237" y="134437"/>
                    <a:pt x="29765" y="137910"/>
                  </a:cubicBezTo>
                  <a:cubicBezTo>
                    <a:pt x="25300" y="141878"/>
                    <a:pt x="19843" y="144359"/>
                    <a:pt x="16371" y="147831"/>
                  </a:cubicBezTo>
                  <a:cubicBezTo>
                    <a:pt x="8929" y="154776"/>
                    <a:pt x="10914" y="154280"/>
                    <a:pt x="4961" y="1597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B32CBE94-F4DC-B691-B67C-5DC0BD441E43}"/>
                </a:ext>
              </a:extLst>
            </p:cNvPr>
            <p:cNvSpPr/>
            <p:nvPr/>
          </p:nvSpPr>
          <p:spPr>
            <a:xfrm>
              <a:off x="3526289" y="4919108"/>
              <a:ext cx="57014" cy="100822"/>
            </a:xfrm>
            <a:custGeom>
              <a:avLst/>
              <a:gdLst>
                <a:gd name="connsiteX0" fmla="*/ 3175 w 57014"/>
                <a:gd name="connsiteY0" fmla="*/ 97231 h 100822"/>
                <a:gd name="connsiteX1" fmla="*/ 20042 w 57014"/>
                <a:gd name="connsiteY1" fmla="*/ 97231 h 100822"/>
                <a:gd name="connsiteX2" fmla="*/ 37404 w 57014"/>
                <a:gd name="connsiteY2" fmla="*/ 99216 h 100822"/>
                <a:gd name="connsiteX3" fmla="*/ 54271 w 57014"/>
                <a:gd name="connsiteY3" fmla="*/ 97727 h 100822"/>
                <a:gd name="connsiteX4" fmla="*/ 53775 w 57014"/>
                <a:gd name="connsiteY4" fmla="*/ 80365 h 100822"/>
                <a:gd name="connsiteX5" fmla="*/ 54271 w 57014"/>
                <a:gd name="connsiteY5" fmla="*/ 62506 h 100822"/>
                <a:gd name="connsiteX6" fmla="*/ 53775 w 57014"/>
                <a:gd name="connsiteY6" fmla="*/ 44647 h 100822"/>
                <a:gd name="connsiteX7" fmla="*/ 54271 w 57014"/>
                <a:gd name="connsiteY7" fmla="*/ 26788 h 100822"/>
                <a:gd name="connsiteX8" fmla="*/ 41869 w 57014"/>
                <a:gd name="connsiteY8" fmla="*/ 12898 h 100822"/>
                <a:gd name="connsiteX9" fmla="*/ 27979 w 57014"/>
                <a:gd name="connsiteY9" fmla="*/ 0 h 100822"/>
                <a:gd name="connsiteX10" fmla="*/ 15081 w 57014"/>
                <a:gd name="connsiteY10" fmla="*/ 12898 h 100822"/>
                <a:gd name="connsiteX11" fmla="*/ 2183 w 57014"/>
                <a:gd name="connsiteY11" fmla="*/ 25796 h 100822"/>
                <a:gd name="connsiteX12" fmla="*/ 1191 w 57014"/>
                <a:gd name="connsiteY12" fmla="*/ 44151 h 100822"/>
                <a:gd name="connsiteX13" fmla="*/ 1687 w 57014"/>
                <a:gd name="connsiteY13" fmla="*/ 62506 h 100822"/>
                <a:gd name="connsiteX14" fmla="*/ 2679 w 57014"/>
                <a:gd name="connsiteY14" fmla="*/ 80861 h 100822"/>
                <a:gd name="connsiteX15" fmla="*/ 3175 w 57014"/>
                <a:gd name="connsiteY15" fmla="*/ 97231 h 10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014" h="100822">
                  <a:moveTo>
                    <a:pt x="3175" y="97231"/>
                  </a:moveTo>
                  <a:cubicBezTo>
                    <a:pt x="9128" y="103680"/>
                    <a:pt x="11112" y="97231"/>
                    <a:pt x="20042" y="97231"/>
                  </a:cubicBezTo>
                  <a:cubicBezTo>
                    <a:pt x="28475" y="97231"/>
                    <a:pt x="28475" y="99216"/>
                    <a:pt x="37404" y="99216"/>
                  </a:cubicBezTo>
                  <a:cubicBezTo>
                    <a:pt x="45838" y="99216"/>
                    <a:pt x="48318" y="103680"/>
                    <a:pt x="54271" y="97727"/>
                  </a:cubicBezTo>
                  <a:cubicBezTo>
                    <a:pt x="60720" y="91278"/>
                    <a:pt x="53775" y="89294"/>
                    <a:pt x="53775" y="80365"/>
                  </a:cubicBezTo>
                  <a:cubicBezTo>
                    <a:pt x="53775" y="71435"/>
                    <a:pt x="54271" y="71435"/>
                    <a:pt x="54271" y="62506"/>
                  </a:cubicBezTo>
                  <a:cubicBezTo>
                    <a:pt x="54271" y="53577"/>
                    <a:pt x="53775" y="53577"/>
                    <a:pt x="53775" y="44647"/>
                  </a:cubicBezTo>
                  <a:cubicBezTo>
                    <a:pt x="53775" y="35718"/>
                    <a:pt x="57743" y="35222"/>
                    <a:pt x="54271" y="26788"/>
                  </a:cubicBezTo>
                  <a:cubicBezTo>
                    <a:pt x="50799" y="18355"/>
                    <a:pt x="48814" y="19347"/>
                    <a:pt x="41869" y="12898"/>
                  </a:cubicBezTo>
                  <a:cubicBezTo>
                    <a:pt x="35420" y="6449"/>
                    <a:pt x="37404" y="0"/>
                    <a:pt x="27979" y="0"/>
                  </a:cubicBezTo>
                  <a:cubicBezTo>
                    <a:pt x="19049" y="0"/>
                    <a:pt x="21530" y="6449"/>
                    <a:pt x="15081" y="12898"/>
                  </a:cubicBezTo>
                  <a:cubicBezTo>
                    <a:pt x="8632" y="19347"/>
                    <a:pt x="5655" y="17363"/>
                    <a:pt x="2183" y="25796"/>
                  </a:cubicBezTo>
                  <a:cubicBezTo>
                    <a:pt x="-1290" y="34229"/>
                    <a:pt x="1687" y="35222"/>
                    <a:pt x="1191" y="44151"/>
                  </a:cubicBezTo>
                  <a:cubicBezTo>
                    <a:pt x="1191" y="53080"/>
                    <a:pt x="1687" y="53080"/>
                    <a:pt x="1687" y="62506"/>
                  </a:cubicBezTo>
                  <a:cubicBezTo>
                    <a:pt x="1687" y="71435"/>
                    <a:pt x="4167" y="71931"/>
                    <a:pt x="2679" y="80861"/>
                  </a:cubicBezTo>
                  <a:cubicBezTo>
                    <a:pt x="1191" y="88798"/>
                    <a:pt x="-2778" y="90783"/>
                    <a:pt x="3175" y="97231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657B5A49-59D3-E73F-7DC8-8F3808D97E2D}"/>
                </a:ext>
              </a:extLst>
            </p:cNvPr>
            <p:cNvSpPr/>
            <p:nvPr/>
          </p:nvSpPr>
          <p:spPr>
            <a:xfrm>
              <a:off x="3340909" y="4915936"/>
              <a:ext cx="214350" cy="103528"/>
            </a:xfrm>
            <a:custGeom>
              <a:avLst/>
              <a:gdLst>
                <a:gd name="connsiteX0" fmla="*/ 214351 w 214350"/>
                <a:gd name="connsiteY0" fmla="*/ 3172 h 103528"/>
                <a:gd name="connsiteX1" fmla="*/ 197484 w 214350"/>
                <a:gd name="connsiteY1" fmla="*/ 3668 h 103528"/>
                <a:gd name="connsiteX2" fmla="*/ 180618 w 214350"/>
                <a:gd name="connsiteY2" fmla="*/ 3668 h 103528"/>
                <a:gd name="connsiteX3" fmla="*/ 163751 w 214350"/>
                <a:gd name="connsiteY3" fmla="*/ 1683 h 103528"/>
                <a:gd name="connsiteX4" fmla="*/ 146884 w 214350"/>
                <a:gd name="connsiteY4" fmla="*/ 2676 h 103528"/>
                <a:gd name="connsiteX5" fmla="*/ 130018 w 214350"/>
                <a:gd name="connsiteY5" fmla="*/ 2180 h 103528"/>
                <a:gd name="connsiteX6" fmla="*/ 113151 w 214350"/>
                <a:gd name="connsiteY6" fmla="*/ 2180 h 103528"/>
                <a:gd name="connsiteX7" fmla="*/ 96284 w 214350"/>
                <a:gd name="connsiteY7" fmla="*/ 2180 h 103528"/>
                <a:gd name="connsiteX8" fmla="*/ 79418 w 214350"/>
                <a:gd name="connsiteY8" fmla="*/ 2676 h 103528"/>
                <a:gd name="connsiteX9" fmla="*/ 62551 w 214350"/>
                <a:gd name="connsiteY9" fmla="*/ 2180 h 103528"/>
                <a:gd name="connsiteX10" fmla="*/ 45684 w 214350"/>
                <a:gd name="connsiteY10" fmla="*/ 1187 h 103528"/>
                <a:gd name="connsiteX11" fmla="*/ 28322 w 214350"/>
                <a:gd name="connsiteY11" fmla="*/ 1683 h 103528"/>
                <a:gd name="connsiteX12" fmla="*/ 15424 w 214350"/>
                <a:gd name="connsiteY12" fmla="*/ 14085 h 103528"/>
                <a:gd name="connsiteX13" fmla="*/ 3022 w 214350"/>
                <a:gd name="connsiteY13" fmla="*/ 26984 h 103528"/>
                <a:gd name="connsiteX14" fmla="*/ 2525 w 214350"/>
                <a:gd name="connsiteY14" fmla="*/ 45338 h 103528"/>
                <a:gd name="connsiteX15" fmla="*/ 4014 w 214350"/>
                <a:gd name="connsiteY15" fmla="*/ 63693 h 103528"/>
                <a:gd name="connsiteX16" fmla="*/ 4014 w 214350"/>
                <a:gd name="connsiteY16" fmla="*/ 82048 h 103528"/>
                <a:gd name="connsiteX17" fmla="*/ 2525 w 214350"/>
                <a:gd name="connsiteY17" fmla="*/ 100899 h 103528"/>
                <a:gd name="connsiteX18" fmla="*/ 20384 w 214350"/>
                <a:gd name="connsiteY18" fmla="*/ 99907 h 103528"/>
                <a:gd name="connsiteX19" fmla="*/ 37747 w 214350"/>
                <a:gd name="connsiteY19" fmla="*/ 98915 h 103528"/>
                <a:gd name="connsiteX20" fmla="*/ 55110 w 214350"/>
                <a:gd name="connsiteY20" fmla="*/ 100403 h 103528"/>
                <a:gd name="connsiteX21" fmla="*/ 70488 w 214350"/>
                <a:gd name="connsiteY21" fmla="*/ 100403 h 103528"/>
                <a:gd name="connsiteX22" fmla="*/ 85866 w 214350"/>
                <a:gd name="connsiteY22" fmla="*/ 100899 h 103528"/>
                <a:gd name="connsiteX23" fmla="*/ 101245 w 214350"/>
                <a:gd name="connsiteY23" fmla="*/ 100899 h 103528"/>
                <a:gd name="connsiteX24" fmla="*/ 116623 w 214350"/>
                <a:gd name="connsiteY24" fmla="*/ 101395 h 103528"/>
                <a:gd name="connsiteX25" fmla="*/ 132002 w 214350"/>
                <a:gd name="connsiteY25" fmla="*/ 99907 h 103528"/>
                <a:gd name="connsiteX26" fmla="*/ 147380 w 214350"/>
                <a:gd name="connsiteY26" fmla="*/ 99907 h 103528"/>
                <a:gd name="connsiteX27" fmla="*/ 162759 w 214350"/>
                <a:gd name="connsiteY27" fmla="*/ 99907 h 103528"/>
                <a:gd name="connsiteX28" fmla="*/ 178137 w 214350"/>
                <a:gd name="connsiteY28" fmla="*/ 99907 h 103528"/>
                <a:gd name="connsiteX29" fmla="*/ 193515 w 214350"/>
                <a:gd name="connsiteY29" fmla="*/ 100403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4350" h="103528">
                  <a:moveTo>
                    <a:pt x="214351" y="3172"/>
                  </a:moveTo>
                  <a:cubicBezTo>
                    <a:pt x="205917" y="3172"/>
                    <a:pt x="205917" y="3668"/>
                    <a:pt x="197484" y="3668"/>
                  </a:cubicBezTo>
                  <a:cubicBezTo>
                    <a:pt x="189051" y="3668"/>
                    <a:pt x="189051" y="3668"/>
                    <a:pt x="180618" y="3668"/>
                  </a:cubicBezTo>
                  <a:cubicBezTo>
                    <a:pt x="172184" y="3668"/>
                    <a:pt x="172184" y="1683"/>
                    <a:pt x="163751" y="1683"/>
                  </a:cubicBezTo>
                  <a:cubicBezTo>
                    <a:pt x="155317" y="1683"/>
                    <a:pt x="155317" y="2676"/>
                    <a:pt x="146884" y="2676"/>
                  </a:cubicBezTo>
                  <a:cubicBezTo>
                    <a:pt x="138451" y="2676"/>
                    <a:pt x="138451" y="2180"/>
                    <a:pt x="130018" y="2180"/>
                  </a:cubicBezTo>
                  <a:cubicBezTo>
                    <a:pt x="121584" y="2180"/>
                    <a:pt x="121584" y="2180"/>
                    <a:pt x="113151" y="2180"/>
                  </a:cubicBezTo>
                  <a:cubicBezTo>
                    <a:pt x="104718" y="2180"/>
                    <a:pt x="104718" y="2180"/>
                    <a:pt x="96284" y="2180"/>
                  </a:cubicBezTo>
                  <a:cubicBezTo>
                    <a:pt x="87851" y="2180"/>
                    <a:pt x="87851" y="2676"/>
                    <a:pt x="79418" y="2676"/>
                  </a:cubicBezTo>
                  <a:cubicBezTo>
                    <a:pt x="70984" y="2676"/>
                    <a:pt x="70984" y="2180"/>
                    <a:pt x="62551" y="2180"/>
                  </a:cubicBezTo>
                  <a:cubicBezTo>
                    <a:pt x="54118" y="2180"/>
                    <a:pt x="54118" y="1187"/>
                    <a:pt x="45684" y="1187"/>
                  </a:cubicBezTo>
                  <a:cubicBezTo>
                    <a:pt x="37251" y="1187"/>
                    <a:pt x="36259" y="-1789"/>
                    <a:pt x="28322" y="1683"/>
                  </a:cubicBezTo>
                  <a:cubicBezTo>
                    <a:pt x="19888" y="5156"/>
                    <a:pt x="21376" y="8132"/>
                    <a:pt x="15424" y="14085"/>
                  </a:cubicBezTo>
                  <a:cubicBezTo>
                    <a:pt x="8974" y="20534"/>
                    <a:pt x="6494" y="19046"/>
                    <a:pt x="3022" y="26984"/>
                  </a:cubicBezTo>
                  <a:cubicBezTo>
                    <a:pt x="-451" y="35417"/>
                    <a:pt x="2525" y="36409"/>
                    <a:pt x="2525" y="45338"/>
                  </a:cubicBezTo>
                  <a:cubicBezTo>
                    <a:pt x="2525" y="54268"/>
                    <a:pt x="4014" y="54268"/>
                    <a:pt x="4014" y="63693"/>
                  </a:cubicBezTo>
                  <a:cubicBezTo>
                    <a:pt x="4014" y="72622"/>
                    <a:pt x="4014" y="72622"/>
                    <a:pt x="4014" y="82048"/>
                  </a:cubicBezTo>
                  <a:cubicBezTo>
                    <a:pt x="4014" y="90977"/>
                    <a:pt x="-3924" y="94450"/>
                    <a:pt x="2525" y="100899"/>
                  </a:cubicBezTo>
                  <a:cubicBezTo>
                    <a:pt x="8478" y="107348"/>
                    <a:pt x="11951" y="99907"/>
                    <a:pt x="20384" y="99907"/>
                  </a:cubicBezTo>
                  <a:cubicBezTo>
                    <a:pt x="28818" y="99907"/>
                    <a:pt x="28818" y="98915"/>
                    <a:pt x="37747" y="98915"/>
                  </a:cubicBezTo>
                  <a:cubicBezTo>
                    <a:pt x="46180" y="98915"/>
                    <a:pt x="46180" y="100403"/>
                    <a:pt x="55110" y="100403"/>
                  </a:cubicBezTo>
                  <a:cubicBezTo>
                    <a:pt x="63047" y="100403"/>
                    <a:pt x="63047" y="100403"/>
                    <a:pt x="70488" y="100403"/>
                  </a:cubicBezTo>
                  <a:cubicBezTo>
                    <a:pt x="78425" y="100403"/>
                    <a:pt x="78425" y="100899"/>
                    <a:pt x="85866" y="100899"/>
                  </a:cubicBezTo>
                  <a:cubicBezTo>
                    <a:pt x="93308" y="100899"/>
                    <a:pt x="93804" y="100899"/>
                    <a:pt x="101245" y="100899"/>
                  </a:cubicBezTo>
                  <a:cubicBezTo>
                    <a:pt x="109182" y="100899"/>
                    <a:pt x="109182" y="101395"/>
                    <a:pt x="116623" y="101395"/>
                  </a:cubicBezTo>
                  <a:cubicBezTo>
                    <a:pt x="124561" y="101395"/>
                    <a:pt x="124561" y="99907"/>
                    <a:pt x="132002" y="99907"/>
                  </a:cubicBezTo>
                  <a:cubicBezTo>
                    <a:pt x="139939" y="99907"/>
                    <a:pt x="139939" y="99907"/>
                    <a:pt x="147380" y="99907"/>
                  </a:cubicBezTo>
                  <a:cubicBezTo>
                    <a:pt x="155317" y="99907"/>
                    <a:pt x="155317" y="99907"/>
                    <a:pt x="162759" y="99907"/>
                  </a:cubicBezTo>
                  <a:cubicBezTo>
                    <a:pt x="170696" y="99907"/>
                    <a:pt x="170696" y="99907"/>
                    <a:pt x="178137" y="99907"/>
                  </a:cubicBezTo>
                  <a:cubicBezTo>
                    <a:pt x="186074" y="99907"/>
                    <a:pt x="186074" y="100403"/>
                    <a:pt x="193515" y="10040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EF56A2C7-3D2D-1AA4-5473-AC9F0C5106D9}"/>
                </a:ext>
              </a:extLst>
            </p:cNvPr>
            <p:cNvSpPr/>
            <p:nvPr/>
          </p:nvSpPr>
          <p:spPr>
            <a:xfrm>
              <a:off x="3343931" y="4942920"/>
              <a:ext cx="185532" cy="2480"/>
            </a:xfrm>
            <a:custGeom>
              <a:avLst/>
              <a:gdLst>
                <a:gd name="connsiteX0" fmla="*/ 185533 w 185532"/>
                <a:gd name="connsiteY0" fmla="*/ 992 h 2480"/>
                <a:gd name="connsiteX1" fmla="*/ 168667 w 185532"/>
                <a:gd name="connsiteY1" fmla="*/ 2480 h 2480"/>
                <a:gd name="connsiteX2" fmla="*/ 151800 w 185532"/>
                <a:gd name="connsiteY2" fmla="*/ 992 h 2480"/>
                <a:gd name="connsiteX3" fmla="*/ 134933 w 185532"/>
                <a:gd name="connsiteY3" fmla="*/ 992 h 2480"/>
                <a:gd name="connsiteX4" fmla="*/ 118066 w 185532"/>
                <a:gd name="connsiteY4" fmla="*/ 992 h 2480"/>
                <a:gd name="connsiteX5" fmla="*/ 101200 w 185532"/>
                <a:gd name="connsiteY5" fmla="*/ 1488 h 2480"/>
                <a:gd name="connsiteX6" fmla="*/ 84333 w 185532"/>
                <a:gd name="connsiteY6" fmla="*/ 1984 h 2480"/>
                <a:gd name="connsiteX7" fmla="*/ 67466 w 185532"/>
                <a:gd name="connsiteY7" fmla="*/ 0 h 2480"/>
                <a:gd name="connsiteX8" fmla="*/ 50600 w 185532"/>
                <a:gd name="connsiteY8" fmla="*/ 0 h 2480"/>
                <a:gd name="connsiteX9" fmla="*/ 33733 w 185532"/>
                <a:gd name="connsiteY9" fmla="*/ 0 h 2480"/>
                <a:gd name="connsiteX10" fmla="*/ 16866 w 185532"/>
                <a:gd name="connsiteY10" fmla="*/ 1488 h 2480"/>
                <a:gd name="connsiteX11" fmla="*/ 0 w 185532"/>
                <a:gd name="connsiteY11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532" h="2480">
                  <a:moveTo>
                    <a:pt x="185533" y="992"/>
                  </a:moveTo>
                  <a:cubicBezTo>
                    <a:pt x="177100" y="992"/>
                    <a:pt x="177100" y="2480"/>
                    <a:pt x="168667" y="2480"/>
                  </a:cubicBezTo>
                  <a:cubicBezTo>
                    <a:pt x="160233" y="2480"/>
                    <a:pt x="160233" y="992"/>
                    <a:pt x="151800" y="992"/>
                  </a:cubicBezTo>
                  <a:cubicBezTo>
                    <a:pt x="143366" y="992"/>
                    <a:pt x="143366" y="992"/>
                    <a:pt x="134933" y="992"/>
                  </a:cubicBezTo>
                  <a:cubicBezTo>
                    <a:pt x="126500" y="992"/>
                    <a:pt x="126500" y="992"/>
                    <a:pt x="118066" y="992"/>
                  </a:cubicBezTo>
                  <a:cubicBezTo>
                    <a:pt x="109633" y="992"/>
                    <a:pt x="109633" y="1488"/>
                    <a:pt x="101200" y="1488"/>
                  </a:cubicBezTo>
                  <a:cubicBezTo>
                    <a:pt x="92766" y="1488"/>
                    <a:pt x="92766" y="1984"/>
                    <a:pt x="84333" y="1984"/>
                  </a:cubicBezTo>
                  <a:cubicBezTo>
                    <a:pt x="75900" y="1984"/>
                    <a:pt x="75900" y="0"/>
                    <a:pt x="67466" y="0"/>
                  </a:cubicBezTo>
                  <a:cubicBezTo>
                    <a:pt x="59033" y="0"/>
                    <a:pt x="59033" y="0"/>
                    <a:pt x="50600" y="0"/>
                  </a:cubicBezTo>
                  <a:cubicBezTo>
                    <a:pt x="42167" y="0"/>
                    <a:pt x="42167" y="0"/>
                    <a:pt x="33733" y="0"/>
                  </a:cubicBezTo>
                  <a:cubicBezTo>
                    <a:pt x="25300" y="0"/>
                    <a:pt x="25300" y="1488"/>
                    <a:pt x="16866" y="1488"/>
                  </a:cubicBezTo>
                  <a:cubicBezTo>
                    <a:pt x="8433" y="1488"/>
                    <a:pt x="8433" y="1984"/>
                    <a:pt x="0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33533D44-0E0D-D475-B727-2D68FEFCAC19}"/>
                </a:ext>
              </a:extLst>
            </p:cNvPr>
            <p:cNvSpPr/>
            <p:nvPr/>
          </p:nvSpPr>
          <p:spPr>
            <a:xfrm>
              <a:off x="3754195" y="4603096"/>
              <a:ext cx="43467" cy="41680"/>
            </a:xfrm>
            <a:custGeom>
              <a:avLst/>
              <a:gdLst>
                <a:gd name="connsiteX0" fmla="*/ 31741 w 43467"/>
                <a:gd name="connsiteY0" fmla="*/ 41680 h 41680"/>
                <a:gd name="connsiteX1" fmla="*/ 42655 w 43467"/>
                <a:gd name="connsiteY1" fmla="*/ 26798 h 41680"/>
                <a:gd name="connsiteX2" fmla="*/ 40671 w 43467"/>
                <a:gd name="connsiteY2" fmla="*/ 10428 h 41680"/>
                <a:gd name="connsiteX3" fmla="*/ 26781 w 43467"/>
                <a:gd name="connsiteY3" fmla="*/ 506 h 41680"/>
                <a:gd name="connsiteX4" fmla="*/ 10410 w 43467"/>
                <a:gd name="connsiteY4" fmla="*/ 3979 h 41680"/>
                <a:gd name="connsiteX5" fmla="*/ 489 w 43467"/>
                <a:gd name="connsiteY5" fmla="*/ 17373 h 41680"/>
                <a:gd name="connsiteX6" fmla="*/ 5449 w 43467"/>
                <a:gd name="connsiteY6" fmla="*/ 35727 h 4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467" h="41680">
                  <a:moveTo>
                    <a:pt x="31741" y="41680"/>
                  </a:moveTo>
                  <a:cubicBezTo>
                    <a:pt x="37694" y="38704"/>
                    <a:pt x="41167" y="33247"/>
                    <a:pt x="42655" y="26798"/>
                  </a:cubicBezTo>
                  <a:cubicBezTo>
                    <a:pt x="44143" y="20845"/>
                    <a:pt x="43647" y="14892"/>
                    <a:pt x="40671" y="10428"/>
                  </a:cubicBezTo>
                  <a:cubicBezTo>
                    <a:pt x="37694" y="5467"/>
                    <a:pt x="32734" y="1994"/>
                    <a:pt x="26781" y="506"/>
                  </a:cubicBezTo>
                  <a:cubicBezTo>
                    <a:pt x="20828" y="-982"/>
                    <a:pt x="15371" y="1002"/>
                    <a:pt x="10410" y="3979"/>
                  </a:cubicBezTo>
                  <a:cubicBezTo>
                    <a:pt x="5449" y="6955"/>
                    <a:pt x="1481" y="11420"/>
                    <a:pt x="489" y="17373"/>
                  </a:cubicBezTo>
                  <a:cubicBezTo>
                    <a:pt x="-1000" y="24318"/>
                    <a:pt x="985" y="30767"/>
                    <a:pt x="5449" y="357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87D4528-51D1-717C-CF37-77B763CFC0F3}"/>
                </a:ext>
              </a:extLst>
            </p:cNvPr>
            <p:cNvSpPr/>
            <p:nvPr/>
          </p:nvSpPr>
          <p:spPr>
            <a:xfrm>
              <a:off x="3783864" y="4468669"/>
              <a:ext cx="44628" cy="42483"/>
            </a:xfrm>
            <a:custGeom>
              <a:avLst/>
              <a:gdLst>
                <a:gd name="connsiteX0" fmla="*/ 11994 w 44628"/>
                <a:gd name="connsiteY0" fmla="*/ 0 h 42483"/>
                <a:gd name="connsiteX1" fmla="*/ 584 w 44628"/>
                <a:gd name="connsiteY1" fmla="*/ 15379 h 42483"/>
                <a:gd name="connsiteX2" fmla="*/ 3560 w 44628"/>
                <a:gd name="connsiteY2" fmla="*/ 31749 h 42483"/>
                <a:gd name="connsiteX3" fmla="*/ 16954 w 44628"/>
                <a:gd name="connsiteY3" fmla="*/ 41671 h 42483"/>
                <a:gd name="connsiteX4" fmla="*/ 34317 w 44628"/>
                <a:gd name="connsiteY4" fmla="*/ 39686 h 42483"/>
                <a:gd name="connsiteX5" fmla="*/ 44239 w 44628"/>
                <a:gd name="connsiteY5" fmla="*/ 24804 h 42483"/>
                <a:gd name="connsiteX6" fmla="*/ 38782 w 44628"/>
                <a:gd name="connsiteY6" fmla="*/ 5953 h 4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28" h="42483">
                  <a:moveTo>
                    <a:pt x="11994" y="0"/>
                  </a:moveTo>
                  <a:cubicBezTo>
                    <a:pt x="6041" y="2977"/>
                    <a:pt x="2072" y="8433"/>
                    <a:pt x="584" y="15379"/>
                  </a:cubicBezTo>
                  <a:cubicBezTo>
                    <a:pt x="-904" y="21331"/>
                    <a:pt x="584" y="26788"/>
                    <a:pt x="3560" y="31749"/>
                  </a:cubicBezTo>
                  <a:cubicBezTo>
                    <a:pt x="6537" y="36710"/>
                    <a:pt x="11001" y="40182"/>
                    <a:pt x="16954" y="41671"/>
                  </a:cubicBezTo>
                  <a:cubicBezTo>
                    <a:pt x="22907" y="43159"/>
                    <a:pt x="29356" y="42663"/>
                    <a:pt x="34317" y="39686"/>
                  </a:cubicBezTo>
                  <a:cubicBezTo>
                    <a:pt x="39278" y="36710"/>
                    <a:pt x="43246" y="30757"/>
                    <a:pt x="44239" y="24804"/>
                  </a:cubicBezTo>
                  <a:cubicBezTo>
                    <a:pt x="45727" y="17859"/>
                    <a:pt x="42750" y="10914"/>
                    <a:pt x="38782" y="5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247DB6A7-9F6F-4B14-4AE5-B85AC979E08C}"/>
                </a:ext>
              </a:extLst>
            </p:cNvPr>
            <p:cNvSpPr/>
            <p:nvPr/>
          </p:nvSpPr>
          <p:spPr>
            <a:xfrm>
              <a:off x="3789409" y="4513316"/>
              <a:ext cx="20339" cy="91278"/>
            </a:xfrm>
            <a:custGeom>
              <a:avLst/>
              <a:gdLst>
                <a:gd name="connsiteX0" fmla="*/ 20339 w 20339"/>
                <a:gd name="connsiteY0" fmla="*/ 0 h 91278"/>
                <a:gd name="connsiteX1" fmla="*/ 16371 w 20339"/>
                <a:gd name="connsiteY1" fmla="*/ 14882 h 91278"/>
                <a:gd name="connsiteX2" fmla="*/ 12402 w 20339"/>
                <a:gd name="connsiteY2" fmla="*/ 29765 h 91278"/>
                <a:gd name="connsiteX3" fmla="*/ 10418 w 20339"/>
                <a:gd name="connsiteY3" fmla="*/ 45143 h 91278"/>
                <a:gd name="connsiteX4" fmla="*/ 6945 w 20339"/>
                <a:gd name="connsiteY4" fmla="*/ 60522 h 91278"/>
                <a:gd name="connsiteX5" fmla="*/ 3473 w 20339"/>
                <a:gd name="connsiteY5" fmla="*/ 75900 h 91278"/>
                <a:gd name="connsiteX6" fmla="*/ 0 w 20339"/>
                <a:gd name="connsiteY6" fmla="*/ 91278 h 9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39" h="91278">
                  <a:moveTo>
                    <a:pt x="20339" y="0"/>
                  </a:moveTo>
                  <a:cubicBezTo>
                    <a:pt x="18851" y="7441"/>
                    <a:pt x="17859" y="7441"/>
                    <a:pt x="16371" y="14882"/>
                  </a:cubicBezTo>
                  <a:cubicBezTo>
                    <a:pt x="14882" y="22324"/>
                    <a:pt x="13890" y="22324"/>
                    <a:pt x="12402" y="29765"/>
                  </a:cubicBezTo>
                  <a:cubicBezTo>
                    <a:pt x="10914" y="37206"/>
                    <a:pt x="11906" y="37702"/>
                    <a:pt x="10418" y="45143"/>
                  </a:cubicBezTo>
                  <a:cubicBezTo>
                    <a:pt x="8929" y="52584"/>
                    <a:pt x="8433" y="52584"/>
                    <a:pt x="6945" y="60522"/>
                  </a:cubicBezTo>
                  <a:cubicBezTo>
                    <a:pt x="5457" y="67963"/>
                    <a:pt x="4961" y="67963"/>
                    <a:pt x="3473" y="75900"/>
                  </a:cubicBezTo>
                  <a:cubicBezTo>
                    <a:pt x="1984" y="83341"/>
                    <a:pt x="1488" y="83341"/>
                    <a:pt x="0" y="912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BC7F3108-9FBF-EFD8-AD17-A04E24668998}"/>
                </a:ext>
              </a:extLst>
            </p:cNvPr>
            <p:cNvSpPr/>
            <p:nvPr/>
          </p:nvSpPr>
          <p:spPr>
            <a:xfrm>
              <a:off x="3783952" y="4509348"/>
              <a:ext cx="8929" cy="37701"/>
            </a:xfrm>
            <a:custGeom>
              <a:avLst/>
              <a:gdLst>
                <a:gd name="connsiteX0" fmla="*/ 0 w 8929"/>
                <a:gd name="connsiteY0" fmla="*/ 37702 h 37701"/>
                <a:gd name="connsiteX1" fmla="*/ 4465 w 8929"/>
                <a:gd name="connsiteY1" fmla="*/ 18851 h 37701"/>
                <a:gd name="connsiteX2" fmla="*/ 8930 w 8929"/>
                <a:gd name="connsiteY2" fmla="*/ 0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9" h="37701">
                  <a:moveTo>
                    <a:pt x="0" y="37702"/>
                  </a:moveTo>
                  <a:cubicBezTo>
                    <a:pt x="1984" y="28277"/>
                    <a:pt x="1984" y="28277"/>
                    <a:pt x="4465" y="18851"/>
                  </a:cubicBezTo>
                  <a:cubicBezTo>
                    <a:pt x="6449" y="9426"/>
                    <a:pt x="6945" y="9426"/>
                    <a:pt x="893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D331C3C4-2EE6-618B-787C-1B6C306DEAF9}"/>
                </a:ext>
              </a:extLst>
            </p:cNvPr>
            <p:cNvSpPr/>
            <p:nvPr/>
          </p:nvSpPr>
          <p:spPr>
            <a:xfrm>
              <a:off x="3772046" y="4587232"/>
              <a:ext cx="2976" cy="13394"/>
            </a:xfrm>
            <a:custGeom>
              <a:avLst/>
              <a:gdLst>
                <a:gd name="connsiteX0" fmla="*/ 0 w 2976"/>
                <a:gd name="connsiteY0" fmla="*/ 13394 h 13394"/>
                <a:gd name="connsiteX1" fmla="*/ 2976 w 2976"/>
                <a:gd name="connsiteY1" fmla="*/ 0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3394">
                  <a:moveTo>
                    <a:pt x="0" y="13394"/>
                  </a:moveTo>
                  <a:cubicBezTo>
                    <a:pt x="1488" y="6449"/>
                    <a:pt x="1488" y="6449"/>
                    <a:pt x="297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E5C4DB7B-BFB4-37A4-2BF1-EBCCBDD154BD}"/>
                </a:ext>
              </a:extLst>
            </p:cNvPr>
            <p:cNvSpPr/>
            <p:nvPr/>
          </p:nvSpPr>
          <p:spPr>
            <a:xfrm>
              <a:off x="3508133" y="4889840"/>
              <a:ext cx="114593" cy="275918"/>
            </a:xfrm>
            <a:custGeom>
              <a:avLst/>
              <a:gdLst>
                <a:gd name="connsiteX0" fmla="*/ 114594 w 114593"/>
                <a:gd name="connsiteY0" fmla="*/ 0 h 275918"/>
                <a:gd name="connsiteX1" fmla="*/ 112610 w 114593"/>
                <a:gd name="connsiteY1" fmla="*/ 15875 h 275918"/>
                <a:gd name="connsiteX2" fmla="*/ 111122 w 114593"/>
                <a:gd name="connsiteY2" fmla="*/ 31749 h 275918"/>
                <a:gd name="connsiteX3" fmla="*/ 109137 w 114593"/>
                <a:gd name="connsiteY3" fmla="*/ 47623 h 275918"/>
                <a:gd name="connsiteX4" fmla="*/ 108641 w 114593"/>
                <a:gd name="connsiteY4" fmla="*/ 63994 h 275918"/>
                <a:gd name="connsiteX5" fmla="*/ 107153 w 114593"/>
                <a:gd name="connsiteY5" fmla="*/ 79868 h 275918"/>
                <a:gd name="connsiteX6" fmla="*/ 106161 w 114593"/>
                <a:gd name="connsiteY6" fmla="*/ 96239 h 275918"/>
                <a:gd name="connsiteX7" fmla="*/ 104176 w 114593"/>
                <a:gd name="connsiteY7" fmla="*/ 112113 h 275918"/>
                <a:gd name="connsiteX8" fmla="*/ 103680 w 114593"/>
                <a:gd name="connsiteY8" fmla="*/ 128484 h 275918"/>
                <a:gd name="connsiteX9" fmla="*/ 102688 w 114593"/>
                <a:gd name="connsiteY9" fmla="*/ 144855 h 275918"/>
                <a:gd name="connsiteX10" fmla="*/ 99712 w 114593"/>
                <a:gd name="connsiteY10" fmla="*/ 160729 h 275918"/>
                <a:gd name="connsiteX11" fmla="*/ 99216 w 114593"/>
                <a:gd name="connsiteY11" fmla="*/ 177100 h 275918"/>
                <a:gd name="connsiteX12" fmla="*/ 98720 w 114593"/>
                <a:gd name="connsiteY12" fmla="*/ 193470 h 275918"/>
                <a:gd name="connsiteX13" fmla="*/ 96239 w 114593"/>
                <a:gd name="connsiteY13" fmla="*/ 209345 h 275918"/>
                <a:gd name="connsiteX14" fmla="*/ 96239 w 114593"/>
                <a:gd name="connsiteY14" fmla="*/ 225715 h 275918"/>
                <a:gd name="connsiteX15" fmla="*/ 94751 w 114593"/>
                <a:gd name="connsiteY15" fmla="*/ 241590 h 275918"/>
                <a:gd name="connsiteX16" fmla="*/ 92767 w 114593"/>
                <a:gd name="connsiteY16" fmla="*/ 257464 h 275918"/>
                <a:gd name="connsiteX17" fmla="*/ 92270 w 114593"/>
                <a:gd name="connsiteY17" fmla="*/ 272843 h 275918"/>
                <a:gd name="connsiteX18" fmla="*/ 73916 w 114593"/>
                <a:gd name="connsiteY18" fmla="*/ 272843 h 275918"/>
                <a:gd name="connsiteX19" fmla="*/ 55065 w 114593"/>
                <a:gd name="connsiteY19" fmla="*/ 273339 h 275918"/>
                <a:gd name="connsiteX20" fmla="*/ 36214 w 114593"/>
                <a:gd name="connsiteY20" fmla="*/ 273835 h 275918"/>
                <a:gd name="connsiteX21" fmla="*/ 30261 w 114593"/>
                <a:gd name="connsiteY21" fmla="*/ 258457 h 275918"/>
                <a:gd name="connsiteX22" fmla="*/ 26292 w 114593"/>
                <a:gd name="connsiteY22" fmla="*/ 242582 h 275918"/>
                <a:gd name="connsiteX23" fmla="*/ 21828 w 114593"/>
                <a:gd name="connsiteY23" fmla="*/ 226708 h 275918"/>
                <a:gd name="connsiteX24" fmla="*/ 15875 w 114593"/>
                <a:gd name="connsiteY24" fmla="*/ 211329 h 275918"/>
                <a:gd name="connsiteX25" fmla="*/ 9426 w 114593"/>
                <a:gd name="connsiteY25" fmla="*/ 195950 h 275918"/>
                <a:gd name="connsiteX26" fmla="*/ 3969 w 114593"/>
                <a:gd name="connsiteY26" fmla="*/ 180572 h 275918"/>
                <a:gd name="connsiteX27" fmla="*/ 0 w 114593"/>
                <a:gd name="connsiteY27" fmla="*/ 164698 h 27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4593" h="275918">
                  <a:moveTo>
                    <a:pt x="114594" y="0"/>
                  </a:moveTo>
                  <a:cubicBezTo>
                    <a:pt x="114098" y="7937"/>
                    <a:pt x="113106" y="7937"/>
                    <a:pt x="112610" y="15875"/>
                  </a:cubicBezTo>
                  <a:cubicBezTo>
                    <a:pt x="112113" y="23812"/>
                    <a:pt x="111618" y="23812"/>
                    <a:pt x="111122" y="31749"/>
                  </a:cubicBezTo>
                  <a:cubicBezTo>
                    <a:pt x="110625" y="39686"/>
                    <a:pt x="110129" y="39686"/>
                    <a:pt x="109137" y="47623"/>
                  </a:cubicBezTo>
                  <a:cubicBezTo>
                    <a:pt x="108641" y="55561"/>
                    <a:pt x="109633" y="55561"/>
                    <a:pt x="108641" y="63994"/>
                  </a:cubicBezTo>
                  <a:cubicBezTo>
                    <a:pt x="108145" y="71931"/>
                    <a:pt x="107649" y="71931"/>
                    <a:pt x="107153" y="79868"/>
                  </a:cubicBezTo>
                  <a:cubicBezTo>
                    <a:pt x="106657" y="87806"/>
                    <a:pt x="106657" y="87806"/>
                    <a:pt x="106161" y="96239"/>
                  </a:cubicBezTo>
                  <a:cubicBezTo>
                    <a:pt x="105665" y="104176"/>
                    <a:pt x="105169" y="104176"/>
                    <a:pt x="104176" y="112113"/>
                  </a:cubicBezTo>
                  <a:cubicBezTo>
                    <a:pt x="103680" y="120051"/>
                    <a:pt x="104176" y="120051"/>
                    <a:pt x="103680" y="128484"/>
                  </a:cubicBezTo>
                  <a:cubicBezTo>
                    <a:pt x="103184" y="136421"/>
                    <a:pt x="103184" y="136421"/>
                    <a:pt x="102688" y="144855"/>
                  </a:cubicBezTo>
                  <a:cubicBezTo>
                    <a:pt x="102192" y="152792"/>
                    <a:pt x="100208" y="152792"/>
                    <a:pt x="99712" y="160729"/>
                  </a:cubicBezTo>
                  <a:cubicBezTo>
                    <a:pt x="99216" y="168666"/>
                    <a:pt x="99712" y="168666"/>
                    <a:pt x="99216" y="177100"/>
                  </a:cubicBezTo>
                  <a:cubicBezTo>
                    <a:pt x="98720" y="185037"/>
                    <a:pt x="99216" y="185037"/>
                    <a:pt x="98720" y="193470"/>
                  </a:cubicBezTo>
                  <a:cubicBezTo>
                    <a:pt x="98223" y="201408"/>
                    <a:pt x="96735" y="201408"/>
                    <a:pt x="96239" y="209345"/>
                  </a:cubicBezTo>
                  <a:cubicBezTo>
                    <a:pt x="95743" y="217282"/>
                    <a:pt x="96735" y="217282"/>
                    <a:pt x="96239" y="225715"/>
                  </a:cubicBezTo>
                  <a:cubicBezTo>
                    <a:pt x="95743" y="233653"/>
                    <a:pt x="95247" y="233653"/>
                    <a:pt x="94751" y="241590"/>
                  </a:cubicBezTo>
                  <a:cubicBezTo>
                    <a:pt x="94255" y="249527"/>
                    <a:pt x="93263" y="249527"/>
                    <a:pt x="92767" y="257464"/>
                  </a:cubicBezTo>
                  <a:cubicBezTo>
                    <a:pt x="92270" y="265401"/>
                    <a:pt x="98223" y="267882"/>
                    <a:pt x="92270" y="272843"/>
                  </a:cubicBezTo>
                  <a:cubicBezTo>
                    <a:pt x="84829" y="278796"/>
                    <a:pt x="83341" y="272843"/>
                    <a:pt x="73916" y="272843"/>
                  </a:cubicBezTo>
                  <a:cubicBezTo>
                    <a:pt x="64490" y="272843"/>
                    <a:pt x="64490" y="273339"/>
                    <a:pt x="55065" y="273339"/>
                  </a:cubicBezTo>
                  <a:cubicBezTo>
                    <a:pt x="45639" y="273339"/>
                    <a:pt x="44151" y="278796"/>
                    <a:pt x="36214" y="273835"/>
                  </a:cubicBezTo>
                  <a:cubicBezTo>
                    <a:pt x="29269" y="269370"/>
                    <a:pt x="32741" y="266394"/>
                    <a:pt x="30261" y="258457"/>
                  </a:cubicBezTo>
                  <a:cubicBezTo>
                    <a:pt x="27780" y="250519"/>
                    <a:pt x="29269" y="250023"/>
                    <a:pt x="26292" y="242582"/>
                  </a:cubicBezTo>
                  <a:cubicBezTo>
                    <a:pt x="23812" y="234645"/>
                    <a:pt x="24308" y="234645"/>
                    <a:pt x="21828" y="226708"/>
                  </a:cubicBezTo>
                  <a:cubicBezTo>
                    <a:pt x="19347" y="218771"/>
                    <a:pt x="18355" y="219267"/>
                    <a:pt x="15875" y="211329"/>
                  </a:cubicBezTo>
                  <a:cubicBezTo>
                    <a:pt x="13394" y="203392"/>
                    <a:pt x="11906" y="203888"/>
                    <a:pt x="9426" y="195950"/>
                  </a:cubicBezTo>
                  <a:cubicBezTo>
                    <a:pt x="6945" y="188013"/>
                    <a:pt x="6449" y="188013"/>
                    <a:pt x="3969" y="180572"/>
                  </a:cubicBezTo>
                  <a:cubicBezTo>
                    <a:pt x="1488" y="172635"/>
                    <a:pt x="2480" y="172139"/>
                    <a:pt x="0" y="1646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D7E31E2-61F0-007B-E850-45DFDA14A933}"/>
                </a:ext>
              </a:extLst>
            </p:cNvPr>
            <p:cNvSpPr/>
            <p:nvPr/>
          </p:nvSpPr>
          <p:spPr>
            <a:xfrm>
              <a:off x="3562701" y="5035686"/>
              <a:ext cx="5456" cy="126995"/>
            </a:xfrm>
            <a:custGeom>
              <a:avLst/>
              <a:gdLst>
                <a:gd name="connsiteX0" fmla="*/ 4961 w 5456"/>
                <a:gd name="connsiteY0" fmla="*/ 126996 h 126995"/>
                <a:gd name="connsiteX1" fmla="*/ 5457 w 5456"/>
                <a:gd name="connsiteY1" fmla="*/ 111122 h 126995"/>
                <a:gd name="connsiteX2" fmla="*/ 4961 w 5456"/>
                <a:gd name="connsiteY2" fmla="*/ 95247 h 126995"/>
                <a:gd name="connsiteX3" fmla="*/ 4465 w 5456"/>
                <a:gd name="connsiteY3" fmla="*/ 79372 h 126995"/>
                <a:gd name="connsiteX4" fmla="*/ 1488 w 5456"/>
                <a:gd name="connsiteY4" fmla="*/ 63498 h 126995"/>
                <a:gd name="connsiteX5" fmla="*/ 1488 w 5456"/>
                <a:gd name="connsiteY5" fmla="*/ 47623 h 126995"/>
                <a:gd name="connsiteX6" fmla="*/ 1984 w 5456"/>
                <a:gd name="connsiteY6" fmla="*/ 31749 h 126995"/>
                <a:gd name="connsiteX7" fmla="*/ 496 w 5456"/>
                <a:gd name="connsiteY7" fmla="*/ 15875 h 126995"/>
                <a:gd name="connsiteX8" fmla="*/ 0 w 5456"/>
                <a:gd name="connsiteY8" fmla="*/ 0 h 12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56" h="126995">
                  <a:moveTo>
                    <a:pt x="4961" y="126996"/>
                  </a:moveTo>
                  <a:cubicBezTo>
                    <a:pt x="4465" y="119059"/>
                    <a:pt x="5457" y="119059"/>
                    <a:pt x="5457" y="111122"/>
                  </a:cubicBezTo>
                  <a:cubicBezTo>
                    <a:pt x="4961" y="103184"/>
                    <a:pt x="5457" y="103184"/>
                    <a:pt x="4961" y="95247"/>
                  </a:cubicBezTo>
                  <a:cubicBezTo>
                    <a:pt x="4465" y="87310"/>
                    <a:pt x="4465" y="87310"/>
                    <a:pt x="4465" y="79372"/>
                  </a:cubicBezTo>
                  <a:cubicBezTo>
                    <a:pt x="3969" y="71435"/>
                    <a:pt x="1984" y="71435"/>
                    <a:pt x="1488" y="63498"/>
                  </a:cubicBezTo>
                  <a:cubicBezTo>
                    <a:pt x="992" y="55561"/>
                    <a:pt x="1984" y="55561"/>
                    <a:pt x="1488" y="47623"/>
                  </a:cubicBezTo>
                  <a:cubicBezTo>
                    <a:pt x="992" y="39686"/>
                    <a:pt x="2480" y="39686"/>
                    <a:pt x="1984" y="31749"/>
                  </a:cubicBezTo>
                  <a:cubicBezTo>
                    <a:pt x="1488" y="23812"/>
                    <a:pt x="992" y="23812"/>
                    <a:pt x="496" y="15875"/>
                  </a:cubicBezTo>
                  <a:cubicBezTo>
                    <a:pt x="0" y="7937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DC8642CE-71F6-A8FF-CBEC-4B85223C8C66}"/>
                </a:ext>
              </a:extLst>
            </p:cNvPr>
            <p:cNvSpPr/>
            <p:nvPr/>
          </p:nvSpPr>
          <p:spPr>
            <a:xfrm>
              <a:off x="3462776" y="5161482"/>
              <a:ext cx="109930" cy="59737"/>
            </a:xfrm>
            <a:custGeom>
              <a:avLst/>
              <a:gdLst>
                <a:gd name="connsiteX0" fmla="*/ 1702 w 109930"/>
                <a:gd name="connsiteY0" fmla="*/ 53288 h 59737"/>
                <a:gd name="connsiteX1" fmla="*/ 14103 w 109930"/>
                <a:gd name="connsiteY1" fmla="*/ 43863 h 59737"/>
                <a:gd name="connsiteX2" fmla="*/ 27994 w 109930"/>
                <a:gd name="connsiteY2" fmla="*/ 36422 h 59737"/>
                <a:gd name="connsiteX3" fmla="*/ 40891 w 109930"/>
                <a:gd name="connsiteY3" fmla="*/ 27492 h 59737"/>
                <a:gd name="connsiteX4" fmla="*/ 53790 w 109930"/>
                <a:gd name="connsiteY4" fmla="*/ 18563 h 59737"/>
                <a:gd name="connsiteX5" fmla="*/ 67680 w 109930"/>
                <a:gd name="connsiteY5" fmla="*/ 10625 h 59737"/>
                <a:gd name="connsiteX6" fmla="*/ 80578 w 109930"/>
                <a:gd name="connsiteY6" fmla="*/ 1696 h 59737"/>
                <a:gd name="connsiteX7" fmla="*/ 94468 w 109930"/>
                <a:gd name="connsiteY7" fmla="*/ 3184 h 59737"/>
                <a:gd name="connsiteX8" fmla="*/ 107862 w 109930"/>
                <a:gd name="connsiteY8" fmla="*/ 2192 h 59737"/>
                <a:gd name="connsiteX9" fmla="*/ 106870 w 109930"/>
                <a:gd name="connsiteY9" fmla="*/ 19555 h 59737"/>
                <a:gd name="connsiteX10" fmla="*/ 105878 w 109930"/>
                <a:gd name="connsiteY10" fmla="*/ 36918 h 59737"/>
                <a:gd name="connsiteX11" fmla="*/ 89507 w 109930"/>
                <a:gd name="connsiteY11" fmla="*/ 42870 h 59737"/>
                <a:gd name="connsiteX12" fmla="*/ 73137 w 109930"/>
                <a:gd name="connsiteY12" fmla="*/ 48824 h 59737"/>
                <a:gd name="connsiteX13" fmla="*/ 56270 w 109930"/>
                <a:gd name="connsiteY13" fmla="*/ 53288 h 59737"/>
                <a:gd name="connsiteX14" fmla="*/ 38907 w 109930"/>
                <a:gd name="connsiteY14" fmla="*/ 55272 h 59737"/>
                <a:gd name="connsiteX15" fmla="*/ 21545 w 109930"/>
                <a:gd name="connsiteY15" fmla="*/ 58745 h 59737"/>
                <a:gd name="connsiteX16" fmla="*/ 4182 w 109930"/>
                <a:gd name="connsiteY16" fmla="*/ 59737 h 59737"/>
                <a:gd name="connsiteX17" fmla="*/ 1702 w 109930"/>
                <a:gd name="connsiteY17" fmla="*/ 53288 h 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930" h="59737">
                  <a:moveTo>
                    <a:pt x="1702" y="53288"/>
                  </a:moveTo>
                  <a:cubicBezTo>
                    <a:pt x="8150" y="48824"/>
                    <a:pt x="7654" y="47831"/>
                    <a:pt x="14103" y="43863"/>
                  </a:cubicBezTo>
                  <a:cubicBezTo>
                    <a:pt x="20552" y="39398"/>
                    <a:pt x="21048" y="40390"/>
                    <a:pt x="27994" y="36422"/>
                  </a:cubicBezTo>
                  <a:cubicBezTo>
                    <a:pt x="34443" y="31957"/>
                    <a:pt x="34443" y="31957"/>
                    <a:pt x="40891" y="27492"/>
                  </a:cubicBezTo>
                  <a:cubicBezTo>
                    <a:pt x="47341" y="23027"/>
                    <a:pt x="46844" y="22531"/>
                    <a:pt x="53790" y="18563"/>
                  </a:cubicBezTo>
                  <a:cubicBezTo>
                    <a:pt x="60239" y="14098"/>
                    <a:pt x="60735" y="15090"/>
                    <a:pt x="67680" y="10625"/>
                  </a:cubicBezTo>
                  <a:cubicBezTo>
                    <a:pt x="74129" y="6161"/>
                    <a:pt x="73137" y="4177"/>
                    <a:pt x="80578" y="1696"/>
                  </a:cubicBezTo>
                  <a:cubicBezTo>
                    <a:pt x="87027" y="-288"/>
                    <a:pt x="87523" y="3680"/>
                    <a:pt x="94468" y="3184"/>
                  </a:cubicBezTo>
                  <a:cubicBezTo>
                    <a:pt x="101413" y="3184"/>
                    <a:pt x="103893" y="-3264"/>
                    <a:pt x="107862" y="2192"/>
                  </a:cubicBezTo>
                  <a:cubicBezTo>
                    <a:pt x="112823" y="9138"/>
                    <a:pt x="107366" y="10625"/>
                    <a:pt x="106870" y="19555"/>
                  </a:cubicBezTo>
                  <a:cubicBezTo>
                    <a:pt x="106374" y="28484"/>
                    <a:pt x="108854" y="28981"/>
                    <a:pt x="105878" y="36918"/>
                  </a:cubicBezTo>
                  <a:cubicBezTo>
                    <a:pt x="102901" y="44855"/>
                    <a:pt x="99925" y="39894"/>
                    <a:pt x="89507" y="42870"/>
                  </a:cubicBezTo>
                  <a:cubicBezTo>
                    <a:pt x="84547" y="44359"/>
                    <a:pt x="79090" y="46839"/>
                    <a:pt x="73137" y="48824"/>
                  </a:cubicBezTo>
                  <a:cubicBezTo>
                    <a:pt x="67680" y="50312"/>
                    <a:pt x="62223" y="51800"/>
                    <a:pt x="56270" y="53288"/>
                  </a:cubicBezTo>
                  <a:cubicBezTo>
                    <a:pt x="50813" y="54776"/>
                    <a:pt x="44364" y="54280"/>
                    <a:pt x="38907" y="55272"/>
                  </a:cubicBezTo>
                  <a:cubicBezTo>
                    <a:pt x="32954" y="56265"/>
                    <a:pt x="27498" y="57753"/>
                    <a:pt x="21545" y="58745"/>
                  </a:cubicBezTo>
                  <a:cubicBezTo>
                    <a:pt x="15592" y="59241"/>
                    <a:pt x="9639" y="59737"/>
                    <a:pt x="4182" y="59737"/>
                  </a:cubicBezTo>
                  <a:cubicBezTo>
                    <a:pt x="-283" y="59737"/>
                    <a:pt x="-1275" y="55272"/>
                    <a:pt x="1702" y="5328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677A6F92-751E-5445-AEE1-F80574B125A6}"/>
                </a:ext>
              </a:extLst>
            </p:cNvPr>
            <p:cNvSpPr/>
            <p:nvPr/>
          </p:nvSpPr>
          <p:spPr>
            <a:xfrm>
              <a:off x="3571284" y="5162197"/>
              <a:ext cx="103523" cy="47833"/>
            </a:xfrm>
            <a:custGeom>
              <a:avLst/>
              <a:gdLst>
                <a:gd name="connsiteX0" fmla="*/ 101547 w 103523"/>
                <a:gd name="connsiteY0" fmla="*/ 41164 h 47833"/>
                <a:gd name="connsiteX1" fmla="*/ 86664 w 103523"/>
                <a:gd name="connsiteY1" fmla="*/ 33227 h 47833"/>
                <a:gd name="connsiteX2" fmla="*/ 71286 w 103523"/>
                <a:gd name="connsiteY2" fmla="*/ 26282 h 47833"/>
                <a:gd name="connsiteX3" fmla="*/ 56403 w 103523"/>
                <a:gd name="connsiteY3" fmla="*/ 17848 h 47833"/>
                <a:gd name="connsiteX4" fmla="*/ 41025 w 103523"/>
                <a:gd name="connsiteY4" fmla="*/ 10407 h 47833"/>
                <a:gd name="connsiteX5" fmla="*/ 26639 w 103523"/>
                <a:gd name="connsiteY5" fmla="*/ 982 h 47833"/>
                <a:gd name="connsiteX6" fmla="*/ 14237 w 103523"/>
                <a:gd name="connsiteY6" fmla="*/ 2966 h 47833"/>
                <a:gd name="connsiteX7" fmla="*/ 1835 w 103523"/>
                <a:gd name="connsiteY7" fmla="*/ 1974 h 47833"/>
                <a:gd name="connsiteX8" fmla="*/ 3323 w 103523"/>
                <a:gd name="connsiteY8" fmla="*/ 19337 h 47833"/>
                <a:gd name="connsiteX9" fmla="*/ 5804 w 103523"/>
                <a:gd name="connsiteY9" fmla="*/ 36700 h 47833"/>
                <a:gd name="connsiteX10" fmla="*/ 22174 w 103523"/>
                <a:gd name="connsiteY10" fmla="*/ 38684 h 47833"/>
                <a:gd name="connsiteX11" fmla="*/ 37553 w 103523"/>
                <a:gd name="connsiteY11" fmla="*/ 43645 h 47833"/>
                <a:gd name="connsiteX12" fmla="*/ 52931 w 103523"/>
                <a:gd name="connsiteY12" fmla="*/ 46125 h 47833"/>
                <a:gd name="connsiteX13" fmla="*/ 68805 w 103523"/>
                <a:gd name="connsiteY13" fmla="*/ 45629 h 47833"/>
                <a:gd name="connsiteX14" fmla="*/ 84184 w 103523"/>
                <a:gd name="connsiteY14" fmla="*/ 47613 h 47833"/>
                <a:gd name="connsiteX15" fmla="*/ 100059 w 103523"/>
                <a:gd name="connsiteY15" fmla="*/ 47613 h 47833"/>
                <a:gd name="connsiteX16" fmla="*/ 101547 w 103523"/>
                <a:gd name="connsiteY16" fmla="*/ 4116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523" h="47833">
                  <a:moveTo>
                    <a:pt x="101547" y="41164"/>
                  </a:moveTo>
                  <a:cubicBezTo>
                    <a:pt x="94106" y="37195"/>
                    <a:pt x="94106" y="37195"/>
                    <a:pt x="86664" y="33227"/>
                  </a:cubicBezTo>
                  <a:cubicBezTo>
                    <a:pt x="79223" y="29258"/>
                    <a:pt x="78727" y="30250"/>
                    <a:pt x="71286" y="26282"/>
                  </a:cubicBezTo>
                  <a:cubicBezTo>
                    <a:pt x="63845" y="22313"/>
                    <a:pt x="63845" y="21817"/>
                    <a:pt x="56403" y="17848"/>
                  </a:cubicBezTo>
                  <a:cubicBezTo>
                    <a:pt x="48962" y="13880"/>
                    <a:pt x="48466" y="14376"/>
                    <a:pt x="41025" y="10407"/>
                  </a:cubicBezTo>
                  <a:cubicBezTo>
                    <a:pt x="33584" y="6439"/>
                    <a:pt x="34576" y="3463"/>
                    <a:pt x="26639" y="982"/>
                  </a:cubicBezTo>
                  <a:cubicBezTo>
                    <a:pt x="20686" y="-506"/>
                    <a:pt x="20190" y="2966"/>
                    <a:pt x="14237" y="2966"/>
                  </a:cubicBezTo>
                  <a:cubicBezTo>
                    <a:pt x="8284" y="2966"/>
                    <a:pt x="5308" y="-2987"/>
                    <a:pt x="1835" y="1974"/>
                  </a:cubicBezTo>
                  <a:cubicBezTo>
                    <a:pt x="-2630" y="9415"/>
                    <a:pt x="2331" y="10407"/>
                    <a:pt x="3323" y="19337"/>
                  </a:cubicBezTo>
                  <a:cubicBezTo>
                    <a:pt x="4315" y="27770"/>
                    <a:pt x="2331" y="28762"/>
                    <a:pt x="5804" y="36700"/>
                  </a:cubicBezTo>
                  <a:cubicBezTo>
                    <a:pt x="9276" y="43645"/>
                    <a:pt x="12253" y="36700"/>
                    <a:pt x="22174" y="38684"/>
                  </a:cubicBezTo>
                  <a:cubicBezTo>
                    <a:pt x="26639" y="39676"/>
                    <a:pt x="31600" y="42652"/>
                    <a:pt x="37553" y="43645"/>
                  </a:cubicBezTo>
                  <a:cubicBezTo>
                    <a:pt x="42513" y="44637"/>
                    <a:pt x="47474" y="45629"/>
                    <a:pt x="52931" y="46125"/>
                  </a:cubicBezTo>
                  <a:cubicBezTo>
                    <a:pt x="57892" y="46621"/>
                    <a:pt x="63349" y="45133"/>
                    <a:pt x="68805" y="45629"/>
                  </a:cubicBezTo>
                  <a:cubicBezTo>
                    <a:pt x="73766" y="46125"/>
                    <a:pt x="79223" y="47613"/>
                    <a:pt x="84184" y="47613"/>
                  </a:cubicBezTo>
                  <a:cubicBezTo>
                    <a:pt x="89641" y="48110"/>
                    <a:pt x="94602" y="47613"/>
                    <a:pt x="100059" y="47613"/>
                  </a:cubicBezTo>
                  <a:cubicBezTo>
                    <a:pt x="103531" y="47613"/>
                    <a:pt x="105019" y="43149"/>
                    <a:pt x="101547" y="4116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B430F2E1-1073-B40F-F5F3-9EF813E01BD7}"/>
                </a:ext>
              </a:extLst>
            </p:cNvPr>
            <p:cNvSpPr/>
            <p:nvPr/>
          </p:nvSpPr>
          <p:spPr>
            <a:xfrm>
              <a:off x="3438186" y="4870989"/>
              <a:ext cx="25299" cy="59033"/>
            </a:xfrm>
            <a:custGeom>
              <a:avLst/>
              <a:gdLst>
                <a:gd name="connsiteX0" fmla="*/ 0 w 25299"/>
                <a:gd name="connsiteY0" fmla="*/ 59033 h 59033"/>
                <a:gd name="connsiteX1" fmla="*/ 1488 w 25299"/>
                <a:gd name="connsiteY1" fmla="*/ 42663 h 59033"/>
                <a:gd name="connsiteX2" fmla="*/ 1488 w 25299"/>
                <a:gd name="connsiteY2" fmla="*/ 26292 h 59033"/>
                <a:gd name="connsiteX3" fmla="*/ 3472 w 25299"/>
                <a:gd name="connsiteY3" fmla="*/ 10913 h 59033"/>
                <a:gd name="connsiteX4" fmla="*/ 12898 w 25299"/>
                <a:gd name="connsiteY4" fmla="*/ 992 h 59033"/>
                <a:gd name="connsiteX5" fmla="*/ 12898 w 25299"/>
                <a:gd name="connsiteY5" fmla="*/ 0 h 59033"/>
                <a:gd name="connsiteX6" fmla="*/ 22819 w 25299"/>
                <a:gd name="connsiteY6" fmla="*/ 10913 h 59033"/>
                <a:gd name="connsiteX7" fmla="*/ 25300 w 25299"/>
                <a:gd name="connsiteY7" fmla="*/ 26292 h 59033"/>
                <a:gd name="connsiteX8" fmla="*/ 24804 w 25299"/>
                <a:gd name="connsiteY8" fmla="*/ 47127 h 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99" h="59033">
                  <a:moveTo>
                    <a:pt x="0" y="59033"/>
                  </a:moveTo>
                  <a:cubicBezTo>
                    <a:pt x="0" y="51096"/>
                    <a:pt x="1488" y="51096"/>
                    <a:pt x="1488" y="42663"/>
                  </a:cubicBezTo>
                  <a:cubicBezTo>
                    <a:pt x="1488" y="34229"/>
                    <a:pt x="1488" y="34725"/>
                    <a:pt x="1488" y="26292"/>
                  </a:cubicBezTo>
                  <a:cubicBezTo>
                    <a:pt x="1488" y="20339"/>
                    <a:pt x="1984" y="15378"/>
                    <a:pt x="3472" y="10913"/>
                  </a:cubicBezTo>
                  <a:cubicBezTo>
                    <a:pt x="5953" y="4465"/>
                    <a:pt x="8929" y="992"/>
                    <a:pt x="12898" y="992"/>
                  </a:cubicBezTo>
                  <a:cubicBezTo>
                    <a:pt x="12898" y="992"/>
                    <a:pt x="12898" y="0"/>
                    <a:pt x="12898" y="0"/>
                  </a:cubicBezTo>
                  <a:cubicBezTo>
                    <a:pt x="17363" y="0"/>
                    <a:pt x="20339" y="4465"/>
                    <a:pt x="22819" y="10913"/>
                  </a:cubicBezTo>
                  <a:cubicBezTo>
                    <a:pt x="24308" y="15378"/>
                    <a:pt x="25300" y="20339"/>
                    <a:pt x="25300" y="26292"/>
                  </a:cubicBezTo>
                  <a:cubicBezTo>
                    <a:pt x="25300" y="36710"/>
                    <a:pt x="24804" y="36710"/>
                    <a:pt x="24804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437973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C54950-20DE-C074-F205-0CD81568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65032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C54950-20DE-C074-F205-0CD815684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rPr lang="da-DK"/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 rtl="0">
              <a:defRPr sz="5799" spc="-116"/>
            </a:lvl1pPr>
          </a:lstStyle>
          <a:p>
            <a:r>
              <a:rPr lang="da-DK"/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2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577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154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731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309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da-DK"/>
              <a:t>Presentation Subtitle</a:t>
            </a:r>
          </a:p>
          <a:p>
            <a:pPr lvl="1"/>
            <a:endParaRPr lang="da-DK"/>
          </a:p>
          <a:p>
            <a:pPr lvl="2"/>
            <a:endParaRPr lang="da-DK"/>
          </a:p>
          <a:p>
            <a:pPr lvl="3"/>
            <a:endParaRPr lang="da-DK"/>
          </a:p>
          <a:p>
            <a:pPr lvl="4"/>
            <a:endParaRPr lang="da-DK"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34399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65A96-58D3-D390-F6E4-B1D70F611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7C8429A-EBDE-FD30-7047-8408B95DBB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10747C-9AD7-CABC-7051-4737B5B95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60BB3-7289-4A35-9B00-7B951925E006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6A7074C-589C-B2DD-1F8B-0B1C3DC8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817CB5B-B89E-92D0-1F9C-B6FB58EB6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913BA-47C6-4DA5-8427-E6090B28B93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3004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9E47A4-334C-5532-305B-584BEFC62B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3D949FB4-0F6B-663A-8137-FBBA10785E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9061EE5-A495-D2D0-D5D5-3FDBF4D57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3BB1033-EFE9-D7ED-2398-588F4AAC4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25529CD-66E0-4642-98BD-78F44E245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35088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6A91A2-2776-7200-1A81-54BD0783E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3455B5A-92EC-6D5E-E86C-EEE06A94A2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7982F41-DF3B-1AEF-3A0B-7708167B9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890672-8431-FA4F-E7EA-8F2FE776E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8B1B18C-7204-6149-F39E-4C9842D96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41173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F664AB-E19C-D95F-7057-C15BD8009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707B05B-7A79-F517-0419-A8983AF28C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D8E36DC-D7CC-4843-DB54-556097E54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885427-020B-64EE-E786-D87B38F60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D188F0E-3D64-1475-4B93-01641135D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5054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9356A1-9E95-5978-545A-877FE0C6CD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0BA1191-879E-B5F1-856B-4408DC158C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9BC1036-0F23-F23E-941D-A8DA2D6C02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FEC9091-4965-63C9-8DCF-EC849A4E2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5513EB29-693F-E667-B2BF-17FC585BD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4610C58-A5AB-7892-B1EC-85C0B119C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06859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4.xml"/><Relationship Id="rId10" Type="http://schemas.openxmlformats.org/officeDocument/2006/relationships/oleObject" Target="../embeddings/oleObject10.bin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97054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714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007F8D5-D836-EC65-11C7-69DE989A6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267586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07F8D5-D836-EC65-11C7-69DE989A6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C60E799-4F72-A835-6473-0DEF530B0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FC9CCC3-8724-A390-0C76-E020F25DE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492F388-BC73-4E5A-5DFE-50D6C00AA8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BEA011-7A4B-DF40-9FAC-4B4457F6AADC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AD1ED64-6D37-9302-609F-39F2E07F5C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1E003A0-B76E-0AA8-F880-9AAF2F5EE5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2C99F6C-F062-E148-891F-8A9B3B0B399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3222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72E9BA-32CA-2B95-50AF-1BD74BC730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780949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2E9BA-32CA-2B95-50AF-1BD74BC730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1E54FEEC-478E-8D90-02A4-C6B3F8DF0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4F7F1C6-B849-9051-3875-8FD18C8F89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BBC33C9-5307-3170-900C-79599533F8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1428038-2763-E546-B88A-44079C8353A9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D84C497-A496-1E9A-8129-67C53F9807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28D8DB4-1232-11E2-D63B-D8E92DDEA7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7EFC35F-1C21-454E-BF05-AB6E4917E5B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8204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FB26E-053A-3485-7BFD-F56A41F22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88594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FB26E-053A-3485-7BFD-F56A41F22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31965533-0463-B362-AFDE-AC0F048FF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4870F09-6F3C-A5BE-7056-D5F426C86C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5B1C445-7F27-27DA-0E09-8AC3E7EE01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D4385BF-4992-8B49-BA45-27B8EFA9A13E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7EA52D8-ED9F-B9B4-1FD8-1B28C2494A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81E0342-75CF-102F-FAD2-1DBD165CC8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F979D75-8B0A-1D43-BBB6-D9045DE021A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049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452688-1CFE-ACF2-75C9-B4752941CC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170276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452688-1CFE-ACF2-75C9-B4752941CC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6F117676-AA7A-723A-726A-6B4FB7B90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02116CA-FC07-CE4C-80FB-80848E608A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73522CB-A11B-0F24-7ADA-51D1D3058E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F232AFA-8BB0-2440-8FC4-24EF259F3272}" type="datetimeFigureOut">
              <a:rPr lang="da-DK" smtClean="0"/>
              <a:t>09.12.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1036F9F-42C3-B235-9F2F-D0245C5E1C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656FD21-F8A5-B947-D4C9-1C3ECDBD6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531E2A-80DF-EE40-B696-D059F78E87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6463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847812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image" Target="../media/image96.svg"/><Relationship Id="rId3" Type="http://schemas.openxmlformats.org/officeDocument/2006/relationships/tags" Target="../tags/tag26.xml"/><Relationship Id="rId7" Type="http://schemas.openxmlformats.org/officeDocument/2006/relationships/image" Target="../media/image91.png"/><Relationship Id="rId12" Type="http://schemas.openxmlformats.org/officeDocument/2006/relationships/image" Target="../media/image95.png"/><Relationship Id="rId2" Type="http://schemas.openxmlformats.org/officeDocument/2006/relationships/tags" Target="../tags/tag25.xml"/><Relationship Id="rId16" Type="http://schemas.openxmlformats.org/officeDocument/2006/relationships/image" Target="../media/image99.png"/><Relationship Id="rId1" Type="http://schemas.openxmlformats.org/officeDocument/2006/relationships/tags" Target="../tags/tag24.xml"/><Relationship Id="rId6" Type="http://schemas.microsoft.com/office/2018/10/relationships/comments" Target="../comments/modernComment_7FFFFDC9_DB358DC9.xml"/><Relationship Id="rId11" Type="http://schemas.openxmlformats.org/officeDocument/2006/relationships/image" Target="../media/image94.sv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emf"/><Relationship Id="rId14" Type="http://schemas.openxmlformats.org/officeDocument/2006/relationships/image" Target="../media/image9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4.sv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3.png"/><Relationship Id="rId5" Type="http://schemas.openxmlformats.org/officeDocument/2006/relationships/image" Target="../media/image100.emf"/><Relationship Id="rId4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10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02.emf"/><Relationship Id="rId11" Type="http://schemas.openxmlformats.org/officeDocument/2006/relationships/image" Target="../media/image94.sv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93.png"/><Relationship Id="rId4" Type="http://schemas.openxmlformats.org/officeDocument/2006/relationships/image" Target="../media/image91.png"/><Relationship Id="rId9" Type="http://schemas.openxmlformats.org/officeDocument/2006/relationships/image" Target="../media/image8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05.emf"/><Relationship Id="rId11" Type="http://schemas.openxmlformats.org/officeDocument/2006/relationships/image" Target="../media/image89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104.png"/><Relationship Id="rId4" Type="http://schemas.openxmlformats.org/officeDocument/2006/relationships/image" Target="../media/image91.png"/><Relationship Id="rId9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4.sv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3.png"/><Relationship Id="rId5" Type="http://schemas.openxmlformats.org/officeDocument/2006/relationships/image" Target="../media/image106.emf"/><Relationship Id="rId4" Type="http://schemas.openxmlformats.org/officeDocument/2006/relationships/oleObject" Target="../embeddings/oleObject26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2.png"/><Relationship Id="rId1" Type="http://schemas.openxmlformats.org/officeDocument/2006/relationships/tags" Target="../tags/tag18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pn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image" Target="../media/image20.emf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.png"/><Relationship Id="rId18" Type="http://schemas.openxmlformats.org/officeDocument/2006/relationships/image" Target="../media/image47.svg"/><Relationship Id="rId26" Type="http://schemas.openxmlformats.org/officeDocument/2006/relationships/image" Target="../media/image55.svg"/><Relationship Id="rId39" Type="http://schemas.openxmlformats.org/officeDocument/2006/relationships/image" Target="../media/image68.png"/><Relationship Id="rId21" Type="http://schemas.openxmlformats.org/officeDocument/2006/relationships/image" Target="../media/image50.png"/><Relationship Id="rId34" Type="http://schemas.openxmlformats.org/officeDocument/2006/relationships/image" Target="../media/image63.svg"/><Relationship Id="rId42" Type="http://schemas.openxmlformats.org/officeDocument/2006/relationships/image" Target="../media/image71.svg"/><Relationship Id="rId47" Type="http://schemas.openxmlformats.org/officeDocument/2006/relationships/image" Target="../media/image76.png"/><Relationship Id="rId50" Type="http://schemas.openxmlformats.org/officeDocument/2006/relationships/image" Target="../media/image79.svg"/><Relationship Id="rId55" Type="http://schemas.openxmlformats.org/officeDocument/2006/relationships/image" Target="../media/image84.png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5.svg"/><Relationship Id="rId29" Type="http://schemas.openxmlformats.org/officeDocument/2006/relationships/image" Target="../media/image58.png"/><Relationship Id="rId11" Type="http://schemas.openxmlformats.org/officeDocument/2006/relationships/image" Target="../media/image40.png"/><Relationship Id="rId24" Type="http://schemas.openxmlformats.org/officeDocument/2006/relationships/image" Target="../media/image53.svg"/><Relationship Id="rId32" Type="http://schemas.openxmlformats.org/officeDocument/2006/relationships/image" Target="../media/image61.svg"/><Relationship Id="rId37" Type="http://schemas.openxmlformats.org/officeDocument/2006/relationships/image" Target="../media/image66.png"/><Relationship Id="rId40" Type="http://schemas.openxmlformats.org/officeDocument/2006/relationships/image" Target="../media/image69.svg"/><Relationship Id="rId45" Type="http://schemas.openxmlformats.org/officeDocument/2006/relationships/image" Target="../media/image74.png"/><Relationship Id="rId53" Type="http://schemas.openxmlformats.org/officeDocument/2006/relationships/image" Target="../media/image82.png"/><Relationship Id="rId5" Type="http://schemas.openxmlformats.org/officeDocument/2006/relationships/image" Target="../media/image34.emf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31" Type="http://schemas.openxmlformats.org/officeDocument/2006/relationships/image" Target="../media/image60.png"/><Relationship Id="rId44" Type="http://schemas.openxmlformats.org/officeDocument/2006/relationships/image" Target="../media/image73.svg"/><Relationship Id="rId52" Type="http://schemas.openxmlformats.org/officeDocument/2006/relationships/image" Target="../media/image81.svg"/><Relationship Id="rId4" Type="http://schemas.openxmlformats.org/officeDocument/2006/relationships/image" Target="../media/image20.emf"/><Relationship Id="rId9" Type="http://schemas.openxmlformats.org/officeDocument/2006/relationships/image" Target="../media/image38.png"/><Relationship Id="rId14" Type="http://schemas.openxmlformats.org/officeDocument/2006/relationships/image" Target="../media/image43.svg"/><Relationship Id="rId22" Type="http://schemas.openxmlformats.org/officeDocument/2006/relationships/image" Target="../media/image51.svg"/><Relationship Id="rId27" Type="http://schemas.openxmlformats.org/officeDocument/2006/relationships/image" Target="../media/image56.png"/><Relationship Id="rId30" Type="http://schemas.openxmlformats.org/officeDocument/2006/relationships/image" Target="../media/image59.svg"/><Relationship Id="rId35" Type="http://schemas.openxmlformats.org/officeDocument/2006/relationships/image" Target="../media/image64.png"/><Relationship Id="rId43" Type="http://schemas.openxmlformats.org/officeDocument/2006/relationships/image" Target="../media/image72.png"/><Relationship Id="rId48" Type="http://schemas.openxmlformats.org/officeDocument/2006/relationships/image" Target="../media/image77.svg"/><Relationship Id="rId56" Type="http://schemas.openxmlformats.org/officeDocument/2006/relationships/image" Target="../media/image85.svg"/><Relationship Id="rId8" Type="http://schemas.openxmlformats.org/officeDocument/2006/relationships/image" Target="../media/image37.png"/><Relationship Id="rId51" Type="http://schemas.openxmlformats.org/officeDocument/2006/relationships/image" Target="../media/image80.png"/><Relationship Id="rId3" Type="http://schemas.openxmlformats.org/officeDocument/2006/relationships/oleObject" Target="../embeddings/oleObject17.bin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54.png"/><Relationship Id="rId33" Type="http://schemas.openxmlformats.org/officeDocument/2006/relationships/image" Target="../media/image62.png"/><Relationship Id="rId38" Type="http://schemas.openxmlformats.org/officeDocument/2006/relationships/image" Target="../media/image67.svg"/><Relationship Id="rId46" Type="http://schemas.openxmlformats.org/officeDocument/2006/relationships/image" Target="../media/image75.svg"/><Relationship Id="rId20" Type="http://schemas.openxmlformats.org/officeDocument/2006/relationships/image" Target="../media/image49.svg"/><Relationship Id="rId41" Type="http://schemas.openxmlformats.org/officeDocument/2006/relationships/image" Target="../media/image70.png"/><Relationship Id="rId54" Type="http://schemas.openxmlformats.org/officeDocument/2006/relationships/image" Target="../media/image83.svg"/><Relationship Id="rId1" Type="http://schemas.openxmlformats.org/officeDocument/2006/relationships/tags" Target="../tags/tag19.xml"/><Relationship Id="rId6" Type="http://schemas.openxmlformats.org/officeDocument/2006/relationships/image" Target="../media/image35.pn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svg"/><Relationship Id="rId36" Type="http://schemas.openxmlformats.org/officeDocument/2006/relationships/image" Target="../media/image65.svg"/><Relationship Id="rId49" Type="http://schemas.openxmlformats.org/officeDocument/2006/relationships/image" Target="../media/image7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5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8.bin"/><Relationship Id="rId5" Type="http://schemas.microsoft.com/office/2018/10/relationships/comments" Target="../comments/modernComment_7FFFFDE2_FE51FD31.xml"/><Relationship Id="rId4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DB4_1ADC7B15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88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8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23.xml"/><Relationship Id="rId5" Type="http://schemas.openxmlformats.org/officeDocument/2006/relationships/image" Target="../media/image90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5DB33-E85C-6084-B12D-E1948E578F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32">
            <a:extLst>
              <a:ext uri="{FF2B5EF4-FFF2-40B4-BE49-F238E27FC236}">
                <a16:creationId xmlns:a16="http://schemas.microsoft.com/office/drawing/2014/main" id="{375281DB-2E0F-1663-7104-DD5572AB90EF}"/>
              </a:ext>
            </a:extLst>
          </p:cNvPr>
          <p:cNvGrpSpPr/>
          <p:nvPr/>
        </p:nvGrpSpPr>
        <p:grpSpPr>
          <a:xfrm rot="21410080">
            <a:off x="8428915" y="3735962"/>
            <a:ext cx="4384787" cy="4409200"/>
            <a:chOff x="8336051" y="3610471"/>
            <a:chExt cx="2227633" cy="2212181"/>
          </a:xfrm>
        </p:grpSpPr>
        <p:sp>
          <p:nvSpPr>
            <p:cNvPr id="3" name="Freeform: Shape 333">
              <a:extLst>
                <a:ext uri="{FF2B5EF4-FFF2-40B4-BE49-F238E27FC236}">
                  <a16:creationId xmlns:a16="http://schemas.microsoft.com/office/drawing/2014/main" id="{D6BB6AA2-9EB9-F114-F5D7-57D1E0C8A97A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>
                <a:alpha val="39000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" name="Freeform: Shape 334">
              <a:extLst>
                <a:ext uri="{FF2B5EF4-FFF2-40B4-BE49-F238E27FC236}">
                  <a16:creationId xmlns:a16="http://schemas.microsoft.com/office/drawing/2014/main" id="{8DCD5915-17E1-8652-E636-20C8D90426A1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" name="Group 331">
            <a:extLst>
              <a:ext uri="{FF2B5EF4-FFF2-40B4-BE49-F238E27FC236}">
                <a16:creationId xmlns:a16="http://schemas.microsoft.com/office/drawing/2014/main" id="{1FE2305C-0E0C-7930-2DE9-F0434D12DE76}"/>
              </a:ext>
            </a:extLst>
          </p:cNvPr>
          <p:cNvGrpSpPr/>
          <p:nvPr/>
        </p:nvGrpSpPr>
        <p:grpSpPr>
          <a:xfrm>
            <a:off x="8759770" y="-1380057"/>
            <a:ext cx="4249559" cy="4478015"/>
            <a:chOff x="3092692" y="-1631033"/>
            <a:chExt cx="2192906" cy="2193874"/>
          </a:xfrm>
        </p:grpSpPr>
        <p:sp>
          <p:nvSpPr>
            <p:cNvPr id="6" name="Freeform: Shape 326">
              <a:extLst>
                <a:ext uri="{FF2B5EF4-FFF2-40B4-BE49-F238E27FC236}">
                  <a16:creationId xmlns:a16="http://schemas.microsoft.com/office/drawing/2014/main" id="{D2A63372-B33C-BC51-E983-E443FDE4AA0A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rgbClr val="F7CECA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" name="Freeform: Shape 327">
              <a:extLst>
                <a:ext uri="{FF2B5EF4-FFF2-40B4-BE49-F238E27FC236}">
                  <a16:creationId xmlns:a16="http://schemas.microsoft.com/office/drawing/2014/main" id="{32FCB014-9991-A826-DA83-CAEC3422EA7C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>
                <a:alpha val="71319"/>
              </a:srgbClr>
            </a:solidFill>
            <a:ln w="5213" cap="flat">
              <a:solidFill>
                <a:srgbClr val="F7CECA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330">
            <a:extLst>
              <a:ext uri="{FF2B5EF4-FFF2-40B4-BE49-F238E27FC236}">
                <a16:creationId xmlns:a16="http://schemas.microsoft.com/office/drawing/2014/main" id="{63AA291D-B4C3-F546-0476-9DFC18071CA8}"/>
              </a:ext>
            </a:extLst>
          </p:cNvPr>
          <p:cNvGrpSpPr/>
          <p:nvPr/>
        </p:nvGrpSpPr>
        <p:grpSpPr>
          <a:xfrm>
            <a:off x="4944668" y="760887"/>
            <a:ext cx="4921793" cy="4767083"/>
            <a:chOff x="4156082" y="-3024236"/>
            <a:chExt cx="2183420" cy="2200431"/>
          </a:xfrm>
        </p:grpSpPr>
        <p:sp>
          <p:nvSpPr>
            <p:cNvPr id="9" name="Freeform: Shape 328">
              <a:extLst>
                <a:ext uri="{FF2B5EF4-FFF2-40B4-BE49-F238E27FC236}">
                  <a16:creationId xmlns:a16="http://schemas.microsoft.com/office/drawing/2014/main" id="{A2751EEB-65FD-79CA-5EA4-7CFD7D4B0730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>
                <a:alpha val="49544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44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: Shape 329">
              <a:extLst>
                <a:ext uri="{FF2B5EF4-FFF2-40B4-BE49-F238E27FC236}">
                  <a16:creationId xmlns:a16="http://schemas.microsoft.com/office/drawing/2014/main" id="{14E7D4EB-5663-0B02-EB04-F1298FFDA988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13" name="Billede 12" descr="Et billede, der indeholder Grafik, grafisk design, Font/skrifttype, skærmbillede&#10;&#10;AI-genereret indhold kan være ukorrekt.">
            <a:extLst>
              <a:ext uri="{FF2B5EF4-FFF2-40B4-BE49-F238E27FC236}">
                <a16:creationId xmlns:a16="http://schemas.microsoft.com/office/drawing/2014/main" id="{4DEDDE89-2EA8-E94D-2C91-E3BCE9C547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09" y="6329187"/>
            <a:ext cx="2151416" cy="345719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A7B844F6-BBF8-1F79-3A34-6430A58D018C}"/>
              </a:ext>
            </a:extLst>
          </p:cNvPr>
          <p:cNvSpPr txBox="1">
            <a:spLocks/>
          </p:cNvSpPr>
          <p:nvPr/>
        </p:nvSpPr>
        <p:spPr>
          <a:xfrm>
            <a:off x="508995" y="2385686"/>
            <a:ext cx="7106062" cy="163997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DM Sans 18pt 18pt ExtraBold" pitchFamily="2" charset="0"/>
                <a:ea typeface="+mj-ea"/>
                <a:cs typeface="+mj-cs"/>
              </a:defRPr>
            </a:lvl1pPr>
          </a:lstStyle>
          <a:p>
            <a:r>
              <a:rPr lang="da-DK" sz="54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bitions-workshop</a:t>
            </a:r>
          </a:p>
        </p:txBody>
      </p:sp>
      <p:pic>
        <p:nvPicPr>
          <p:cNvPr id="14" name="Picture 8" descr="A green figure on a black background&#10;&#10;AI-generated content may be incorrect.">
            <a:extLst>
              <a:ext uri="{FF2B5EF4-FFF2-40B4-BE49-F238E27FC236}">
                <a16:creationId xmlns:a16="http://schemas.microsoft.com/office/drawing/2014/main" id="{DE87034D-7E67-2FDD-8A48-250DDD417E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995" y="5865927"/>
            <a:ext cx="6156000" cy="808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812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2104F-BC6F-E2BA-6B85-E46AD3F61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Billede 39">
            <a:extLst>
              <a:ext uri="{FF2B5EF4-FFF2-40B4-BE49-F238E27FC236}">
                <a16:creationId xmlns:a16="http://schemas.microsoft.com/office/drawing/2014/main" id="{8BC19C4A-F76F-EFF3-DE65-EF6A45E65B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39438" y="1915901"/>
            <a:ext cx="2556562" cy="1783806"/>
          </a:xfrm>
          <a:prstGeom prst="rect">
            <a:avLst/>
          </a:prstGeom>
        </p:spPr>
      </p:pic>
      <p:pic>
        <p:nvPicPr>
          <p:cNvPr id="32" name="Billede 31">
            <a:extLst>
              <a:ext uri="{FF2B5EF4-FFF2-40B4-BE49-F238E27FC236}">
                <a16:creationId xmlns:a16="http://schemas.microsoft.com/office/drawing/2014/main" id="{24B47256-40C5-5098-85EE-D7D48EACE7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2268" y="1905011"/>
            <a:ext cx="2556562" cy="1783806"/>
          </a:xfrm>
          <a:prstGeom prst="rect">
            <a:avLst/>
          </a:prstGeom>
        </p:spPr>
      </p:pic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0F569747-6077-F5BB-33B7-D4544FE629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2545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569747-6077-F5BB-33B7-D4544FE6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D646718-33A2-4BF8-253F-FBCD29F95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25D717-AED0-BE85-1EDE-B0F6E97FFF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Verdana" panose="020B0604030504040204" pitchFamily="34" charset="0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1852AA0-516B-E713-BAE7-FCAF62F751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sz="2400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ér jeres ambitionsniveau og sætning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2D62F097-AD09-3B3E-439C-269ACE550CEA}"/>
              </a:ext>
            </a:extLst>
          </p:cNvPr>
          <p:cNvSpPr/>
          <p:nvPr/>
        </p:nvSpPr>
        <p:spPr>
          <a:xfrm rot="16200000">
            <a:off x="6842519" y="1439699"/>
            <a:ext cx="4258639" cy="506549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F083ED0D-F21B-2D62-FE4B-5B78D16FE8A6}"/>
              </a:ext>
            </a:extLst>
          </p:cNvPr>
          <p:cNvGrpSpPr>
            <a:grpSpLocks noChangeAspect="1"/>
          </p:cNvGrpSpPr>
          <p:nvPr/>
        </p:nvGrpSpPr>
        <p:grpSpPr>
          <a:xfrm>
            <a:off x="6905533" y="1344234"/>
            <a:ext cx="964485" cy="972000"/>
            <a:chOff x="4156082" y="-3024236"/>
            <a:chExt cx="2183420" cy="2200431"/>
          </a:xfrm>
          <a:solidFill>
            <a:schemeClr val="accent4"/>
          </a:solidFill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98790934-06AB-1AB8-AB9F-2C794BB3E148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grp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D2845BA4-D8DA-7966-11E3-E72CDE4F01B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grp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83" name="Tekstfelt 82">
            <a:extLst>
              <a:ext uri="{FF2B5EF4-FFF2-40B4-BE49-F238E27FC236}">
                <a16:creationId xmlns:a16="http://schemas.microsoft.com/office/drawing/2014/main" id="{D10DCEDA-A7D3-4C29-BF81-696DC83D04B0}"/>
              </a:ext>
            </a:extLst>
          </p:cNvPr>
          <p:cNvSpPr txBox="1"/>
          <p:nvPr/>
        </p:nvSpPr>
        <p:spPr>
          <a:xfrm>
            <a:off x="10544371" y="2004766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. 25 min</a:t>
            </a: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778CB50E-8E96-F0FB-5CD2-48A38EBCEA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67529" y="1945265"/>
            <a:ext cx="396000" cy="396000"/>
          </a:xfrm>
          <a:prstGeom prst="rect">
            <a:avLst/>
          </a:prstGeom>
        </p:spPr>
      </p:pic>
      <p:sp>
        <p:nvSpPr>
          <p:cNvPr id="23" name="Tekstfelt 22">
            <a:extLst>
              <a:ext uri="{FF2B5EF4-FFF2-40B4-BE49-F238E27FC236}">
                <a16:creationId xmlns:a16="http://schemas.microsoft.com/office/drawing/2014/main" id="{309F6A59-6B3D-ED6C-345F-69FC2230F3B3}"/>
              </a:ext>
            </a:extLst>
          </p:cNvPr>
          <p:cNvSpPr txBox="1"/>
          <p:nvPr/>
        </p:nvSpPr>
        <p:spPr>
          <a:xfrm>
            <a:off x="805243" y="3897112"/>
            <a:ext cx="1535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ér jeres ambitionsniveau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9BADB335-AF5F-B11A-A67B-BD04BDDC518C}"/>
              </a:ext>
            </a:extLst>
          </p:cNvPr>
          <p:cNvSpPr txBox="1"/>
          <p:nvPr/>
        </p:nvSpPr>
        <p:spPr>
          <a:xfrm>
            <a:off x="4055051" y="3869557"/>
            <a:ext cx="178243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a-DK" sz="1200">
                <a:solidFill>
                  <a:srgbClr val="0F5B51"/>
                </a:solidFill>
                <a:latin typeface="Verdana"/>
                <a:ea typeface="Verdana"/>
                <a:cs typeface="Verdana" panose="020B0604030504040204" pitchFamily="34" charset="0"/>
              </a:rPr>
              <a:t>Skriv jeres ambitionssætning ned</a:t>
            </a: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9128ABBB-9266-4347-0E5A-9DFA610AE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5831" y="2464425"/>
            <a:ext cx="4696442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får tildelt én plakat pr. målepunkt (vi anbefaler, at I har prioriteret omkring 6 målepunkter forud for workshoppen). </a:t>
            </a:r>
          </a:p>
          <a:p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æs jeres målepunkter igennem igen.</a:t>
            </a:r>
          </a:p>
          <a:p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kutér: Hvor højt vil vi sigte?</a:t>
            </a:r>
            <a:b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da-DK" sz="105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kan vælge mellem:</a:t>
            </a:r>
            <a:endParaRPr lang="da-DK" sz="105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07975" indent="-307975">
              <a:buFont typeface="Arial" panose="020B0604020202020204" pitchFamily="34" charset="0"/>
              <a:buChar char="•"/>
            </a:pPr>
            <a:r>
              <a:rPr lang="da-DK" sz="105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mum</a:t>
            </a:r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– Minimum (compliance/risikoafdækning)</a:t>
            </a:r>
          </a:p>
          <a:p>
            <a:pPr marL="307975" indent="-307975">
              <a:buFont typeface="Arial" panose="020B0604020202020204" pitchFamily="34" charset="0"/>
              <a:buChar char="•"/>
            </a:pPr>
            <a:r>
              <a:rPr lang="da-DK" sz="105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llem</a:t>
            </a:r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– Mellem (på niveau med sektoren)</a:t>
            </a:r>
          </a:p>
          <a:p>
            <a:pPr marL="307975" indent="-307975">
              <a:buFont typeface="Arial" panose="020B0604020202020204" pitchFamily="34" charset="0"/>
              <a:buChar char="•"/>
            </a:pPr>
            <a:r>
              <a:rPr lang="da-DK" sz="105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bitiøst</a:t>
            </a:r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– Ambitiøst (rollemodel/frontløber)</a:t>
            </a:r>
          </a:p>
          <a:p>
            <a:endParaRPr lang="da-DK" sz="105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a-DK" sz="105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bitionen</a:t>
            </a:r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r det overordnede niveau, hvor I sætter retningen. Den beskriver, hvor højt I ønsker at løfte jer – om I vil være på minimum, mellem eller et ambitiøst niveau. Ambitionen skal være kort, tydelig og inspirerende. Find hjælp til at forstå ambitionsniveauer i inspirationsarkene. </a:t>
            </a:r>
          </a:p>
          <a:p>
            <a:endParaRPr lang="da-DK" sz="1050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a-DK" sz="105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å nu til at formulere ambitionssætninger for jeres målepunkter</a:t>
            </a:r>
          </a:p>
          <a:p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riv nu en kort ambitionssætning per målepunkt.</a:t>
            </a:r>
          </a:p>
          <a:p>
            <a:r>
              <a:rPr lang="da-DK"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n skal være let at forstå og nem at fortælle videre.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BA7BE0B6-9D64-DB80-4818-8288550D66B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28408" y="3862278"/>
            <a:ext cx="430701" cy="430701"/>
          </a:xfrm>
          <a:prstGeom prst="rect">
            <a:avLst/>
          </a:prstGeom>
        </p:spPr>
      </p:pic>
      <p:sp>
        <p:nvSpPr>
          <p:cNvPr id="29" name="Ellipse 28">
            <a:extLst>
              <a:ext uri="{FF2B5EF4-FFF2-40B4-BE49-F238E27FC236}">
                <a16:creationId xmlns:a16="http://schemas.microsoft.com/office/drawing/2014/main" id="{FD4A7718-7683-CE1B-C787-B86EAEBA37C7}"/>
              </a:ext>
            </a:extLst>
          </p:cNvPr>
          <p:cNvSpPr>
            <a:spLocks noChangeAspect="1"/>
          </p:cNvSpPr>
          <p:nvPr/>
        </p:nvSpPr>
        <p:spPr>
          <a:xfrm>
            <a:off x="11254586" y="453005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25" name="Bue 24">
            <a:extLst>
              <a:ext uri="{FF2B5EF4-FFF2-40B4-BE49-F238E27FC236}">
                <a16:creationId xmlns:a16="http://schemas.microsoft.com/office/drawing/2014/main" id="{A2F584A1-A718-5ECA-494D-B9A3EDB9B52A}"/>
              </a:ext>
            </a:extLst>
          </p:cNvPr>
          <p:cNvSpPr/>
          <p:nvPr/>
        </p:nvSpPr>
        <p:spPr>
          <a:xfrm rot="12470078">
            <a:off x="4446172" y="1281287"/>
            <a:ext cx="1350188" cy="4341279"/>
          </a:xfrm>
          <a:prstGeom prst="arc">
            <a:avLst>
              <a:gd name="adj1" fmla="val 18431008"/>
              <a:gd name="adj2" fmla="val 3414749"/>
            </a:avLst>
          </a:prstGeom>
          <a:ln w="6350"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1" name="Billede 40" descr="Et billede, der indeholder tekst, skærmbillede, Font/skrifttype, dokument&#10;&#10;AI-genereret indhold kan være ukorrekt.">
            <a:extLst>
              <a:ext uri="{FF2B5EF4-FFF2-40B4-BE49-F238E27FC236}">
                <a16:creationId xmlns:a16="http://schemas.microsoft.com/office/drawing/2014/main" id="{194A228E-ECA9-F717-1D90-D018F2F1A66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651" y="4657528"/>
            <a:ext cx="749809" cy="107310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Billede 41" descr="Et billede, der indeholder tekst, skærmbillede, Font/skrifttype, dokument&#10;&#10;AI-genereret indhold kan være ukorrekt.">
            <a:extLst>
              <a:ext uri="{FF2B5EF4-FFF2-40B4-BE49-F238E27FC236}">
                <a16:creationId xmlns:a16="http://schemas.microsoft.com/office/drawing/2014/main" id="{0D34FE9A-10C3-2A66-1183-95B27606CD6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019" y="5230695"/>
            <a:ext cx="748610" cy="107310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Billede 42" descr="Et billede, der indeholder tekst, skærmbillede, Font/skrifttype, dokument&#10;&#10;AI-genereret indhold kan være ukorrekt.">
            <a:extLst>
              <a:ext uri="{FF2B5EF4-FFF2-40B4-BE49-F238E27FC236}">
                <a16:creationId xmlns:a16="http://schemas.microsoft.com/office/drawing/2014/main" id="{86C9E250-708A-B47B-7351-4610256BCC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525" y="5028658"/>
            <a:ext cx="744082" cy="107310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5" name="Tekstfelt 64">
            <a:extLst>
              <a:ext uri="{FF2B5EF4-FFF2-40B4-BE49-F238E27FC236}">
                <a16:creationId xmlns:a16="http://schemas.microsoft.com/office/drawing/2014/main" id="{861034C6-1E38-AE72-5447-0B09361737E5}"/>
              </a:ext>
            </a:extLst>
          </p:cNvPr>
          <p:cNvSpPr txBox="1"/>
          <p:nvPr/>
        </p:nvSpPr>
        <p:spPr>
          <a:xfrm>
            <a:off x="3672266" y="5318040"/>
            <a:ext cx="1929177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a-DK" sz="1200">
                <a:solidFill>
                  <a:srgbClr val="0F5B51"/>
                </a:solidFill>
                <a:latin typeface="Verdana"/>
                <a:ea typeface="Verdana"/>
                <a:cs typeface="Verdana" panose="020B0604030504040204" pitchFamily="34" charset="0"/>
              </a:rPr>
              <a:t>I kan bruge inspiration til ambitionsniveau og ambitionssætninger via inspirationsarket</a:t>
            </a:r>
          </a:p>
        </p:txBody>
      </p:sp>
    </p:spTree>
    <p:extLst>
      <p:ext uri="{BB962C8B-B14F-4D97-AF65-F5344CB8AC3E}">
        <p14:creationId xmlns:p14="http://schemas.microsoft.com/office/powerpoint/2010/main" val="367772000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6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793A3-9AD1-A8C4-6939-1DD313AFC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6E9155F-43E4-6D18-9EF3-D59CC8DCD3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0946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E9155F-43E4-6D18-9EF3-D59CC8DCD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4170E7-1FE1-65F3-0F42-315A030EC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num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BF2F434-C11F-6C78-8115-679611383C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Verdana" panose="020B0604030504040204" pitchFamily="34" charset="0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06D334-37C7-2B9D-4932-DEBCE6FED9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æsentér ambitionerne for hinanden</a:t>
            </a: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EAFC7E56-CBBC-50E4-63B6-7043D8327C6E}"/>
              </a:ext>
            </a:extLst>
          </p:cNvPr>
          <p:cNvSpPr txBox="1"/>
          <p:nvPr/>
        </p:nvSpPr>
        <p:spPr>
          <a:xfrm>
            <a:off x="6682262" y="2459831"/>
            <a:ext cx="4896366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564"/>
              </a:spcAft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i plenum.</a:t>
            </a:r>
          </a:p>
          <a:p>
            <a:pPr>
              <a:spcAft>
                <a:spcPts val="564"/>
              </a:spcAft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viser det ambitionsniveau, de har sat (minimum, mellem eller ambitiøst), samt ambitionssætning for hvert målepunkt.</a:t>
            </a:r>
          </a:p>
          <a:p>
            <a:pPr>
              <a:spcAft>
                <a:spcPts val="564"/>
              </a:spcAft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cilitator sørger for, at alle grupper præsenterer kort og præcist.</a:t>
            </a:r>
          </a:p>
          <a:p>
            <a:pPr>
              <a:spcAft>
                <a:spcPts val="564"/>
              </a:spcAft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vejs kan de andre deltagere stille spørgsmål eller kommentere.</a:t>
            </a:r>
          </a:p>
          <a:p>
            <a:pPr>
              <a:spcAft>
                <a:spcPts val="523"/>
              </a:spcAft>
            </a:pPr>
            <a:endParaRPr lang="da-DK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6" name="Group 330">
            <a:extLst>
              <a:ext uri="{FF2B5EF4-FFF2-40B4-BE49-F238E27FC236}">
                <a16:creationId xmlns:a16="http://schemas.microsoft.com/office/drawing/2014/main" id="{A61F28A7-0674-CB02-E4C3-DB3CEDC4D5CA}"/>
              </a:ext>
            </a:extLst>
          </p:cNvPr>
          <p:cNvGrpSpPr>
            <a:grpSpLocks noChangeAspect="1"/>
          </p:cNvGrpSpPr>
          <p:nvPr/>
        </p:nvGrpSpPr>
        <p:grpSpPr>
          <a:xfrm>
            <a:off x="818834" y="1831899"/>
            <a:ext cx="864000" cy="864000"/>
            <a:chOff x="4156082" y="-3024236"/>
            <a:chExt cx="2183420" cy="2200431"/>
          </a:xfrm>
        </p:grpSpPr>
        <p:sp>
          <p:nvSpPr>
            <p:cNvPr id="17" name="Freeform: Shape 328">
              <a:extLst>
                <a:ext uri="{FF2B5EF4-FFF2-40B4-BE49-F238E27FC236}">
                  <a16:creationId xmlns:a16="http://schemas.microsoft.com/office/drawing/2014/main" id="{D4DA5771-9942-4AD7-2B12-2C6413138753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6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</a:t>
              </a:r>
            </a:p>
          </p:txBody>
        </p:sp>
        <p:sp>
          <p:nvSpPr>
            <p:cNvPr id="32" name="Freeform: Shape 329">
              <a:extLst>
                <a:ext uri="{FF2B5EF4-FFF2-40B4-BE49-F238E27FC236}">
                  <a16:creationId xmlns:a16="http://schemas.microsoft.com/office/drawing/2014/main" id="{15171F41-A2DA-0D96-0EE2-FA0B9E4CFA7C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" name="Group 331">
            <a:extLst>
              <a:ext uri="{FF2B5EF4-FFF2-40B4-BE49-F238E27FC236}">
                <a16:creationId xmlns:a16="http://schemas.microsoft.com/office/drawing/2014/main" id="{540FC509-60E1-DC3B-3DFB-551DDFDB4DC3}"/>
              </a:ext>
            </a:extLst>
          </p:cNvPr>
          <p:cNvGrpSpPr>
            <a:grpSpLocks noChangeAspect="1"/>
          </p:cNvGrpSpPr>
          <p:nvPr/>
        </p:nvGrpSpPr>
        <p:grpSpPr>
          <a:xfrm>
            <a:off x="789253" y="3443661"/>
            <a:ext cx="864000" cy="864000"/>
            <a:chOff x="3092692" y="-1631034"/>
            <a:chExt cx="2192906" cy="2193875"/>
          </a:xfrm>
        </p:grpSpPr>
        <p:sp>
          <p:nvSpPr>
            <p:cNvPr id="34" name="Freeform: Shape 326">
              <a:extLst>
                <a:ext uri="{FF2B5EF4-FFF2-40B4-BE49-F238E27FC236}">
                  <a16:creationId xmlns:a16="http://schemas.microsoft.com/office/drawing/2014/main" id="{07213592-7FD1-017E-52EB-39CB4E6B55B8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 sz="3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: Shape 327">
              <a:extLst>
                <a:ext uri="{FF2B5EF4-FFF2-40B4-BE49-F238E27FC236}">
                  <a16:creationId xmlns:a16="http://schemas.microsoft.com/office/drawing/2014/main" id="{6146C4A2-9703-BFB9-3E0E-30FCC9B20BD3}"/>
                </a:ext>
              </a:extLst>
            </p:cNvPr>
            <p:cNvSpPr/>
            <p:nvPr/>
          </p:nvSpPr>
          <p:spPr>
            <a:xfrm>
              <a:off x="3132550" y="-1631034"/>
              <a:ext cx="2153048" cy="213784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6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36" name="Group 332">
            <a:extLst>
              <a:ext uri="{FF2B5EF4-FFF2-40B4-BE49-F238E27FC236}">
                <a16:creationId xmlns:a16="http://schemas.microsoft.com/office/drawing/2014/main" id="{FD5AA884-66DE-09AF-2BD1-B47F28294971}"/>
              </a:ext>
            </a:extLst>
          </p:cNvPr>
          <p:cNvGrpSpPr>
            <a:grpSpLocks noChangeAspect="1"/>
          </p:cNvGrpSpPr>
          <p:nvPr/>
        </p:nvGrpSpPr>
        <p:grpSpPr>
          <a:xfrm rot="21410080">
            <a:off x="807514" y="5039381"/>
            <a:ext cx="864000" cy="864000"/>
            <a:chOff x="8336050" y="3610471"/>
            <a:chExt cx="2227634" cy="2212181"/>
          </a:xfrm>
        </p:grpSpPr>
        <p:sp>
          <p:nvSpPr>
            <p:cNvPr id="37" name="Freeform: Shape 333">
              <a:extLst>
                <a:ext uri="{FF2B5EF4-FFF2-40B4-BE49-F238E27FC236}">
                  <a16:creationId xmlns:a16="http://schemas.microsoft.com/office/drawing/2014/main" id="{15F6DB09-FABC-3902-C3BB-645C4ADD7820}"/>
                </a:ext>
              </a:extLst>
            </p:cNvPr>
            <p:cNvSpPr/>
            <p:nvPr/>
          </p:nvSpPr>
          <p:spPr>
            <a:xfrm>
              <a:off x="8336050" y="3610471"/>
              <a:ext cx="2205949" cy="2164295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6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</a:t>
              </a:r>
            </a:p>
          </p:txBody>
        </p:sp>
        <p:sp>
          <p:nvSpPr>
            <p:cNvPr id="38" name="Freeform: Shape 334">
              <a:extLst>
                <a:ext uri="{FF2B5EF4-FFF2-40B4-BE49-F238E27FC236}">
                  <a16:creationId xmlns:a16="http://schemas.microsoft.com/office/drawing/2014/main" id="{EBF7B291-35FC-88D2-6D55-A6BB070DA74D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4" name="Rectangle 29">
            <a:extLst>
              <a:ext uri="{FF2B5EF4-FFF2-40B4-BE49-F238E27FC236}">
                <a16:creationId xmlns:a16="http://schemas.microsoft.com/office/drawing/2014/main" id="{582C43D5-78FD-F9F0-5D27-8CC7E71C7A84}"/>
              </a:ext>
            </a:extLst>
          </p:cNvPr>
          <p:cNvSpPr/>
          <p:nvPr/>
        </p:nvSpPr>
        <p:spPr>
          <a:xfrm>
            <a:off x="7144644" y="4594039"/>
            <a:ext cx="2836078" cy="50578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endParaRPr lang="da-DK" sz="1079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91C89E7-9543-3FD3-C307-43D74E5F0259}"/>
              </a:ext>
            </a:extLst>
          </p:cNvPr>
          <p:cNvSpPr>
            <a:spLocks noChangeAspect="1"/>
          </p:cNvSpPr>
          <p:nvPr/>
        </p:nvSpPr>
        <p:spPr>
          <a:xfrm>
            <a:off x="11193148" y="524953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82E80C83-E8DA-2779-55AE-83E5E365503E}"/>
              </a:ext>
            </a:extLst>
          </p:cNvPr>
          <p:cNvSpPr txBox="1"/>
          <p:nvPr/>
        </p:nvSpPr>
        <p:spPr>
          <a:xfrm>
            <a:off x="10544371" y="2004766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. </a:t>
            </a: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CCF7CD4D-7D69-944B-6D94-09747DF4B34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67529" y="1945265"/>
            <a:ext cx="396000" cy="396000"/>
          </a:xfrm>
          <a:prstGeom prst="rect">
            <a:avLst/>
          </a:prstGeom>
        </p:spPr>
      </p:pic>
      <p:sp>
        <p:nvSpPr>
          <p:cNvPr id="27" name="Rectangle: Top Corners Rounded 40">
            <a:extLst>
              <a:ext uri="{FF2B5EF4-FFF2-40B4-BE49-F238E27FC236}">
                <a16:creationId xmlns:a16="http://schemas.microsoft.com/office/drawing/2014/main" id="{74682D14-B098-25D7-424A-D284A90FF35E}"/>
              </a:ext>
            </a:extLst>
          </p:cNvPr>
          <p:cNvSpPr/>
          <p:nvPr/>
        </p:nvSpPr>
        <p:spPr>
          <a:xfrm rot="16200000">
            <a:off x="6842519" y="1439699"/>
            <a:ext cx="4258639" cy="506549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8" name="Group 9">
            <a:extLst>
              <a:ext uri="{FF2B5EF4-FFF2-40B4-BE49-F238E27FC236}">
                <a16:creationId xmlns:a16="http://schemas.microsoft.com/office/drawing/2014/main" id="{CAE54813-9F3D-77BC-20F7-D2D6DD78A2C7}"/>
              </a:ext>
            </a:extLst>
          </p:cNvPr>
          <p:cNvGrpSpPr>
            <a:grpSpLocks noChangeAspect="1"/>
          </p:cNvGrpSpPr>
          <p:nvPr/>
        </p:nvGrpSpPr>
        <p:grpSpPr>
          <a:xfrm>
            <a:off x="6905533" y="1344234"/>
            <a:ext cx="964485" cy="972000"/>
            <a:chOff x="4156082" y="-3024236"/>
            <a:chExt cx="2183420" cy="2200431"/>
          </a:xfrm>
        </p:grpSpPr>
        <p:sp>
          <p:nvSpPr>
            <p:cNvPr id="29" name="Freeform: Shape 10">
              <a:extLst>
                <a:ext uri="{FF2B5EF4-FFF2-40B4-BE49-F238E27FC236}">
                  <a16:creationId xmlns:a16="http://schemas.microsoft.com/office/drawing/2014/main" id="{565EB165-7E93-A60B-2842-00D15CC3ABE4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alog</a:t>
              </a:r>
            </a:p>
          </p:txBody>
        </p:sp>
        <p:sp>
          <p:nvSpPr>
            <p:cNvPr id="30" name="Freeform: Shape 11">
              <a:extLst>
                <a:ext uri="{FF2B5EF4-FFF2-40B4-BE49-F238E27FC236}">
                  <a16:creationId xmlns:a16="http://schemas.microsoft.com/office/drawing/2014/main" id="{4F5092EF-3613-90C5-590D-E3ADAF1C8269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3" name="Billede 2">
            <a:extLst>
              <a:ext uri="{FF2B5EF4-FFF2-40B4-BE49-F238E27FC236}">
                <a16:creationId xmlns:a16="http://schemas.microsoft.com/office/drawing/2014/main" id="{D5FBC5D7-AD12-B686-E7E3-FAEACBFDF1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34465" y="1867987"/>
            <a:ext cx="1435320" cy="1001475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F7ADC181-C858-3183-13CA-461136AE05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0839" y="2000595"/>
            <a:ext cx="1435320" cy="100147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C9796711-5CB6-87AB-95F9-C29035F1B9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34465" y="3284119"/>
            <a:ext cx="1435320" cy="1001475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1B533199-7083-AD85-E2BA-0A8856E727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0839" y="3446415"/>
            <a:ext cx="1435320" cy="1001475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D581944E-B847-EAEA-D8DD-B314512F14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19852" y="4924637"/>
            <a:ext cx="1435320" cy="1001475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AD1CDA1-5935-6D2E-2CAA-E920FC0F22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59592" y="5096829"/>
            <a:ext cx="1435320" cy="100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93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E667AB-921C-4548-06E8-6EEAD5B44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39C885-BF58-4C9B-987B-A3DCA69F6A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325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39C885-BF58-4C9B-987B-A3DCA69F6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C3C06CB-A611-968A-19E9-320560AE6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arbejde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A85A5A8-7764-5076-E7C8-6B2AB5402D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 til SMART-Mål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4BFEBD08-5C40-2724-8345-7289640834CE}"/>
              </a:ext>
            </a:extLst>
          </p:cNvPr>
          <p:cNvSpPr txBox="1"/>
          <p:nvPr/>
        </p:nvSpPr>
        <p:spPr>
          <a:xfrm>
            <a:off x="848011" y="1764981"/>
            <a:ext cx="3452957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kt</a:t>
            </a:r>
            <a:r>
              <a:rPr lang="da-DK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t skal være klart og præcist. Undgå generelle udsagn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bart</a:t>
            </a:r>
            <a:endParaRPr lang="da-DK" sz="16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 skal kunne ses eller måles, om I når målet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traktivt/Accepteret</a:t>
            </a:r>
            <a:r>
              <a:rPr lang="da-DK" sz="16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n skal kunne stå inde for målet og synes, det er vigtigt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stisk</a:t>
            </a:r>
            <a:r>
              <a:rPr lang="da-DK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t skal være muligt at nå med de ressourcer, I har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dsfastsat</a:t>
            </a:r>
            <a:r>
              <a:rPr lang="da-DK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da-DK" sz="11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giv hvornår målet skal være opfyldt (f.eks. en dato eller periode).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72697098-AC58-F291-1398-4A51D18669F6}"/>
              </a:ext>
            </a:extLst>
          </p:cNvPr>
          <p:cNvSpPr txBox="1"/>
          <p:nvPr/>
        </p:nvSpPr>
        <p:spPr>
          <a:xfrm>
            <a:off x="424115" y="1748939"/>
            <a:ext cx="42191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FF354E31-E670-E5E7-A6B1-B20E7612260A}"/>
              </a:ext>
            </a:extLst>
          </p:cNvPr>
          <p:cNvSpPr txBox="1"/>
          <p:nvPr/>
        </p:nvSpPr>
        <p:spPr>
          <a:xfrm>
            <a:off x="424115" y="2624090"/>
            <a:ext cx="50045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9D7EFCD3-B599-BF6E-9B92-58C4088B5AFE}"/>
              </a:ext>
            </a:extLst>
          </p:cNvPr>
          <p:cNvSpPr txBox="1"/>
          <p:nvPr/>
        </p:nvSpPr>
        <p:spPr>
          <a:xfrm>
            <a:off x="424115" y="3499241"/>
            <a:ext cx="44275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228602F3-D1AB-D1D9-4D13-75E303BBDC0C}"/>
              </a:ext>
            </a:extLst>
          </p:cNvPr>
          <p:cNvSpPr txBox="1"/>
          <p:nvPr/>
        </p:nvSpPr>
        <p:spPr>
          <a:xfrm>
            <a:off x="424115" y="4374392"/>
            <a:ext cx="44595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56787FC5-9140-C568-2C9D-7D2D7BE22695}"/>
              </a:ext>
            </a:extLst>
          </p:cNvPr>
          <p:cNvSpPr txBox="1"/>
          <p:nvPr/>
        </p:nvSpPr>
        <p:spPr>
          <a:xfrm>
            <a:off x="424115" y="5249542"/>
            <a:ext cx="41229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</a:p>
        </p:txBody>
      </p:sp>
      <p:pic>
        <p:nvPicPr>
          <p:cNvPr id="23" name="Billede 22" descr="Et billede, der indeholder tekst, skærmbillede, Font/skrifttype, dokument&#10;&#10;AI-genereret indhold kan være ukorrekt.">
            <a:extLst>
              <a:ext uri="{FF2B5EF4-FFF2-40B4-BE49-F238E27FC236}">
                <a16:creationId xmlns:a16="http://schemas.microsoft.com/office/drawing/2014/main" id="{66D5042D-C986-020D-EA69-B0CEE4348B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513" y="956253"/>
            <a:ext cx="2588193" cy="370415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Billede 24" descr="Et billede, der indeholder tekst, skærmbillede, Font/skrifttype, dokument&#10;&#10;AI-genereret indhold kan være ukorrekt.">
            <a:extLst>
              <a:ext uri="{FF2B5EF4-FFF2-40B4-BE49-F238E27FC236}">
                <a16:creationId xmlns:a16="http://schemas.microsoft.com/office/drawing/2014/main" id="{A4A139E9-9881-3437-6A2C-2DE9578309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135" y="1764981"/>
            <a:ext cx="2584051" cy="370415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Billede 14" descr="Et billede, der indeholder tekst, skærmbillede, Font/skrifttype, dokument&#10;&#10;AI-genereret indhold kan være ukorrekt.">
            <a:extLst>
              <a:ext uri="{FF2B5EF4-FFF2-40B4-BE49-F238E27FC236}">
                <a16:creationId xmlns:a16="http://schemas.microsoft.com/office/drawing/2014/main" id="{6EAE5FC4-77F5-3610-219D-72DEA1073F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2866" y="2748635"/>
            <a:ext cx="2568422" cy="370415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tangle 29">
            <a:extLst>
              <a:ext uri="{FF2B5EF4-FFF2-40B4-BE49-F238E27FC236}">
                <a16:creationId xmlns:a16="http://schemas.microsoft.com/office/drawing/2014/main" id="{14561693-7D77-AD58-C935-9588CE86D03A}"/>
              </a:ext>
            </a:extLst>
          </p:cNvPr>
          <p:cNvSpPr/>
          <p:nvPr/>
        </p:nvSpPr>
        <p:spPr>
          <a:xfrm>
            <a:off x="4372002" y="1321325"/>
            <a:ext cx="2934069" cy="44550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a-DK" sz="1079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kan bruge inspiration til målsætninger via inspirationsarket.</a:t>
            </a:r>
            <a:endParaRPr lang="da-DK" sz="1079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Bue 26">
            <a:extLst>
              <a:ext uri="{FF2B5EF4-FFF2-40B4-BE49-F238E27FC236}">
                <a16:creationId xmlns:a16="http://schemas.microsoft.com/office/drawing/2014/main" id="{A9EF3437-D24D-EB94-C8B3-CA2F5C906C56}"/>
              </a:ext>
            </a:extLst>
          </p:cNvPr>
          <p:cNvSpPr/>
          <p:nvPr/>
        </p:nvSpPr>
        <p:spPr>
          <a:xfrm rot="9236681" flipV="1">
            <a:off x="5158933" y="709756"/>
            <a:ext cx="3663169" cy="1325327"/>
          </a:xfrm>
          <a:prstGeom prst="arc">
            <a:avLst>
              <a:gd name="adj1" fmla="val 10635823"/>
              <a:gd name="adj2" fmla="val 19586920"/>
            </a:avLst>
          </a:prstGeom>
          <a:ln w="9525">
            <a:solidFill>
              <a:srgbClr val="165047"/>
            </a:solidFill>
            <a:prstDash val="solid"/>
            <a:headEnd type="arrow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7E19DCFE-58F9-934A-5220-43D9B9EA0F10}"/>
              </a:ext>
            </a:extLst>
          </p:cNvPr>
          <p:cNvSpPr>
            <a:spLocks noChangeAspect="1"/>
          </p:cNvSpPr>
          <p:nvPr/>
        </p:nvSpPr>
        <p:spPr>
          <a:xfrm>
            <a:off x="11193148" y="524953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58928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95C39-FFD8-9E34-F232-491D85699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10">
            <a:extLst>
              <a:ext uri="{FF2B5EF4-FFF2-40B4-BE49-F238E27FC236}">
                <a16:creationId xmlns:a16="http://schemas.microsoft.com/office/drawing/2014/main" id="{AB2308FF-D927-FC97-1B5C-17DEC000D0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723" y="4829652"/>
            <a:ext cx="1898706" cy="1324796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B5BFC21B-E3A5-70F8-3F2A-3A0335B5BE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723" y="3264129"/>
            <a:ext cx="1898706" cy="1324796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BA1A03C0-31A9-29DB-FE7C-628C9C3A52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723" y="1635805"/>
            <a:ext cx="1898706" cy="1324796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526B86E1-CE69-5F7B-A38C-87A9072D1F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097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6B86E1-CE69-5F7B-A38C-87A9072D1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868FCA1-29DF-EE6B-D0D3-034843E62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98E61E-3D6E-1397-FA0A-CE3F10A808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>
                <a:cs typeface="Verdana" panose="020B0604030504040204" pitchFamily="34" charset="0"/>
              </a:rPr>
              <a:pPr/>
              <a:t>13</a:t>
            </a:fld>
            <a:endParaRPr lang="da-DK">
              <a:cs typeface="Verdana" panose="020B0604030504040204" pitchFamily="34" charset="0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BC85071-1FE9-5649-45EA-15782142E2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æt SMART-Mål</a:t>
            </a: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76E1782A-F74B-9A16-85EC-D4E686D31C75}"/>
              </a:ext>
            </a:extLst>
          </p:cNvPr>
          <p:cNvSpPr txBox="1"/>
          <p:nvPr/>
        </p:nvSpPr>
        <p:spPr>
          <a:xfrm>
            <a:off x="6678474" y="2412523"/>
            <a:ext cx="4826111" cy="33085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skal I omsætte ambitionen til konkrete målsætninger, der kan handles på. </a:t>
            </a:r>
          </a:p>
          <a:p>
            <a:r>
              <a:rPr lang="da-DK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ug SMART som tjekliste, når I formulerer jeres målsætninger, for at sikre de bliver konkrete, målbare og handlingsorienterede. Se inspirationsarkene. </a:t>
            </a:r>
            <a:endParaRPr lang="da-DK" sz="1100" dirty="0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1:</a:t>
            </a:r>
            <a:r>
              <a:rPr lang="da-DK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tart med at læse ambitionssætningen op i gruppen, så alle har den frisk i hukommels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2:</a:t>
            </a:r>
            <a:r>
              <a:rPr lang="da-DK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skutér i fællesskab: Hvad skal der til, for at vi kan opnå denne ambition i praksis? Tænk lavpraktisk, hvilke skridt skal der tages? Hvad kan I gøre for at nå ambitionen? Og hvornår kan I realistisk nå d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3</a:t>
            </a:r>
            <a:r>
              <a:rPr lang="da-DK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Skriv 1–3 målsætninger ind på SMART-mål postkort pr. målepunkt.</a:t>
            </a:r>
          </a:p>
          <a:p>
            <a:endParaRPr lang="da-DK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a-DK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cilitator hjælper gruppen med at holde fokus og sikrer, at alle mål lever op til SMART-kriterierne.</a:t>
            </a:r>
          </a:p>
        </p:txBody>
      </p:sp>
      <p:pic>
        <p:nvPicPr>
          <p:cNvPr id="25" name="Billede 24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5A6BBC47-0483-26DB-32B6-2E5B439817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0716" y="2389373"/>
            <a:ext cx="282497" cy="402099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Billede 25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F0B1A74B-93F3-1935-B339-4EE663FFB8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043" y="2127762"/>
            <a:ext cx="282497" cy="402099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CDC6413C-0084-ECCC-56B0-6BF30F3C8C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22" y="3642599"/>
            <a:ext cx="269247" cy="393514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72113830-5BB4-C1D1-71D2-1C05CA2180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505" y="3640303"/>
            <a:ext cx="269247" cy="393514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3F175A55-CFE4-4ED2-50F3-85635D21EC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5685" y="4033817"/>
            <a:ext cx="269247" cy="393514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Billede 11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8F302D3D-EAFA-151B-383E-9D77A9FB27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928" y="5485262"/>
            <a:ext cx="286988" cy="41403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Ellipse 17">
            <a:extLst>
              <a:ext uri="{FF2B5EF4-FFF2-40B4-BE49-F238E27FC236}">
                <a16:creationId xmlns:a16="http://schemas.microsoft.com/office/drawing/2014/main" id="{17F420FE-A3E2-9881-ED34-2E7BF0EA7A78}"/>
              </a:ext>
            </a:extLst>
          </p:cNvPr>
          <p:cNvSpPr>
            <a:spLocks noChangeAspect="1"/>
          </p:cNvSpPr>
          <p:nvPr/>
        </p:nvSpPr>
        <p:spPr>
          <a:xfrm>
            <a:off x="11193148" y="524953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3BF28572-CCC5-6D40-0302-5ACD68A1E31D}"/>
              </a:ext>
            </a:extLst>
          </p:cNvPr>
          <p:cNvSpPr txBox="1"/>
          <p:nvPr/>
        </p:nvSpPr>
        <p:spPr>
          <a:xfrm>
            <a:off x="3191747" y="1796144"/>
            <a:ext cx="2914226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kt</a:t>
            </a:r>
            <a:r>
              <a:rPr lang="da-DK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t skal være klart og præcist. Undgå generelle udsagn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bart</a:t>
            </a:r>
            <a:endParaRPr lang="da-DK" sz="16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 skal kunne ses eller måles, om I når målet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traktivt/Accepteret</a:t>
            </a:r>
            <a:r>
              <a:rPr lang="da-DK" sz="16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n skal kunne stå inde for målet og synes, det er vigtigt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stisk</a:t>
            </a:r>
            <a:r>
              <a:rPr lang="da-DK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t skal være muligt at nå med de ressourcer, I har.</a:t>
            </a:r>
          </a:p>
          <a:p>
            <a:pPr lvl="0" defTabSz="457200">
              <a:defRPr/>
            </a:pPr>
            <a:endParaRPr lang="da-DK" b="1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6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dsfastsat</a:t>
            </a:r>
            <a:r>
              <a:rPr lang="da-DK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da-DK" sz="11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defTabSz="457200">
              <a:defRPr/>
            </a:pPr>
            <a:r>
              <a:rPr lang="da-DK" sz="11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giv hvornår målet skal være opfyldt (f.eks. en dato eller periode).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EA20735F-43EE-A058-57EA-09D2BF7FF159}"/>
              </a:ext>
            </a:extLst>
          </p:cNvPr>
          <p:cNvSpPr txBox="1"/>
          <p:nvPr/>
        </p:nvSpPr>
        <p:spPr>
          <a:xfrm>
            <a:off x="2767850" y="1780102"/>
            <a:ext cx="42191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9721F8F1-D546-AD76-6C99-2E3964968896}"/>
              </a:ext>
            </a:extLst>
          </p:cNvPr>
          <p:cNvSpPr txBox="1"/>
          <p:nvPr/>
        </p:nvSpPr>
        <p:spPr>
          <a:xfrm>
            <a:off x="2767850" y="2655253"/>
            <a:ext cx="50045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CC9650A2-1334-E4B9-6203-922E92AB6B1B}"/>
              </a:ext>
            </a:extLst>
          </p:cNvPr>
          <p:cNvSpPr txBox="1"/>
          <p:nvPr/>
        </p:nvSpPr>
        <p:spPr>
          <a:xfrm>
            <a:off x="2767850" y="3530404"/>
            <a:ext cx="44275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A4D6063D-C823-948E-BA83-F91DE67F4781}"/>
              </a:ext>
            </a:extLst>
          </p:cNvPr>
          <p:cNvSpPr txBox="1"/>
          <p:nvPr/>
        </p:nvSpPr>
        <p:spPr>
          <a:xfrm>
            <a:off x="2767850" y="4405555"/>
            <a:ext cx="44595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6CC9AF9F-2DFF-3EFD-F207-FC17829ACB90}"/>
              </a:ext>
            </a:extLst>
          </p:cNvPr>
          <p:cNvSpPr txBox="1"/>
          <p:nvPr/>
        </p:nvSpPr>
        <p:spPr>
          <a:xfrm>
            <a:off x="2767850" y="5280705"/>
            <a:ext cx="41229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6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C8684B26-3B4D-85C2-7F87-407B18D6A5EF}"/>
              </a:ext>
            </a:extLst>
          </p:cNvPr>
          <p:cNvSpPr txBox="1"/>
          <p:nvPr/>
        </p:nvSpPr>
        <p:spPr>
          <a:xfrm>
            <a:off x="10544371" y="2004766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. </a:t>
            </a: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5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n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BF3BA9A8-BD51-D369-1840-F4D6845315B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67529" y="1945265"/>
            <a:ext cx="396000" cy="396000"/>
          </a:xfrm>
          <a:prstGeom prst="rect">
            <a:avLst/>
          </a:prstGeom>
        </p:spPr>
      </p:pic>
      <p:sp>
        <p:nvSpPr>
          <p:cNvPr id="38" name="Rectangle: Top Corners Rounded 40">
            <a:extLst>
              <a:ext uri="{FF2B5EF4-FFF2-40B4-BE49-F238E27FC236}">
                <a16:creationId xmlns:a16="http://schemas.microsoft.com/office/drawing/2014/main" id="{FEEDD0EB-AB3F-E82E-3742-60F06873A815}"/>
              </a:ext>
            </a:extLst>
          </p:cNvPr>
          <p:cNvSpPr/>
          <p:nvPr/>
        </p:nvSpPr>
        <p:spPr>
          <a:xfrm rot="16200000">
            <a:off x="6842519" y="1439699"/>
            <a:ext cx="4258639" cy="506549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9" name="Group 9">
            <a:extLst>
              <a:ext uri="{FF2B5EF4-FFF2-40B4-BE49-F238E27FC236}">
                <a16:creationId xmlns:a16="http://schemas.microsoft.com/office/drawing/2014/main" id="{32807787-EC37-C6C0-8D67-CB8066FAB311}"/>
              </a:ext>
            </a:extLst>
          </p:cNvPr>
          <p:cNvGrpSpPr>
            <a:grpSpLocks noChangeAspect="1"/>
          </p:cNvGrpSpPr>
          <p:nvPr/>
        </p:nvGrpSpPr>
        <p:grpSpPr>
          <a:xfrm>
            <a:off x="6905533" y="1344234"/>
            <a:ext cx="964485" cy="972000"/>
            <a:chOff x="4156082" y="-3024236"/>
            <a:chExt cx="2183420" cy="2200431"/>
          </a:xfrm>
        </p:grpSpPr>
        <p:sp>
          <p:nvSpPr>
            <p:cNvPr id="40" name="Freeform: Shape 10">
              <a:extLst>
                <a:ext uri="{FF2B5EF4-FFF2-40B4-BE49-F238E27FC236}">
                  <a16:creationId xmlns:a16="http://schemas.microsoft.com/office/drawing/2014/main" id="{6007D519-4318-E762-F102-3DA5DA200504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Øvelse</a:t>
              </a:r>
            </a:p>
          </p:txBody>
        </p:sp>
        <p:sp>
          <p:nvSpPr>
            <p:cNvPr id="41" name="Freeform: Shape 11">
              <a:extLst>
                <a:ext uri="{FF2B5EF4-FFF2-40B4-BE49-F238E27FC236}">
                  <a16:creationId xmlns:a16="http://schemas.microsoft.com/office/drawing/2014/main" id="{074EDFE6-E25F-20DB-EFF7-4E2102133306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6027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9E727-D084-A23B-5364-3172A778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ktangel 70">
            <a:extLst>
              <a:ext uri="{FF2B5EF4-FFF2-40B4-BE49-F238E27FC236}">
                <a16:creationId xmlns:a16="http://schemas.microsoft.com/office/drawing/2014/main" id="{1864A448-C5F7-F085-CFFC-0FBBD424B141}"/>
              </a:ext>
            </a:extLst>
          </p:cNvPr>
          <p:cNvSpPr/>
          <p:nvPr/>
        </p:nvSpPr>
        <p:spPr>
          <a:xfrm>
            <a:off x="4323393" y="2004766"/>
            <a:ext cx="1872000" cy="3451656"/>
          </a:xfrm>
          <a:prstGeom prst="rect">
            <a:avLst/>
          </a:prstGeom>
          <a:solidFill>
            <a:schemeClr val="accent5">
              <a:lumMod val="20000"/>
              <a:lumOff val="8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47D783B9-0A64-7F82-6982-56A12DCE0E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5353" y="2662285"/>
            <a:ext cx="1728080" cy="1205744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DFDEE344-7B41-0D10-BBF4-F7FCEFCCF8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0854" y="4089487"/>
            <a:ext cx="1728080" cy="1205744"/>
          </a:xfrm>
          <a:prstGeom prst="rect">
            <a:avLst/>
          </a:prstGeom>
        </p:spPr>
      </p:pic>
      <p:sp>
        <p:nvSpPr>
          <p:cNvPr id="70" name="Rektangel 69">
            <a:extLst>
              <a:ext uri="{FF2B5EF4-FFF2-40B4-BE49-F238E27FC236}">
                <a16:creationId xmlns:a16="http://schemas.microsoft.com/office/drawing/2014/main" id="{BAC18B8A-6548-A11A-770D-CB38B61C0C2A}"/>
              </a:ext>
            </a:extLst>
          </p:cNvPr>
          <p:cNvSpPr/>
          <p:nvPr/>
        </p:nvSpPr>
        <p:spPr>
          <a:xfrm>
            <a:off x="2341696" y="2004766"/>
            <a:ext cx="1872000" cy="3451656"/>
          </a:xfrm>
          <a:prstGeom prst="rect">
            <a:avLst/>
          </a:prstGeom>
          <a:solidFill>
            <a:schemeClr val="accent6">
              <a:lumMod val="20000"/>
              <a:lumOff val="8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C72E741E-C10A-DBA7-FC6A-9A9998FFB3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4545" y="2662285"/>
            <a:ext cx="1728080" cy="1205744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EF4BE087-0659-8B1C-1FA6-A1E5470230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4545" y="4089487"/>
            <a:ext cx="1728080" cy="1205744"/>
          </a:xfrm>
          <a:prstGeom prst="rect">
            <a:avLst/>
          </a:prstGeom>
        </p:spPr>
      </p:pic>
      <p:sp>
        <p:nvSpPr>
          <p:cNvPr id="69" name="Rektangel 68">
            <a:extLst>
              <a:ext uri="{FF2B5EF4-FFF2-40B4-BE49-F238E27FC236}">
                <a16:creationId xmlns:a16="http://schemas.microsoft.com/office/drawing/2014/main" id="{03B3F83A-6EA7-721B-5190-6A65409B23C4}"/>
              </a:ext>
            </a:extLst>
          </p:cNvPr>
          <p:cNvSpPr/>
          <p:nvPr/>
        </p:nvSpPr>
        <p:spPr>
          <a:xfrm>
            <a:off x="360000" y="2004766"/>
            <a:ext cx="1872000" cy="34516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F8308D3F-C03F-6BEF-65C0-55778262BB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592" y="2662285"/>
            <a:ext cx="1728080" cy="1205744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4C55A043-8C73-154A-F20A-A107039356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364" y="4090044"/>
            <a:ext cx="1728080" cy="1205744"/>
          </a:xfrm>
          <a:prstGeom prst="rect">
            <a:avLst/>
          </a:prstGeom>
        </p:spPr>
      </p:pic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E7BE6436-F94F-572E-F040-033C035929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5436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BE6436-F94F-572E-F040-033C03592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095C48-A1DB-F2DF-CC46-7D75C59E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num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7C59435-53CF-7AEC-BD35-50CBBF0B02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>
                <a:cs typeface="Verdana" panose="020B0604030504040204" pitchFamily="34" charset="0"/>
              </a:rPr>
              <a:pPr/>
              <a:t>14</a:t>
            </a:fld>
            <a:endParaRPr lang="da-DK">
              <a:cs typeface="Verdana" panose="020B0604030504040204" pitchFamily="34" charset="0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C833256A-639E-B092-81A1-6CB3780EF6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ighed om SMART-mål</a:t>
            </a: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87745142-DE4A-F094-4C7F-5EC4D889A9F7}"/>
              </a:ext>
            </a:extLst>
          </p:cNvPr>
          <p:cNvSpPr txBox="1"/>
          <p:nvPr/>
        </p:nvSpPr>
        <p:spPr>
          <a:xfrm>
            <a:off x="6600079" y="2521795"/>
            <a:ext cx="49045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93456">
              <a:defRPr/>
            </a:pPr>
            <a:r>
              <a:rPr lang="da-DK" sz="12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præsenterer hver især deres plakater med SMART-mål for hvert udvalgt målepunkt for hhv. E,S &amp; G.</a:t>
            </a:r>
            <a:br>
              <a:rPr lang="da-DK" sz="12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da-DK" sz="12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a-DK" sz="12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fællesskab opnås der forståelse for de udvalgte mål. Såfremt nødvendigt, justeres SMART-mål til.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3E760424-0D73-5534-2D4A-CA409F6460A1}"/>
              </a:ext>
            </a:extLst>
          </p:cNvPr>
          <p:cNvSpPr>
            <a:spLocks noChangeAspect="1"/>
          </p:cNvSpPr>
          <p:nvPr/>
        </p:nvSpPr>
        <p:spPr>
          <a:xfrm>
            <a:off x="11143481" y="478905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7667DCC8-E738-ED7D-5CED-293B5C277CCF}"/>
              </a:ext>
            </a:extLst>
          </p:cNvPr>
          <p:cNvSpPr txBox="1"/>
          <p:nvPr/>
        </p:nvSpPr>
        <p:spPr>
          <a:xfrm>
            <a:off x="10544371" y="2004766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. 5</a:t>
            </a: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48BE04E7-D04C-5FC8-B878-8A0447FC311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67529" y="1945265"/>
            <a:ext cx="396000" cy="396000"/>
          </a:xfrm>
          <a:prstGeom prst="rect">
            <a:avLst/>
          </a:prstGeom>
        </p:spPr>
      </p:pic>
      <p:sp>
        <p:nvSpPr>
          <p:cNvPr id="25" name="Rectangle: Top Corners Rounded 40">
            <a:extLst>
              <a:ext uri="{FF2B5EF4-FFF2-40B4-BE49-F238E27FC236}">
                <a16:creationId xmlns:a16="http://schemas.microsoft.com/office/drawing/2014/main" id="{E7D2E563-BE07-F25B-CDBA-07A7E8B67243}"/>
              </a:ext>
            </a:extLst>
          </p:cNvPr>
          <p:cNvSpPr/>
          <p:nvPr/>
        </p:nvSpPr>
        <p:spPr>
          <a:xfrm rot="16200000">
            <a:off x="6842519" y="1439699"/>
            <a:ext cx="4258639" cy="506549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6" name="Group 9">
            <a:extLst>
              <a:ext uri="{FF2B5EF4-FFF2-40B4-BE49-F238E27FC236}">
                <a16:creationId xmlns:a16="http://schemas.microsoft.com/office/drawing/2014/main" id="{6C7F70EF-B834-8CDD-D649-5F2AFB62C511}"/>
              </a:ext>
            </a:extLst>
          </p:cNvPr>
          <p:cNvGrpSpPr>
            <a:grpSpLocks noChangeAspect="1"/>
          </p:cNvGrpSpPr>
          <p:nvPr/>
        </p:nvGrpSpPr>
        <p:grpSpPr>
          <a:xfrm>
            <a:off x="6905533" y="1344234"/>
            <a:ext cx="964485" cy="972000"/>
            <a:chOff x="4156082" y="-3024236"/>
            <a:chExt cx="2183420" cy="2200431"/>
          </a:xfrm>
        </p:grpSpPr>
        <p:sp>
          <p:nvSpPr>
            <p:cNvPr id="27" name="Freeform: Shape 10">
              <a:extLst>
                <a:ext uri="{FF2B5EF4-FFF2-40B4-BE49-F238E27FC236}">
                  <a16:creationId xmlns:a16="http://schemas.microsoft.com/office/drawing/2014/main" id="{CB6AC782-812B-7FD2-F3CE-B5C86AFAC0A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alog</a:t>
              </a:r>
            </a:p>
          </p:txBody>
        </p:sp>
        <p:sp>
          <p:nvSpPr>
            <p:cNvPr id="28" name="Freeform: Shape 11">
              <a:extLst>
                <a:ext uri="{FF2B5EF4-FFF2-40B4-BE49-F238E27FC236}">
                  <a16:creationId xmlns:a16="http://schemas.microsoft.com/office/drawing/2014/main" id="{1C6B97FD-4C2D-3B7F-2627-955226AA66EB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5" name="Billede 4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110A7488-3CEC-4D47-C9F8-D37AED230C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055" y="3341830"/>
            <a:ext cx="257111" cy="365965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Billede 6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7FD364C0-413B-F181-CF39-3FE62458E5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443" y="3229587"/>
            <a:ext cx="257111" cy="365965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Billede 28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73AD5EDA-265B-5F73-DB03-E9649CEAC5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005" y="4796217"/>
            <a:ext cx="257111" cy="365965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2DB714CD-B320-3A99-1568-748742535E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934" y="3345736"/>
            <a:ext cx="245051" cy="358151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410A00D4-CCD1-C7B8-B6EB-4938046298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7513" y="3274290"/>
            <a:ext cx="245051" cy="358151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2C8EF1F5-55A2-0480-F1FD-768D46E0376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814" y="3453366"/>
            <a:ext cx="245051" cy="358151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Billede 6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5EEC12DE-F67A-E2BA-05CC-5C52386AE7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481" y="4810472"/>
            <a:ext cx="245051" cy="358151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Billede 11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DAA1F230-CF41-8C71-86C5-B5A665CFBB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121" y="3372545"/>
            <a:ext cx="261198" cy="37683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Billede 13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D5D8CC26-FF3A-851B-56A8-21051AB1C5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099" y="3312523"/>
            <a:ext cx="271271" cy="39136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5" name="Billede 10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39465EFE-DCD7-B6AC-12F4-8AF567A2FB9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857" y="4781816"/>
            <a:ext cx="250549" cy="36146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Billede 11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BDC06D50-2373-0A91-A1F0-1B898E6BE2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529" y="4901168"/>
            <a:ext cx="261198" cy="37683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8" name="Billede 13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CDCDA6B8-18AD-458E-E8B5-DFA573DC04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6850" y="4810472"/>
            <a:ext cx="271271" cy="39136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Tekstfelt 71">
            <a:extLst>
              <a:ext uri="{FF2B5EF4-FFF2-40B4-BE49-F238E27FC236}">
                <a16:creationId xmlns:a16="http://schemas.microsoft.com/office/drawing/2014/main" id="{19DD1C1A-F8AA-5FF0-225A-4B4665280D14}"/>
              </a:ext>
            </a:extLst>
          </p:cNvPr>
          <p:cNvSpPr txBox="1"/>
          <p:nvPr/>
        </p:nvSpPr>
        <p:spPr>
          <a:xfrm>
            <a:off x="1155853" y="2059282"/>
            <a:ext cx="38504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3200" b="1">
                <a:solidFill>
                  <a:srgbClr val="0F5B51"/>
                </a:solidFill>
              </a:rPr>
              <a:t>E</a:t>
            </a:r>
          </a:p>
        </p:txBody>
      </p:sp>
      <p:sp>
        <p:nvSpPr>
          <p:cNvPr id="78" name="Tekstfelt 77">
            <a:extLst>
              <a:ext uri="{FF2B5EF4-FFF2-40B4-BE49-F238E27FC236}">
                <a16:creationId xmlns:a16="http://schemas.microsoft.com/office/drawing/2014/main" id="{1C8B4F41-92ED-2F84-78DF-9597F677AA39}"/>
              </a:ext>
            </a:extLst>
          </p:cNvPr>
          <p:cNvSpPr txBox="1"/>
          <p:nvPr/>
        </p:nvSpPr>
        <p:spPr>
          <a:xfrm>
            <a:off x="3063875" y="2058822"/>
            <a:ext cx="4331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3200" b="1">
                <a:solidFill>
                  <a:schemeClr val="accent6"/>
                </a:solidFill>
              </a:rPr>
              <a:t>S</a:t>
            </a:r>
          </a:p>
        </p:txBody>
      </p:sp>
      <p:sp>
        <p:nvSpPr>
          <p:cNvPr id="79" name="Tekstfelt 78">
            <a:extLst>
              <a:ext uri="{FF2B5EF4-FFF2-40B4-BE49-F238E27FC236}">
                <a16:creationId xmlns:a16="http://schemas.microsoft.com/office/drawing/2014/main" id="{E5AB5F38-6BEA-2662-F8A2-9148DAA1C8FB}"/>
              </a:ext>
            </a:extLst>
          </p:cNvPr>
          <p:cNvSpPr txBox="1"/>
          <p:nvPr/>
        </p:nvSpPr>
        <p:spPr>
          <a:xfrm>
            <a:off x="5042827" y="2057522"/>
            <a:ext cx="503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3200" b="1">
                <a:solidFill>
                  <a:schemeClr val="accent4"/>
                </a:solidFill>
              </a:rPr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185005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BEDD0-5A94-7EEC-AC1D-665C1F2F6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75AE98D0-47AF-7091-211D-EEAF75AF5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55553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AE98D0-47AF-7091-211D-EEAF75AF5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DD15D3D-DB51-A6D9-B99F-7F79D7974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runding og næste skridt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884770E-8E87-AC76-7784-7119B41CDD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>
                <a:cs typeface="Verdana" panose="020B0604030504040204" pitchFamily="34" charset="0"/>
              </a:rPr>
              <a:pPr/>
              <a:t>15</a:t>
            </a:fld>
            <a:endParaRPr lang="da-DK">
              <a:cs typeface="Verdana" panose="020B0604030504040204" pitchFamily="34" charset="0"/>
            </a:endParaRP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330A04FC-EAEF-6D71-FCA5-846E5DEA1E96}"/>
              </a:ext>
            </a:extLst>
          </p:cNvPr>
          <p:cNvSpPr txBox="1"/>
          <p:nvPr/>
        </p:nvSpPr>
        <p:spPr>
          <a:xfrm>
            <a:off x="6678474" y="2380439"/>
            <a:ext cx="482232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a-DK" sz="12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a mål til handling</a:t>
            </a:r>
          </a:p>
          <a:p>
            <a:pPr>
              <a:defRPr/>
            </a:pPr>
            <a:endParaRPr lang="da-DK" sz="12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r>
              <a:rPr lang="da-DK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år SMART-målene er på plads, er næste skridt at omsætte dem til konkrete initiativer. </a:t>
            </a:r>
          </a:p>
          <a:p>
            <a:pPr>
              <a:defRPr/>
            </a:pPr>
            <a:endParaRPr lang="da-DK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r>
              <a:rPr lang="da-DK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klar følgende spørgsmål omkring næste skridt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dan samles der op på SMART-målene?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ad er næste skridt?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m er den ansvarlige?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a-DK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r>
              <a:rPr lang="da-DK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kan overveje at udarbejde en handlingsplan, hvor I kan arbejde videre på resultaterne fra dagens workshop og som kan bruges til opfølgning. Dette hjælper med at strukturere arbejdet og sikre, at ambitioner bliver til handling.</a:t>
            </a:r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0407D78-9219-C108-6512-2E42CE7B3EC2}"/>
              </a:ext>
            </a:extLst>
          </p:cNvPr>
          <p:cNvGrpSpPr/>
          <p:nvPr/>
        </p:nvGrpSpPr>
        <p:grpSpPr>
          <a:xfrm>
            <a:off x="562201" y="2824092"/>
            <a:ext cx="5626462" cy="1719334"/>
            <a:chOff x="562201" y="2824092"/>
            <a:chExt cx="5626462" cy="1719334"/>
          </a:xfrm>
        </p:grpSpPr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55C4923C-0B25-E86A-F316-B348B983D1CB}"/>
                </a:ext>
              </a:extLst>
            </p:cNvPr>
            <p:cNvSpPr/>
            <p:nvPr/>
          </p:nvSpPr>
          <p:spPr>
            <a:xfrm>
              <a:off x="562201" y="2824092"/>
              <a:ext cx="5626462" cy="171933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BB5335DE-85D6-3943-01EA-A2EADFFF4F6D}"/>
                </a:ext>
              </a:extLst>
            </p:cNvPr>
            <p:cNvSpPr txBox="1"/>
            <p:nvPr/>
          </p:nvSpPr>
          <p:spPr>
            <a:xfrm>
              <a:off x="687416" y="3012979"/>
              <a:ext cx="528476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da-DK" sz="1600">
                  <a:solidFill>
                    <a:srgbClr val="0F5B5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fklar følgende spørgsmål omkring næste skridt:</a:t>
              </a:r>
            </a:p>
            <a:p>
              <a:pPr>
                <a:defRPr/>
              </a:pPr>
              <a:endParaRPr lang="da-DK" sz="16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da-DK" sz="16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vordan samles der op på SMART-målene?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da-DK" sz="16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vad er næste skridt? 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da-DK" sz="16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vem er den ansvarlige?</a:t>
              </a:r>
            </a:p>
          </p:txBody>
        </p:sp>
      </p:grpSp>
      <p:sp>
        <p:nvSpPr>
          <p:cNvPr id="6" name="Ellipse 5">
            <a:extLst>
              <a:ext uri="{FF2B5EF4-FFF2-40B4-BE49-F238E27FC236}">
                <a16:creationId xmlns:a16="http://schemas.microsoft.com/office/drawing/2014/main" id="{548ECDDB-BD1F-2658-17B6-3B9BF94C2022}"/>
              </a:ext>
            </a:extLst>
          </p:cNvPr>
          <p:cNvSpPr>
            <a:spLocks noChangeAspect="1"/>
          </p:cNvSpPr>
          <p:nvPr/>
        </p:nvSpPr>
        <p:spPr>
          <a:xfrm>
            <a:off x="11143481" y="478905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70AE6F4-ED5E-A9A6-2154-9311EFACA0F0}"/>
              </a:ext>
            </a:extLst>
          </p:cNvPr>
          <p:cNvSpPr txBox="1"/>
          <p:nvPr/>
        </p:nvSpPr>
        <p:spPr>
          <a:xfrm>
            <a:off x="10544371" y="2004766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. </a:t>
            </a: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1C07B89-C7BD-5769-73C1-BBEE93507F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67529" y="1945265"/>
            <a:ext cx="396000" cy="396000"/>
          </a:xfrm>
          <a:prstGeom prst="rect">
            <a:avLst/>
          </a:prstGeom>
        </p:spPr>
      </p:pic>
      <p:sp>
        <p:nvSpPr>
          <p:cNvPr id="13" name="Rectangle: Top Corners Rounded 40">
            <a:extLst>
              <a:ext uri="{FF2B5EF4-FFF2-40B4-BE49-F238E27FC236}">
                <a16:creationId xmlns:a16="http://schemas.microsoft.com/office/drawing/2014/main" id="{69248FC2-1B14-9ADE-8ACA-3776FA1849AB}"/>
              </a:ext>
            </a:extLst>
          </p:cNvPr>
          <p:cNvSpPr/>
          <p:nvPr/>
        </p:nvSpPr>
        <p:spPr>
          <a:xfrm rot="16200000">
            <a:off x="6842519" y="1439699"/>
            <a:ext cx="4258639" cy="506549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4" name="Group 9">
            <a:extLst>
              <a:ext uri="{FF2B5EF4-FFF2-40B4-BE49-F238E27FC236}">
                <a16:creationId xmlns:a16="http://schemas.microsoft.com/office/drawing/2014/main" id="{CB73BF9B-614B-AAE6-EC8E-BC6E45B739D9}"/>
              </a:ext>
            </a:extLst>
          </p:cNvPr>
          <p:cNvGrpSpPr>
            <a:grpSpLocks noChangeAspect="1"/>
          </p:cNvGrpSpPr>
          <p:nvPr/>
        </p:nvGrpSpPr>
        <p:grpSpPr>
          <a:xfrm>
            <a:off x="6905533" y="1344234"/>
            <a:ext cx="964485" cy="972000"/>
            <a:chOff x="4156082" y="-3024236"/>
            <a:chExt cx="2183420" cy="2200431"/>
          </a:xfrm>
        </p:grpSpPr>
        <p:sp>
          <p:nvSpPr>
            <p:cNvPr id="15" name="Freeform: Shape 10">
              <a:extLst>
                <a:ext uri="{FF2B5EF4-FFF2-40B4-BE49-F238E27FC236}">
                  <a16:creationId xmlns:a16="http://schemas.microsoft.com/office/drawing/2014/main" id="{79CF4945-986A-DA2A-10E9-825F64715064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alog</a:t>
              </a:r>
            </a:p>
          </p:txBody>
        </p:sp>
        <p:sp>
          <p:nvSpPr>
            <p:cNvPr id="16" name="Freeform: Shape 11">
              <a:extLst>
                <a:ext uri="{FF2B5EF4-FFF2-40B4-BE49-F238E27FC236}">
                  <a16:creationId xmlns:a16="http://schemas.microsoft.com/office/drawing/2014/main" id="{89F5C04C-8B40-2A9C-663B-05159E42B285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6730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D4BA69-A575-FDB7-9F65-88605A291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32">
            <a:extLst>
              <a:ext uri="{FF2B5EF4-FFF2-40B4-BE49-F238E27FC236}">
                <a16:creationId xmlns:a16="http://schemas.microsoft.com/office/drawing/2014/main" id="{907FA682-0B3D-FE7B-FF0F-7322A6B02FFC}"/>
              </a:ext>
            </a:extLst>
          </p:cNvPr>
          <p:cNvGrpSpPr/>
          <p:nvPr/>
        </p:nvGrpSpPr>
        <p:grpSpPr>
          <a:xfrm rot="21410080">
            <a:off x="8428915" y="3735962"/>
            <a:ext cx="4384787" cy="4409200"/>
            <a:chOff x="8336051" y="3610471"/>
            <a:chExt cx="2227633" cy="2212181"/>
          </a:xfrm>
        </p:grpSpPr>
        <p:sp>
          <p:nvSpPr>
            <p:cNvPr id="3" name="Freeform: Shape 333">
              <a:extLst>
                <a:ext uri="{FF2B5EF4-FFF2-40B4-BE49-F238E27FC236}">
                  <a16:creationId xmlns:a16="http://schemas.microsoft.com/office/drawing/2014/main" id="{75E23A8C-369B-C3ED-1868-EA98A83072AF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>
                <a:alpha val="39000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" name="Freeform: Shape 334">
              <a:extLst>
                <a:ext uri="{FF2B5EF4-FFF2-40B4-BE49-F238E27FC236}">
                  <a16:creationId xmlns:a16="http://schemas.microsoft.com/office/drawing/2014/main" id="{D057ADE6-6299-0DE6-E294-9BB4DABB8F47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" name="Group 331">
            <a:extLst>
              <a:ext uri="{FF2B5EF4-FFF2-40B4-BE49-F238E27FC236}">
                <a16:creationId xmlns:a16="http://schemas.microsoft.com/office/drawing/2014/main" id="{ACCF11E3-F4C3-34D9-276E-F52BD81EDCDC}"/>
              </a:ext>
            </a:extLst>
          </p:cNvPr>
          <p:cNvGrpSpPr/>
          <p:nvPr/>
        </p:nvGrpSpPr>
        <p:grpSpPr>
          <a:xfrm>
            <a:off x="8759770" y="-1380057"/>
            <a:ext cx="4249559" cy="4478015"/>
            <a:chOff x="3092692" y="-1631033"/>
            <a:chExt cx="2192906" cy="2193874"/>
          </a:xfrm>
        </p:grpSpPr>
        <p:sp>
          <p:nvSpPr>
            <p:cNvPr id="6" name="Freeform: Shape 326">
              <a:extLst>
                <a:ext uri="{FF2B5EF4-FFF2-40B4-BE49-F238E27FC236}">
                  <a16:creationId xmlns:a16="http://schemas.microsoft.com/office/drawing/2014/main" id="{754EFF80-63E1-CA5A-CA38-ACAEDFA8FFA2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rgbClr val="F7CECA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" name="Freeform: Shape 327">
              <a:extLst>
                <a:ext uri="{FF2B5EF4-FFF2-40B4-BE49-F238E27FC236}">
                  <a16:creationId xmlns:a16="http://schemas.microsoft.com/office/drawing/2014/main" id="{337CC749-2239-0523-DF14-E231316AA879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>
                <a:alpha val="71319"/>
              </a:srgbClr>
            </a:solidFill>
            <a:ln w="5213" cap="flat">
              <a:solidFill>
                <a:srgbClr val="F7CECA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330">
            <a:extLst>
              <a:ext uri="{FF2B5EF4-FFF2-40B4-BE49-F238E27FC236}">
                <a16:creationId xmlns:a16="http://schemas.microsoft.com/office/drawing/2014/main" id="{22C6A220-1675-BEB6-7E41-846AF8EEA320}"/>
              </a:ext>
            </a:extLst>
          </p:cNvPr>
          <p:cNvGrpSpPr/>
          <p:nvPr/>
        </p:nvGrpSpPr>
        <p:grpSpPr>
          <a:xfrm>
            <a:off x="4944668" y="760887"/>
            <a:ext cx="4921793" cy="4767083"/>
            <a:chOff x="4156082" y="-3024236"/>
            <a:chExt cx="2183420" cy="2200431"/>
          </a:xfrm>
        </p:grpSpPr>
        <p:sp>
          <p:nvSpPr>
            <p:cNvPr id="9" name="Freeform: Shape 328">
              <a:extLst>
                <a:ext uri="{FF2B5EF4-FFF2-40B4-BE49-F238E27FC236}">
                  <a16:creationId xmlns:a16="http://schemas.microsoft.com/office/drawing/2014/main" id="{04FFC97A-368B-AA67-9393-8513FA19EC1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>
                <a:alpha val="49544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44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: Shape 329">
              <a:extLst>
                <a:ext uri="{FF2B5EF4-FFF2-40B4-BE49-F238E27FC236}">
                  <a16:creationId xmlns:a16="http://schemas.microsoft.com/office/drawing/2014/main" id="{E1DC4D1F-AF15-6E3E-AD9C-CA868120E49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2" name="Tekstfelt 11">
            <a:extLst>
              <a:ext uri="{FF2B5EF4-FFF2-40B4-BE49-F238E27FC236}">
                <a16:creationId xmlns:a16="http://schemas.microsoft.com/office/drawing/2014/main" id="{91A067B7-E2DC-B69C-A5D0-EA4DCE4A6E5D}"/>
              </a:ext>
            </a:extLst>
          </p:cNvPr>
          <p:cNvSpPr txBox="1"/>
          <p:nvPr/>
        </p:nvSpPr>
        <p:spPr>
          <a:xfrm>
            <a:off x="527309" y="2728621"/>
            <a:ext cx="458651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925" hangingPunct="0">
              <a:spcBef>
                <a:spcPts val="2250"/>
              </a:spcBef>
              <a:defRPr/>
            </a:pPr>
            <a:r>
              <a:rPr lang="da-DK" sz="4400" b="1">
                <a:solidFill>
                  <a:srgbClr val="005950"/>
                </a:solidFill>
                <a:latin typeface="Verdana" panose="020B0604030504040204" pitchFamily="34" charset="0"/>
                <a:cs typeface="Verdana" panose="020B0604030504040204" pitchFamily="34" charset="0"/>
                <a:sym typeface="Helvetica Neue"/>
              </a:rPr>
              <a:t>Tak for i dag! </a:t>
            </a:r>
          </a:p>
        </p:txBody>
      </p:sp>
      <p:pic>
        <p:nvPicPr>
          <p:cNvPr id="13" name="Billede 12" descr="Et billede, der indeholder Grafik, grafisk design, Font/skrifttype, skærmbillede&#10;&#10;AI-genereret indhold kan være ukorrekt.">
            <a:extLst>
              <a:ext uri="{FF2B5EF4-FFF2-40B4-BE49-F238E27FC236}">
                <a16:creationId xmlns:a16="http://schemas.microsoft.com/office/drawing/2014/main" id="{F3C862AD-8288-2D21-9DE0-2C796EBA7B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09" y="6329187"/>
            <a:ext cx="2151416" cy="3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127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5ACAC-175B-523A-E39A-C5C6A5E0E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3E12EF9-4865-F106-889E-D765AB1C77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0619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E12EF9-4865-F106-889E-D765AB1C7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2">
            <a:extLst>
              <a:ext uri="{FF2B5EF4-FFF2-40B4-BE49-F238E27FC236}">
                <a16:creationId xmlns:a16="http://schemas.microsoft.com/office/drawing/2014/main" id="{F73BCF6A-D117-7CF5-0BBD-5C9EAE3843A3}"/>
              </a:ext>
            </a:extLst>
          </p:cNvPr>
          <p:cNvSpPr/>
          <p:nvPr/>
        </p:nvSpPr>
        <p:spPr>
          <a:xfrm>
            <a:off x="7465102" y="92334"/>
            <a:ext cx="4726897" cy="6765666"/>
          </a:xfrm>
          <a:prstGeom prst="roundRect">
            <a:avLst>
              <a:gd name="adj" fmla="val 0"/>
            </a:avLst>
          </a:prstGeom>
          <a:solidFill>
            <a:schemeClr val="accent3">
              <a:alpha val="22932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39600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758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550ACA-658D-E643-4258-A61374117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00" y="586800"/>
            <a:ext cx="11472000" cy="1030292"/>
          </a:xfrm>
        </p:spPr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gsord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E61D27D-8B5A-C907-8308-797093D64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ED5D03-3AAF-F9F3-131C-5F3206008F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Graphic 55">
            <a:extLst>
              <a:ext uri="{FF2B5EF4-FFF2-40B4-BE49-F238E27FC236}">
                <a16:creationId xmlns:a16="http://schemas.microsoft.com/office/drawing/2014/main" id="{121C7A5C-D3BB-FC48-74EB-4CC1670BFF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606" t="53973" b="15223"/>
          <a:stretch>
            <a:fillRect/>
          </a:stretch>
        </p:blipFill>
        <p:spPr>
          <a:xfrm>
            <a:off x="7465102" y="4668670"/>
            <a:ext cx="4267384" cy="2204320"/>
          </a:xfrm>
          <a:prstGeom prst="rect">
            <a:avLst/>
          </a:prstGeom>
        </p:spPr>
      </p:pic>
      <p:pic>
        <p:nvPicPr>
          <p:cNvPr id="9" name="Graphic 3" descr="Target with solid fill">
            <a:extLst>
              <a:ext uri="{FF2B5EF4-FFF2-40B4-BE49-F238E27FC236}">
                <a16:creationId xmlns:a16="http://schemas.microsoft.com/office/drawing/2014/main" id="{B251BF67-D65B-E7AC-98C7-FD60E1370B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01639" y="256784"/>
            <a:ext cx="2053821" cy="2053821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FF838D77-AF94-6FBB-8DC8-1A6CCFE42906}"/>
              </a:ext>
            </a:extLst>
          </p:cNvPr>
          <p:cNvSpPr txBox="1"/>
          <p:nvPr/>
        </p:nvSpPr>
        <p:spPr>
          <a:xfrm rot="455371">
            <a:off x="4296018" y="2055216"/>
            <a:ext cx="2646720" cy="510778"/>
          </a:xfrm>
          <a:custGeom>
            <a:avLst/>
            <a:gdLst>
              <a:gd name="csX0" fmla="*/ 0 w 2646720"/>
              <a:gd name="csY0" fmla="*/ 85131 h 510778"/>
              <a:gd name="csX1" fmla="*/ 85131 w 2646720"/>
              <a:gd name="csY1" fmla="*/ 0 h 510778"/>
              <a:gd name="csX2" fmla="*/ 629952 w 2646720"/>
              <a:gd name="csY2" fmla="*/ 0 h 510778"/>
              <a:gd name="csX3" fmla="*/ 1174773 w 2646720"/>
              <a:gd name="csY3" fmla="*/ 0 h 510778"/>
              <a:gd name="csX4" fmla="*/ 1793887 w 2646720"/>
              <a:gd name="csY4" fmla="*/ 0 h 510778"/>
              <a:gd name="csX5" fmla="*/ 2561589 w 2646720"/>
              <a:gd name="csY5" fmla="*/ 0 h 510778"/>
              <a:gd name="csX6" fmla="*/ 2646720 w 2646720"/>
              <a:gd name="csY6" fmla="*/ 85131 h 510778"/>
              <a:gd name="csX7" fmla="*/ 2646720 w 2646720"/>
              <a:gd name="csY7" fmla="*/ 425647 h 510778"/>
              <a:gd name="csX8" fmla="*/ 2561589 w 2646720"/>
              <a:gd name="csY8" fmla="*/ 510778 h 510778"/>
              <a:gd name="csX9" fmla="*/ 2016768 w 2646720"/>
              <a:gd name="csY9" fmla="*/ 510778 h 510778"/>
              <a:gd name="csX10" fmla="*/ 1422418 w 2646720"/>
              <a:gd name="csY10" fmla="*/ 510778 h 510778"/>
              <a:gd name="csX11" fmla="*/ 852833 w 2646720"/>
              <a:gd name="csY11" fmla="*/ 510778 h 510778"/>
              <a:gd name="csX12" fmla="*/ 85131 w 2646720"/>
              <a:gd name="csY12" fmla="*/ 510778 h 510778"/>
              <a:gd name="csX13" fmla="*/ 0 w 2646720"/>
              <a:gd name="csY13" fmla="*/ 425647 h 510778"/>
              <a:gd name="csX14" fmla="*/ 0 w 2646720"/>
              <a:gd name="csY14" fmla="*/ 85131 h 5107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646720" h="510778" fill="none" extrusionOk="0">
                <a:moveTo>
                  <a:pt x="0" y="85131"/>
                </a:moveTo>
                <a:cubicBezTo>
                  <a:pt x="7851" y="35820"/>
                  <a:pt x="41741" y="4830"/>
                  <a:pt x="85131" y="0"/>
                </a:cubicBezTo>
                <a:cubicBezTo>
                  <a:pt x="199718" y="-26422"/>
                  <a:pt x="461560" y="16176"/>
                  <a:pt x="629952" y="0"/>
                </a:cubicBezTo>
                <a:cubicBezTo>
                  <a:pt x="798344" y="-16176"/>
                  <a:pt x="965931" y="-16244"/>
                  <a:pt x="1174773" y="0"/>
                </a:cubicBezTo>
                <a:cubicBezTo>
                  <a:pt x="1383615" y="16244"/>
                  <a:pt x="1565717" y="-1913"/>
                  <a:pt x="1793887" y="0"/>
                </a:cubicBezTo>
                <a:cubicBezTo>
                  <a:pt x="2022057" y="1913"/>
                  <a:pt x="2352265" y="-2278"/>
                  <a:pt x="2561589" y="0"/>
                </a:cubicBezTo>
                <a:cubicBezTo>
                  <a:pt x="2612839" y="2651"/>
                  <a:pt x="2646026" y="39804"/>
                  <a:pt x="2646720" y="85131"/>
                </a:cubicBezTo>
                <a:cubicBezTo>
                  <a:pt x="2642746" y="157754"/>
                  <a:pt x="2656361" y="272253"/>
                  <a:pt x="2646720" y="425647"/>
                </a:cubicBezTo>
                <a:cubicBezTo>
                  <a:pt x="2653582" y="470375"/>
                  <a:pt x="2602881" y="501532"/>
                  <a:pt x="2561589" y="510778"/>
                </a:cubicBezTo>
                <a:cubicBezTo>
                  <a:pt x="2378137" y="522652"/>
                  <a:pt x="2266450" y="488731"/>
                  <a:pt x="2016768" y="510778"/>
                </a:cubicBezTo>
                <a:cubicBezTo>
                  <a:pt x="1767086" y="532825"/>
                  <a:pt x="1623294" y="500618"/>
                  <a:pt x="1422418" y="510778"/>
                </a:cubicBezTo>
                <a:cubicBezTo>
                  <a:pt x="1221542" y="520939"/>
                  <a:pt x="1023571" y="506871"/>
                  <a:pt x="852833" y="510778"/>
                </a:cubicBezTo>
                <a:cubicBezTo>
                  <a:pt x="682095" y="514685"/>
                  <a:pt x="343731" y="535259"/>
                  <a:pt x="85131" y="510778"/>
                </a:cubicBezTo>
                <a:cubicBezTo>
                  <a:pt x="37012" y="509777"/>
                  <a:pt x="1156" y="471833"/>
                  <a:pt x="0" y="425647"/>
                </a:cubicBezTo>
                <a:cubicBezTo>
                  <a:pt x="50" y="283716"/>
                  <a:pt x="15364" y="221519"/>
                  <a:pt x="0" y="85131"/>
                </a:cubicBezTo>
                <a:close/>
              </a:path>
              <a:path w="2646720" h="510778" stroke="0" extrusionOk="0">
                <a:moveTo>
                  <a:pt x="0" y="85131"/>
                </a:moveTo>
                <a:cubicBezTo>
                  <a:pt x="835" y="39343"/>
                  <a:pt x="39372" y="-2380"/>
                  <a:pt x="85131" y="0"/>
                </a:cubicBezTo>
                <a:cubicBezTo>
                  <a:pt x="249916" y="7265"/>
                  <a:pt x="559891" y="-278"/>
                  <a:pt x="753775" y="0"/>
                </a:cubicBezTo>
                <a:cubicBezTo>
                  <a:pt x="947659" y="278"/>
                  <a:pt x="1124483" y="-14119"/>
                  <a:pt x="1348125" y="0"/>
                </a:cubicBezTo>
                <a:cubicBezTo>
                  <a:pt x="1571767" y="14119"/>
                  <a:pt x="1795141" y="-27538"/>
                  <a:pt x="1917710" y="0"/>
                </a:cubicBezTo>
                <a:cubicBezTo>
                  <a:pt x="2040280" y="27538"/>
                  <a:pt x="2251963" y="-10292"/>
                  <a:pt x="2561589" y="0"/>
                </a:cubicBezTo>
                <a:cubicBezTo>
                  <a:pt x="2604804" y="2441"/>
                  <a:pt x="2649707" y="41282"/>
                  <a:pt x="2646720" y="85131"/>
                </a:cubicBezTo>
                <a:cubicBezTo>
                  <a:pt x="2651731" y="221772"/>
                  <a:pt x="2644912" y="261270"/>
                  <a:pt x="2646720" y="425647"/>
                </a:cubicBezTo>
                <a:cubicBezTo>
                  <a:pt x="2645154" y="476307"/>
                  <a:pt x="2605298" y="503153"/>
                  <a:pt x="2561589" y="510778"/>
                </a:cubicBezTo>
                <a:cubicBezTo>
                  <a:pt x="2396916" y="533890"/>
                  <a:pt x="2137463" y="533974"/>
                  <a:pt x="1892945" y="510778"/>
                </a:cubicBezTo>
                <a:cubicBezTo>
                  <a:pt x="1648427" y="487582"/>
                  <a:pt x="1512762" y="534537"/>
                  <a:pt x="1224302" y="510778"/>
                </a:cubicBezTo>
                <a:cubicBezTo>
                  <a:pt x="935842" y="487019"/>
                  <a:pt x="538335" y="499065"/>
                  <a:pt x="85131" y="510778"/>
                </a:cubicBezTo>
                <a:cubicBezTo>
                  <a:pt x="33468" y="517716"/>
                  <a:pt x="7754" y="475517"/>
                  <a:pt x="0" y="425647"/>
                </a:cubicBezTo>
                <a:cubicBezTo>
                  <a:pt x="-6198" y="261958"/>
                  <a:pt x="-11075" y="232093"/>
                  <a:pt x="0" y="8513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416985888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gsorden tilpasses til dagen og de timer, der er til rådighed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9E7ED903-A502-C838-C4B4-F6B7F229A92A}"/>
              </a:ext>
            </a:extLst>
          </p:cNvPr>
          <p:cNvSpPr txBox="1"/>
          <p:nvPr/>
        </p:nvSpPr>
        <p:spPr>
          <a:xfrm>
            <a:off x="393942" y="2631298"/>
            <a:ext cx="6971648" cy="24524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.00 – 10.30	</a:t>
            </a:r>
            <a:r>
              <a:rPr lang="da-DK"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ktion og præsentation af baseline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.30 – 10.55	</a:t>
            </a:r>
            <a:r>
              <a:rPr lang="da-DK"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arbejde: </a:t>
            </a: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ælg ambitionsniveau og sætning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.55 – 11.25	</a:t>
            </a:r>
            <a:r>
              <a:rPr lang="da-DK"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num: </a:t>
            </a: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ighed om ambitionsniveau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.25 – 12.00	</a:t>
            </a:r>
            <a:r>
              <a:rPr lang="da-DK"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arbejde: </a:t>
            </a: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darbejd SMART-mål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.00 – 12.30	Frokost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.30 – 13.00	</a:t>
            </a:r>
            <a:r>
              <a:rPr lang="da-DK"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arbejde: </a:t>
            </a: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darbejd SMART-mål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.00 – 13.55	</a:t>
            </a:r>
            <a:r>
              <a:rPr lang="da-DK" sz="1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num: </a:t>
            </a: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æsentation af SMART-mål</a:t>
            </a:r>
          </a:p>
          <a:p>
            <a:pPr>
              <a:lnSpc>
                <a:spcPct val="150000"/>
              </a:lnSpc>
            </a:pPr>
            <a:r>
              <a:rPr lang="da-DK" sz="13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.55 – 14.00	Opsamling og næste skridt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392A6273-0BCD-BE55-BE57-2019CCB021C1}"/>
              </a:ext>
            </a:extLst>
          </p:cNvPr>
          <p:cNvSpPr txBox="1"/>
          <p:nvPr/>
        </p:nvSpPr>
        <p:spPr>
          <a:xfrm>
            <a:off x="7685314" y="2631298"/>
            <a:ext cx="4267384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ålet med workshoppen er 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bejde videre med de prioriterede målepunkt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slutte ambitionsniveau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stille klare må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abe et fælles mandat, som administrationen kan arbejde videre med.</a:t>
            </a:r>
          </a:p>
          <a:p>
            <a:endParaRPr lang="da-DK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296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2AECE6-D096-8223-1586-6E16BA58A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32">
            <a:extLst>
              <a:ext uri="{FF2B5EF4-FFF2-40B4-BE49-F238E27FC236}">
                <a16:creationId xmlns:a16="http://schemas.microsoft.com/office/drawing/2014/main" id="{A4C36940-AA74-664C-B80C-461EE667C63B}"/>
              </a:ext>
            </a:extLst>
          </p:cNvPr>
          <p:cNvGrpSpPr/>
          <p:nvPr/>
        </p:nvGrpSpPr>
        <p:grpSpPr>
          <a:xfrm rot="21410080">
            <a:off x="8428915" y="3735962"/>
            <a:ext cx="4384787" cy="4409200"/>
            <a:chOff x="8336051" y="3610471"/>
            <a:chExt cx="2227633" cy="2212181"/>
          </a:xfrm>
        </p:grpSpPr>
        <p:sp>
          <p:nvSpPr>
            <p:cNvPr id="3" name="Freeform: Shape 333">
              <a:extLst>
                <a:ext uri="{FF2B5EF4-FFF2-40B4-BE49-F238E27FC236}">
                  <a16:creationId xmlns:a16="http://schemas.microsoft.com/office/drawing/2014/main" id="{A4DFF444-1432-EAF1-EAF8-0067F914D9C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>
                <a:alpha val="39000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" name="Freeform: Shape 334">
              <a:extLst>
                <a:ext uri="{FF2B5EF4-FFF2-40B4-BE49-F238E27FC236}">
                  <a16:creationId xmlns:a16="http://schemas.microsoft.com/office/drawing/2014/main" id="{9D961215-8F26-3AFA-5051-B99FBB74166D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" name="Group 331">
            <a:extLst>
              <a:ext uri="{FF2B5EF4-FFF2-40B4-BE49-F238E27FC236}">
                <a16:creationId xmlns:a16="http://schemas.microsoft.com/office/drawing/2014/main" id="{C44FEA29-CF24-A0F1-9496-1BA8EDBD7D05}"/>
              </a:ext>
            </a:extLst>
          </p:cNvPr>
          <p:cNvGrpSpPr/>
          <p:nvPr/>
        </p:nvGrpSpPr>
        <p:grpSpPr>
          <a:xfrm>
            <a:off x="8759770" y="-1380057"/>
            <a:ext cx="4249559" cy="4478015"/>
            <a:chOff x="3092692" y="-1631033"/>
            <a:chExt cx="2192906" cy="2193874"/>
          </a:xfrm>
        </p:grpSpPr>
        <p:sp>
          <p:nvSpPr>
            <p:cNvPr id="6" name="Freeform: Shape 326">
              <a:extLst>
                <a:ext uri="{FF2B5EF4-FFF2-40B4-BE49-F238E27FC236}">
                  <a16:creationId xmlns:a16="http://schemas.microsoft.com/office/drawing/2014/main" id="{7BE70173-6E33-E149-E6B3-06EF83537F54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rgbClr val="F7CECA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" name="Freeform: Shape 327">
              <a:extLst>
                <a:ext uri="{FF2B5EF4-FFF2-40B4-BE49-F238E27FC236}">
                  <a16:creationId xmlns:a16="http://schemas.microsoft.com/office/drawing/2014/main" id="{C83C03D1-67F4-B212-6305-C397D3AC5800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>
                <a:alpha val="71319"/>
              </a:srgbClr>
            </a:solidFill>
            <a:ln w="5213" cap="flat">
              <a:solidFill>
                <a:srgbClr val="F7CECA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330">
            <a:extLst>
              <a:ext uri="{FF2B5EF4-FFF2-40B4-BE49-F238E27FC236}">
                <a16:creationId xmlns:a16="http://schemas.microsoft.com/office/drawing/2014/main" id="{049E280D-B8C1-252A-FCE4-A17ED3F6EDA3}"/>
              </a:ext>
            </a:extLst>
          </p:cNvPr>
          <p:cNvGrpSpPr/>
          <p:nvPr/>
        </p:nvGrpSpPr>
        <p:grpSpPr>
          <a:xfrm>
            <a:off x="4944668" y="760887"/>
            <a:ext cx="4921793" cy="4767083"/>
            <a:chOff x="4156082" y="-3024236"/>
            <a:chExt cx="2183420" cy="2200431"/>
          </a:xfrm>
        </p:grpSpPr>
        <p:sp>
          <p:nvSpPr>
            <p:cNvPr id="9" name="Freeform: Shape 328">
              <a:extLst>
                <a:ext uri="{FF2B5EF4-FFF2-40B4-BE49-F238E27FC236}">
                  <a16:creationId xmlns:a16="http://schemas.microsoft.com/office/drawing/2014/main" id="{4EA48753-3FFC-11BD-4A1D-22D6C6EB71BA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>
                <a:alpha val="49544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44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: Shape 329">
              <a:extLst>
                <a:ext uri="{FF2B5EF4-FFF2-40B4-BE49-F238E27FC236}">
                  <a16:creationId xmlns:a16="http://schemas.microsoft.com/office/drawing/2014/main" id="{EC8CBCF6-8BD1-A419-E1F7-C6613BDB9163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2" name="Tekstfelt 11">
            <a:extLst>
              <a:ext uri="{FF2B5EF4-FFF2-40B4-BE49-F238E27FC236}">
                <a16:creationId xmlns:a16="http://schemas.microsoft.com/office/drawing/2014/main" id="{A38F6E3C-1A64-B02A-E0AE-7D786F9B5608}"/>
              </a:ext>
            </a:extLst>
          </p:cNvPr>
          <p:cNvSpPr txBox="1"/>
          <p:nvPr/>
        </p:nvSpPr>
        <p:spPr>
          <a:xfrm>
            <a:off x="583292" y="2728621"/>
            <a:ext cx="458681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4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Intro til workshoppen</a:t>
            </a:r>
          </a:p>
        </p:txBody>
      </p:sp>
      <p:pic>
        <p:nvPicPr>
          <p:cNvPr id="13" name="Billede 12" descr="Et billede, der indeholder Grafik, grafisk design, Font/skrifttype, skærmbillede&#10;&#10;AI-genereret indhold kan være ukorrekt.">
            <a:extLst>
              <a:ext uri="{FF2B5EF4-FFF2-40B4-BE49-F238E27FC236}">
                <a16:creationId xmlns:a16="http://schemas.microsoft.com/office/drawing/2014/main" id="{6CA49742-F36D-947F-234F-758E9D2FBB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09" y="6329187"/>
            <a:ext cx="2151416" cy="3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40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FC2E28-C889-C330-EFD1-04F9DB6354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57A93F3-A6C8-F5A2-5B13-128E738FD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242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7A93F3-A6C8-F5A2-5B13-128E738FD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EFFCAF-2DFA-9F76-B86B-A305026C2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852" y="586002"/>
            <a:ext cx="11226147" cy="1030292"/>
          </a:xfrm>
        </p:spPr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dan er vi nået frem til i dag?</a:t>
            </a:r>
            <a:endParaRPr lang="da-DK" noProof="0">
              <a:solidFill>
                <a:srgbClr val="0F5B5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CB3E33-90D0-D5E7-1AE0-9B834BEAA6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DBC19C-64BB-C023-2480-15D1A41FA0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5852" y="2311894"/>
            <a:ext cx="3760874" cy="3016596"/>
          </a:xfrm>
        </p:spPr>
        <p:txBody>
          <a:bodyPr/>
          <a:lstStyle/>
          <a:p>
            <a:r>
              <a:rPr lang="da-DK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 har med </a:t>
            </a:r>
            <a:r>
              <a:rPr lang="da-DK" sz="1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Kompas</a:t>
            </a:r>
            <a:r>
              <a:rPr lang="da-DK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alyseret vores data og nuværende status i ‘</a:t>
            </a:r>
            <a:r>
              <a:rPr lang="da-DK" sz="18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in 1. Analyse</a:t>
            </a:r>
            <a:r>
              <a:rPr lang="da-DK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’, samt Prioriteret målepunkterne i ‘</a:t>
            </a:r>
            <a:r>
              <a:rPr lang="da-DK" sz="18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in 2. Prioritering og Handling</a:t>
            </a:r>
            <a:r>
              <a:rPr lang="da-DK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’</a:t>
            </a:r>
          </a:p>
          <a:p>
            <a:r>
              <a:rPr lang="da-DK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agens workshop har vi fokus på ambitioner og målsætninger, som klæder os på til Handlingsdelen af Trin 2.  </a:t>
            </a:r>
          </a:p>
        </p:txBody>
      </p:sp>
      <p:pic>
        <p:nvPicPr>
          <p:cNvPr id="48" name="Picture 47" descr="A diagram of a diagram&#10;&#10;AI-generated content may be incorrect.">
            <a:extLst>
              <a:ext uri="{FF2B5EF4-FFF2-40B4-BE49-F238E27FC236}">
                <a16:creationId xmlns:a16="http://schemas.microsoft.com/office/drawing/2014/main" id="{EA73F95F-6D05-7545-CBD4-32ADD03876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63" y="2283850"/>
            <a:ext cx="4214534" cy="3614687"/>
          </a:xfrm>
          <a:prstGeom prst="rect">
            <a:avLst/>
          </a:prstGeom>
        </p:spPr>
      </p:pic>
      <p:pic>
        <p:nvPicPr>
          <p:cNvPr id="49" name="Graphic 48" descr="Crawl with solid fill">
            <a:extLst>
              <a:ext uri="{FF2B5EF4-FFF2-40B4-BE49-F238E27FC236}">
                <a16:creationId xmlns:a16="http://schemas.microsoft.com/office/drawing/2014/main" id="{3226A837-1B71-6F85-8AF6-2FCFAE8A6D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36265" y="2138666"/>
            <a:ext cx="445510" cy="44551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2" name="Graphic 51" descr="Shoe footprints with solid fill">
            <a:extLst>
              <a:ext uri="{FF2B5EF4-FFF2-40B4-BE49-F238E27FC236}">
                <a16:creationId xmlns:a16="http://schemas.microsoft.com/office/drawing/2014/main" id="{5E026FE5-B90E-68A0-BE80-193484FAD5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740601">
            <a:off x="6138735" y="2071953"/>
            <a:ext cx="305041" cy="305041"/>
          </a:xfrm>
          <a:prstGeom prst="rect">
            <a:avLst/>
          </a:prstGeom>
        </p:spPr>
      </p:pic>
      <p:pic>
        <p:nvPicPr>
          <p:cNvPr id="53" name="Graphic 52" descr="Shoe footprints with solid fill">
            <a:extLst>
              <a:ext uri="{FF2B5EF4-FFF2-40B4-BE49-F238E27FC236}">
                <a16:creationId xmlns:a16="http://schemas.microsoft.com/office/drawing/2014/main" id="{E2E87CF9-129D-569B-41FC-A149AF3AF6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3723941">
            <a:off x="6622283" y="1855405"/>
            <a:ext cx="305041" cy="305041"/>
          </a:xfrm>
          <a:prstGeom prst="rect">
            <a:avLst/>
          </a:prstGeom>
        </p:spPr>
      </p:pic>
      <p:pic>
        <p:nvPicPr>
          <p:cNvPr id="57" name="Graphic 56" descr="Shoe footprints with solid fill">
            <a:extLst>
              <a:ext uri="{FF2B5EF4-FFF2-40B4-BE49-F238E27FC236}">
                <a16:creationId xmlns:a16="http://schemas.microsoft.com/office/drawing/2014/main" id="{9683324D-D4BC-1BA4-7367-82B483095B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4799937">
            <a:off x="7164215" y="1721480"/>
            <a:ext cx="305041" cy="305041"/>
          </a:xfrm>
          <a:prstGeom prst="rect">
            <a:avLst/>
          </a:prstGeom>
        </p:spPr>
      </p:pic>
      <p:pic>
        <p:nvPicPr>
          <p:cNvPr id="60" name="Graphic 59" descr="Shoe footprints with solid fill">
            <a:extLst>
              <a:ext uri="{FF2B5EF4-FFF2-40B4-BE49-F238E27FC236}">
                <a16:creationId xmlns:a16="http://schemas.microsoft.com/office/drawing/2014/main" id="{6690BDD1-4C62-05AE-369C-8DED702D32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6295020">
            <a:off x="7720413" y="1782657"/>
            <a:ext cx="305041" cy="305041"/>
          </a:xfrm>
          <a:prstGeom prst="rect">
            <a:avLst/>
          </a:prstGeom>
        </p:spPr>
      </p:pic>
      <p:pic>
        <p:nvPicPr>
          <p:cNvPr id="73" name="Graphic 72" descr="Walk with solid fill">
            <a:extLst>
              <a:ext uri="{FF2B5EF4-FFF2-40B4-BE49-F238E27FC236}">
                <a16:creationId xmlns:a16="http://schemas.microsoft.com/office/drawing/2014/main" id="{4E4B538A-0BA8-58A8-952D-39FB508B169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4024" y="2282458"/>
            <a:ext cx="446400" cy="446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78" name="Graphic 77" descr="Run with solid fill">
            <a:extLst>
              <a:ext uri="{FF2B5EF4-FFF2-40B4-BE49-F238E27FC236}">
                <a16:creationId xmlns:a16="http://schemas.microsoft.com/office/drawing/2014/main" id="{30AA033A-D791-24FE-83C1-24DE0135134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flipH="1">
            <a:off x="8239482" y="5664346"/>
            <a:ext cx="446400" cy="446400"/>
          </a:xfrm>
          <a:prstGeom prst="rect">
            <a:avLst/>
          </a:prstGeom>
        </p:spPr>
      </p:pic>
      <p:pic>
        <p:nvPicPr>
          <p:cNvPr id="83" name="Graphic 82" descr="Marker with solid fill">
            <a:extLst>
              <a:ext uri="{FF2B5EF4-FFF2-40B4-BE49-F238E27FC236}">
                <a16:creationId xmlns:a16="http://schemas.microsoft.com/office/drawing/2014/main" id="{7261F371-99CC-29B9-D27B-4EC9C56D56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062578" y="2439008"/>
            <a:ext cx="688219" cy="68821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Graphic 59" descr="Shoe footprints with solid fill">
            <a:extLst>
              <a:ext uri="{FF2B5EF4-FFF2-40B4-BE49-F238E27FC236}">
                <a16:creationId xmlns:a16="http://schemas.microsoft.com/office/drawing/2014/main" id="{F3333880-F48E-4A6E-75E5-EB1648B476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7015569">
            <a:off x="8178217" y="1954319"/>
            <a:ext cx="305041" cy="305041"/>
          </a:xfrm>
          <a:prstGeom prst="rect">
            <a:avLst/>
          </a:prstGeom>
        </p:spPr>
      </p:pic>
      <p:pic>
        <p:nvPicPr>
          <p:cNvPr id="7" name="Graphic 59" descr="Shoe footprints with solid fill">
            <a:extLst>
              <a:ext uri="{FF2B5EF4-FFF2-40B4-BE49-F238E27FC236}">
                <a16:creationId xmlns:a16="http://schemas.microsoft.com/office/drawing/2014/main" id="{CB1E0243-2F5F-C7AB-3F58-888AF02B0C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7304013">
            <a:off x="8546352" y="2143197"/>
            <a:ext cx="305041" cy="30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735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800B7DA7-F9D1-522C-FE1C-D6F5B5EA1ADD}"/>
              </a:ext>
            </a:extLst>
          </p:cNvPr>
          <p:cNvGrpSpPr/>
          <p:nvPr/>
        </p:nvGrpSpPr>
        <p:grpSpPr>
          <a:xfrm flipH="1">
            <a:off x="8839206" y="2154720"/>
            <a:ext cx="3362529" cy="3961507"/>
            <a:chOff x="-2260" y="1464909"/>
            <a:chExt cx="3965333" cy="4743052"/>
          </a:xfrm>
        </p:grpSpPr>
        <p:sp>
          <p:nvSpPr>
            <p:cNvPr id="25" name="Freeform: Shape 436">
              <a:extLst>
                <a:ext uri="{FF2B5EF4-FFF2-40B4-BE49-F238E27FC236}">
                  <a16:creationId xmlns:a16="http://schemas.microsoft.com/office/drawing/2014/main" id="{A4C6BE82-F612-D5E2-6AAF-C71483F101AC}"/>
                </a:ext>
              </a:extLst>
            </p:cNvPr>
            <p:cNvSpPr/>
            <p:nvPr/>
          </p:nvSpPr>
          <p:spPr>
            <a:xfrm>
              <a:off x="4090" y="1789557"/>
              <a:ext cx="3958983" cy="2592594"/>
            </a:xfrm>
            <a:custGeom>
              <a:avLst/>
              <a:gdLst>
                <a:gd name="connsiteX0" fmla="*/ 0 w 5278343"/>
                <a:gd name="connsiteY0" fmla="*/ 0 h 2746919"/>
                <a:gd name="connsiteX1" fmla="*/ 4465467 w 5278343"/>
                <a:gd name="connsiteY1" fmla="*/ 0 h 2746919"/>
                <a:gd name="connsiteX2" fmla="*/ 5278343 w 5278343"/>
                <a:gd name="connsiteY2" fmla="*/ 2341564 h 2746919"/>
                <a:gd name="connsiteX3" fmla="*/ 5137624 w 5278343"/>
                <a:gd name="connsiteY3" fmla="*/ 2746919 h 2746919"/>
                <a:gd name="connsiteX4" fmla="*/ 0 w 5278343"/>
                <a:gd name="connsiteY4" fmla="*/ 2746919 h 274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78343" h="2746919">
                  <a:moveTo>
                    <a:pt x="0" y="0"/>
                  </a:moveTo>
                  <a:lnTo>
                    <a:pt x="4465467" y="0"/>
                  </a:lnTo>
                  <a:lnTo>
                    <a:pt x="5278343" y="2341564"/>
                  </a:lnTo>
                  <a:lnTo>
                    <a:pt x="5137624" y="2746919"/>
                  </a:lnTo>
                  <a:lnTo>
                    <a:pt x="0" y="27469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Freeform: Shape 438">
              <a:extLst>
                <a:ext uri="{FF2B5EF4-FFF2-40B4-BE49-F238E27FC236}">
                  <a16:creationId xmlns:a16="http://schemas.microsoft.com/office/drawing/2014/main" id="{C1EC04DD-C9F9-569C-048E-D73CF4E3F6AC}"/>
                </a:ext>
              </a:extLst>
            </p:cNvPr>
            <p:cNvSpPr/>
            <p:nvPr/>
          </p:nvSpPr>
          <p:spPr>
            <a:xfrm>
              <a:off x="7827" y="4343551"/>
              <a:ext cx="3826775" cy="1864410"/>
            </a:xfrm>
            <a:custGeom>
              <a:avLst/>
              <a:gdLst>
                <a:gd name="connsiteX0" fmla="*/ 0 w 5089667"/>
                <a:gd name="connsiteY0" fmla="*/ 0 h 1809038"/>
                <a:gd name="connsiteX1" fmla="*/ 5089667 w 5089667"/>
                <a:gd name="connsiteY1" fmla="*/ 0 h 1809038"/>
                <a:gd name="connsiteX2" fmla="*/ 4461657 w 5089667"/>
                <a:gd name="connsiteY2" fmla="*/ 1809038 h 1809038"/>
                <a:gd name="connsiteX3" fmla="*/ 0 w 5089667"/>
                <a:gd name="connsiteY3" fmla="*/ 1809038 h 180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9667" h="1809038">
                  <a:moveTo>
                    <a:pt x="0" y="0"/>
                  </a:moveTo>
                  <a:lnTo>
                    <a:pt x="5089667" y="0"/>
                  </a:lnTo>
                  <a:lnTo>
                    <a:pt x="4461657" y="1809038"/>
                  </a:lnTo>
                  <a:lnTo>
                    <a:pt x="0" y="18090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Aft>
                  <a:spcPts val="300"/>
                </a:spcAft>
              </a:pPr>
              <a:endParaRPr lang="da-DK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Freeform: Shape 9">
              <a:extLst>
                <a:ext uri="{FF2B5EF4-FFF2-40B4-BE49-F238E27FC236}">
                  <a16:creationId xmlns:a16="http://schemas.microsoft.com/office/drawing/2014/main" id="{2D564D76-6033-BBE1-9B4A-CCDA9565B89F}"/>
                </a:ext>
              </a:extLst>
            </p:cNvPr>
            <p:cNvSpPr/>
            <p:nvPr/>
          </p:nvSpPr>
          <p:spPr>
            <a:xfrm>
              <a:off x="3378773" y="1899970"/>
              <a:ext cx="583945" cy="2482181"/>
            </a:xfrm>
            <a:custGeom>
              <a:avLst/>
              <a:gdLst>
                <a:gd name="connsiteX0" fmla="*/ 0 w 787400"/>
                <a:gd name="connsiteY0" fmla="*/ 0 h 2559050"/>
                <a:gd name="connsiteX1" fmla="*/ 787400 w 787400"/>
                <a:gd name="connsiteY1" fmla="*/ 2241550 h 2559050"/>
                <a:gd name="connsiteX2" fmla="*/ 673100 w 787400"/>
                <a:gd name="connsiteY2" fmla="*/ 2559050 h 255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400" h="2559050">
                  <a:moveTo>
                    <a:pt x="0" y="0"/>
                  </a:moveTo>
                  <a:lnTo>
                    <a:pt x="787400" y="2241550"/>
                  </a:lnTo>
                  <a:lnTo>
                    <a:pt x="673100" y="2559050"/>
                  </a:lnTo>
                </a:path>
              </a:pathLst>
            </a:custGeom>
            <a:noFill/>
            <a:ln w="15875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Freeform: Shape 11">
              <a:extLst>
                <a:ext uri="{FF2B5EF4-FFF2-40B4-BE49-F238E27FC236}">
                  <a16:creationId xmlns:a16="http://schemas.microsoft.com/office/drawing/2014/main" id="{F00500CE-181D-B05F-9F7A-876490B82B01}"/>
                </a:ext>
              </a:extLst>
            </p:cNvPr>
            <p:cNvSpPr/>
            <p:nvPr/>
          </p:nvSpPr>
          <p:spPr>
            <a:xfrm>
              <a:off x="4089" y="4382151"/>
              <a:ext cx="3854999" cy="1825809"/>
            </a:xfrm>
            <a:custGeom>
              <a:avLst/>
              <a:gdLst>
                <a:gd name="connsiteX0" fmla="*/ 4997450 w 4997450"/>
                <a:gd name="connsiteY0" fmla="*/ 0 h 1657350"/>
                <a:gd name="connsiteX1" fmla="*/ 4419600 w 4997450"/>
                <a:gd name="connsiteY1" fmla="*/ 1657350 h 1657350"/>
                <a:gd name="connsiteX2" fmla="*/ 0 w 4997450"/>
                <a:gd name="connsiteY2" fmla="*/ 1657350 h 165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97450" h="1657350">
                  <a:moveTo>
                    <a:pt x="4997450" y="0"/>
                  </a:moveTo>
                  <a:lnTo>
                    <a:pt x="4419600" y="1657350"/>
                  </a:lnTo>
                  <a:lnTo>
                    <a:pt x="0" y="1657350"/>
                  </a:lnTo>
                </a:path>
              </a:pathLst>
            </a:custGeom>
            <a:noFill/>
            <a:ln w="15875">
              <a:solidFill>
                <a:schemeClr val="accent1">
                  <a:lumMod val="90000"/>
                  <a:lumOff val="1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Freeform: Shape 3">
              <a:extLst>
                <a:ext uri="{FF2B5EF4-FFF2-40B4-BE49-F238E27FC236}">
                  <a16:creationId xmlns:a16="http://schemas.microsoft.com/office/drawing/2014/main" id="{F26F3B77-B33C-9FBF-D9F0-58AF73EEB555}"/>
                </a:ext>
              </a:extLst>
            </p:cNvPr>
            <p:cNvSpPr/>
            <p:nvPr/>
          </p:nvSpPr>
          <p:spPr>
            <a:xfrm>
              <a:off x="2365822" y="3100258"/>
              <a:ext cx="145978" cy="219030"/>
            </a:xfrm>
            <a:custGeom>
              <a:avLst/>
              <a:gdLst>
                <a:gd name="connsiteX0" fmla="*/ 69056 w 140538"/>
                <a:gd name="connsiteY0" fmla="*/ 45 h 181020"/>
                <a:gd name="connsiteX1" fmla="*/ 54768 w 140538"/>
                <a:gd name="connsiteY1" fmla="*/ 38145 h 181020"/>
                <a:gd name="connsiteX2" fmla="*/ 47625 w 140538"/>
                <a:gd name="connsiteY2" fmla="*/ 45289 h 181020"/>
                <a:gd name="connsiteX3" fmla="*/ 40481 w 140538"/>
                <a:gd name="connsiteY3" fmla="*/ 61958 h 181020"/>
                <a:gd name="connsiteX4" fmla="*/ 35718 w 140538"/>
                <a:gd name="connsiteY4" fmla="*/ 69101 h 181020"/>
                <a:gd name="connsiteX5" fmla="*/ 30956 w 140538"/>
                <a:gd name="connsiteY5" fmla="*/ 85770 h 181020"/>
                <a:gd name="connsiteX6" fmla="*/ 26193 w 140538"/>
                <a:gd name="connsiteY6" fmla="*/ 92914 h 181020"/>
                <a:gd name="connsiteX7" fmla="*/ 11906 w 140538"/>
                <a:gd name="connsiteY7" fmla="*/ 131014 h 181020"/>
                <a:gd name="connsiteX8" fmla="*/ 0 w 140538"/>
                <a:gd name="connsiteY8" fmla="*/ 152445 h 181020"/>
                <a:gd name="connsiteX9" fmla="*/ 2381 w 140538"/>
                <a:gd name="connsiteY9" fmla="*/ 161970 h 181020"/>
                <a:gd name="connsiteX10" fmla="*/ 11906 w 140538"/>
                <a:gd name="connsiteY10" fmla="*/ 166733 h 181020"/>
                <a:gd name="connsiteX11" fmla="*/ 50006 w 140538"/>
                <a:gd name="connsiteY11" fmla="*/ 173876 h 181020"/>
                <a:gd name="connsiteX12" fmla="*/ 69056 w 140538"/>
                <a:gd name="connsiteY12" fmla="*/ 176258 h 181020"/>
                <a:gd name="connsiteX13" fmla="*/ 138112 w 140538"/>
                <a:gd name="connsiteY13" fmla="*/ 181020 h 181020"/>
                <a:gd name="connsiteX14" fmla="*/ 140493 w 140538"/>
                <a:gd name="connsiteY14" fmla="*/ 169114 h 181020"/>
                <a:gd name="connsiteX15" fmla="*/ 135731 w 140538"/>
                <a:gd name="connsiteY15" fmla="*/ 154826 h 181020"/>
                <a:gd name="connsiteX16" fmla="*/ 130968 w 140538"/>
                <a:gd name="connsiteY16" fmla="*/ 133395 h 181020"/>
                <a:gd name="connsiteX17" fmla="*/ 126206 w 140538"/>
                <a:gd name="connsiteY17" fmla="*/ 123870 h 181020"/>
                <a:gd name="connsiteX18" fmla="*/ 121443 w 140538"/>
                <a:gd name="connsiteY18" fmla="*/ 109583 h 181020"/>
                <a:gd name="connsiteX19" fmla="*/ 119062 w 140538"/>
                <a:gd name="connsiteY19" fmla="*/ 97676 h 181020"/>
                <a:gd name="connsiteX20" fmla="*/ 111918 w 140538"/>
                <a:gd name="connsiteY20" fmla="*/ 88151 h 181020"/>
                <a:gd name="connsiteX21" fmla="*/ 104775 w 140538"/>
                <a:gd name="connsiteY21" fmla="*/ 73864 h 181020"/>
                <a:gd name="connsiteX22" fmla="*/ 102393 w 140538"/>
                <a:gd name="connsiteY22" fmla="*/ 64339 h 181020"/>
                <a:gd name="connsiteX23" fmla="*/ 95250 w 140538"/>
                <a:gd name="connsiteY23" fmla="*/ 54814 h 181020"/>
                <a:gd name="connsiteX24" fmla="*/ 78581 w 140538"/>
                <a:gd name="connsiteY24" fmla="*/ 31001 h 181020"/>
                <a:gd name="connsiteX25" fmla="*/ 69056 w 140538"/>
                <a:gd name="connsiteY25" fmla="*/ 45 h 18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538" h="181020">
                  <a:moveTo>
                    <a:pt x="69056" y="45"/>
                  </a:moveTo>
                  <a:cubicBezTo>
                    <a:pt x="65087" y="1236"/>
                    <a:pt x="64358" y="28553"/>
                    <a:pt x="54768" y="38145"/>
                  </a:cubicBezTo>
                  <a:cubicBezTo>
                    <a:pt x="52387" y="40526"/>
                    <a:pt x="49582" y="42549"/>
                    <a:pt x="47625" y="45289"/>
                  </a:cubicBezTo>
                  <a:cubicBezTo>
                    <a:pt x="39359" y="56861"/>
                    <a:pt x="45667" y="51586"/>
                    <a:pt x="40481" y="61958"/>
                  </a:cubicBezTo>
                  <a:cubicBezTo>
                    <a:pt x="39201" y="64518"/>
                    <a:pt x="37306" y="66720"/>
                    <a:pt x="35718" y="69101"/>
                  </a:cubicBezTo>
                  <a:cubicBezTo>
                    <a:pt x="34955" y="72151"/>
                    <a:pt x="32664" y="82355"/>
                    <a:pt x="30956" y="85770"/>
                  </a:cubicBezTo>
                  <a:cubicBezTo>
                    <a:pt x="29676" y="88330"/>
                    <a:pt x="27781" y="90533"/>
                    <a:pt x="26193" y="92914"/>
                  </a:cubicBezTo>
                  <a:cubicBezTo>
                    <a:pt x="21261" y="122507"/>
                    <a:pt x="27978" y="90838"/>
                    <a:pt x="11906" y="131014"/>
                  </a:cubicBezTo>
                  <a:cubicBezTo>
                    <a:pt x="5669" y="146605"/>
                    <a:pt x="9708" y="139500"/>
                    <a:pt x="0" y="152445"/>
                  </a:cubicBezTo>
                  <a:cubicBezTo>
                    <a:pt x="794" y="155620"/>
                    <a:pt x="286" y="159456"/>
                    <a:pt x="2381" y="161970"/>
                  </a:cubicBezTo>
                  <a:cubicBezTo>
                    <a:pt x="4653" y="164697"/>
                    <a:pt x="8610" y="165415"/>
                    <a:pt x="11906" y="166733"/>
                  </a:cubicBezTo>
                  <a:cubicBezTo>
                    <a:pt x="29414" y="173736"/>
                    <a:pt x="28106" y="171442"/>
                    <a:pt x="50006" y="173876"/>
                  </a:cubicBezTo>
                  <a:cubicBezTo>
                    <a:pt x="56366" y="174583"/>
                    <a:pt x="62677" y="175741"/>
                    <a:pt x="69056" y="176258"/>
                  </a:cubicBezTo>
                  <a:cubicBezTo>
                    <a:pt x="92054" y="178123"/>
                    <a:pt x="115093" y="179433"/>
                    <a:pt x="138112" y="181020"/>
                  </a:cubicBezTo>
                  <a:cubicBezTo>
                    <a:pt x="138906" y="177051"/>
                    <a:pt x="140859" y="173145"/>
                    <a:pt x="140493" y="169114"/>
                  </a:cubicBezTo>
                  <a:cubicBezTo>
                    <a:pt x="140039" y="164114"/>
                    <a:pt x="136556" y="159778"/>
                    <a:pt x="135731" y="154826"/>
                  </a:cubicBezTo>
                  <a:cubicBezTo>
                    <a:pt x="134303" y="146255"/>
                    <a:pt x="134167" y="140860"/>
                    <a:pt x="130968" y="133395"/>
                  </a:cubicBezTo>
                  <a:cubicBezTo>
                    <a:pt x="129570" y="130132"/>
                    <a:pt x="127524" y="127166"/>
                    <a:pt x="126206" y="123870"/>
                  </a:cubicBezTo>
                  <a:cubicBezTo>
                    <a:pt x="124342" y="119209"/>
                    <a:pt x="122764" y="114426"/>
                    <a:pt x="121443" y="109583"/>
                  </a:cubicBezTo>
                  <a:cubicBezTo>
                    <a:pt x="120378" y="105678"/>
                    <a:pt x="120706" y="101375"/>
                    <a:pt x="119062" y="97676"/>
                  </a:cubicBezTo>
                  <a:cubicBezTo>
                    <a:pt x="117450" y="94049"/>
                    <a:pt x="114299" y="91326"/>
                    <a:pt x="111918" y="88151"/>
                  </a:cubicBezTo>
                  <a:cubicBezTo>
                    <a:pt x="101888" y="58062"/>
                    <a:pt x="118619" y="106165"/>
                    <a:pt x="104775" y="73864"/>
                  </a:cubicBezTo>
                  <a:cubicBezTo>
                    <a:pt x="103486" y="70856"/>
                    <a:pt x="103857" y="67266"/>
                    <a:pt x="102393" y="64339"/>
                  </a:cubicBezTo>
                  <a:cubicBezTo>
                    <a:pt x="100618" y="60789"/>
                    <a:pt x="97177" y="58283"/>
                    <a:pt x="95250" y="54814"/>
                  </a:cubicBezTo>
                  <a:cubicBezTo>
                    <a:pt x="82413" y="31707"/>
                    <a:pt x="101374" y="53796"/>
                    <a:pt x="78581" y="31001"/>
                  </a:cubicBezTo>
                  <a:cubicBezTo>
                    <a:pt x="75295" y="21143"/>
                    <a:pt x="73025" y="-1146"/>
                    <a:pt x="69056" y="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0" name="Freeform: Shape 120">
              <a:extLst>
                <a:ext uri="{FF2B5EF4-FFF2-40B4-BE49-F238E27FC236}">
                  <a16:creationId xmlns:a16="http://schemas.microsoft.com/office/drawing/2014/main" id="{3648913D-9EC6-B38E-C566-2F481E907FFD}"/>
                </a:ext>
              </a:extLst>
            </p:cNvPr>
            <p:cNvSpPr/>
            <p:nvPr/>
          </p:nvSpPr>
          <p:spPr>
            <a:xfrm rot="10800000">
              <a:off x="-2260" y="1687355"/>
              <a:ext cx="3381033" cy="129823"/>
            </a:xfrm>
            <a:custGeom>
              <a:avLst/>
              <a:gdLst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994787 w 11867103"/>
                <a:gd name="connsiteY7" fmla="*/ 80387 h 2964609"/>
                <a:gd name="connsiteX8" fmla="*/ 1356528 w 11867103"/>
                <a:gd name="connsiteY8" fmla="*/ 80387 h 2964609"/>
                <a:gd name="connsiteX9" fmla="*/ 1758462 w 11867103"/>
                <a:gd name="connsiteY9" fmla="*/ 40193 h 2964609"/>
                <a:gd name="connsiteX10" fmla="*/ 1889090 w 11867103"/>
                <a:gd name="connsiteY10" fmla="*/ 20097 h 2964609"/>
                <a:gd name="connsiteX11" fmla="*/ 2140299 w 11867103"/>
                <a:gd name="connsiteY11" fmla="*/ 40193 h 2964609"/>
                <a:gd name="connsiteX12" fmla="*/ 2200589 w 11867103"/>
                <a:gd name="connsiteY12" fmla="*/ 50242 h 2964609"/>
                <a:gd name="connsiteX13" fmla="*/ 4652387 w 11867103"/>
                <a:gd name="connsiteY13" fmla="*/ 60290 h 2964609"/>
                <a:gd name="connsiteX14" fmla="*/ 4692580 w 11867103"/>
                <a:gd name="connsiteY14" fmla="*/ 70339 h 2964609"/>
                <a:gd name="connsiteX15" fmla="*/ 4843306 w 11867103"/>
                <a:gd name="connsiteY15" fmla="*/ 90435 h 2964609"/>
                <a:gd name="connsiteX16" fmla="*/ 5677319 w 11867103"/>
                <a:gd name="connsiteY16" fmla="*/ 80387 h 2964609"/>
                <a:gd name="connsiteX17" fmla="*/ 6169688 w 11867103"/>
                <a:gd name="connsiteY17" fmla="*/ 110532 h 2964609"/>
                <a:gd name="connsiteX18" fmla="*/ 6420897 w 11867103"/>
                <a:gd name="connsiteY18" fmla="*/ 90435 h 2964609"/>
                <a:gd name="connsiteX19" fmla="*/ 6511332 w 11867103"/>
                <a:gd name="connsiteY19" fmla="*/ 30145 h 2964609"/>
                <a:gd name="connsiteX20" fmla="*/ 6571622 w 11867103"/>
                <a:gd name="connsiteY20" fmla="*/ 20097 h 2964609"/>
                <a:gd name="connsiteX21" fmla="*/ 6641961 w 11867103"/>
                <a:gd name="connsiteY21" fmla="*/ 0 h 2964609"/>
                <a:gd name="connsiteX22" fmla="*/ 7204668 w 11867103"/>
                <a:gd name="connsiteY22" fmla="*/ 10048 h 2964609"/>
                <a:gd name="connsiteX23" fmla="*/ 7285055 w 11867103"/>
                <a:gd name="connsiteY23" fmla="*/ 30145 h 2964609"/>
                <a:gd name="connsiteX24" fmla="*/ 7375490 w 11867103"/>
                <a:gd name="connsiteY24" fmla="*/ 40193 h 2964609"/>
                <a:gd name="connsiteX25" fmla="*/ 7928150 w 11867103"/>
                <a:gd name="connsiteY25" fmla="*/ 60290 h 2964609"/>
                <a:gd name="connsiteX26" fmla="*/ 8109020 w 11867103"/>
                <a:gd name="connsiteY26" fmla="*/ 80387 h 2964609"/>
                <a:gd name="connsiteX27" fmla="*/ 8219552 w 11867103"/>
                <a:gd name="connsiteY27" fmla="*/ 90435 h 2964609"/>
                <a:gd name="connsiteX28" fmla="*/ 8299939 w 11867103"/>
                <a:gd name="connsiteY28" fmla="*/ 100484 h 2964609"/>
                <a:gd name="connsiteX29" fmla="*/ 8521002 w 11867103"/>
                <a:gd name="connsiteY29" fmla="*/ 110532 h 2964609"/>
                <a:gd name="connsiteX30" fmla="*/ 9515789 w 11867103"/>
                <a:gd name="connsiteY30" fmla="*/ 100484 h 2964609"/>
                <a:gd name="connsiteX31" fmla="*/ 9606224 w 11867103"/>
                <a:gd name="connsiteY31" fmla="*/ 90435 h 2964609"/>
                <a:gd name="connsiteX32" fmla="*/ 9716756 w 11867103"/>
                <a:gd name="connsiteY32" fmla="*/ 80387 h 2964609"/>
                <a:gd name="connsiteX33" fmla="*/ 9797143 w 11867103"/>
                <a:gd name="connsiteY33" fmla="*/ 70339 h 2964609"/>
                <a:gd name="connsiteX34" fmla="*/ 9947868 w 11867103"/>
                <a:gd name="connsiteY34" fmla="*/ 60290 h 2964609"/>
                <a:gd name="connsiteX35" fmla="*/ 10791930 w 11867103"/>
                <a:gd name="connsiteY35" fmla="*/ 30145 h 2964609"/>
                <a:gd name="connsiteX36" fmla="*/ 11736475 w 11867103"/>
                <a:gd name="connsiteY36" fmla="*/ 50242 h 2964609"/>
                <a:gd name="connsiteX37" fmla="*/ 11766620 w 11867103"/>
                <a:gd name="connsiteY37" fmla="*/ 80387 h 2964609"/>
                <a:gd name="connsiteX38" fmla="*/ 11786717 w 11867103"/>
                <a:gd name="connsiteY38" fmla="*/ 120580 h 2964609"/>
                <a:gd name="connsiteX39" fmla="*/ 11806813 w 11867103"/>
                <a:gd name="connsiteY39" fmla="*/ 211015 h 2964609"/>
                <a:gd name="connsiteX40" fmla="*/ 11816862 w 11867103"/>
                <a:gd name="connsiteY40" fmla="*/ 251209 h 2964609"/>
                <a:gd name="connsiteX41" fmla="*/ 11826910 w 11867103"/>
                <a:gd name="connsiteY41" fmla="*/ 341644 h 2964609"/>
                <a:gd name="connsiteX42" fmla="*/ 11836958 w 11867103"/>
                <a:gd name="connsiteY42" fmla="*/ 422031 h 2964609"/>
                <a:gd name="connsiteX43" fmla="*/ 11826910 w 11867103"/>
                <a:gd name="connsiteY43" fmla="*/ 733530 h 2964609"/>
                <a:gd name="connsiteX44" fmla="*/ 11816862 w 11867103"/>
                <a:gd name="connsiteY44" fmla="*/ 793820 h 2964609"/>
                <a:gd name="connsiteX45" fmla="*/ 11806813 w 11867103"/>
                <a:gd name="connsiteY45" fmla="*/ 864158 h 2964609"/>
                <a:gd name="connsiteX46" fmla="*/ 11816862 w 11867103"/>
                <a:gd name="connsiteY46" fmla="*/ 2331218 h 2964609"/>
                <a:gd name="connsiteX47" fmla="*/ 11826910 w 11867103"/>
                <a:gd name="connsiteY47" fmla="*/ 2401556 h 2964609"/>
                <a:gd name="connsiteX48" fmla="*/ 11836958 w 11867103"/>
                <a:gd name="connsiteY48" fmla="*/ 2431701 h 2964609"/>
                <a:gd name="connsiteX49" fmla="*/ 11857055 w 11867103"/>
                <a:gd name="connsiteY49" fmla="*/ 2562330 h 2964609"/>
                <a:gd name="connsiteX50" fmla="*/ 11867103 w 11867103"/>
                <a:gd name="connsiteY50" fmla="*/ 2602523 h 2964609"/>
                <a:gd name="connsiteX51" fmla="*/ 11857055 w 11867103"/>
                <a:gd name="connsiteY51" fmla="*/ 2833635 h 2964609"/>
                <a:gd name="connsiteX52" fmla="*/ 11836958 w 11867103"/>
                <a:gd name="connsiteY52" fmla="*/ 2863780 h 2964609"/>
                <a:gd name="connsiteX53" fmla="*/ 11033090 w 11867103"/>
                <a:gd name="connsiteY53" fmla="*/ 2853732 h 2964609"/>
                <a:gd name="connsiteX54" fmla="*/ 10621108 w 11867103"/>
                <a:gd name="connsiteY54" fmla="*/ 2843684 h 2964609"/>
                <a:gd name="connsiteX55" fmla="*/ 10128739 w 11867103"/>
                <a:gd name="connsiteY55" fmla="*/ 2853732 h 2964609"/>
                <a:gd name="connsiteX56" fmla="*/ 10048352 w 11867103"/>
                <a:gd name="connsiteY56" fmla="*/ 2863780 h 2964609"/>
                <a:gd name="connsiteX57" fmla="*/ 9555982 w 11867103"/>
                <a:gd name="connsiteY57" fmla="*/ 2853732 h 2964609"/>
                <a:gd name="connsiteX58" fmla="*/ 9445451 w 11867103"/>
                <a:gd name="connsiteY58" fmla="*/ 2843684 h 2964609"/>
                <a:gd name="connsiteX59" fmla="*/ 9415306 w 11867103"/>
                <a:gd name="connsiteY59" fmla="*/ 2823587 h 2964609"/>
                <a:gd name="connsiteX60" fmla="*/ 9204290 w 11867103"/>
                <a:gd name="connsiteY60" fmla="*/ 2803490 h 2964609"/>
                <a:gd name="connsiteX61" fmla="*/ 9073662 w 11867103"/>
                <a:gd name="connsiteY61" fmla="*/ 2783393 h 2964609"/>
                <a:gd name="connsiteX62" fmla="*/ 8812404 w 11867103"/>
                <a:gd name="connsiteY62" fmla="*/ 2773345 h 2964609"/>
                <a:gd name="connsiteX63" fmla="*/ 8400422 w 11867103"/>
                <a:gd name="connsiteY63" fmla="*/ 2763297 h 2964609"/>
                <a:gd name="connsiteX64" fmla="*/ 8269793 w 11867103"/>
                <a:gd name="connsiteY64" fmla="*/ 2753248 h 2964609"/>
                <a:gd name="connsiteX65" fmla="*/ 7797521 w 11867103"/>
                <a:gd name="connsiteY65" fmla="*/ 2773345 h 2964609"/>
                <a:gd name="connsiteX66" fmla="*/ 7717134 w 11867103"/>
                <a:gd name="connsiteY66" fmla="*/ 2783393 h 2964609"/>
                <a:gd name="connsiteX67" fmla="*/ 7486022 w 11867103"/>
                <a:gd name="connsiteY67" fmla="*/ 2813539 h 2964609"/>
                <a:gd name="connsiteX68" fmla="*/ 7395587 w 11867103"/>
                <a:gd name="connsiteY68" fmla="*/ 2833635 h 2964609"/>
                <a:gd name="connsiteX69" fmla="*/ 7325248 w 11867103"/>
                <a:gd name="connsiteY69" fmla="*/ 2843684 h 2964609"/>
                <a:gd name="connsiteX70" fmla="*/ 6863024 w 11867103"/>
                <a:gd name="connsiteY70" fmla="*/ 2833635 h 2964609"/>
                <a:gd name="connsiteX71" fmla="*/ 6722347 w 11867103"/>
                <a:gd name="connsiteY71" fmla="*/ 2823587 h 2964609"/>
                <a:gd name="connsiteX72" fmla="*/ 4903596 w 11867103"/>
                <a:gd name="connsiteY72" fmla="*/ 2873829 h 2964609"/>
                <a:gd name="connsiteX73" fmla="*/ 4722725 w 11867103"/>
                <a:gd name="connsiteY73" fmla="*/ 2914022 h 2964609"/>
                <a:gd name="connsiteX74" fmla="*/ 4300695 w 11867103"/>
                <a:gd name="connsiteY74" fmla="*/ 2893925 h 2964609"/>
                <a:gd name="connsiteX75" fmla="*/ 4059534 w 11867103"/>
                <a:gd name="connsiteY75" fmla="*/ 2853732 h 2964609"/>
                <a:gd name="connsiteX76" fmla="*/ 3768132 w 11867103"/>
                <a:gd name="connsiteY76" fmla="*/ 2823587 h 2964609"/>
                <a:gd name="connsiteX77" fmla="*/ 3627455 w 11867103"/>
                <a:gd name="connsiteY77" fmla="*/ 2813539 h 2964609"/>
                <a:gd name="connsiteX78" fmla="*/ 3125037 w 11867103"/>
                <a:gd name="connsiteY78" fmla="*/ 2823587 h 2964609"/>
                <a:gd name="connsiteX79" fmla="*/ 3064747 w 11867103"/>
                <a:gd name="connsiteY79" fmla="*/ 2833635 h 2964609"/>
                <a:gd name="connsiteX80" fmla="*/ 2009670 w 11867103"/>
                <a:gd name="connsiteY80" fmla="*/ 2843684 h 2964609"/>
                <a:gd name="connsiteX81" fmla="*/ 1678075 w 11867103"/>
                <a:gd name="connsiteY81" fmla="*/ 2934119 h 2964609"/>
                <a:gd name="connsiteX82" fmla="*/ 1607736 w 11867103"/>
                <a:gd name="connsiteY82" fmla="*/ 2964264 h 2964609"/>
                <a:gd name="connsiteX83" fmla="*/ 1135464 w 11867103"/>
                <a:gd name="connsiteY83" fmla="*/ 2944167 h 2964609"/>
                <a:gd name="connsiteX84" fmla="*/ 944545 w 11867103"/>
                <a:gd name="connsiteY84" fmla="*/ 2914022 h 2964609"/>
                <a:gd name="connsiteX85" fmla="*/ 723481 w 11867103"/>
                <a:gd name="connsiteY85" fmla="*/ 2873829 h 2964609"/>
                <a:gd name="connsiteX86" fmla="*/ 643095 w 11867103"/>
                <a:gd name="connsiteY86" fmla="*/ 2863780 h 2964609"/>
                <a:gd name="connsiteX87" fmla="*/ 371789 w 11867103"/>
                <a:gd name="connsiteY87" fmla="*/ 2823587 h 2964609"/>
                <a:gd name="connsiteX88" fmla="*/ 0 w 11867103"/>
                <a:gd name="connsiteY88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1356528 w 11867103"/>
                <a:gd name="connsiteY7" fmla="*/ 80387 h 2964609"/>
                <a:gd name="connsiteX8" fmla="*/ 1758462 w 11867103"/>
                <a:gd name="connsiteY8" fmla="*/ 40193 h 2964609"/>
                <a:gd name="connsiteX9" fmla="*/ 1889090 w 11867103"/>
                <a:gd name="connsiteY9" fmla="*/ 20097 h 2964609"/>
                <a:gd name="connsiteX10" fmla="*/ 2140299 w 11867103"/>
                <a:gd name="connsiteY10" fmla="*/ 40193 h 2964609"/>
                <a:gd name="connsiteX11" fmla="*/ 2200589 w 11867103"/>
                <a:gd name="connsiteY11" fmla="*/ 50242 h 2964609"/>
                <a:gd name="connsiteX12" fmla="*/ 4652387 w 11867103"/>
                <a:gd name="connsiteY12" fmla="*/ 60290 h 2964609"/>
                <a:gd name="connsiteX13" fmla="*/ 4692580 w 11867103"/>
                <a:gd name="connsiteY13" fmla="*/ 70339 h 2964609"/>
                <a:gd name="connsiteX14" fmla="*/ 4843306 w 11867103"/>
                <a:gd name="connsiteY14" fmla="*/ 90435 h 2964609"/>
                <a:gd name="connsiteX15" fmla="*/ 5677319 w 11867103"/>
                <a:gd name="connsiteY15" fmla="*/ 80387 h 2964609"/>
                <a:gd name="connsiteX16" fmla="*/ 6169688 w 11867103"/>
                <a:gd name="connsiteY16" fmla="*/ 110532 h 2964609"/>
                <a:gd name="connsiteX17" fmla="*/ 6420897 w 11867103"/>
                <a:gd name="connsiteY17" fmla="*/ 90435 h 2964609"/>
                <a:gd name="connsiteX18" fmla="*/ 6511332 w 11867103"/>
                <a:gd name="connsiteY18" fmla="*/ 30145 h 2964609"/>
                <a:gd name="connsiteX19" fmla="*/ 6571622 w 11867103"/>
                <a:gd name="connsiteY19" fmla="*/ 20097 h 2964609"/>
                <a:gd name="connsiteX20" fmla="*/ 6641961 w 11867103"/>
                <a:gd name="connsiteY20" fmla="*/ 0 h 2964609"/>
                <a:gd name="connsiteX21" fmla="*/ 7204668 w 11867103"/>
                <a:gd name="connsiteY21" fmla="*/ 10048 h 2964609"/>
                <a:gd name="connsiteX22" fmla="*/ 7285055 w 11867103"/>
                <a:gd name="connsiteY22" fmla="*/ 30145 h 2964609"/>
                <a:gd name="connsiteX23" fmla="*/ 7375490 w 11867103"/>
                <a:gd name="connsiteY23" fmla="*/ 40193 h 2964609"/>
                <a:gd name="connsiteX24" fmla="*/ 7928150 w 11867103"/>
                <a:gd name="connsiteY24" fmla="*/ 60290 h 2964609"/>
                <a:gd name="connsiteX25" fmla="*/ 8109020 w 11867103"/>
                <a:gd name="connsiteY25" fmla="*/ 80387 h 2964609"/>
                <a:gd name="connsiteX26" fmla="*/ 8219552 w 11867103"/>
                <a:gd name="connsiteY26" fmla="*/ 90435 h 2964609"/>
                <a:gd name="connsiteX27" fmla="*/ 8299939 w 11867103"/>
                <a:gd name="connsiteY27" fmla="*/ 100484 h 2964609"/>
                <a:gd name="connsiteX28" fmla="*/ 8521002 w 11867103"/>
                <a:gd name="connsiteY28" fmla="*/ 110532 h 2964609"/>
                <a:gd name="connsiteX29" fmla="*/ 9515789 w 11867103"/>
                <a:gd name="connsiteY29" fmla="*/ 100484 h 2964609"/>
                <a:gd name="connsiteX30" fmla="*/ 9606224 w 11867103"/>
                <a:gd name="connsiteY30" fmla="*/ 90435 h 2964609"/>
                <a:gd name="connsiteX31" fmla="*/ 9716756 w 11867103"/>
                <a:gd name="connsiteY31" fmla="*/ 80387 h 2964609"/>
                <a:gd name="connsiteX32" fmla="*/ 9797143 w 11867103"/>
                <a:gd name="connsiteY32" fmla="*/ 70339 h 2964609"/>
                <a:gd name="connsiteX33" fmla="*/ 9947868 w 11867103"/>
                <a:gd name="connsiteY33" fmla="*/ 60290 h 2964609"/>
                <a:gd name="connsiteX34" fmla="*/ 10791930 w 11867103"/>
                <a:gd name="connsiteY34" fmla="*/ 30145 h 2964609"/>
                <a:gd name="connsiteX35" fmla="*/ 11736475 w 11867103"/>
                <a:gd name="connsiteY35" fmla="*/ 50242 h 2964609"/>
                <a:gd name="connsiteX36" fmla="*/ 11766620 w 11867103"/>
                <a:gd name="connsiteY36" fmla="*/ 80387 h 2964609"/>
                <a:gd name="connsiteX37" fmla="*/ 11786717 w 11867103"/>
                <a:gd name="connsiteY37" fmla="*/ 120580 h 2964609"/>
                <a:gd name="connsiteX38" fmla="*/ 11806813 w 11867103"/>
                <a:gd name="connsiteY38" fmla="*/ 211015 h 2964609"/>
                <a:gd name="connsiteX39" fmla="*/ 11816862 w 11867103"/>
                <a:gd name="connsiteY39" fmla="*/ 251209 h 2964609"/>
                <a:gd name="connsiteX40" fmla="*/ 11826910 w 11867103"/>
                <a:gd name="connsiteY40" fmla="*/ 341644 h 2964609"/>
                <a:gd name="connsiteX41" fmla="*/ 11836958 w 11867103"/>
                <a:gd name="connsiteY41" fmla="*/ 422031 h 2964609"/>
                <a:gd name="connsiteX42" fmla="*/ 11826910 w 11867103"/>
                <a:gd name="connsiteY42" fmla="*/ 733530 h 2964609"/>
                <a:gd name="connsiteX43" fmla="*/ 11816862 w 11867103"/>
                <a:gd name="connsiteY43" fmla="*/ 793820 h 2964609"/>
                <a:gd name="connsiteX44" fmla="*/ 11806813 w 11867103"/>
                <a:gd name="connsiteY44" fmla="*/ 864158 h 2964609"/>
                <a:gd name="connsiteX45" fmla="*/ 11816862 w 11867103"/>
                <a:gd name="connsiteY45" fmla="*/ 2331218 h 2964609"/>
                <a:gd name="connsiteX46" fmla="*/ 11826910 w 11867103"/>
                <a:gd name="connsiteY46" fmla="*/ 2401556 h 2964609"/>
                <a:gd name="connsiteX47" fmla="*/ 11836958 w 11867103"/>
                <a:gd name="connsiteY47" fmla="*/ 2431701 h 2964609"/>
                <a:gd name="connsiteX48" fmla="*/ 11857055 w 11867103"/>
                <a:gd name="connsiteY48" fmla="*/ 2562330 h 2964609"/>
                <a:gd name="connsiteX49" fmla="*/ 11867103 w 11867103"/>
                <a:gd name="connsiteY49" fmla="*/ 2602523 h 2964609"/>
                <a:gd name="connsiteX50" fmla="*/ 11857055 w 11867103"/>
                <a:gd name="connsiteY50" fmla="*/ 2833635 h 2964609"/>
                <a:gd name="connsiteX51" fmla="*/ 11836958 w 11867103"/>
                <a:gd name="connsiteY51" fmla="*/ 2863780 h 2964609"/>
                <a:gd name="connsiteX52" fmla="*/ 11033090 w 11867103"/>
                <a:gd name="connsiteY52" fmla="*/ 2853732 h 2964609"/>
                <a:gd name="connsiteX53" fmla="*/ 10621108 w 11867103"/>
                <a:gd name="connsiteY53" fmla="*/ 2843684 h 2964609"/>
                <a:gd name="connsiteX54" fmla="*/ 10128739 w 11867103"/>
                <a:gd name="connsiteY54" fmla="*/ 2853732 h 2964609"/>
                <a:gd name="connsiteX55" fmla="*/ 10048352 w 11867103"/>
                <a:gd name="connsiteY55" fmla="*/ 2863780 h 2964609"/>
                <a:gd name="connsiteX56" fmla="*/ 9555982 w 11867103"/>
                <a:gd name="connsiteY56" fmla="*/ 2853732 h 2964609"/>
                <a:gd name="connsiteX57" fmla="*/ 9445451 w 11867103"/>
                <a:gd name="connsiteY57" fmla="*/ 2843684 h 2964609"/>
                <a:gd name="connsiteX58" fmla="*/ 9415306 w 11867103"/>
                <a:gd name="connsiteY58" fmla="*/ 2823587 h 2964609"/>
                <a:gd name="connsiteX59" fmla="*/ 9204290 w 11867103"/>
                <a:gd name="connsiteY59" fmla="*/ 2803490 h 2964609"/>
                <a:gd name="connsiteX60" fmla="*/ 9073662 w 11867103"/>
                <a:gd name="connsiteY60" fmla="*/ 2783393 h 2964609"/>
                <a:gd name="connsiteX61" fmla="*/ 8812404 w 11867103"/>
                <a:gd name="connsiteY61" fmla="*/ 2773345 h 2964609"/>
                <a:gd name="connsiteX62" fmla="*/ 8400422 w 11867103"/>
                <a:gd name="connsiteY62" fmla="*/ 2763297 h 2964609"/>
                <a:gd name="connsiteX63" fmla="*/ 8269793 w 11867103"/>
                <a:gd name="connsiteY63" fmla="*/ 2753248 h 2964609"/>
                <a:gd name="connsiteX64" fmla="*/ 7797521 w 11867103"/>
                <a:gd name="connsiteY64" fmla="*/ 2773345 h 2964609"/>
                <a:gd name="connsiteX65" fmla="*/ 7717134 w 11867103"/>
                <a:gd name="connsiteY65" fmla="*/ 2783393 h 2964609"/>
                <a:gd name="connsiteX66" fmla="*/ 7486022 w 11867103"/>
                <a:gd name="connsiteY66" fmla="*/ 2813539 h 2964609"/>
                <a:gd name="connsiteX67" fmla="*/ 7395587 w 11867103"/>
                <a:gd name="connsiteY67" fmla="*/ 2833635 h 2964609"/>
                <a:gd name="connsiteX68" fmla="*/ 7325248 w 11867103"/>
                <a:gd name="connsiteY68" fmla="*/ 2843684 h 2964609"/>
                <a:gd name="connsiteX69" fmla="*/ 6863024 w 11867103"/>
                <a:gd name="connsiteY69" fmla="*/ 2833635 h 2964609"/>
                <a:gd name="connsiteX70" fmla="*/ 6722347 w 11867103"/>
                <a:gd name="connsiteY70" fmla="*/ 2823587 h 2964609"/>
                <a:gd name="connsiteX71" fmla="*/ 4903596 w 11867103"/>
                <a:gd name="connsiteY71" fmla="*/ 2873829 h 2964609"/>
                <a:gd name="connsiteX72" fmla="*/ 4722725 w 11867103"/>
                <a:gd name="connsiteY72" fmla="*/ 2914022 h 2964609"/>
                <a:gd name="connsiteX73" fmla="*/ 4300695 w 11867103"/>
                <a:gd name="connsiteY73" fmla="*/ 2893925 h 2964609"/>
                <a:gd name="connsiteX74" fmla="*/ 4059534 w 11867103"/>
                <a:gd name="connsiteY74" fmla="*/ 2853732 h 2964609"/>
                <a:gd name="connsiteX75" fmla="*/ 3768132 w 11867103"/>
                <a:gd name="connsiteY75" fmla="*/ 2823587 h 2964609"/>
                <a:gd name="connsiteX76" fmla="*/ 3627455 w 11867103"/>
                <a:gd name="connsiteY76" fmla="*/ 2813539 h 2964609"/>
                <a:gd name="connsiteX77" fmla="*/ 3125037 w 11867103"/>
                <a:gd name="connsiteY77" fmla="*/ 2823587 h 2964609"/>
                <a:gd name="connsiteX78" fmla="*/ 3064747 w 11867103"/>
                <a:gd name="connsiteY78" fmla="*/ 2833635 h 2964609"/>
                <a:gd name="connsiteX79" fmla="*/ 2009670 w 11867103"/>
                <a:gd name="connsiteY79" fmla="*/ 2843684 h 2964609"/>
                <a:gd name="connsiteX80" fmla="*/ 1678075 w 11867103"/>
                <a:gd name="connsiteY80" fmla="*/ 2934119 h 2964609"/>
                <a:gd name="connsiteX81" fmla="*/ 1607736 w 11867103"/>
                <a:gd name="connsiteY81" fmla="*/ 2964264 h 2964609"/>
                <a:gd name="connsiteX82" fmla="*/ 1135464 w 11867103"/>
                <a:gd name="connsiteY82" fmla="*/ 2944167 h 2964609"/>
                <a:gd name="connsiteX83" fmla="*/ 944545 w 11867103"/>
                <a:gd name="connsiteY83" fmla="*/ 2914022 h 2964609"/>
                <a:gd name="connsiteX84" fmla="*/ 723481 w 11867103"/>
                <a:gd name="connsiteY84" fmla="*/ 2873829 h 2964609"/>
                <a:gd name="connsiteX85" fmla="*/ 643095 w 11867103"/>
                <a:gd name="connsiteY85" fmla="*/ 2863780 h 2964609"/>
                <a:gd name="connsiteX86" fmla="*/ 371789 w 11867103"/>
                <a:gd name="connsiteY86" fmla="*/ 2823587 h 2964609"/>
                <a:gd name="connsiteX87" fmla="*/ 0 w 11867103"/>
                <a:gd name="connsiteY87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1356528 w 11867103"/>
                <a:gd name="connsiteY6" fmla="*/ 80387 h 2964609"/>
                <a:gd name="connsiteX7" fmla="*/ 1758462 w 11867103"/>
                <a:gd name="connsiteY7" fmla="*/ 40193 h 2964609"/>
                <a:gd name="connsiteX8" fmla="*/ 1889090 w 11867103"/>
                <a:gd name="connsiteY8" fmla="*/ 20097 h 2964609"/>
                <a:gd name="connsiteX9" fmla="*/ 2140299 w 11867103"/>
                <a:gd name="connsiteY9" fmla="*/ 40193 h 2964609"/>
                <a:gd name="connsiteX10" fmla="*/ 2200589 w 11867103"/>
                <a:gd name="connsiteY10" fmla="*/ 50242 h 2964609"/>
                <a:gd name="connsiteX11" fmla="*/ 4652387 w 11867103"/>
                <a:gd name="connsiteY11" fmla="*/ 60290 h 2964609"/>
                <a:gd name="connsiteX12" fmla="*/ 4692580 w 11867103"/>
                <a:gd name="connsiteY12" fmla="*/ 70339 h 2964609"/>
                <a:gd name="connsiteX13" fmla="*/ 4843306 w 11867103"/>
                <a:gd name="connsiteY13" fmla="*/ 90435 h 2964609"/>
                <a:gd name="connsiteX14" fmla="*/ 5677319 w 11867103"/>
                <a:gd name="connsiteY14" fmla="*/ 80387 h 2964609"/>
                <a:gd name="connsiteX15" fmla="*/ 6169688 w 11867103"/>
                <a:gd name="connsiteY15" fmla="*/ 110532 h 2964609"/>
                <a:gd name="connsiteX16" fmla="*/ 6420897 w 11867103"/>
                <a:gd name="connsiteY16" fmla="*/ 90435 h 2964609"/>
                <a:gd name="connsiteX17" fmla="*/ 6511332 w 11867103"/>
                <a:gd name="connsiteY17" fmla="*/ 30145 h 2964609"/>
                <a:gd name="connsiteX18" fmla="*/ 6571622 w 11867103"/>
                <a:gd name="connsiteY18" fmla="*/ 20097 h 2964609"/>
                <a:gd name="connsiteX19" fmla="*/ 6641961 w 11867103"/>
                <a:gd name="connsiteY19" fmla="*/ 0 h 2964609"/>
                <a:gd name="connsiteX20" fmla="*/ 7204668 w 11867103"/>
                <a:gd name="connsiteY20" fmla="*/ 10048 h 2964609"/>
                <a:gd name="connsiteX21" fmla="*/ 7285055 w 11867103"/>
                <a:gd name="connsiteY21" fmla="*/ 30145 h 2964609"/>
                <a:gd name="connsiteX22" fmla="*/ 7375490 w 11867103"/>
                <a:gd name="connsiteY22" fmla="*/ 40193 h 2964609"/>
                <a:gd name="connsiteX23" fmla="*/ 7928150 w 11867103"/>
                <a:gd name="connsiteY23" fmla="*/ 60290 h 2964609"/>
                <a:gd name="connsiteX24" fmla="*/ 8109020 w 11867103"/>
                <a:gd name="connsiteY24" fmla="*/ 80387 h 2964609"/>
                <a:gd name="connsiteX25" fmla="*/ 8219552 w 11867103"/>
                <a:gd name="connsiteY25" fmla="*/ 90435 h 2964609"/>
                <a:gd name="connsiteX26" fmla="*/ 8299939 w 11867103"/>
                <a:gd name="connsiteY26" fmla="*/ 100484 h 2964609"/>
                <a:gd name="connsiteX27" fmla="*/ 8521002 w 11867103"/>
                <a:gd name="connsiteY27" fmla="*/ 110532 h 2964609"/>
                <a:gd name="connsiteX28" fmla="*/ 9515789 w 11867103"/>
                <a:gd name="connsiteY28" fmla="*/ 100484 h 2964609"/>
                <a:gd name="connsiteX29" fmla="*/ 9606224 w 11867103"/>
                <a:gd name="connsiteY29" fmla="*/ 90435 h 2964609"/>
                <a:gd name="connsiteX30" fmla="*/ 9716756 w 11867103"/>
                <a:gd name="connsiteY30" fmla="*/ 80387 h 2964609"/>
                <a:gd name="connsiteX31" fmla="*/ 9797143 w 11867103"/>
                <a:gd name="connsiteY31" fmla="*/ 70339 h 2964609"/>
                <a:gd name="connsiteX32" fmla="*/ 9947868 w 11867103"/>
                <a:gd name="connsiteY32" fmla="*/ 60290 h 2964609"/>
                <a:gd name="connsiteX33" fmla="*/ 10791930 w 11867103"/>
                <a:gd name="connsiteY33" fmla="*/ 30145 h 2964609"/>
                <a:gd name="connsiteX34" fmla="*/ 11736475 w 11867103"/>
                <a:gd name="connsiteY34" fmla="*/ 50242 h 2964609"/>
                <a:gd name="connsiteX35" fmla="*/ 11766620 w 11867103"/>
                <a:gd name="connsiteY35" fmla="*/ 80387 h 2964609"/>
                <a:gd name="connsiteX36" fmla="*/ 11786717 w 11867103"/>
                <a:gd name="connsiteY36" fmla="*/ 120580 h 2964609"/>
                <a:gd name="connsiteX37" fmla="*/ 11806813 w 11867103"/>
                <a:gd name="connsiteY37" fmla="*/ 211015 h 2964609"/>
                <a:gd name="connsiteX38" fmla="*/ 11816862 w 11867103"/>
                <a:gd name="connsiteY38" fmla="*/ 251209 h 2964609"/>
                <a:gd name="connsiteX39" fmla="*/ 11826910 w 11867103"/>
                <a:gd name="connsiteY39" fmla="*/ 341644 h 2964609"/>
                <a:gd name="connsiteX40" fmla="*/ 11836958 w 11867103"/>
                <a:gd name="connsiteY40" fmla="*/ 422031 h 2964609"/>
                <a:gd name="connsiteX41" fmla="*/ 11826910 w 11867103"/>
                <a:gd name="connsiteY41" fmla="*/ 733530 h 2964609"/>
                <a:gd name="connsiteX42" fmla="*/ 11816862 w 11867103"/>
                <a:gd name="connsiteY42" fmla="*/ 793820 h 2964609"/>
                <a:gd name="connsiteX43" fmla="*/ 11806813 w 11867103"/>
                <a:gd name="connsiteY43" fmla="*/ 864158 h 2964609"/>
                <a:gd name="connsiteX44" fmla="*/ 11816862 w 11867103"/>
                <a:gd name="connsiteY44" fmla="*/ 2331218 h 2964609"/>
                <a:gd name="connsiteX45" fmla="*/ 11826910 w 11867103"/>
                <a:gd name="connsiteY45" fmla="*/ 2401556 h 2964609"/>
                <a:gd name="connsiteX46" fmla="*/ 11836958 w 11867103"/>
                <a:gd name="connsiteY46" fmla="*/ 2431701 h 2964609"/>
                <a:gd name="connsiteX47" fmla="*/ 11857055 w 11867103"/>
                <a:gd name="connsiteY47" fmla="*/ 2562330 h 2964609"/>
                <a:gd name="connsiteX48" fmla="*/ 11867103 w 11867103"/>
                <a:gd name="connsiteY48" fmla="*/ 2602523 h 2964609"/>
                <a:gd name="connsiteX49" fmla="*/ 11857055 w 11867103"/>
                <a:gd name="connsiteY49" fmla="*/ 2833635 h 2964609"/>
                <a:gd name="connsiteX50" fmla="*/ 11836958 w 11867103"/>
                <a:gd name="connsiteY50" fmla="*/ 2863780 h 2964609"/>
                <a:gd name="connsiteX51" fmla="*/ 11033090 w 11867103"/>
                <a:gd name="connsiteY51" fmla="*/ 2853732 h 2964609"/>
                <a:gd name="connsiteX52" fmla="*/ 10621108 w 11867103"/>
                <a:gd name="connsiteY52" fmla="*/ 2843684 h 2964609"/>
                <a:gd name="connsiteX53" fmla="*/ 10128739 w 11867103"/>
                <a:gd name="connsiteY53" fmla="*/ 2853732 h 2964609"/>
                <a:gd name="connsiteX54" fmla="*/ 10048352 w 11867103"/>
                <a:gd name="connsiteY54" fmla="*/ 2863780 h 2964609"/>
                <a:gd name="connsiteX55" fmla="*/ 9555982 w 11867103"/>
                <a:gd name="connsiteY55" fmla="*/ 2853732 h 2964609"/>
                <a:gd name="connsiteX56" fmla="*/ 9445451 w 11867103"/>
                <a:gd name="connsiteY56" fmla="*/ 2843684 h 2964609"/>
                <a:gd name="connsiteX57" fmla="*/ 9415306 w 11867103"/>
                <a:gd name="connsiteY57" fmla="*/ 2823587 h 2964609"/>
                <a:gd name="connsiteX58" fmla="*/ 9204290 w 11867103"/>
                <a:gd name="connsiteY58" fmla="*/ 2803490 h 2964609"/>
                <a:gd name="connsiteX59" fmla="*/ 9073662 w 11867103"/>
                <a:gd name="connsiteY59" fmla="*/ 2783393 h 2964609"/>
                <a:gd name="connsiteX60" fmla="*/ 8812404 w 11867103"/>
                <a:gd name="connsiteY60" fmla="*/ 2773345 h 2964609"/>
                <a:gd name="connsiteX61" fmla="*/ 8400422 w 11867103"/>
                <a:gd name="connsiteY61" fmla="*/ 2763297 h 2964609"/>
                <a:gd name="connsiteX62" fmla="*/ 8269793 w 11867103"/>
                <a:gd name="connsiteY62" fmla="*/ 2753248 h 2964609"/>
                <a:gd name="connsiteX63" fmla="*/ 7797521 w 11867103"/>
                <a:gd name="connsiteY63" fmla="*/ 2773345 h 2964609"/>
                <a:gd name="connsiteX64" fmla="*/ 7717134 w 11867103"/>
                <a:gd name="connsiteY64" fmla="*/ 2783393 h 2964609"/>
                <a:gd name="connsiteX65" fmla="*/ 7486022 w 11867103"/>
                <a:gd name="connsiteY65" fmla="*/ 2813539 h 2964609"/>
                <a:gd name="connsiteX66" fmla="*/ 7395587 w 11867103"/>
                <a:gd name="connsiteY66" fmla="*/ 2833635 h 2964609"/>
                <a:gd name="connsiteX67" fmla="*/ 7325248 w 11867103"/>
                <a:gd name="connsiteY67" fmla="*/ 2843684 h 2964609"/>
                <a:gd name="connsiteX68" fmla="*/ 6863024 w 11867103"/>
                <a:gd name="connsiteY68" fmla="*/ 2833635 h 2964609"/>
                <a:gd name="connsiteX69" fmla="*/ 6722347 w 11867103"/>
                <a:gd name="connsiteY69" fmla="*/ 2823587 h 2964609"/>
                <a:gd name="connsiteX70" fmla="*/ 4903596 w 11867103"/>
                <a:gd name="connsiteY70" fmla="*/ 2873829 h 2964609"/>
                <a:gd name="connsiteX71" fmla="*/ 4722725 w 11867103"/>
                <a:gd name="connsiteY71" fmla="*/ 2914022 h 2964609"/>
                <a:gd name="connsiteX72" fmla="*/ 4300695 w 11867103"/>
                <a:gd name="connsiteY72" fmla="*/ 2893925 h 2964609"/>
                <a:gd name="connsiteX73" fmla="*/ 4059534 w 11867103"/>
                <a:gd name="connsiteY73" fmla="*/ 2853732 h 2964609"/>
                <a:gd name="connsiteX74" fmla="*/ 3768132 w 11867103"/>
                <a:gd name="connsiteY74" fmla="*/ 2823587 h 2964609"/>
                <a:gd name="connsiteX75" fmla="*/ 3627455 w 11867103"/>
                <a:gd name="connsiteY75" fmla="*/ 2813539 h 2964609"/>
                <a:gd name="connsiteX76" fmla="*/ 3125037 w 11867103"/>
                <a:gd name="connsiteY76" fmla="*/ 2823587 h 2964609"/>
                <a:gd name="connsiteX77" fmla="*/ 3064747 w 11867103"/>
                <a:gd name="connsiteY77" fmla="*/ 2833635 h 2964609"/>
                <a:gd name="connsiteX78" fmla="*/ 2009670 w 11867103"/>
                <a:gd name="connsiteY78" fmla="*/ 2843684 h 2964609"/>
                <a:gd name="connsiteX79" fmla="*/ 1678075 w 11867103"/>
                <a:gd name="connsiteY79" fmla="*/ 2934119 h 2964609"/>
                <a:gd name="connsiteX80" fmla="*/ 1607736 w 11867103"/>
                <a:gd name="connsiteY80" fmla="*/ 2964264 h 2964609"/>
                <a:gd name="connsiteX81" fmla="*/ 1135464 w 11867103"/>
                <a:gd name="connsiteY81" fmla="*/ 2944167 h 2964609"/>
                <a:gd name="connsiteX82" fmla="*/ 944545 w 11867103"/>
                <a:gd name="connsiteY82" fmla="*/ 2914022 h 2964609"/>
                <a:gd name="connsiteX83" fmla="*/ 723481 w 11867103"/>
                <a:gd name="connsiteY83" fmla="*/ 2873829 h 2964609"/>
                <a:gd name="connsiteX84" fmla="*/ 643095 w 11867103"/>
                <a:gd name="connsiteY84" fmla="*/ 2863780 h 2964609"/>
                <a:gd name="connsiteX85" fmla="*/ 371789 w 11867103"/>
                <a:gd name="connsiteY85" fmla="*/ 2823587 h 2964609"/>
                <a:gd name="connsiteX86" fmla="*/ 0 w 11867103"/>
                <a:gd name="connsiteY86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1356528 w 11867103"/>
                <a:gd name="connsiteY5" fmla="*/ 80387 h 2964609"/>
                <a:gd name="connsiteX6" fmla="*/ 1758462 w 11867103"/>
                <a:gd name="connsiteY6" fmla="*/ 40193 h 2964609"/>
                <a:gd name="connsiteX7" fmla="*/ 1889090 w 11867103"/>
                <a:gd name="connsiteY7" fmla="*/ 20097 h 2964609"/>
                <a:gd name="connsiteX8" fmla="*/ 2140299 w 11867103"/>
                <a:gd name="connsiteY8" fmla="*/ 40193 h 2964609"/>
                <a:gd name="connsiteX9" fmla="*/ 2200589 w 11867103"/>
                <a:gd name="connsiteY9" fmla="*/ 50242 h 2964609"/>
                <a:gd name="connsiteX10" fmla="*/ 4652387 w 11867103"/>
                <a:gd name="connsiteY10" fmla="*/ 60290 h 2964609"/>
                <a:gd name="connsiteX11" fmla="*/ 4692580 w 11867103"/>
                <a:gd name="connsiteY11" fmla="*/ 70339 h 2964609"/>
                <a:gd name="connsiteX12" fmla="*/ 4843306 w 11867103"/>
                <a:gd name="connsiteY12" fmla="*/ 90435 h 2964609"/>
                <a:gd name="connsiteX13" fmla="*/ 5677319 w 11867103"/>
                <a:gd name="connsiteY13" fmla="*/ 80387 h 2964609"/>
                <a:gd name="connsiteX14" fmla="*/ 6169688 w 11867103"/>
                <a:gd name="connsiteY14" fmla="*/ 110532 h 2964609"/>
                <a:gd name="connsiteX15" fmla="*/ 6420897 w 11867103"/>
                <a:gd name="connsiteY15" fmla="*/ 90435 h 2964609"/>
                <a:gd name="connsiteX16" fmla="*/ 6511332 w 11867103"/>
                <a:gd name="connsiteY16" fmla="*/ 30145 h 2964609"/>
                <a:gd name="connsiteX17" fmla="*/ 6571622 w 11867103"/>
                <a:gd name="connsiteY17" fmla="*/ 20097 h 2964609"/>
                <a:gd name="connsiteX18" fmla="*/ 6641961 w 11867103"/>
                <a:gd name="connsiteY18" fmla="*/ 0 h 2964609"/>
                <a:gd name="connsiteX19" fmla="*/ 7204668 w 11867103"/>
                <a:gd name="connsiteY19" fmla="*/ 10048 h 2964609"/>
                <a:gd name="connsiteX20" fmla="*/ 7285055 w 11867103"/>
                <a:gd name="connsiteY20" fmla="*/ 30145 h 2964609"/>
                <a:gd name="connsiteX21" fmla="*/ 7375490 w 11867103"/>
                <a:gd name="connsiteY21" fmla="*/ 40193 h 2964609"/>
                <a:gd name="connsiteX22" fmla="*/ 7928150 w 11867103"/>
                <a:gd name="connsiteY22" fmla="*/ 60290 h 2964609"/>
                <a:gd name="connsiteX23" fmla="*/ 8109020 w 11867103"/>
                <a:gd name="connsiteY23" fmla="*/ 80387 h 2964609"/>
                <a:gd name="connsiteX24" fmla="*/ 8219552 w 11867103"/>
                <a:gd name="connsiteY24" fmla="*/ 90435 h 2964609"/>
                <a:gd name="connsiteX25" fmla="*/ 8299939 w 11867103"/>
                <a:gd name="connsiteY25" fmla="*/ 100484 h 2964609"/>
                <a:gd name="connsiteX26" fmla="*/ 8521002 w 11867103"/>
                <a:gd name="connsiteY26" fmla="*/ 110532 h 2964609"/>
                <a:gd name="connsiteX27" fmla="*/ 9515789 w 11867103"/>
                <a:gd name="connsiteY27" fmla="*/ 100484 h 2964609"/>
                <a:gd name="connsiteX28" fmla="*/ 9606224 w 11867103"/>
                <a:gd name="connsiteY28" fmla="*/ 90435 h 2964609"/>
                <a:gd name="connsiteX29" fmla="*/ 9716756 w 11867103"/>
                <a:gd name="connsiteY29" fmla="*/ 80387 h 2964609"/>
                <a:gd name="connsiteX30" fmla="*/ 9797143 w 11867103"/>
                <a:gd name="connsiteY30" fmla="*/ 70339 h 2964609"/>
                <a:gd name="connsiteX31" fmla="*/ 9947868 w 11867103"/>
                <a:gd name="connsiteY31" fmla="*/ 60290 h 2964609"/>
                <a:gd name="connsiteX32" fmla="*/ 10791930 w 11867103"/>
                <a:gd name="connsiteY32" fmla="*/ 30145 h 2964609"/>
                <a:gd name="connsiteX33" fmla="*/ 11736475 w 11867103"/>
                <a:gd name="connsiteY33" fmla="*/ 50242 h 2964609"/>
                <a:gd name="connsiteX34" fmla="*/ 11766620 w 11867103"/>
                <a:gd name="connsiteY34" fmla="*/ 80387 h 2964609"/>
                <a:gd name="connsiteX35" fmla="*/ 11786717 w 11867103"/>
                <a:gd name="connsiteY35" fmla="*/ 120580 h 2964609"/>
                <a:gd name="connsiteX36" fmla="*/ 11806813 w 11867103"/>
                <a:gd name="connsiteY36" fmla="*/ 211015 h 2964609"/>
                <a:gd name="connsiteX37" fmla="*/ 11816862 w 11867103"/>
                <a:gd name="connsiteY37" fmla="*/ 251209 h 2964609"/>
                <a:gd name="connsiteX38" fmla="*/ 11826910 w 11867103"/>
                <a:gd name="connsiteY38" fmla="*/ 341644 h 2964609"/>
                <a:gd name="connsiteX39" fmla="*/ 11836958 w 11867103"/>
                <a:gd name="connsiteY39" fmla="*/ 422031 h 2964609"/>
                <a:gd name="connsiteX40" fmla="*/ 11826910 w 11867103"/>
                <a:gd name="connsiteY40" fmla="*/ 733530 h 2964609"/>
                <a:gd name="connsiteX41" fmla="*/ 11816862 w 11867103"/>
                <a:gd name="connsiteY41" fmla="*/ 793820 h 2964609"/>
                <a:gd name="connsiteX42" fmla="*/ 11806813 w 11867103"/>
                <a:gd name="connsiteY42" fmla="*/ 864158 h 2964609"/>
                <a:gd name="connsiteX43" fmla="*/ 11816862 w 11867103"/>
                <a:gd name="connsiteY43" fmla="*/ 2331218 h 2964609"/>
                <a:gd name="connsiteX44" fmla="*/ 11826910 w 11867103"/>
                <a:gd name="connsiteY44" fmla="*/ 2401556 h 2964609"/>
                <a:gd name="connsiteX45" fmla="*/ 11836958 w 11867103"/>
                <a:gd name="connsiteY45" fmla="*/ 2431701 h 2964609"/>
                <a:gd name="connsiteX46" fmla="*/ 11857055 w 11867103"/>
                <a:gd name="connsiteY46" fmla="*/ 2562330 h 2964609"/>
                <a:gd name="connsiteX47" fmla="*/ 11867103 w 11867103"/>
                <a:gd name="connsiteY47" fmla="*/ 2602523 h 2964609"/>
                <a:gd name="connsiteX48" fmla="*/ 11857055 w 11867103"/>
                <a:gd name="connsiteY48" fmla="*/ 2833635 h 2964609"/>
                <a:gd name="connsiteX49" fmla="*/ 11836958 w 11867103"/>
                <a:gd name="connsiteY49" fmla="*/ 2863780 h 2964609"/>
                <a:gd name="connsiteX50" fmla="*/ 11033090 w 11867103"/>
                <a:gd name="connsiteY50" fmla="*/ 2853732 h 2964609"/>
                <a:gd name="connsiteX51" fmla="*/ 10621108 w 11867103"/>
                <a:gd name="connsiteY51" fmla="*/ 2843684 h 2964609"/>
                <a:gd name="connsiteX52" fmla="*/ 10128739 w 11867103"/>
                <a:gd name="connsiteY52" fmla="*/ 2853732 h 2964609"/>
                <a:gd name="connsiteX53" fmla="*/ 10048352 w 11867103"/>
                <a:gd name="connsiteY53" fmla="*/ 2863780 h 2964609"/>
                <a:gd name="connsiteX54" fmla="*/ 9555982 w 11867103"/>
                <a:gd name="connsiteY54" fmla="*/ 2853732 h 2964609"/>
                <a:gd name="connsiteX55" fmla="*/ 9445451 w 11867103"/>
                <a:gd name="connsiteY55" fmla="*/ 2843684 h 2964609"/>
                <a:gd name="connsiteX56" fmla="*/ 9415306 w 11867103"/>
                <a:gd name="connsiteY56" fmla="*/ 2823587 h 2964609"/>
                <a:gd name="connsiteX57" fmla="*/ 9204290 w 11867103"/>
                <a:gd name="connsiteY57" fmla="*/ 2803490 h 2964609"/>
                <a:gd name="connsiteX58" fmla="*/ 9073662 w 11867103"/>
                <a:gd name="connsiteY58" fmla="*/ 2783393 h 2964609"/>
                <a:gd name="connsiteX59" fmla="*/ 8812404 w 11867103"/>
                <a:gd name="connsiteY59" fmla="*/ 2773345 h 2964609"/>
                <a:gd name="connsiteX60" fmla="*/ 8400422 w 11867103"/>
                <a:gd name="connsiteY60" fmla="*/ 2763297 h 2964609"/>
                <a:gd name="connsiteX61" fmla="*/ 8269793 w 11867103"/>
                <a:gd name="connsiteY61" fmla="*/ 2753248 h 2964609"/>
                <a:gd name="connsiteX62" fmla="*/ 7797521 w 11867103"/>
                <a:gd name="connsiteY62" fmla="*/ 2773345 h 2964609"/>
                <a:gd name="connsiteX63" fmla="*/ 7717134 w 11867103"/>
                <a:gd name="connsiteY63" fmla="*/ 2783393 h 2964609"/>
                <a:gd name="connsiteX64" fmla="*/ 7486022 w 11867103"/>
                <a:gd name="connsiteY64" fmla="*/ 2813539 h 2964609"/>
                <a:gd name="connsiteX65" fmla="*/ 7395587 w 11867103"/>
                <a:gd name="connsiteY65" fmla="*/ 2833635 h 2964609"/>
                <a:gd name="connsiteX66" fmla="*/ 7325248 w 11867103"/>
                <a:gd name="connsiteY66" fmla="*/ 2843684 h 2964609"/>
                <a:gd name="connsiteX67" fmla="*/ 6863024 w 11867103"/>
                <a:gd name="connsiteY67" fmla="*/ 2833635 h 2964609"/>
                <a:gd name="connsiteX68" fmla="*/ 6722347 w 11867103"/>
                <a:gd name="connsiteY68" fmla="*/ 2823587 h 2964609"/>
                <a:gd name="connsiteX69" fmla="*/ 4903596 w 11867103"/>
                <a:gd name="connsiteY69" fmla="*/ 2873829 h 2964609"/>
                <a:gd name="connsiteX70" fmla="*/ 4722725 w 11867103"/>
                <a:gd name="connsiteY70" fmla="*/ 2914022 h 2964609"/>
                <a:gd name="connsiteX71" fmla="*/ 4300695 w 11867103"/>
                <a:gd name="connsiteY71" fmla="*/ 2893925 h 2964609"/>
                <a:gd name="connsiteX72" fmla="*/ 4059534 w 11867103"/>
                <a:gd name="connsiteY72" fmla="*/ 2853732 h 2964609"/>
                <a:gd name="connsiteX73" fmla="*/ 3768132 w 11867103"/>
                <a:gd name="connsiteY73" fmla="*/ 2823587 h 2964609"/>
                <a:gd name="connsiteX74" fmla="*/ 3627455 w 11867103"/>
                <a:gd name="connsiteY74" fmla="*/ 2813539 h 2964609"/>
                <a:gd name="connsiteX75" fmla="*/ 3125037 w 11867103"/>
                <a:gd name="connsiteY75" fmla="*/ 2823587 h 2964609"/>
                <a:gd name="connsiteX76" fmla="*/ 3064747 w 11867103"/>
                <a:gd name="connsiteY76" fmla="*/ 2833635 h 2964609"/>
                <a:gd name="connsiteX77" fmla="*/ 2009670 w 11867103"/>
                <a:gd name="connsiteY77" fmla="*/ 2843684 h 2964609"/>
                <a:gd name="connsiteX78" fmla="*/ 1678075 w 11867103"/>
                <a:gd name="connsiteY78" fmla="*/ 2934119 h 2964609"/>
                <a:gd name="connsiteX79" fmla="*/ 1607736 w 11867103"/>
                <a:gd name="connsiteY79" fmla="*/ 2964264 h 2964609"/>
                <a:gd name="connsiteX80" fmla="*/ 1135464 w 11867103"/>
                <a:gd name="connsiteY80" fmla="*/ 2944167 h 2964609"/>
                <a:gd name="connsiteX81" fmla="*/ 944545 w 11867103"/>
                <a:gd name="connsiteY81" fmla="*/ 2914022 h 2964609"/>
                <a:gd name="connsiteX82" fmla="*/ 723481 w 11867103"/>
                <a:gd name="connsiteY82" fmla="*/ 2873829 h 2964609"/>
                <a:gd name="connsiteX83" fmla="*/ 643095 w 11867103"/>
                <a:gd name="connsiteY83" fmla="*/ 2863780 h 2964609"/>
                <a:gd name="connsiteX84" fmla="*/ 371789 w 11867103"/>
                <a:gd name="connsiteY84" fmla="*/ 2823587 h 2964609"/>
                <a:gd name="connsiteX85" fmla="*/ 0 w 11867103"/>
                <a:gd name="connsiteY85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1356528 w 11867103"/>
                <a:gd name="connsiteY4" fmla="*/ 80387 h 2964609"/>
                <a:gd name="connsiteX5" fmla="*/ 1758462 w 11867103"/>
                <a:gd name="connsiteY5" fmla="*/ 40193 h 2964609"/>
                <a:gd name="connsiteX6" fmla="*/ 1889090 w 11867103"/>
                <a:gd name="connsiteY6" fmla="*/ 20097 h 2964609"/>
                <a:gd name="connsiteX7" fmla="*/ 2140299 w 11867103"/>
                <a:gd name="connsiteY7" fmla="*/ 40193 h 2964609"/>
                <a:gd name="connsiteX8" fmla="*/ 2200589 w 11867103"/>
                <a:gd name="connsiteY8" fmla="*/ 50242 h 2964609"/>
                <a:gd name="connsiteX9" fmla="*/ 4652387 w 11867103"/>
                <a:gd name="connsiteY9" fmla="*/ 60290 h 2964609"/>
                <a:gd name="connsiteX10" fmla="*/ 4692580 w 11867103"/>
                <a:gd name="connsiteY10" fmla="*/ 70339 h 2964609"/>
                <a:gd name="connsiteX11" fmla="*/ 4843306 w 11867103"/>
                <a:gd name="connsiteY11" fmla="*/ 90435 h 2964609"/>
                <a:gd name="connsiteX12" fmla="*/ 5677319 w 11867103"/>
                <a:gd name="connsiteY12" fmla="*/ 80387 h 2964609"/>
                <a:gd name="connsiteX13" fmla="*/ 6169688 w 11867103"/>
                <a:gd name="connsiteY13" fmla="*/ 110532 h 2964609"/>
                <a:gd name="connsiteX14" fmla="*/ 6420897 w 11867103"/>
                <a:gd name="connsiteY14" fmla="*/ 90435 h 2964609"/>
                <a:gd name="connsiteX15" fmla="*/ 6511332 w 11867103"/>
                <a:gd name="connsiteY15" fmla="*/ 30145 h 2964609"/>
                <a:gd name="connsiteX16" fmla="*/ 6571622 w 11867103"/>
                <a:gd name="connsiteY16" fmla="*/ 20097 h 2964609"/>
                <a:gd name="connsiteX17" fmla="*/ 6641961 w 11867103"/>
                <a:gd name="connsiteY17" fmla="*/ 0 h 2964609"/>
                <a:gd name="connsiteX18" fmla="*/ 7204668 w 11867103"/>
                <a:gd name="connsiteY18" fmla="*/ 10048 h 2964609"/>
                <a:gd name="connsiteX19" fmla="*/ 7285055 w 11867103"/>
                <a:gd name="connsiteY19" fmla="*/ 30145 h 2964609"/>
                <a:gd name="connsiteX20" fmla="*/ 7375490 w 11867103"/>
                <a:gd name="connsiteY20" fmla="*/ 40193 h 2964609"/>
                <a:gd name="connsiteX21" fmla="*/ 7928150 w 11867103"/>
                <a:gd name="connsiteY21" fmla="*/ 60290 h 2964609"/>
                <a:gd name="connsiteX22" fmla="*/ 8109020 w 11867103"/>
                <a:gd name="connsiteY22" fmla="*/ 80387 h 2964609"/>
                <a:gd name="connsiteX23" fmla="*/ 8219552 w 11867103"/>
                <a:gd name="connsiteY23" fmla="*/ 90435 h 2964609"/>
                <a:gd name="connsiteX24" fmla="*/ 8299939 w 11867103"/>
                <a:gd name="connsiteY24" fmla="*/ 100484 h 2964609"/>
                <a:gd name="connsiteX25" fmla="*/ 8521002 w 11867103"/>
                <a:gd name="connsiteY25" fmla="*/ 110532 h 2964609"/>
                <a:gd name="connsiteX26" fmla="*/ 9515789 w 11867103"/>
                <a:gd name="connsiteY26" fmla="*/ 100484 h 2964609"/>
                <a:gd name="connsiteX27" fmla="*/ 9606224 w 11867103"/>
                <a:gd name="connsiteY27" fmla="*/ 90435 h 2964609"/>
                <a:gd name="connsiteX28" fmla="*/ 9716756 w 11867103"/>
                <a:gd name="connsiteY28" fmla="*/ 80387 h 2964609"/>
                <a:gd name="connsiteX29" fmla="*/ 9797143 w 11867103"/>
                <a:gd name="connsiteY29" fmla="*/ 70339 h 2964609"/>
                <a:gd name="connsiteX30" fmla="*/ 9947868 w 11867103"/>
                <a:gd name="connsiteY30" fmla="*/ 60290 h 2964609"/>
                <a:gd name="connsiteX31" fmla="*/ 10791930 w 11867103"/>
                <a:gd name="connsiteY31" fmla="*/ 30145 h 2964609"/>
                <a:gd name="connsiteX32" fmla="*/ 11736475 w 11867103"/>
                <a:gd name="connsiteY32" fmla="*/ 50242 h 2964609"/>
                <a:gd name="connsiteX33" fmla="*/ 11766620 w 11867103"/>
                <a:gd name="connsiteY33" fmla="*/ 80387 h 2964609"/>
                <a:gd name="connsiteX34" fmla="*/ 11786717 w 11867103"/>
                <a:gd name="connsiteY34" fmla="*/ 120580 h 2964609"/>
                <a:gd name="connsiteX35" fmla="*/ 11806813 w 11867103"/>
                <a:gd name="connsiteY35" fmla="*/ 211015 h 2964609"/>
                <a:gd name="connsiteX36" fmla="*/ 11816862 w 11867103"/>
                <a:gd name="connsiteY36" fmla="*/ 251209 h 2964609"/>
                <a:gd name="connsiteX37" fmla="*/ 11826910 w 11867103"/>
                <a:gd name="connsiteY37" fmla="*/ 341644 h 2964609"/>
                <a:gd name="connsiteX38" fmla="*/ 11836958 w 11867103"/>
                <a:gd name="connsiteY38" fmla="*/ 422031 h 2964609"/>
                <a:gd name="connsiteX39" fmla="*/ 11826910 w 11867103"/>
                <a:gd name="connsiteY39" fmla="*/ 733530 h 2964609"/>
                <a:gd name="connsiteX40" fmla="*/ 11816862 w 11867103"/>
                <a:gd name="connsiteY40" fmla="*/ 793820 h 2964609"/>
                <a:gd name="connsiteX41" fmla="*/ 11806813 w 11867103"/>
                <a:gd name="connsiteY41" fmla="*/ 864158 h 2964609"/>
                <a:gd name="connsiteX42" fmla="*/ 11816862 w 11867103"/>
                <a:gd name="connsiteY42" fmla="*/ 2331218 h 2964609"/>
                <a:gd name="connsiteX43" fmla="*/ 11826910 w 11867103"/>
                <a:gd name="connsiteY43" fmla="*/ 2401556 h 2964609"/>
                <a:gd name="connsiteX44" fmla="*/ 11836958 w 11867103"/>
                <a:gd name="connsiteY44" fmla="*/ 2431701 h 2964609"/>
                <a:gd name="connsiteX45" fmla="*/ 11857055 w 11867103"/>
                <a:gd name="connsiteY45" fmla="*/ 2562330 h 2964609"/>
                <a:gd name="connsiteX46" fmla="*/ 11867103 w 11867103"/>
                <a:gd name="connsiteY46" fmla="*/ 2602523 h 2964609"/>
                <a:gd name="connsiteX47" fmla="*/ 11857055 w 11867103"/>
                <a:gd name="connsiteY47" fmla="*/ 2833635 h 2964609"/>
                <a:gd name="connsiteX48" fmla="*/ 11836958 w 11867103"/>
                <a:gd name="connsiteY48" fmla="*/ 2863780 h 2964609"/>
                <a:gd name="connsiteX49" fmla="*/ 11033090 w 11867103"/>
                <a:gd name="connsiteY49" fmla="*/ 2853732 h 2964609"/>
                <a:gd name="connsiteX50" fmla="*/ 10621108 w 11867103"/>
                <a:gd name="connsiteY50" fmla="*/ 2843684 h 2964609"/>
                <a:gd name="connsiteX51" fmla="*/ 10128739 w 11867103"/>
                <a:gd name="connsiteY51" fmla="*/ 2853732 h 2964609"/>
                <a:gd name="connsiteX52" fmla="*/ 10048352 w 11867103"/>
                <a:gd name="connsiteY52" fmla="*/ 2863780 h 2964609"/>
                <a:gd name="connsiteX53" fmla="*/ 9555982 w 11867103"/>
                <a:gd name="connsiteY53" fmla="*/ 2853732 h 2964609"/>
                <a:gd name="connsiteX54" fmla="*/ 9445451 w 11867103"/>
                <a:gd name="connsiteY54" fmla="*/ 2843684 h 2964609"/>
                <a:gd name="connsiteX55" fmla="*/ 9415306 w 11867103"/>
                <a:gd name="connsiteY55" fmla="*/ 2823587 h 2964609"/>
                <a:gd name="connsiteX56" fmla="*/ 9204290 w 11867103"/>
                <a:gd name="connsiteY56" fmla="*/ 2803490 h 2964609"/>
                <a:gd name="connsiteX57" fmla="*/ 9073662 w 11867103"/>
                <a:gd name="connsiteY57" fmla="*/ 2783393 h 2964609"/>
                <a:gd name="connsiteX58" fmla="*/ 8812404 w 11867103"/>
                <a:gd name="connsiteY58" fmla="*/ 2773345 h 2964609"/>
                <a:gd name="connsiteX59" fmla="*/ 8400422 w 11867103"/>
                <a:gd name="connsiteY59" fmla="*/ 2763297 h 2964609"/>
                <a:gd name="connsiteX60" fmla="*/ 8269793 w 11867103"/>
                <a:gd name="connsiteY60" fmla="*/ 2753248 h 2964609"/>
                <a:gd name="connsiteX61" fmla="*/ 7797521 w 11867103"/>
                <a:gd name="connsiteY61" fmla="*/ 2773345 h 2964609"/>
                <a:gd name="connsiteX62" fmla="*/ 7717134 w 11867103"/>
                <a:gd name="connsiteY62" fmla="*/ 2783393 h 2964609"/>
                <a:gd name="connsiteX63" fmla="*/ 7486022 w 11867103"/>
                <a:gd name="connsiteY63" fmla="*/ 2813539 h 2964609"/>
                <a:gd name="connsiteX64" fmla="*/ 7395587 w 11867103"/>
                <a:gd name="connsiteY64" fmla="*/ 2833635 h 2964609"/>
                <a:gd name="connsiteX65" fmla="*/ 7325248 w 11867103"/>
                <a:gd name="connsiteY65" fmla="*/ 2843684 h 2964609"/>
                <a:gd name="connsiteX66" fmla="*/ 6863024 w 11867103"/>
                <a:gd name="connsiteY66" fmla="*/ 2833635 h 2964609"/>
                <a:gd name="connsiteX67" fmla="*/ 6722347 w 11867103"/>
                <a:gd name="connsiteY67" fmla="*/ 2823587 h 2964609"/>
                <a:gd name="connsiteX68" fmla="*/ 4903596 w 11867103"/>
                <a:gd name="connsiteY68" fmla="*/ 2873829 h 2964609"/>
                <a:gd name="connsiteX69" fmla="*/ 4722725 w 11867103"/>
                <a:gd name="connsiteY69" fmla="*/ 2914022 h 2964609"/>
                <a:gd name="connsiteX70" fmla="*/ 4300695 w 11867103"/>
                <a:gd name="connsiteY70" fmla="*/ 2893925 h 2964609"/>
                <a:gd name="connsiteX71" fmla="*/ 4059534 w 11867103"/>
                <a:gd name="connsiteY71" fmla="*/ 2853732 h 2964609"/>
                <a:gd name="connsiteX72" fmla="*/ 3768132 w 11867103"/>
                <a:gd name="connsiteY72" fmla="*/ 2823587 h 2964609"/>
                <a:gd name="connsiteX73" fmla="*/ 3627455 w 11867103"/>
                <a:gd name="connsiteY73" fmla="*/ 2813539 h 2964609"/>
                <a:gd name="connsiteX74" fmla="*/ 3125037 w 11867103"/>
                <a:gd name="connsiteY74" fmla="*/ 2823587 h 2964609"/>
                <a:gd name="connsiteX75" fmla="*/ 3064747 w 11867103"/>
                <a:gd name="connsiteY75" fmla="*/ 2833635 h 2964609"/>
                <a:gd name="connsiteX76" fmla="*/ 2009670 w 11867103"/>
                <a:gd name="connsiteY76" fmla="*/ 2843684 h 2964609"/>
                <a:gd name="connsiteX77" fmla="*/ 1678075 w 11867103"/>
                <a:gd name="connsiteY77" fmla="*/ 2934119 h 2964609"/>
                <a:gd name="connsiteX78" fmla="*/ 1607736 w 11867103"/>
                <a:gd name="connsiteY78" fmla="*/ 2964264 h 2964609"/>
                <a:gd name="connsiteX79" fmla="*/ 1135464 w 11867103"/>
                <a:gd name="connsiteY79" fmla="*/ 2944167 h 2964609"/>
                <a:gd name="connsiteX80" fmla="*/ 944545 w 11867103"/>
                <a:gd name="connsiteY80" fmla="*/ 2914022 h 2964609"/>
                <a:gd name="connsiteX81" fmla="*/ 723481 w 11867103"/>
                <a:gd name="connsiteY81" fmla="*/ 2873829 h 2964609"/>
                <a:gd name="connsiteX82" fmla="*/ 643095 w 11867103"/>
                <a:gd name="connsiteY82" fmla="*/ 2863780 h 2964609"/>
                <a:gd name="connsiteX83" fmla="*/ 371789 w 11867103"/>
                <a:gd name="connsiteY83" fmla="*/ 2823587 h 2964609"/>
                <a:gd name="connsiteX84" fmla="*/ 0 w 11867103"/>
                <a:gd name="connsiteY84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1889090 w 11867103"/>
                <a:gd name="connsiteY5" fmla="*/ 20097 h 2964609"/>
                <a:gd name="connsiteX6" fmla="*/ 2140299 w 11867103"/>
                <a:gd name="connsiteY6" fmla="*/ 40193 h 2964609"/>
                <a:gd name="connsiteX7" fmla="*/ 2200589 w 11867103"/>
                <a:gd name="connsiteY7" fmla="*/ 50242 h 2964609"/>
                <a:gd name="connsiteX8" fmla="*/ 4652387 w 11867103"/>
                <a:gd name="connsiteY8" fmla="*/ 60290 h 2964609"/>
                <a:gd name="connsiteX9" fmla="*/ 4692580 w 11867103"/>
                <a:gd name="connsiteY9" fmla="*/ 70339 h 2964609"/>
                <a:gd name="connsiteX10" fmla="*/ 4843306 w 11867103"/>
                <a:gd name="connsiteY10" fmla="*/ 90435 h 2964609"/>
                <a:gd name="connsiteX11" fmla="*/ 5677319 w 11867103"/>
                <a:gd name="connsiteY11" fmla="*/ 80387 h 2964609"/>
                <a:gd name="connsiteX12" fmla="*/ 6169688 w 11867103"/>
                <a:gd name="connsiteY12" fmla="*/ 110532 h 2964609"/>
                <a:gd name="connsiteX13" fmla="*/ 6420897 w 11867103"/>
                <a:gd name="connsiteY13" fmla="*/ 90435 h 2964609"/>
                <a:gd name="connsiteX14" fmla="*/ 6511332 w 11867103"/>
                <a:gd name="connsiteY14" fmla="*/ 30145 h 2964609"/>
                <a:gd name="connsiteX15" fmla="*/ 6571622 w 11867103"/>
                <a:gd name="connsiteY15" fmla="*/ 20097 h 2964609"/>
                <a:gd name="connsiteX16" fmla="*/ 6641961 w 11867103"/>
                <a:gd name="connsiteY16" fmla="*/ 0 h 2964609"/>
                <a:gd name="connsiteX17" fmla="*/ 7204668 w 11867103"/>
                <a:gd name="connsiteY17" fmla="*/ 10048 h 2964609"/>
                <a:gd name="connsiteX18" fmla="*/ 7285055 w 11867103"/>
                <a:gd name="connsiteY18" fmla="*/ 30145 h 2964609"/>
                <a:gd name="connsiteX19" fmla="*/ 7375490 w 11867103"/>
                <a:gd name="connsiteY19" fmla="*/ 40193 h 2964609"/>
                <a:gd name="connsiteX20" fmla="*/ 7928150 w 11867103"/>
                <a:gd name="connsiteY20" fmla="*/ 60290 h 2964609"/>
                <a:gd name="connsiteX21" fmla="*/ 8109020 w 11867103"/>
                <a:gd name="connsiteY21" fmla="*/ 80387 h 2964609"/>
                <a:gd name="connsiteX22" fmla="*/ 8219552 w 11867103"/>
                <a:gd name="connsiteY22" fmla="*/ 90435 h 2964609"/>
                <a:gd name="connsiteX23" fmla="*/ 8299939 w 11867103"/>
                <a:gd name="connsiteY23" fmla="*/ 100484 h 2964609"/>
                <a:gd name="connsiteX24" fmla="*/ 8521002 w 11867103"/>
                <a:gd name="connsiteY24" fmla="*/ 110532 h 2964609"/>
                <a:gd name="connsiteX25" fmla="*/ 9515789 w 11867103"/>
                <a:gd name="connsiteY25" fmla="*/ 100484 h 2964609"/>
                <a:gd name="connsiteX26" fmla="*/ 9606224 w 11867103"/>
                <a:gd name="connsiteY26" fmla="*/ 90435 h 2964609"/>
                <a:gd name="connsiteX27" fmla="*/ 9716756 w 11867103"/>
                <a:gd name="connsiteY27" fmla="*/ 80387 h 2964609"/>
                <a:gd name="connsiteX28" fmla="*/ 9797143 w 11867103"/>
                <a:gd name="connsiteY28" fmla="*/ 70339 h 2964609"/>
                <a:gd name="connsiteX29" fmla="*/ 9947868 w 11867103"/>
                <a:gd name="connsiteY29" fmla="*/ 60290 h 2964609"/>
                <a:gd name="connsiteX30" fmla="*/ 10791930 w 11867103"/>
                <a:gd name="connsiteY30" fmla="*/ 30145 h 2964609"/>
                <a:gd name="connsiteX31" fmla="*/ 11736475 w 11867103"/>
                <a:gd name="connsiteY31" fmla="*/ 50242 h 2964609"/>
                <a:gd name="connsiteX32" fmla="*/ 11766620 w 11867103"/>
                <a:gd name="connsiteY32" fmla="*/ 80387 h 2964609"/>
                <a:gd name="connsiteX33" fmla="*/ 11786717 w 11867103"/>
                <a:gd name="connsiteY33" fmla="*/ 120580 h 2964609"/>
                <a:gd name="connsiteX34" fmla="*/ 11806813 w 11867103"/>
                <a:gd name="connsiteY34" fmla="*/ 211015 h 2964609"/>
                <a:gd name="connsiteX35" fmla="*/ 11816862 w 11867103"/>
                <a:gd name="connsiteY35" fmla="*/ 251209 h 2964609"/>
                <a:gd name="connsiteX36" fmla="*/ 11826910 w 11867103"/>
                <a:gd name="connsiteY36" fmla="*/ 341644 h 2964609"/>
                <a:gd name="connsiteX37" fmla="*/ 11836958 w 11867103"/>
                <a:gd name="connsiteY37" fmla="*/ 422031 h 2964609"/>
                <a:gd name="connsiteX38" fmla="*/ 11826910 w 11867103"/>
                <a:gd name="connsiteY38" fmla="*/ 733530 h 2964609"/>
                <a:gd name="connsiteX39" fmla="*/ 11816862 w 11867103"/>
                <a:gd name="connsiteY39" fmla="*/ 793820 h 2964609"/>
                <a:gd name="connsiteX40" fmla="*/ 11806813 w 11867103"/>
                <a:gd name="connsiteY40" fmla="*/ 864158 h 2964609"/>
                <a:gd name="connsiteX41" fmla="*/ 11816862 w 11867103"/>
                <a:gd name="connsiteY41" fmla="*/ 2331218 h 2964609"/>
                <a:gd name="connsiteX42" fmla="*/ 11826910 w 11867103"/>
                <a:gd name="connsiteY42" fmla="*/ 2401556 h 2964609"/>
                <a:gd name="connsiteX43" fmla="*/ 11836958 w 11867103"/>
                <a:gd name="connsiteY43" fmla="*/ 2431701 h 2964609"/>
                <a:gd name="connsiteX44" fmla="*/ 11857055 w 11867103"/>
                <a:gd name="connsiteY44" fmla="*/ 2562330 h 2964609"/>
                <a:gd name="connsiteX45" fmla="*/ 11867103 w 11867103"/>
                <a:gd name="connsiteY45" fmla="*/ 2602523 h 2964609"/>
                <a:gd name="connsiteX46" fmla="*/ 11857055 w 11867103"/>
                <a:gd name="connsiteY46" fmla="*/ 2833635 h 2964609"/>
                <a:gd name="connsiteX47" fmla="*/ 11836958 w 11867103"/>
                <a:gd name="connsiteY47" fmla="*/ 2863780 h 2964609"/>
                <a:gd name="connsiteX48" fmla="*/ 11033090 w 11867103"/>
                <a:gd name="connsiteY48" fmla="*/ 2853732 h 2964609"/>
                <a:gd name="connsiteX49" fmla="*/ 10621108 w 11867103"/>
                <a:gd name="connsiteY49" fmla="*/ 2843684 h 2964609"/>
                <a:gd name="connsiteX50" fmla="*/ 10128739 w 11867103"/>
                <a:gd name="connsiteY50" fmla="*/ 2853732 h 2964609"/>
                <a:gd name="connsiteX51" fmla="*/ 10048352 w 11867103"/>
                <a:gd name="connsiteY51" fmla="*/ 2863780 h 2964609"/>
                <a:gd name="connsiteX52" fmla="*/ 9555982 w 11867103"/>
                <a:gd name="connsiteY52" fmla="*/ 2853732 h 2964609"/>
                <a:gd name="connsiteX53" fmla="*/ 9445451 w 11867103"/>
                <a:gd name="connsiteY53" fmla="*/ 2843684 h 2964609"/>
                <a:gd name="connsiteX54" fmla="*/ 9415306 w 11867103"/>
                <a:gd name="connsiteY54" fmla="*/ 2823587 h 2964609"/>
                <a:gd name="connsiteX55" fmla="*/ 9204290 w 11867103"/>
                <a:gd name="connsiteY55" fmla="*/ 2803490 h 2964609"/>
                <a:gd name="connsiteX56" fmla="*/ 9073662 w 11867103"/>
                <a:gd name="connsiteY56" fmla="*/ 2783393 h 2964609"/>
                <a:gd name="connsiteX57" fmla="*/ 8812404 w 11867103"/>
                <a:gd name="connsiteY57" fmla="*/ 2773345 h 2964609"/>
                <a:gd name="connsiteX58" fmla="*/ 8400422 w 11867103"/>
                <a:gd name="connsiteY58" fmla="*/ 2763297 h 2964609"/>
                <a:gd name="connsiteX59" fmla="*/ 8269793 w 11867103"/>
                <a:gd name="connsiteY59" fmla="*/ 2753248 h 2964609"/>
                <a:gd name="connsiteX60" fmla="*/ 7797521 w 11867103"/>
                <a:gd name="connsiteY60" fmla="*/ 2773345 h 2964609"/>
                <a:gd name="connsiteX61" fmla="*/ 7717134 w 11867103"/>
                <a:gd name="connsiteY61" fmla="*/ 2783393 h 2964609"/>
                <a:gd name="connsiteX62" fmla="*/ 7486022 w 11867103"/>
                <a:gd name="connsiteY62" fmla="*/ 2813539 h 2964609"/>
                <a:gd name="connsiteX63" fmla="*/ 7395587 w 11867103"/>
                <a:gd name="connsiteY63" fmla="*/ 2833635 h 2964609"/>
                <a:gd name="connsiteX64" fmla="*/ 7325248 w 11867103"/>
                <a:gd name="connsiteY64" fmla="*/ 2843684 h 2964609"/>
                <a:gd name="connsiteX65" fmla="*/ 6863024 w 11867103"/>
                <a:gd name="connsiteY65" fmla="*/ 2833635 h 2964609"/>
                <a:gd name="connsiteX66" fmla="*/ 6722347 w 11867103"/>
                <a:gd name="connsiteY66" fmla="*/ 2823587 h 2964609"/>
                <a:gd name="connsiteX67" fmla="*/ 4903596 w 11867103"/>
                <a:gd name="connsiteY67" fmla="*/ 2873829 h 2964609"/>
                <a:gd name="connsiteX68" fmla="*/ 4722725 w 11867103"/>
                <a:gd name="connsiteY68" fmla="*/ 2914022 h 2964609"/>
                <a:gd name="connsiteX69" fmla="*/ 4300695 w 11867103"/>
                <a:gd name="connsiteY69" fmla="*/ 2893925 h 2964609"/>
                <a:gd name="connsiteX70" fmla="*/ 4059534 w 11867103"/>
                <a:gd name="connsiteY70" fmla="*/ 2853732 h 2964609"/>
                <a:gd name="connsiteX71" fmla="*/ 3768132 w 11867103"/>
                <a:gd name="connsiteY71" fmla="*/ 2823587 h 2964609"/>
                <a:gd name="connsiteX72" fmla="*/ 3627455 w 11867103"/>
                <a:gd name="connsiteY72" fmla="*/ 2813539 h 2964609"/>
                <a:gd name="connsiteX73" fmla="*/ 3125037 w 11867103"/>
                <a:gd name="connsiteY73" fmla="*/ 2823587 h 2964609"/>
                <a:gd name="connsiteX74" fmla="*/ 3064747 w 11867103"/>
                <a:gd name="connsiteY74" fmla="*/ 2833635 h 2964609"/>
                <a:gd name="connsiteX75" fmla="*/ 2009670 w 11867103"/>
                <a:gd name="connsiteY75" fmla="*/ 2843684 h 2964609"/>
                <a:gd name="connsiteX76" fmla="*/ 1678075 w 11867103"/>
                <a:gd name="connsiteY76" fmla="*/ 2934119 h 2964609"/>
                <a:gd name="connsiteX77" fmla="*/ 1607736 w 11867103"/>
                <a:gd name="connsiteY77" fmla="*/ 2964264 h 2964609"/>
                <a:gd name="connsiteX78" fmla="*/ 1135464 w 11867103"/>
                <a:gd name="connsiteY78" fmla="*/ 2944167 h 2964609"/>
                <a:gd name="connsiteX79" fmla="*/ 944545 w 11867103"/>
                <a:gd name="connsiteY79" fmla="*/ 2914022 h 2964609"/>
                <a:gd name="connsiteX80" fmla="*/ 723481 w 11867103"/>
                <a:gd name="connsiteY80" fmla="*/ 2873829 h 2964609"/>
                <a:gd name="connsiteX81" fmla="*/ 643095 w 11867103"/>
                <a:gd name="connsiteY81" fmla="*/ 2863780 h 2964609"/>
                <a:gd name="connsiteX82" fmla="*/ 371789 w 11867103"/>
                <a:gd name="connsiteY82" fmla="*/ 2823587 h 2964609"/>
                <a:gd name="connsiteX83" fmla="*/ 0 w 11867103"/>
                <a:gd name="connsiteY83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2200589 w 11867103"/>
                <a:gd name="connsiteY6" fmla="*/ 50242 h 2964609"/>
                <a:gd name="connsiteX7" fmla="*/ 4652387 w 11867103"/>
                <a:gd name="connsiteY7" fmla="*/ 60290 h 2964609"/>
                <a:gd name="connsiteX8" fmla="*/ 4692580 w 11867103"/>
                <a:gd name="connsiteY8" fmla="*/ 70339 h 2964609"/>
                <a:gd name="connsiteX9" fmla="*/ 4843306 w 11867103"/>
                <a:gd name="connsiteY9" fmla="*/ 90435 h 2964609"/>
                <a:gd name="connsiteX10" fmla="*/ 5677319 w 11867103"/>
                <a:gd name="connsiteY10" fmla="*/ 80387 h 2964609"/>
                <a:gd name="connsiteX11" fmla="*/ 6169688 w 11867103"/>
                <a:gd name="connsiteY11" fmla="*/ 110532 h 2964609"/>
                <a:gd name="connsiteX12" fmla="*/ 6420897 w 11867103"/>
                <a:gd name="connsiteY12" fmla="*/ 90435 h 2964609"/>
                <a:gd name="connsiteX13" fmla="*/ 6511332 w 11867103"/>
                <a:gd name="connsiteY13" fmla="*/ 30145 h 2964609"/>
                <a:gd name="connsiteX14" fmla="*/ 6571622 w 11867103"/>
                <a:gd name="connsiteY14" fmla="*/ 20097 h 2964609"/>
                <a:gd name="connsiteX15" fmla="*/ 6641961 w 11867103"/>
                <a:gd name="connsiteY15" fmla="*/ 0 h 2964609"/>
                <a:gd name="connsiteX16" fmla="*/ 7204668 w 11867103"/>
                <a:gd name="connsiteY16" fmla="*/ 10048 h 2964609"/>
                <a:gd name="connsiteX17" fmla="*/ 7285055 w 11867103"/>
                <a:gd name="connsiteY17" fmla="*/ 30145 h 2964609"/>
                <a:gd name="connsiteX18" fmla="*/ 7375490 w 11867103"/>
                <a:gd name="connsiteY18" fmla="*/ 40193 h 2964609"/>
                <a:gd name="connsiteX19" fmla="*/ 7928150 w 11867103"/>
                <a:gd name="connsiteY19" fmla="*/ 60290 h 2964609"/>
                <a:gd name="connsiteX20" fmla="*/ 8109020 w 11867103"/>
                <a:gd name="connsiteY20" fmla="*/ 80387 h 2964609"/>
                <a:gd name="connsiteX21" fmla="*/ 8219552 w 11867103"/>
                <a:gd name="connsiteY21" fmla="*/ 90435 h 2964609"/>
                <a:gd name="connsiteX22" fmla="*/ 8299939 w 11867103"/>
                <a:gd name="connsiteY22" fmla="*/ 100484 h 2964609"/>
                <a:gd name="connsiteX23" fmla="*/ 8521002 w 11867103"/>
                <a:gd name="connsiteY23" fmla="*/ 110532 h 2964609"/>
                <a:gd name="connsiteX24" fmla="*/ 9515789 w 11867103"/>
                <a:gd name="connsiteY24" fmla="*/ 100484 h 2964609"/>
                <a:gd name="connsiteX25" fmla="*/ 9606224 w 11867103"/>
                <a:gd name="connsiteY25" fmla="*/ 90435 h 2964609"/>
                <a:gd name="connsiteX26" fmla="*/ 9716756 w 11867103"/>
                <a:gd name="connsiteY26" fmla="*/ 80387 h 2964609"/>
                <a:gd name="connsiteX27" fmla="*/ 9797143 w 11867103"/>
                <a:gd name="connsiteY27" fmla="*/ 70339 h 2964609"/>
                <a:gd name="connsiteX28" fmla="*/ 9947868 w 11867103"/>
                <a:gd name="connsiteY28" fmla="*/ 60290 h 2964609"/>
                <a:gd name="connsiteX29" fmla="*/ 10791930 w 11867103"/>
                <a:gd name="connsiteY29" fmla="*/ 30145 h 2964609"/>
                <a:gd name="connsiteX30" fmla="*/ 11736475 w 11867103"/>
                <a:gd name="connsiteY30" fmla="*/ 50242 h 2964609"/>
                <a:gd name="connsiteX31" fmla="*/ 11766620 w 11867103"/>
                <a:gd name="connsiteY31" fmla="*/ 80387 h 2964609"/>
                <a:gd name="connsiteX32" fmla="*/ 11786717 w 11867103"/>
                <a:gd name="connsiteY32" fmla="*/ 120580 h 2964609"/>
                <a:gd name="connsiteX33" fmla="*/ 11806813 w 11867103"/>
                <a:gd name="connsiteY33" fmla="*/ 211015 h 2964609"/>
                <a:gd name="connsiteX34" fmla="*/ 11816862 w 11867103"/>
                <a:gd name="connsiteY34" fmla="*/ 251209 h 2964609"/>
                <a:gd name="connsiteX35" fmla="*/ 11826910 w 11867103"/>
                <a:gd name="connsiteY35" fmla="*/ 341644 h 2964609"/>
                <a:gd name="connsiteX36" fmla="*/ 11836958 w 11867103"/>
                <a:gd name="connsiteY36" fmla="*/ 422031 h 2964609"/>
                <a:gd name="connsiteX37" fmla="*/ 11826910 w 11867103"/>
                <a:gd name="connsiteY37" fmla="*/ 733530 h 2964609"/>
                <a:gd name="connsiteX38" fmla="*/ 11816862 w 11867103"/>
                <a:gd name="connsiteY38" fmla="*/ 793820 h 2964609"/>
                <a:gd name="connsiteX39" fmla="*/ 11806813 w 11867103"/>
                <a:gd name="connsiteY39" fmla="*/ 864158 h 2964609"/>
                <a:gd name="connsiteX40" fmla="*/ 11816862 w 11867103"/>
                <a:gd name="connsiteY40" fmla="*/ 2331218 h 2964609"/>
                <a:gd name="connsiteX41" fmla="*/ 11826910 w 11867103"/>
                <a:gd name="connsiteY41" fmla="*/ 2401556 h 2964609"/>
                <a:gd name="connsiteX42" fmla="*/ 11836958 w 11867103"/>
                <a:gd name="connsiteY42" fmla="*/ 2431701 h 2964609"/>
                <a:gd name="connsiteX43" fmla="*/ 11857055 w 11867103"/>
                <a:gd name="connsiteY43" fmla="*/ 2562330 h 2964609"/>
                <a:gd name="connsiteX44" fmla="*/ 11867103 w 11867103"/>
                <a:gd name="connsiteY44" fmla="*/ 2602523 h 2964609"/>
                <a:gd name="connsiteX45" fmla="*/ 11857055 w 11867103"/>
                <a:gd name="connsiteY45" fmla="*/ 2833635 h 2964609"/>
                <a:gd name="connsiteX46" fmla="*/ 11836958 w 11867103"/>
                <a:gd name="connsiteY46" fmla="*/ 2863780 h 2964609"/>
                <a:gd name="connsiteX47" fmla="*/ 11033090 w 11867103"/>
                <a:gd name="connsiteY47" fmla="*/ 2853732 h 2964609"/>
                <a:gd name="connsiteX48" fmla="*/ 10621108 w 11867103"/>
                <a:gd name="connsiteY48" fmla="*/ 2843684 h 2964609"/>
                <a:gd name="connsiteX49" fmla="*/ 10128739 w 11867103"/>
                <a:gd name="connsiteY49" fmla="*/ 2853732 h 2964609"/>
                <a:gd name="connsiteX50" fmla="*/ 10048352 w 11867103"/>
                <a:gd name="connsiteY50" fmla="*/ 2863780 h 2964609"/>
                <a:gd name="connsiteX51" fmla="*/ 9555982 w 11867103"/>
                <a:gd name="connsiteY51" fmla="*/ 2853732 h 2964609"/>
                <a:gd name="connsiteX52" fmla="*/ 9445451 w 11867103"/>
                <a:gd name="connsiteY52" fmla="*/ 2843684 h 2964609"/>
                <a:gd name="connsiteX53" fmla="*/ 9415306 w 11867103"/>
                <a:gd name="connsiteY53" fmla="*/ 2823587 h 2964609"/>
                <a:gd name="connsiteX54" fmla="*/ 9204290 w 11867103"/>
                <a:gd name="connsiteY54" fmla="*/ 2803490 h 2964609"/>
                <a:gd name="connsiteX55" fmla="*/ 9073662 w 11867103"/>
                <a:gd name="connsiteY55" fmla="*/ 2783393 h 2964609"/>
                <a:gd name="connsiteX56" fmla="*/ 8812404 w 11867103"/>
                <a:gd name="connsiteY56" fmla="*/ 2773345 h 2964609"/>
                <a:gd name="connsiteX57" fmla="*/ 8400422 w 11867103"/>
                <a:gd name="connsiteY57" fmla="*/ 2763297 h 2964609"/>
                <a:gd name="connsiteX58" fmla="*/ 8269793 w 11867103"/>
                <a:gd name="connsiteY58" fmla="*/ 2753248 h 2964609"/>
                <a:gd name="connsiteX59" fmla="*/ 7797521 w 11867103"/>
                <a:gd name="connsiteY59" fmla="*/ 2773345 h 2964609"/>
                <a:gd name="connsiteX60" fmla="*/ 7717134 w 11867103"/>
                <a:gd name="connsiteY60" fmla="*/ 2783393 h 2964609"/>
                <a:gd name="connsiteX61" fmla="*/ 7486022 w 11867103"/>
                <a:gd name="connsiteY61" fmla="*/ 2813539 h 2964609"/>
                <a:gd name="connsiteX62" fmla="*/ 7395587 w 11867103"/>
                <a:gd name="connsiteY62" fmla="*/ 2833635 h 2964609"/>
                <a:gd name="connsiteX63" fmla="*/ 7325248 w 11867103"/>
                <a:gd name="connsiteY63" fmla="*/ 2843684 h 2964609"/>
                <a:gd name="connsiteX64" fmla="*/ 6863024 w 11867103"/>
                <a:gd name="connsiteY64" fmla="*/ 2833635 h 2964609"/>
                <a:gd name="connsiteX65" fmla="*/ 6722347 w 11867103"/>
                <a:gd name="connsiteY65" fmla="*/ 2823587 h 2964609"/>
                <a:gd name="connsiteX66" fmla="*/ 4903596 w 11867103"/>
                <a:gd name="connsiteY66" fmla="*/ 2873829 h 2964609"/>
                <a:gd name="connsiteX67" fmla="*/ 4722725 w 11867103"/>
                <a:gd name="connsiteY67" fmla="*/ 2914022 h 2964609"/>
                <a:gd name="connsiteX68" fmla="*/ 4300695 w 11867103"/>
                <a:gd name="connsiteY68" fmla="*/ 2893925 h 2964609"/>
                <a:gd name="connsiteX69" fmla="*/ 4059534 w 11867103"/>
                <a:gd name="connsiteY69" fmla="*/ 2853732 h 2964609"/>
                <a:gd name="connsiteX70" fmla="*/ 3768132 w 11867103"/>
                <a:gd name="connsiteY70" fmla="*/ 2823587 h 2964609"/>
                <a:gd name="connsiteX71" fmla="*/ 3627455 w 11867103"/>
                <a:gd name="connsiteY71" fmla="*/ 2813539 h 2964609"/>
                <a:gd name="connsiteX72" fmla="*/ 3125037 w 11867103"/>
                <a:gd name="connsiteY72" fmla="*/ 2823587 h 2964609"/>
                <a:gd name="connsiteX73" fmla="*/ 3064747 w 11867103"/>
                <a:gd name="connsiteY73" fmla="*/ 2833635 h 2964609"/>
                <a:gd name="connsiteX74" fmla="*/ 2009670 w 11867103"/>
                <a:gd name="connsiteY74" fmla="*/ 2843684 h 2964609"/>
                <a:gd name="connsiteX75" fmla="*/ 1678075 w 11867103"/>
                <a:gd name="connsiteY75" fmla="*/ 2934119 h 2964609"/>
                <a:gd name="connsiteX76" fmla="*/ 1607736 w 11867103"/>
                <a:gd name="connsiteY76" fmla="*/ 2964264 h 2964609"/>
                <a:gd name="connsiteX77" fmla="*/ 1135464 w 11867103"/>
                <a:gd name="connsiteY77" fmla="*/ 2944167 h 2964609"/>
                <a:gd name="connsiteX78" fmla="*/ 944545 w 11867103"/>
                <a:gd name="connsiteY78" fmla="*/ 2914022 h 2964609"/>
                <a:gd name="connsiteX79" fmla="*/ 723481 w 11867103"/>
                <a:gd name="connsiteY79" fmla="*/ 2873829 h 2964609"/>
                <a:gd name="connsiteX80" fmla="*/ 643095 w 11867103"/>
                <a:gd name="connsiteY80" fmla="*/ 2863780 h 2964609"/>
                <a:gd name="connsiteX81" fmla="*/ 371789 w 11867103"/>
                <a:gd name="connsiteY81" fmla="*/ 2823587 h 2964609"/>
                <a:gd name="connsiteX82" fmla="*/ 0 w 11867103"/>
                <a:gd name="connsiteY82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4843306 w 11867103"/>
                <a:gd name="connsiteY8" fmla="*/ 90435 h 2964609"/>
                <a:gd name="connsiteX9" fmla="*/ 5677319 w 11867103"/>
                <a:gd name="connsiteY9" fmla="*/ 80387 h 2964609"/>
                <a:gd name="connsiteX10" fmla="*/ 6169688 w 11867103"/>
                <a:gd name="connsiteY10" fmla="*/ 110532 h 2964609"/>
                <a:gd name="connsiteX11" fmla="*/ 6420897 w 11867103"/>
                <a:gd name="connsiteY11" fmla="*/ 90435 h 2964609"/>
                <a:gd name="connsiteX12" fmla="*/ 6511332 w 11867103"/>
                <a:gd name="connsiteY12" fmla="*/ 30145 h 2964609"/>
                <a:gd name="connsiteX13" fmla="*/ 6571622 w 11867103"/>
                <a:gd name="connsiteY13" fmla="*/ 20097 h 2964609"/>
                <a:gd name="connsiteX14" fmla="*/ 6641961 w 11867103"/>
                <a:gd name="connsiteY14" fmla="*/ 0 h 2964609"/>
                <a:gd name="connsiteX15" fmla="*/ 7204668 w 11867103"/>
                <a:gd name="connsiteY15" fmla="*/ 10048 h 2964609"/>
                <a:gd name="connsiteX16" fmla="*/ 7285055 w 11867103"/>
                <a:gd name="connsiteY16" fmla="*/ 30145 h 2964609"/>
                <a:gd name="connsiteX17" fmla="*/ 7375490 w 11867103"/>
                <a:gd name="connsiteY17" fmla="*/ 40193 h 2964609"/>
                <a:gd name="connsiteX18" fmla="*/ 7928150 w 11867103"/>
                <a:gd name="connsiteY18" fmla="*/ 60290 h 2964609"/>
                <a:gd name="connsiteX19" fmla="*/ 8109020 w 11867103"/>
                <a:gd name="connsiteY19" fmla="*/ 80387 h 2964609"/>
                <a:gd name="connsiteX20" fmla="*/ 8219552 w 11867103"/>
                <a:gd name="connsiteY20" fmla="*/ 90435 h 2964609"/>
                <a:gd name="connsiteX21" fmla="*/ 8299939 w 11867103"/>
                <a:gd name="connsiteY21" fmla="*/ 100484 h 2964609"/>
                <a:gd name="connsiteX22" fmla="*/ 8521002 w 11867103"/>
                <a:gd name="connsiteY22" fmla="*/ 110532 h 2964609"/>
                <a:gd name="connsiteX23" fmla="*/ 9515789 w 11867103"/>
                <a:gd name="connsiteY23" fmla="*/ 100484 h 2964609"/>
                <a:gd name="connsiteX24" fmla="*/ 9606224 w 11867103"/>
                <a:gd name="connsiteY24" fmla="*/ 90435 h 2964609"/>
                <a:gd name="connsiteX25" fmla="*/ 9716756 w 11867103"/>
                <a:gd name="connsiteY25" fmla="*/ 80387 h 2964609"/>
                <a:gd name="connsiteX26" fmla="*/ 9797143 w 11867103"/>
                <a:gd name="connsiteY26" fmla="*/ 70339 h 2964609"/>
                <a:gd name="connsiteX27" fmla="*/ 9947868 w 11867103"/>
                <a:gd name="connsiteY27" fmla="*/ 60290 h 2964609"/>
                <a:gd name="connsiteX28" fmla="*/ 10791930 w 11867103"/>
                <a:gd name="connsiteY28" fmla="*/ 30145 h 2964609"/>
                <a:gd name="connsiteX29" fmla="*/ 11736475 w 11867103"/>
                <a:gd name="connsiteY29" fmla="*/ 50242 h 2964609"/>
                <a:gd name="connsiteX30" fmla="*/ 11766620 w 11867103"/>
                <a:gd name="connsiteY30" fmla="*/ 80387 h 2964609"/>
                <a:gd name="connsiteX31" fmla="*/ 11786717 w 11867103"/>
                <a:gd name="connsiteY31" fmla="*/ 120580 h 2964609"/>
                <a:gd name="connsiteX32" fmla="*/ 11806813 w 11867103"/>
                <a:gd name="connsiteY32" fmla="*/ 211015 h 2964609"/>
                <a:gd name="connsiteX33" fmla="*/ 11816862 w 11867103"/>
                <a:gd name="connsiteY33" fmla="*/ 251209 h 2964609"/>
                <a:gd name="connsiteX34" fmla="*/ 11826910 w 11867103"/>
                <a:gd name="connsiteY34" fmla="*/ 341644 h 2964609"/>
                <a:gd name="connsiteX35" fmla="*/ 11836958 w 11867103"/>
                <a:gd name="connsiteY35" fmla="*/ 422031 h 2964609"/>
                <a:gd name="connsiteX36" fmla="*/ 11826910 w 11867103"/>
                <a:gd name="connsiteY36" fmla="*/ 733530 h 2964609"/>
                <a:gd name="connsiteX37" fmla="*/ 11816862 w 11867103"/>
                <a:gd name="connsiteY37" fmla="*/ 793820 h 2964609"/>
                <a:gd name="connsiteX38" fmla="*/ 11806813 w 11867103"/>
                <a:gd name="connsiteY38" fmla="*/ 864158 h 2964609"/>
                <a:gd name="connsiteX39" fmla="*/ 11816862 w 11867103"/>
                <a:gd name="connsiteY39" fmla="*/ 2331218 h 2964609"/>
                <a:gd name="connsiteX40" fmla="*/ 11826910 w 11867103"/>
                <a:gd name="connsiteY40" fmla="*/ 2401556 h 2964609"/>
                <a:gd name="connsiteX41" fmla="*/ 11836958 w 11867103"/>
                <a:gd name="connsiteY41" fmla="*/ 2431701 h 2964609"/>
                <a:gd name="connsiteX42" fmla="*/ 11857055 w 11867103"/>
                <a:gd name="connsiteY42" fmla="*/ 2562330 h 2964609"/>
                <a:gd name="connsiteX43" fmla="*/ 11867103 w 11867103"/>
                <a:gd name="connsiteY43" fmla="*/ 2602523 h 2964609"/>
                <a:gd name="connsiteX44" fmla="*/ 11857055 w 11867103"/>
                <a:gd name="connsiteY44" fmla="*/ 2833635 h 2964609"/>
                <a:gd name="connsiteX45" fmla="*/ 11836958 w 11867103"/>
                <a:gd name="connsiteY45" fmla="*/ 2863780 h 2964609"/>
                <a:gd name="connsiteX46" fmla="*/ 11033090 w 11867103"/>
                <a:gd name="connsiteY46" fmla="*/ 2853732 h 2964609"/>
                <a:gd name="connsiteX47" fmla="*/ 10621108 w 11867103"/>
                <a:gd name="connsiteY47" fmla="*/ 2843684 h 2964609"/>
                <a:gd name="connsiteX48" fmla="*/ 10128739 w 11867103"/>
                <a:gd name="connsiteY48" fmla="*/ 2853732 h 2964609"/>
                <a:gd name="connsiteX49" fmla="*/ 10048352 w 11867103"/>
                <a:gd name="connsiteY49" fmla="*/ 2863780 h 2964609"/>
                <a:gd name="connsiteX50" fmla="*/ 9555982 w 11867103"/>
                <a:gd name="connsiteY50" fmla="*/ 2853732 h 2964609"/>
                <a:gd name="connsiteX51" fmla="*/ 9445451 w 11867103"/>
                <a:gd name="connsiteY51" fmla="*/ 2843684 h 2964609"/>
                <a:gd name="connsiteX52" fmla="*/ 9415306 w 11867103"/>
                <a:gd name="connsiteY52" fmla="*/ 2823587 h 2964609"/>
                <a:gd name="connsiteX53" fmla="*/ 9204290 w 11867103"/>
                <a:gd name="connsiteY53" fmla="*/ 2803490 h 2964609"/>
                <a:gd name="connsiteX54" fmla="*/ 9073662 w 11867103"/>
                <a:gd name="connsiteY54" fmla="*/ 2783393 h 2964609"/>
                <a:gd name="connsiteX55" fmla="*/ 8812404 w 11867103"/>
                <a:gd name="connsiteY55" fmla="*/ 2773345 h 2964609"/>
                <a:gd name="connsiteX56" fmla="*/ 8400422 w 11867103"/>
                <a:gd name="connsiteY56" fmla="*/ 2763297 h 2964609"/>
                <a:gd name="connsiteX57" fmla="*/ 8269793 w 11867103"/>
                <a:gd name="connsiteY57" fmla="*/ 2753248 h 2964609"/>
                <a:gd name="connsiteX58" fmla="*/ 7797521 w 11867103"/>
                <a:gd name="connsiteY58" fmla="*/ 2773345 h 2964609"/>
                <a:gd name="connsiteX59" fmla="*/ 7717134 w 11867103"/>
                <a:gd name="connsiteY59" fmla="*/ 2783393 h 2964609"/>
                <a:gd name="connsiteX60" fmla="*/ 7486022 w 11867103"/>
                <a:gd name="connsiteY60" fmla="*/ 2813539 h 2964609"/>
                <a:gd name="connsiteX61" fmla="*/ 7395587 w 11867103"/>
                <a:gd name="connsiteY61" fmla="*/ 2833635 h 2964609"/>
                <a:gd name="connsiteX62" fmla="*/ 7325248 w 11867103"/>
                <a:gd name="connsiteY62" fmla="*/ 2843684 h 2964609"/>
                <a:gd name="connsiteX63" fmla="*/ 6863024 w 11867103"/>
                <a:gd name="connsiteY63" fmla="*/ 2833635 h 2964609"/>
                <a:gd name="connsiteX64" fmla="*/ 6722347 w 11867103"/>
                <a:gd name="connsiteY64" fmla="*/ 2823587 h 2964609"/>
                <a:gd name="connsiteX65" fmla="*/ 4903596 w 11867103"/>
                <a:gd name="connsiteY65" fmla="*/ 2873829 h 2964609"/>
                <a:gd name="connsiteX66" fmla="*/ 4722725 w 11867103"/>
                <a:gd name="connsiteY66" fmla="*/ 2914022 h 2964609"/>
                <a:gd name="connsiteX67" fmla="*/ 4300695 w 11867103"/>
                <a:gd name="connsiteY67" fmla="*/ 2893925 h 2964609"/>
                <a:gd name="connsiteX68" fmla="*/ 4059534 w 11867103"/>
                <a:gd name="connsiteY68" fmla="*/ 2853732 h 2964609"/>
                <a:gd name="connsiteX69" fmla="*/ 3768132 w 11867103"/>
                <a:gd name="connsiteY69" fmla="*/ 2823587 h 2964609"/>
                <a:gd name="connsiteX70" fmla="*/ 3627455 w 11867103"/>
                <a:gd name="connsiteY70" fmla="*/ 2813539 h 2964609"/>
                <a:gd name="connsiteX71" fmla="*/ 3125037 w 11867103"/>
                <a:gd name="connsiteY71" fmla="*/ 2823587 h 2964609"/>
                <a:gd name="connsiteX72" fmla="*/ 3064747 w 11867103"/>
                <a:gd name="connsiteY72" fmla="*/ 2833635 h 2964609"/>
                <a:gd name="connsiteX73" fmla="*/ 2009670 w 11867103"/>
                <a:gd name="connsiteY73" fmla="*/ 2843684 h 2964609"/>
                <a:gd name="connsiteX74" fmla="*/ 1678075 w 11867103"/>
                <a:gd name="connsiteY74" fmla="*/ 2934119 h 2964609"/>
                <a:gd name="connsiteX75" fmla="*/ 1607736 w 11867103"/>
                <a:gd name="connsiteY75" fmla="*/ 2964264 h 2964609"/>
                <a:gd name="connsiteX76" fmla="*/ 1135464 w 11867103"/>
                <a:gd name="connsiteY76" fmla="*/ 2944167 h 2964609"/>
                <a:gd name="connsiteX77" fmla="*/ 944545 w 11867103"/>
                <a:gd name="connsiteY77" fmla="*/ 2914022 h 2964609"/>
                <a:gd name="connsiteX78" fmla="*/ 723481 w 11867103"/>
                <a:gd name="connsiteY78" fmla="*/ 2873829 h 2964609"/>
                <a:gd name="connsiteX79" fmla="*/ 643095 w 11867103"/>
                <a:gd name="connsiteY79" fmla="*/ 2863780 h 2964609"/>
                <a:gd name="connsiteX80" fmla="*/ 371789 w 11867103"/>
                <a:gd name="connsiteY80" fmla="*/ 2823587 h 2964609"/>
                <a:gd name="connsiteX81" fmla="*/ 0 w 11867103"/>
                <a:gd name="connsiteY81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5677319 w 11867103"/>
                <a:gd name="connsiteY8" fmla="*/ 80387 h 2964609"/>
                <a:gd name="connsiteX9" fmla="*/ 6169688 w 11867103"/>
                <a:gd name="connsiteY9" fmla="*/ 110532 h 2964609"/>
                <a:gd name="connsiteX10" fmla="*/ 6420897 w 11867103"/>
                <a:gd name="connsiteY10" fmla="*/ 90435 h 2964609"/>
                <a:gd name="connsiteX11" fmla="*/ 6511332 w 11867103"/>
                <a:gd name="connsiteY11" fmla="*/ 30145 h 2964609"/>
                <a:gd name="connsiteX12" fmla="*/ 6571622 w 11867103"/>
                <a:gd name="connsiteY12" fmla="*/ 20097 h 2964609"/>
                <a:gd name="connsiteX13" fmla="*/ 6641961 w 11867103"/>
                <a:gd name="connsiteY13" fmla="*/ 0 h 2964609"/>
                <a:gd name="connsiteX14" fmla="*/ 7204668 w 11867103"/>
                <a:gd name="connsiteY14" fmla="*/ 10048 h 2964609"/>
                <a:gd name="connsiteX15" fmla="*/ 7285055 w 11867103"/>
                <a:gd name="connsiteY15" fmla="*/ 30145 h 2964609"/>
                <a:gd name="connsiteX16" fmla="*/ 7375490 w 11867103"/>
                <a:gd name="connsiteY16" fmla="*/ 40193 h 2964609"/>
                <a:gd name="connsiteX17" fmla="*/ 7928150 w 11867103"/>
                <a:gd name="connsiteY17" fmla="*/ 60290 h 2964609"/>
                <a:gd name="connsiteX18" fmla="*/ 8109020 w 11867103"/>
                <a:gd name="connsiteY18" fmla="*/ 80387 h 2964609"/>
                <a:gd name="connsiteX19" fmla="*/ 8219552 w 11867103"/>
                <a:gd name="connsiteY19" fmla="*/ 90435 h 2964609"/>
                <a:gd name="connsiteX20" fmla="*/ 8299939 w 11867103"/>
                <a:gd name="connsiteY20" fmla="*/ 100484 h 2964609"/>
                <a:gd name="connsiteX21" fmla="*/ 8521002 w 11867103"/>
                <a:gd name="connsiteY21" fmla="*/ 110532 h 2964609"/>
                <a:gd name="connsiteX22" fmla="*/ 9515789 w 11867103"/>
                <a:gd name="connsiteY22" fmla="*/ 100484 h 2964609"/>
                <a:gd name="connsiteX23" fmla="*/ 9606224 w 11867103"/>
                <a:gd name="connsiteY23" fmla="*/ 90435 h 2964609"/>
                <a:gd name="connsiteX24" fmla="*/ 9716756 w 11867103"/>
                <a:gd name="connsiteY24" fmla="*/ 80387 h 2964609"/>
                <a:gd name="connsiteX25" fmla="*/ 9797143 w 11867103"/>
                <a:gd name="connsiteY25" fmla="*/ 70339 h 2964609"/>
                <a:gd name="connsiteX26" fmla="*/ 9947868 w 11867103"/>
                <a:gd name="connsiteY26" fmla="*/ 60290 h 2964609"/>
                <a:gd name="connsiteX27" fmla="*/ 10791930 w 11867103"/>
                <a:gd name="connsiteY27" fmla="*/ 30145 h 2964609"/>
                <a:gd name="connsiteX28" fmla="*/ 11736475 w 11867103"/>
                <a:gd name="connsiteY28" fmla="*/ 50242 h 2964609"/>
                <a:gd name="connsiteX29" fmla="*/ 11766620 w 11867103"/>
                <a:gd name="connsiteY29" fmla="*/ 80387 h 2964609"/>
                <a:gd name="connsiteX30" fmla="*/ 11786717 w 11867103"/>
                <a:gd name="connsiteY30" fmla="*/ 120580 h 2964609"/>
                <a:gd name="connsiteX31" fmla="*/ 11806813 w 11867103"/>
                <a:gd name="connsiteY31" fmla="*/ 211015 h 2964609"/>
                <a:gd name="connsiteX32" fmla="*/ 11816862 w 11867103"/>
                <a:gd name="connsiteY32" fmla="*/ 251209 h 2964609"/>
                <a:gd name="connsiteX33" fmla="*/ 11826910 w 11867103"/>
                <a:gd name="connsiteY33" fmla="*/ 341644 h 2964609"/>
                <a:gd name="connsiteX34" fmla="*/ 11836958 w 11867103"/>
                <a:gd name="connsiteY34" fmla="*/ 422031 h 2964609"/>
                <a:gd name="connsiteX35" fmla="*/ 11826910 w 11867103"/>
                <a:gd name="connsiteY35" fmla="*/ 733530 h 2964609"/>
                <a:gd name="connsiteX36" fmla="*/ 11816862 w 11867103"/>
                <a:gd name="connsiteY36" fmla="*/ 793820 h 2964609"/>
                <a:gd name="connsiteX37" fmla="*/ 11806813 w 11867103"/>
                <a:gd name="connsiteY37" fmla="*/ 864158 h 2964609"/>
                <a:gd name="connsiteX38" fmla="*/ 11816862 w 11867103"/>
                <a:gd name="connsiteY38" fmla="*/ 2331218 h 2964609"/>
                <a:gd name="connsiteX39" fmla="*/ 11826910 w 11867103"/>
                <a:gd name="connsiteY39" fmla="*/ 2401556 h 2964609"/>
                <a:gd name="connsiteX40" fmla="*/ 11836958 w 11867103"/>
                <a:gd name="connsiteY40" fmla="*/ 2431701 h 2964609"/>
                <a:gd name="connsiteX41" fmla="*/ 11857055 w 11867103"/>
                <a:gd name="connsiteY41" fmla="*/ 2562330 h 2964609"/>
                <a:gd name="connsiteX42" fmla="*/ 11867103 w 11867103"/>
                <a:gd name="connsiteY42" fmla="*/ 2602523 h 2964609"/>
                <a:gd name="connsiteX43" fmla="*/ 11857055 w 11867103"/>
                <a:gd name="connsiteY43" fmla="*/ 2833635 h 2964609"/>
                <a:gd name="connsiteX44" fmla="*/ 11836958 w 11867103"/>
                <a:gd name="connsiteY44" fmla="*/ 2863780 h 2964609"/>
                <a:gd name="connsiteX45" fmla="*/ 11033090 w 11867103"/>
                <a:gd name="connsiteY45" fmla="*/ 2853732 h 2964609"/>
                <a:gd name="connsiteX46" fmla="*/ 10621108 w 11867103"/>
                <a:gd name="connsiteY46" fmla="*/ 2843684 h 2964609"/>
                <a:gd name="connsiteX47" fmla="*/ 10128739 w 11867103"/>
                <a:gd name="connsiteY47" fmla="*/ 2853732 h 2964609"/>
                <a:gd name="connsiteX48" fmla="*/ 10048352 w 11867103"/>
                <a:gd name="connsiteY48" fmla="*/ 2863780 h 2964609"/>
                <a:gd name="connsiteX49" fmla="*/ 9555982 w 11867103"/>
                <a:gd name="connsiteY49" fmla="*/ 2853732 h 2964609"/>
                <a:gd name="connsiteX50" fmla="*/ 9445451 w 11867103"/>
                <a:gd name="connsiteY50" fmla="*/ 2843684 h 2964609"/>
                <a:gd name="connsiteX51" fmla="*/ 9415306 w 11867103"/>
                <a:gd name="connsiteY51" fmla="*/ 2823587 h 2964609"/>
                <a:gd name="connsiteX52" fmla="*/ 9204290 w 11867103"/>
                <a:gd name="connsiteY52" fmla="*/ 2803490 h 2964609"/>
                <a:gd name="connsiteX53" fmla="*/ 9073662 w 11867103"/>
                <a:gd name="connsiteY53" fmla="*/ 2783393 h 2964609"/>
                <a:gd name="connsiteX54" fmla="*/ 8812404 w 11867103"/>
                <a:gd name="connsiteY54" fmla="*/ 2773345 h 2964609"/>
                <a:gd name="connsiteX55" fmla="*/ 8400422 w 11867103"/>
                <a:gd name="connsiteY55" fmla="*/ 2763297 h 2964609"/>
                <a:gd name="connsiteX56" fmla="*/ 8269793 w 11867103"/>
                <a:gd name="connsiteY56" fmla="*/ 2753248 h 2964609"/>
                <a:gd name="connsiteX57" fmla="*/ 7797521 w 11867103"/>
                <a:gd name="connsiteY57" fmla="*/ 2773345 h 2964609"/>
                <a:gd name="connsiteX58" fmla="*/ 7717134 w 11867103"/>
                <a:gd name="connsiteY58" fmla="*/ 2783393 h 2964609"/>
                <a:gd name="connsiteX59" fmla="*/ 7486022 w 11867103"/>
                <a:gd name="connsiteY59" fmla="*/ 2813539 h 2964609"/>
                <a:gd name="connsiteX60" fmla="*/ 7395587 w 11867103"/>
                <a:gd name="connsiteY60" fmla="*/ 2833635 h 2964609"/>
                <a:gd name="connsiteX61" fmla="*/ 7325248 w 11867103"/>
                <a:gd name="connsiteY61" fmla="*/ 2843684 h 2964609"/>
                <a:gd name="connsiteX62" fmla="*/ 6863024 w 11867103"/>
                <a:gd name="connsiteY62" fmla="*/ 2833635 h 2964609"/>
                <a:gd name="connsiteX63" fmla="*/ 6722347 w 11867103"/>
                <a:gd name="connsiteY63" fmla="*/ 2823587 h 2964609"/>
                <a:gd name="connsiteX64" fmla="*/ 4903596 w 11867103"/>
                <a:gd name="connsiteY64" fmla="*/ 2873829 h 2964609"/>
                <a:gd name="connsiteX65" fmla="*/ 4722725 w 11867103"/>
                <a:gd name="connsiteY65" fmla="*/ 2914022 h 2964609"/>
                <a:gd name="connsiteX66" fmla="*/ 4300695 w 11867103"/>
                <a:gd name="connsiteY66" fmla="*/ 2893925 h 2964609"/>
                <a:gd name="connsiteX67" fmla="*/ 4059534 w 11867103"/>
                <a:gd name="connsiteY67" fmla="*/ 2853732 h 2964609"/>
                <a:gd name="connsiteX68" fmla="*/ 3768132 w 11867103"/>
                <a:gd name="connsiteY68" fmla="*/ 2823587 h 2964609"/>
                <a:gd name="connsiteX69" fmla="*/ 3627455 w 11867103"/>
                <a:gd name="connsiteY69" fmla="*/ 2813539 h 2964609"/>
                <a:gd name="connsiteX70" fmla="*/ 3125037 w 11867103"/>
                <a:gd name="connsiteY70" fmla="*/ 2823587 h 2964609"/>
                <a:gd name="connsiteX71" fmla="*/ 3064747 w 11867103"/>
                <a:gd name="connsiteY71" fmla="*/ 2833635 h 2964609"/>
                <a:gd name="connsiteX72" fmla="*/ 2009670 w 11867103"/>
                <a:gd name="connsiteY72" fmla="*/ 2843684 h 2964609"/>
                <a:gd name="connsiteX73" fmla="*/ 1678075 w 11867103"/>
                <a:gd name="connsiteY73" fmla="*/ 2934119 h 2964609"/>
                <a:gd name="connsiteX74" fmla="*/ 1607736 w 11867103"/>
                <a:gd name="connsiteY74" fmla="*/ 2964264 h 2964609"/>
                <a:gd name="connsiteX75" fmla="*/ 1135464 w 11867103"/>
                <a:gd name="connsiteY75" fmla="*/ 2944167 h 2964609"/>
                <a:gd name="connsiteX76" fmla="*/ 944545 w 11867103"/>
                <a:gd name="connsiteY76" fmla="*/ 2914022 h 2964609"/>
                <a:gd name="connsiteX77" fmla="*/ 723481 w 11867103"/>
                <a:gd name="connsiteY77" fmla="*/ 2873829 h 2964609"/>
                <a:gd name="connsiteX78" fmla="*/ 643095 w 11867103"/>
                <a:gd name="connsiteY78" fmla="*/ 2863780 h 2964609"/>
                <a:gd name="connsiteX79" fmla="*/ 371789 w 11867103"/>
                <a:gd name="connsiteY79" fmla="*/ 2823587 h 2964609"/>
                <a:gd name="connsiteX80" fmla="*/ 0 w 11867103"/>
                <a:gd name="connsiteY80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6169688 w 11867103"/>
                <a:gd name="connsiteY8" fmla="*/ 110532 h 2964609"/>
                <a:gd name="connsiteX9" fmla="*/ 6420897 w 11867103"/>
                <a:gd name="connsiteY9" fmla="*/ 90435 h 2964609"/>
                <a:gd name="connsiteX10" fmla="*/ 6511332 w 11867103"/>
                <a:gd name="connsiteY10" fmla="*/ 30145 h 2964609"/>
                <a:gd name="connsiteX11" fmla="*/ 6571622 w 11867103"/>
                <a:gd name="connsiteY11" fmla="*/ 20097 h 2964609"/>
                <a:gd name="connsiteX12" fmla="*/ 6641961 w 11867103"/>
                <a:gd name="connsiteY12" fmla="*/ 0 h 2964609"/>
                <a:gd name="connsiteX13" fmla="*/ 7204668 w 11867103"/>
                <a:gd name="connsiteY13" fmla="*/ 10048 h 2964609"/>
                <a:gd name="connsiteX14" fmla="*/ 7285055 w 11867103"/>
                <a:gd name="connsiteY14" fmla="*/ 30145 h 2964609"/>
                <a:gd name="connsiteX15" fmla="*/ 7375490 w 11867103"/>
                <a:gd name="connsiteY15" fmla="*/ 40193 h 2964609"/>
                <a:gd name="connsiteX16" fmla="*/ 7928150 w 11867103"/>
                <a:gd name="connsiteY16" fmla="*/ 60290 h 2964609"/>
                <a:gd name="connsiteX17" fmla="*/ 8109020 w 11867103"/>
                <a:gd name="connsiteY17" fmla="*/ 80387 h 2964609"/>
                <a:gd name="connsiteX18" fmla="*/ 8219552 w 11867103"/>
                <a:gd name="connsiteY18" fmla="*/ 90435 h 2964609"/>
                <a:gd name="connsiteX19" fmla="*/ 8299939 w 11867103"/>
                <a:gd name="connsiteY19" fmla="*/ 100484 h 2964609"/>
                <a:gd name="connsiteX20" fmla="*/ 8521002 w 11867103"/>
                <a:gd name="connsiteY20" fmla="*/ 110532 h 2964609"/>
                <a:gd name="connsiteX21" fmla="*/ 9515789 w 11867103"/>
                <a:gd name="connsiteY21" fmla="*/ 100484 h 2964609"/>
                <a:gd name="connsiteX22" fmla="*/ 9606224 w 11867103"/>
                <a:gd name="connsiteY22" fmla="*/ 90435 h 2964609"/>
                <a:gd name="connsiteX23" fmla="*/ 9716756 w 11867103"/>
                <a:gd name="connsiteY23" fmla="*/ 80387 h 2964609"/>
                <a:gd name="connsiteX24" fmla="*/ 9797143 w 11867103"/>
                <a:gd name="connsiteY24" fmla="*/ 70339 h 2964609"/>
                <a:gd name="connsiteX25" fmla="*/ 9947868 w 11867103"/>
                <a:gd name="connsiteY25" fmla="*/ 60290 h 2964609"/>
                <a:gd name="connsiteX26" fmla="*/ 10791930 w 11867103"/>
                <a:gd name="connsiteY26" fmla="*/ 30145 h 2964609"/>
                <a:gd name="connsiteX27" fmla="*/ 11736475 w 11867103"/>
                <a:gd name="connsiteY27" fmla="*/ 50242 h 2964609"/>
                <a:gd name="connsiteX28" fmla="*/ 11766620 w 11867103"/>
                <a:gd name="connsiteY28" fmla="*/ 80387 h 2964609"/>
                <a:gd name="connsiteX29" fmla="*/ 11786717 w 11867103"/>
                <a:gd name="connsiteY29" fmla="*/ 120580 h 2964609"/>
                <a:gd name="connsiteX30" fmla="*/ 11806813 w 11867103"/>
                <a:gd name="connsiteY30" fmla="*/ 211015 h 2964609"/>
                <a:gd name="connsiteX31" fmla="*/ 11816862 w 11867103"/>
                <a:gd name="connsiteY31" fmla="*/ 251209 h 2964609"/>
                <a:gd name="connsiteX32" fmla="*/ 11826910 w 11867103"/>
                <a:gd name="connsiteY32" fmla="*/ 341644 h 2964609"/>
                <a:gd name="connsiteX33" fmla="*/ 11836958 w 11867103"/>
                <a:gd name="connsiteY33" fmla="*/ 422031 h 2964609"/>
                <a:gd name="connsiteX34" fmla="*/ 11826910 w 11867103"/>
                <a:gd name="connsiteY34" fmla="*/ 733530 h 2964609"/>
                <a:gd name="connsiteX35" fmla="*/ 11816862 w 11867103"/>
                <a:gd name="connsiteY35" fmla="*/ 793820 h 2964609"/>
                <a:gd name="connsiteX36" fmla="*/ 11806813 w 11867103"/>
                <a:gd name="connsiteY36" fmla="*/ 864158 h 2964609"/>
                <a:gd name="connsiteX37" fmla="*/ 11816862 w 11867103"/>
                <a:gd name="connsiteY37" fmla="*/ 2331218 h 2964609"/>
                <a:gd name="connsiteX38" fmla="*/ 11826910 w 11867103"/>
                <a:gd name="connsiteY38" fmla="*/ 2401556 h 2964609"/>
                <a:gd name="connsiteX39" fmla="*/ 11836958 w 11867103"/>
                <a:gd name="connsiteY39" fmla="*/ 2431701 h 2964609"/>
                <a:gd name="connsiteX40" fmla="*/ 11857055 w 11867103"/>
                <a:gd name="connsiteY40" fmla="*/ 2562330 h 2964609"/>
                <a:gd name="connsiteX41" fmla="*/ 11867103 w 11867103"/>
                <a:gd name="connsiteY41" fmla="*/ 2602523 h 2964609"/>
                <a:gd name="connsiteX42" fmla="*/ 11857055 w 11867103"/>
                <a:gd name="connsiteY42" fmla="*/ 2833635 h 2964609"/>
                <a:gd name="connsiteX43" fmla="*/ 11836958 w 11867103"/>
                <a:gd name="connsiteY43" fmla="*/ 2863780 h 2964609"/>
                <a:gd name="connsiteX44" fmla="*/ 11033090 w 11867103"/>
                <a:gd name="connsiteY44" fmla="*/ 2853732 h 2964609"/>
                <a:gd name="connsiteX45" fmla="*/ 10621108 w 11867103"/>
                <a:gd name="connsiteY45" fmla="*/ 2843684 h 2964609"/>
                <a:gd name="connsiteX46" fmla="*/ 10128739 w 11867103"/>
                <a:gd name="connsiteY46" fmla="*/ 2853732 h 2964609"/>
                <a:gd name="connsiteX47" fmla="*/ 10048352 w 11867103"/>
                <a:gd name="connsiteY47" fmla="*/ 2863780 h 2964609"/>
                <a:gd name="connsiteX48" fmla="*/ 9555982 w 11867103"/>
                <a:gd name="connsiteY48" fmla="*/ 2853732 h 2964609"/>
                <a:gd name="connsiteX49" fmla="*/ 9445451 w 11867103"/>
                <a:gd name="connsiteY49" fmla="*/ 2843684 h 2964609"/>
                <a:gd name="connsiteX50" fmla="*/ 9415306 w 11867103"/>
                <a:gd name="connsiteY50" fmla="*/ 2823587 h 2964609"/>
                <a:gd name="connsiteX51" fmla="*/ 9204290 w 11867103"/>
                <a:gd name="connsiteY51" fmla="*/ 2803490 h 2964609"/>
                <a:gd name="connsiteX52" fmla="*/ 9073662 w 11867103"/>
                <a:gd name="connsiteY52" fmla="*/ 2783393 h 2964609"/>
                <a:gd name="connsiteX53" fmla="*/ 8812404 w 11867103"/>
                <a:gd name="connsiteY53" fmla="*/ 2773345 h 2964609"/>
                <a:gd name="connsiteX54" fmla="*/ 8400422 w 11867103"/>
                <a:gd name="connsiteY54" fmla="*/ 2763297 h 2964609"/>
                <a:gd name="connsiteX55" fmla="*/ 8269793 w 11867103"/>
                <a:gd name="connsiteY55" fmla="*/ 2753248 h 2964609"/>
                <a:gd name="connsiteX56" fmla="*/ 7797521 w 11867103"/>
                <a:gd name="connsiteY56" fmla="*/ 2773345 h 2964609"/>
                <a:gd name="connsiteX57" fmla="*/ 7717134 w 11867103"/>
                <a:gd name="connsiteY57" fmla="*/ 2783393 h 2964609"/>
                <a:gd name="connsiteX58" fmla="*/ 7486022 w 11867103"/>
                <a:gd name="connsiteY58" fmla="*/ 2813539 h 2964609"/>
                <a:gd name="connsiteX59" fmla="*/ 7395587 w 11867103"/>
                <a:gd name="connsiteY59" fmla="*/ 2833635 h 2964609"/>
                <a:gd name="connsiteX60" fmla="*/ 7325248 w 11867103"/>
                <a:gd name="connsiteY60" fmla="*/ 2843684 h 2964609"/>
                <a:gd name="connsiteX61" fmla="*/ 6863024 w 11867103"/>
                <a:gd name="connsiteY61" fmla="*/ 2833635 h 2964609"/>
                <a:gd name="connsiteX62" fmla="*/ 6722347 w 11867103"/>
                <a:gd name="connsiteY62" fmla="*/ 2823587 h 2964609"/>
                <a:gd name="connsiteX63" fmla="*/ 4903596 w 11867103"/>
                <a:gd name="connsiteY63" fmla="*/ 2873829 h 2964609"/>
                <a:gd name="connsiteX64" fmla="*/ 4722725 w 11867103"/>
                <a:gd name="connsiteY64" fmla="*/ 2914022 h 2964609"/>
                <a:gd name="connsiteX65" fmla="*/ 4300695 w 11867103"/>
                <a:gd name="connsiteY65" fmla="*/ 2893925 h 2964609"/>
                <a:gd name="connsiteX66" fmla="*/ 4059534 w 11867103"/>
                <a:gd name="connsiteY66" fmla="*/ 2853732 h 2964609"/>
                <a:gd name="connsiteX67" fmla="*/ 3768132 w 11867103"/>
                <a:gd name="connsiteY67" fmla="*/ 2823587 h 2964609"/>
                <a:gd name="connsiteX68" fmla="*/ 3627455 w 11867103"/>
                <a:gd name="connsiteY68" fmla="*/ 2813539 h 2964609"/>
                <a:gd name="connsiteX69" fmla="*/ 3125037 w 11867103"/>
                <a:gd name="connsiteY69" fmla="*/ 2823587 h 2964609"/>
                <a:gd name="connsiteX70" fmla="*/ 3064747 w 11867103"/>
                <a:gd name="connsiteY70" fmla="*/ 2833635 h 2964609"/>
                <a:gd name="connsiteX71" fmla="*/ 2009670 w 11867103"/>
                <a:gd name="connsiteY71" fmla="*/ 2843684 h 2964609"/>
                <a:gd name="connsiteX72" fmla="*/ 1678075 w 11867103"/>
                <a:gd name="connsiteY72" fmla="*/ 2934119 h 2964609"/>
                <a:gd name="connsiteX73" fmla="*/ 1607736 w 11867103"/>
                <a:gd name="connsiteY73" fmla="*/ 2964264 h 2964609"/>
                <a:gd name="connsiteX74" fmla="*/ 1135464 w 11867103"/>
                <a:gd name="connsiteY74" fmla="*/ 2944167 h 2964609"/>
                <a:gd name="connsiteX75" fmla="*/ 944545 w 11867103"/>
                <a:gd name="connsiteY75" fmla="*/ 2914022 h 2964609"/>
                <a:gd name="connsiteX76" fmla="*/ 723481 w 11867103"/>
                <a:gd name="connsiteY76" fmla="*/ 2873829 h 2964609"/>
                <a:gd name="connsiteX77" fmla="*/ 643095 w 11867103"/>
                <a:gd name="connsiteY77" fmla="*/ 2863780 h 2964609"/>
                <a:gd name="connsiteX78" fmla="*/ 371789 w 11867103"/>
                <a:gd name="connsiteY78" fmla="*/ 2823587 h 2964609"/>
                <a:gd name="connsiteX79" fmla="*/ 0 w 11867103"/>
                <a:gd name="connsiteY79" fmla="*/ 2813539 h 2964609"/>
                <a:gd name="connsiteX0" fmla="*/ 120580 w 11867103"/>
                <a:gd name="connsiteY0" fmla="*/ 51336 h 2965703"/>
                <a:gd name="connsiteX1" fmla="*/ 281354 w 11867103"/>
                <a:gd name="connsiteY1" fmla="*/ 41287 h 2965703"/>
                <a:gd name="connsiteX2" fmla="*/ 673240 w 11867103"/>
                <a:gd name="connsiteY2" fmla="*/ 31239 h 2965703"/>
                <a:gd name="connsiteX3" fmla="*/ 1356528 w 11867103"/>
                <a:gd name="connsiteY3" fmla="*/ 81481 h 2965703"/>
                <a:gd name="connsiteX4" fmla="*/ 1758462 w 11867103"/>
                <a:gd name="connsiteY4" fmla="*/ 41287 h 2965703"/>
                <a:gd name="connsiteX5" fmla="*/ 2140299 w 11867103"/>
                <a:gd name="connsiteY5" fmla="*/ 41287 h 2965703"/>
                <a:gd name="connsiteX6" fmla="*/ 4652387 w 11867103"/>
                <a:gd name="connsiteY6" fmla="*/ 61384 h 2965703"/>
                <a:gd name="connsiteX7" fmla="*/ 4692580 w 11867103"/>
                <a:gd name="connsiteY7" fmla="*/ 71433 h 2965703"/>
                <a:gd name="connsiteX8" fmla="*/ 6169688 w 11867103"/>
                <a:gd name="connsiteY8" fmla="*/ 111626 h 2965703"/>
                <a:gd name="connsiteX9" fmla="*/ 6420897 w 11867103"/>
                <a:gd name="connsiteY9" fmla="*/ 91529 h 2965703"/>
                <a:gd name="connsiteX10" fmla="*/ 6511332 w 11867103"/>
                <a:gd name="connsiteY10" fmla="*/ 31239 h 2965703"/>
                <a:gd name="connsiteX11" fmla="*/ 6641961 w 11867103"/>
                <a:gd name="connsiteY11" fmla="*/ 1094 h 2965703"/>
                <a:gd name="connsiteX12" fmla="*/ 7204668 w 11867103"/>
                <a:gd name="connsiteY12" fmla="*/ 11142 h 2965703"/>
                <a:gd name="connsiteX13" fmla="*/ 7285055 w 11867103"/>
                <a:gd name="connsiteY13" fmla="*/ 31239 h 2965703"/>
                <a:gd name="connsiteX14" fmla="*/ 7375490 w 11867103"/>
                <a:gd name="connsiteY14" fmla="*/ 41287 h 2965703"/>
                <a:gd name="connsiteX15" fmla="*/ 7928150 w 11867103"/>
                <a:gd name="connsiteY15" fmla="*/ 61384 h 2965703"/>
                <a:gd name="connsiteX16" fmla="*/ 8109020 w 11867103"/>
                <a:gd name="connsiteY16" fmla="*/ 81481 h 2965703"/>
                <a:gd name="connsiteX17" fmla="*/ 8219552 w 11867103"/>
                <a:gd name="connsiteY17" fmla="*/ 91529 h 2965703"/>
                <a:gd name="connsiteX18" fmla="*/ 8299939 w 11867103"/>
                <a:gd name="connsiteY18" fmla="*/ 101578 h 2965703"/>
                <a:gd name="connsiteX19" fmla="*/ 8521002 w 11867103"/>
                <a:gd name="connsiteY19" fmla="*/ 111626 h 2965703"/>
                <a:gd name="connsiteX20" fmla="*/ 9515789 w 11867103"/>
                <a:gd name="connsiteY20" fmla="*/ 101578 h 2965703"/>
                <a:gd name="connsiteX21" fmla="*/ 9606224 w 11867103"/>
                <a:gd name="connsiteY21" fmla="*/ 91529 h 2965703"/>
                <a:gd name="connsiteX22" fmla="*/ 9716756 w 11867103"/>
                <a:gd name="connsiteY22" fmla="*/ 81481 h 2965703"/>
                <a:gd name="connsiteX23" fmla="*/ 9797143 w 11867103"/>
                <a:gd name="connsiteY23" fmla="*/ 71433 h 2965703"/>
                <a:gd name="connsiteX24" fmla="*/ 9947868 w 11867103"/>
                <a:gd name="connsiteY24" fmla="*/ 61384 h 2965703"/>
                <a:gd name="connsiteX25" fmla="*/ 10791930 w 11867103"/>
                <a:gd name="connsiteY25" fmla="*/ 31239 h 2965703"/>
                <a:gd name="connsiteX26" fmla="*/ 11736475 w 11867103"/>
                <a:gd name="connsiteY26" fmla="*/ 51336 h 2965703"/>
                <a:gd name="connsiteX27" fmla="*/ 11766620 w 11867103"/>
                <a:gd name="connsiteY27" fmla="*/ 81481 h 2965703"/>
                <a:gd name="connsiteX28" fmla="*/ 11786717 w 11867103"/>
                <a:gd name="connsiteY28" fmla="*/ 121674 h 2965703"/>
                <a:gd name="connsiteX29" fmla="*/ 11806813 w 11867103"/>
                <a:gd name="connsiteY29" fmla="*/ 212109 h 2965703"/>
                <a:gd name="connsiteX30" fmla="*/ 11816862 w 11867103"/>
                <a:gd name="connsiteY30" fmla="*/ 252303 h 2965703"/>
                <a:gd name="connsiteX31" fmla="*/ 11826910 w 11867103"/>
                <a:gd name="connsiteY31" fmla="*/ 342738 h 2965703"/>
                <a:gd name="connsiteX32" fmla="*/ 11836958 w 11867103"/>
                <a:gd name="connsiteY32" fmla="*/ 423125 h 2965703"/>
                <a:gd name="connsiteX33" fmla="*/ 11826910 w 11867103"/>
                <a:gd name="connsiteY33" fmla="*/ 734624 h 2965703"/>
                <a:gd name="connsiteX34" fmla="*/ 11816862 w 11867103"/>
                <a:gd name="connsiteY34" fmla="*/ 794914 h 2965703"/>
                <a:gd name="connsiteX35" fmla="*/ 11806813 w 11867103"/>
                <a:gd name="connsiteY35" fmla="*/ 865252 h 2965703"/>
                <a:gd name="connsiteX36" fmla="*/ 11816862 w 11867103"/>
                <a:gd name="connsiteY36" fmla="*/ 2332312 h 2965703"/>
                <a:gd name="connsiteX37" fmla="*/ 11826910 w 11867103"/>
                <a:gd name="connsiteY37" fmla="*/ 2402650 h 2965703"/>
                <a:gd name="connsiteX38" fmla="*/ 11836958 w 11867103"/>
                <a:gd name="connsiteY38" fmla="*/ 2432795 h 2965703"/>
                <a:gd name="connsiteX39" fmla="*/ 11857055 w 11867103"/>
                <a:gd name="connsiteY39" fmla="*/ 2563424 h 2965703"/>
                <a:gd name="connsiteX40" fmla="*/ 11867103 w 11867103"/>
                <a:gd name="connsiteY40" fmla="*/ 2603617 h 2965703"/>
                <a:gd name="connsiteX41" fmla="*/ 11857055 w 11867103"/>
                <a:gd name="connsiteY41" fmla="*/ 2834729 h 2965703"/>
                <a:gd name="connsiteX42" fmla="*/ 11836958 w 11867103"/>
                <a:gd name="connsiteY42" fmla="*/ 2864874 h 2965703"/>
                <a:gd name="connsiteX43" fmla="*/ 11033090 w 11867103"/>
                <a:gd name="connsiteY43" fmla="*/ 2854826 h 2965703"/>
                <a:gd name="connsiteX44" fmla="*/ 10621108 w 11867103"/>
                <a:gd name="connsiteY44" fmla="*/ 2844778 h 2965703"/>
                <a:gd name="connsiteX45" fmla="*/ 10128739 w 11867103"/>
                <a:gd name="connsiteY45" fmla="*/ 2854826 h 2965703"/>
                <a:gd name="connsiteX46" fmla="*/ 10048352 w 11867103"/>
                <a:gd name="connsiteY46" fmla="*/ 2864874 h 2965703"/>
                <a:gd name="connsiteX47" fmla="*/ 9555982 w 11867103"/>
                <a:gd name="connsiteY47" fmla="*/ 2854826 h 2965703"/>
                <a:gd name="connsiteX48" fmla="*/ 9445451 w 11867103"/>
                <a:gd name="connsiteY48" fmla="*/ 2844778 h 2965703"/>
                <a:gd name="connsiteX49" fmla="*/ 9415306 w 11867103"/>
                <a:gd name="connsiteY49" fmla="*/ 2824681 h 2965703"/>
                <a:gd name="connsiteX50" fmla="*/ 9204290 w 11867103"/>
                <a:gd name="connsiteY50" fmla="*/ 2804584 h 2965703"/>
                <a:gd name="connsiteX51" fmla="*/ 9073662 w 11867103"/>
                <a:gd name="connsiteY51" fmla="*/ 2784487 h 2965703"/>
                <a:gd name="connsiteX52" fmla="*/ 8812404 w 11867103"/>
                <a:gd name="connsiteY52" fmla="*/ 2774439 h 2965703"/>
                <a:gd name="connsiteX53" fmla="*/ 8400422 w 11867103"/>
                <a:gd name="connsiteY53" fmla="*/ 2764391 h 2965703"/>
                <a:gd name="connsiteX54" fmla="*/ 8269793 w 11867103"/>
                <a:gd name="connsiteY54" fmla="*/ 2754342 h 2965703"/>
                <a:gd name="connsiteX55" fmla="*/ 7797521 w 11867103"/>
                <a:gd name="connsiteY55" fmla="*/ 2774439 h 2965703"/>
                <a:gd name="connsiteX56" fmla="*/ 7717134 w 11867103"/>
                <a:gd name="connsiteY56" fmla="*/ 2784487 h 2965703"/>
                <a:gd name="connsiteX57" fmla="*/ 7486022 w 11867103"/>
                <a:gd name="connsiteY57" fmla="*/ 2814633 h 2965703"/>
                <a:gd name="connsiteX58" fmla="*/ 7395587 w 11867103"/>
                <a:gd name="connsiteY58" fmla="*/ 2834729 h 2965703"/>
                <a:gd name="connsiteX59" fmla="*/ 7325248 w 11867103"/>
                <a:gd name="connsiteY59" fmla="*/ 2844778 h 2965703"/>
                <a:gd name="connsiteX60" fmla="*/ 6863024 w 11867103"/>
                <a:gd name="connsiteY60" fmla="*/ 2834729 h 2965703"/>
                <a:gd name="connsiteX61" fmla="*/ 6722347 w 11867103"/>
                <a:gd name="connsiteY61" fmla="*/ 2824681 h 2965703"/>
                <a:gd name="connsiteX62" fmla="*/ 4903596 w 11867103"/>
                <a:gd name="connsiteY62" fmla="*/ 2874923 h 2965703"/>
                <a:gd name="connsiteX63" fmla="*/ 4722725 w 11867103"/>
                <a:gd name="connsiteY63" fmla="*/ 2915116 h 2965703"/>
                <a:gd name="connsiteX64" fmla="*/ 4300695 w 11867103"/>
                <a:gd name="connsiteY64" fmla="*/ 2895019 h 2965703"/>
                <a:gd name="connsiteX65" fmla="*/ 4059534 w 11867103"/>
                <a:gd name="connsiteY65" fmla="*/ 2854826 h 2965703"/>
                <a:gd name="connsiteX66" fmla="*/ 3768132 w 11867103"/>
                <a:gd name="connsiteY66" fmla="*/ 2824681 h 2965703"/>
                <a:gd name="connsiteX67" fmla="*/ 3627455 w 11867103"/>
                <a:gd name="connsiteY67" fmla="*/ 2814633 h 2965703"/>
                <a:gd name="connsiteX68" fmla="*/ 3125037 w 11867103"/>
                <a:gd name="connsiteY68" fmla="*/ 2824681 h 2965703"/>
                <a:gd name="connsiteX69" fmla="*/ 3064747 w 11867103"/>
                <a:gd name="connsiteY69" fmla="*/ 2834729 h 2965703"/>
                <a:gd name="connsiteX70" fmla="*/ 2009670 w 11867103"/>
                <a:gd name="connsiteY70" fmla="*/ 2844778 h 2965703"/>
                <a:gd name="connsiteX71" fmla="*/ 1678075 w 11867103"/>
                <a:gd name="connsiteY71" fmla="*/ 2935213 h 2965703"/>
                <a:gd name="connsiteX72" fmla="*/ 1607736 w 11867103"/>
                <a:gd name="connsiteY72" fmla="*/ 2965358 h 2965703"/>
                <a:gd name="connsiteX73" fmla="*/ 1135464 w 11867103"/>
                <a:gd name="connsiteY73" fmla="*/ 2945261 h 2965703"/>
                <a:gd name="connsiteX74" fmla="*/ 944545 w 11867103"/>
                <a:gd name="connsiteY74" fmla="*/ 2915116 h 2965703"/>
                <a:gd name="connsiteX75" fmla="*/ 723481 w 11867103"/>
                <a:gd name="connsiteY75" fmla="*/ 2874923 h 2965703"/>
                <a:gd name="connsiteX76" fmla="*/ 643095 w 11867103"/>
                <a:gd name="connsiteY76" fmla="*/ 2864874 h 2965703"/>
                <a:gd name="connsiteX77" fmla="*/ 371789 w 11867103"/>
                <a:gd name="connsiteY77" fmla="*/ 2824681 h 2965703"/>
                <a:gd name="connsiteX78" fmla="*/ 0 w 11867103"/>
                <a:gd name="connsiteY78" fmla="*/ 2814633 h 2965703"/>
                <a:gd name="connsiteX0" fmla="*/ 120580 w 11867103"/>
                <a:gd name="connsiteY0" fmla="*/ 40194 h 2954561"/>
                <a:gd name="connsiteX1" fmla="*/ 281354 w 11867103"/>
                <a:gd name="connsiteY1" fmla="*/ 30145 h 2954561"/>
                <a:gd name="connsiteX2" fmla="*/ 673240 w 11867103"/>
                <a:gd name="connsiteY2" fmla="*/ 20097 h 2954561"/>
                <a:gd name="connsiteX3" fmla="*/ 1356528 w 11867103"/>
                <a:gd name="connsiteY3" fmla="*/ 70339 h 2954561"/>
                <a:gd name="connsiteX4" fmla="*/ 1758462 w 11867103"/>
                <a:gd name="connsiteY4" fmla="*/ 30145 h 2954561"/>
                <a:gd name="connsiteX5" fmla="*/ 2140299 w 11867103"/>
                <a:gd name="connsiteY5" fmla="*/ 30145 h 2954561"/>
                <a:gd name="connsiteX6" fmla="*/ 4652387 w 11867103"/>
                <a:gd name="connsiteY6" fmla="*/ 50242 h 2954561"/>
                <a:gd name="connsiteX7" fmla="*/ 4692580 w 11867103"/>
                <a:gd name="connsiteY7" fmla="*/ 60291 h 2954561"/>
                <a:gd name="connsiteX8" fmla="*/ 6169688 w 11867103"/>
                <a:gd name="connsiteY8" fmla="*/ 100484 h 2954561"/>
                <a:gd name="connsiteX9" fmla="*/ 6420897 w 11867103"/>
                <a:gd name="connsiteY9" fmla="*/ 80387 h 2954561"/>
                <a:gd name="connsiteX10" fmla="*/ 6511332 w 11867103"/>
                <a:gd name="connsiteY10" fmla="*/ 20097 h 2954561"/>
                <a:gd name="connsiteX11" fmla="*/ 7204668 w 11867103"/>
                <a:gd name="connsiteY11" fmla="*/ 0 h 2954561"/>
                <a:gd name="connsiteX12" fmla="*/ 7285055 w 11867103"/>
                <a:gd name="connsiteY12" fmla="*/ 20097 h 2954561"/>
                <a:gd name="connsiteX13" fmla="*/ 7375490 w 11867103"/>
                <a:gd name="connsiteY13" fmla="*/ 30145 h 2954561"/>
                <a:gd name="connsiteX14" fmla="*/ 7928150 w 11867103"/>
                <a:gd name="connsiteY14" fmla="*/ 50242 h 2954561"/>
                <a:gd name="connsiteX15" fmla="*/ 8109020 w 11867103"/>
                <a:gd name="connsiteY15" fmla="*/ 70339 h 2954561"/>
                <a:gd name="connsiteX16" fmla="*/ 8219552 w 11867103"/>
                <a:gd name="connsiteY16" fmla="*/ 80387 h 2954561"/>
                <a:gd name="connsiteX17" fmla="*/ 8299939 w 11867103"/>
                <a:gd name="connsiteY17" fmla="*/ 90436 h 2954561"/>
                <a:gd name="connsiteX18" fmla="*/ 8521002 w 11867103"/>
                <a:gd name="connsiteY18" fmla="*/ 100484 h 2954561"/>
                <a:gd name="connsiteX19" fmla="*/ 9515789 w 11867103"/>
                <a:gd name="connsiteY19" fmla="*/ 90436 h 2954561"/>
                <a:gd name="connsiteX20" fmla="*/ 9606224 w 11867103"/>
                <a:gd name="connsiteY20" fmla="*/ 80387 h 2954561"/>
                <a:gd name="connsiteX21" fmla="*/ 9716756 w 11867103"/>
                <a:gd name="connsiteY21" fmla="*/ 70339 h 2954561"/>
                <a:gd name="connsiteX22" fmla="*/ 9797143 w 11867103"/>
                <a:gd name="connsiteY22" fmla="*/ 60291 h 2954561"/>
                <a:gd name="connsiteX23" fmla="*/ 9947868 w 11867103"/>
                <a:gd name="connsiteY23" fmla="*/ 50242 h 2954561"/>
                <a:gd name="connsiteX24" fmla="*/ 10791930 w 11867103"/>
                <a:gd name="connsiteY24" fmla="*/ 20097 h 2954561"/>
                <a:gd name="connsiteX25" fmla="*/ 11736475 w 11867103"/>
                <a:gd name="connsiteY25" fmla="*/ 40194 h 2954561"/>
                <a:gd name="connsiteX26" fmla="*/ 11766620 w 11867103"/>
                <a:gd name="connsiteY26" fmla="*/ 70339 h 2954561"/>
                <a:gd name="connsiteX27" fmla="*/ 11786717 w 11867103"/>
                <a:gd name="connsiteY27" fmla="*/ 110532 h 2954561"/>
                <a:gd name="connsiteX28" fmla="*/ 11806813 w 11867103"/>
                <a:gd name="connsiteY28" fmla="*/ 200967 h 2954561"/>
                <a:gd name="connsiteX29" fmla="*/ 11816862 w 11867103"/>
                <a:gd name="connsiteY29" fmla="*/ 241161 h 2954561"/>
                <a:gd name="connsiteX30" fmla="*/ 11826910 w 11867103"/>
                <a:gd name="connsiteY30" fmla="*/ 331596 h 2954561"/>
                <a:gd name="connsiteX31" fmla="*/ 11836958 w 11867103"/>
                <a:gd name="connsiteY31" fmla="*/ 411983 h 2954561"/>
                <a:gd name="connsiteX32" fmla="*/ 11826910 w 11867103"/>
                <a:gd name="connsiteY32" fmla="*/ 723482 h 2954561"/>
                <a:gd name="connsiteX33" fmla="*/ 11816862 w 11867103"/>
                <a:gd name="connsiteY33" fmla="*/ 783772 h 2954561"/>
                <a:gd name="connsiteX34" fmla="*/ 11806813 w 11867103"/>
                <a:gd name="connsiteY34" fmla="*/ 854110 h 2954561"/>
                <a:gd name="connsiteX35" fmla="*/ 11816862 w 11867103"/>
                <a:gd name="connsiteY35" fmla="*/ 2321170 h 2954561"/>
                <a:gd name="connsiteX36" fmla="*/ 11826910 w 11867103"/>
                <a:gd name="connsiteY36" fmla="*/ 2391508 h 2954561"/>
                <a:gd name="connsiteX37" fmla="*/ 11836958 w 11867103"/>
                <a:gd name="connsiteY37" fmla="*/ 2421653 h 2954561"/>
                <a:gd name="connsiteX38" fmla="*/ 11857055 w 11867103"/>
                <a:gd name="connsiteY38" fmla="*/ 2552282 h 2954561"/>
                <a:gd name="connsiteX39" fmla="*/ 11867103 w 11867103"/>
                <a:gd name="connsiteY39" fmla="*/ 2592475 h 2954561"/>
                <a:gd name="connsiteX40" fmla="*/ 11857055 w 11867103"/>
                <a:gd name="connsiteY40" fmla="*/ 2823587 h 2954561"/>
                <a:gd name="connsiteX41" fmla="*/ 11836958 w 11867103"/>
                <a:gd name="connsiteY41" fmla="*/ 2853732 h 2954561"/>
                <a:gd name="connsiteX42" fmla="*/ 11033090 w 11867103"/>
                <a:gd name="connsiteY42" fmla="*/ 2843684 h 2954561"/>
                <a:gd name="connsiteX43" fmla="*/ 10621108 w 11867103"/>
                <a:gd name="connsiteY43" fmla="*/ 2833636 h 2954561"/>
                <a:gd name="connsiteX44" fmla="*/ 10128739 w 11867103"/>
                <a:gd name="connsiteY44" fmla="*/ 2843684 h 2954561"/>
                <a:gd name="connsiteX45" fmla="*/ 10048352 w 11867103"/>
                <a:gd name="connsiteY45" fmla="*/ 2853732 h 2954561"/>
                <a:gd name="connsiteX46" fmla="*/ 9555982 w 11867103"/>
                <a:gd name="connsiteY46" fmla="*/ 2843684 h 2954561"/>
                <a:gd name="connsiteX47" fmla="*/ 9445451 w 11867103"/>
                <a:gd name="connsiteY47" fmla="*/ 2833636 h 2954561"/>
                <a:gd name="connsiteX48" fmla="*/ 9415306 w 11867103"/>
                <a:gd name="connsiteY48" fmla="*/ 2813539 h 2954561"/>
                <a:gd name="connsiteX49" fmla="*/ 9204290 w 11867103"/>
                <a:gd name="connsiteY49" fmla="*/ 2793442 h 2954561"/>
                <a:gd name="connsiteX50" fmla="*/ 9073662 w 11867103"/>
                <a:gd name="connsiteY50" fmla="*/ 2773345 h 2954561"/>
                <a:gd name="connsiteX51" fmla="*/ 8812404 w 11867103"/>
                <a:gd name="connsiteY51" fmla="*/ 2763297 h 2954561"/>
                <a:gd name="connsiteX52" fmla="*/ 8400422 w 11867103"/>
                <a:gd name="connsiteY52" fmla="*/ 2753249 h 2954561"/>
                <a:gd name="connsiteX53" fmla="*/ 8269793 w 11867103"/>
                <a:gd name="connsiteY53" fmla="*/ 2743200 h 2954561"/>
                <a:gd name="connsiteX54" fmla="*/ 7797521 w 11867103"/>
                <a:gd name="connsiteY54" fmla="*/ 2763297 h 2954561"/>
                <a:gd name="connsiteX55" fmla="*/ 7717134 w 11867103"/>
                <a:gd name="connsiteY55" fmla="*/ 2773345 h 2954561"/>
                <a:gd name="connsiteX56" fmla="*/ 7486022 w 11867103"/>
                <a:gd name="connsiteY56" fmla="*/ 2803491 h 2954561"/>
                <a:gd name="connsiteX57" fmla="*/ 7395587 w 11867103"/>
                <a:gd name="connsiteY57" fmla="*/ 2823587 h 2954561"/>
                <a:gd name="connsiteX58" fmla="*/ 7325248 w 11867103"/>
                <a:gd name="connsiteY58" fmla="*/ 2833636 h 2954561"/>
                <a:gd name="connsiteX59" fmla="*/ 6863024 w 11867103"/>
                <a:gd name="connsiteY59" fmla="*/ 2823587 h 2954561"/>
                <a:gd name="connsiteX60" fmla="*/ 6722347 w 11867103"/>
                <a:gd name="connsiteY60" fmla="*/ 2813539 h 2954561"/>
                <a:gd name="connsiteX61" fmla="*/ 4903596 w 11867103"/>
                <a:gd name="connsiteY61" fmla="*/ 2863781 h 2954561"/>
                <a:gd name="connsiteX62" fmla="*/ 4722725 w 11867103"/>
                <a:gd name="connsiteY62" fmla="*/ 2903974 h 2954561"/>
                <a:gd name="connsiteX63" fmla="*/ 4300695 w 11867103"/>
                <a:gd name="connsiteY63" fmla="*/ 2883877 h 2954561"/>
                <a:gd name="connsiteX64" fmla="*/ 4059534 w 11867103"/>
                <a:gd name="connsiteY64" fmla="*/ 2843684 h 2954561"/>
                <a:gd name="connsiteX65" fmla="*/ 3768132 w 11867103"/>
                <a:gd name="connsiteY65" fmla="*/ 2813539 h 2954561"/>
                <a:gd name="connsiteX66" fmla="*/ 3627455 w 11867103"/>
                <a:gd name="connsiteY66" fmla="*/ 2803491 h 2954561"/>
                <a:gd name="connsiteX67" fmla="*/ 3125037 w 11867103"/>
                <a:gd name="connsiteY67" fmla="*/ 2813539 h 2954561"/>
                <a:gd name="connsiteX68" fmla="*/ 3064747 w 11867103"/>
                <a:gd name="connsiteY68" fmla="*/ 2823587 h 2954561"/>
                <a:gd name="connsiteX69" fmla="*/ 2009670 w 11867103"/>
                <a:gd name="connsiteY69" fmla="*/ 2833636 h 2954561"/>
                <a:gd name="connsiteX70" fmla="*/ 1678075 w 11867103"/>
                <a:gd name="connsiteY70" fmla="*/ 2924071 h 2954561"/>
                <a:gd name="connsiteX71" fmla="*/ 1607736 w 11867103"/>
                <a:gd name="connsiteY71" fmla="*/ 2954216 h 2954561"/>
                <a:gd name="connsiteX72" fmla="*/ 1135464 w 11867103"/>
                <a:gd name="connsiteY72" fmla="*/ 2934119 h 2954561"/>
                <a:gd name="connsiteX73" fmla="*/ 944545 w 11867103"/>
                <a:gd name="connsiteY73" fmla="*/ 2903974 h 2954561"/>
                <a:gd name="connsiteX74" fmla="*/ 723481 w 11867103"/>
                <a:gd name="connsiteY74" fmla="*/ 2863781 h 2954561"/>
                <a:gd name="connsiteX75" fmla="*/ 643095 w 11867103"/>
                <a:gd name="connsiteY75" fmla="*/ 2853732 h 2954561"/>
                <a:gd name="connsiteX76" fmla="*/ 371789 w 11867103"/>
                <a:gd name="connsiteY76" fmla="*/ 2813539 h 2954561"/>
                <a:gd name="connsiteX77" fmla="*/ 0 w 11867103"/>
                <a:gd name="connsiteY77" fmla="*/ 2803491 h 2954561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169688 w 11867103"/>
                <a:gd name="connsiteY8" fmla="*/ 102818 h 2956895"/>
                <a:gd name="connsiteX9" fmla="*/ 6420897 w 11867103"/>
                <a:gd name="connsiteY9" fmla="*/ 82721 h 2956895"/>
                <a:gd name="connsiteX10" fmla="*/ 7204668 w 11867103"/>
                <a:gd name="connsiteY10" fmla="*/ 2334 h 2956895"/>
                <a:gd name="connsiteX11" fmla="*/ 7285055 w 11867103"/>
                <a:gd name="connsiteY11" fmla="*/ 22431 h 2956895"/>
                <a:gd name="connsiteX12" fmla="*/ 7375490 w 11867103"/>
                <a:gd name="connsiteY12" fmla="*/ 32479 h 2956895"/>
                <a:gd name="connsiteX13" fmla="*/ 7928150 w 11867103"/>
                <a:gd name="connsiteY13" fmla="*/ 52576 h 2956895"/>
                <a:gd name="connsiteX14" fmla="*/ 8109020 w 11867103"/>
                <a:gd name="connsiteY14" fmla="*/ 72673 h 2956895"/>
                <a:gd name="connsiteX15" fmla="*/ 8219552 w 11867103"/>
                <a:gd name="connsiteY15" fmla="*/ 82721 h 2956895"/>
                <a:gd name="connsiteX16" fmla="*/ 8299939 w 11867103"/>
                <a:gd name="connsiteY16" fmla="*/ 92770 h 2956895"/>
                <a:gd name="connsiteX17" fmla="*/ 8521002 w 11867103"/>
                <a:gd name="connsiteY17" fmla="*/ 102818 h 2956895"/>
                <a:gd name="connsiteX18" fmla="*/ 9515789 w 11867103"/>
                <a:gd name="connsiteY18" fmla="*/ 92770 h 2956895"/>
                <a:gd name="connsiteX19" fmla="*/ 9606224 w 11867103"/>
                <a:gd name="connsiteY19" fmla="*/ 82721 h 2956895"/>
                <a:gd name="connsiteX20" fmla="*/ 9716756 w 11867103"/>
                <a:gd name="connsiteY20" fmla="*/ 72673 h 2956895"/>
                <a:gd name="connsiteX21" fmla="*/ 9797143 w 11867103"/>
                <a:gd name="connsiteY21" fmla="*/ 62625 h 2956895"/>
                <a:gd name="connsiteX22" fmla="*/ 9947868 w 11867103"/>
                <a:gd name="connsiteY22" fmla="*/ 52576 h 2956895"/>
                <a:gd name="connsiteX23" fmla="*/ 10791930 w 11867103"/>
                <a:gd name="connsiteY23" fmla="*/ 22431 h 2956895"/>
                <a:gd name="connsiteX24" fmla="*/ 11736475 w 11867103"/>
                <a:gd name="connsiteY24" fmla="*/ 42528 h 2956895"/>
                <a:gd name="connsiteX25" fmla="*/ 11766620 w 11867103"/>
                <a:gd name="connsiteY25" fmla="*/ 72673 h 2956895"/>
                <a:gd name="connsiteX26" fmla="*/ 11786717 w 11867103"/>
                <a:gd name="connsiteY26" fmla="*/ 112866 h 2956895"/>
                <a:gd name="connsiteX27" fmla="*/ 11806813 w 11867103"/>
                <a:gd name="connsiteY27" fmla="*/ 203301 h 2956895"/>
                <a:gd name="connsiteX28" fmla="*/ 11816862 w 11867103"/>
                <a:gd name="connsiteY28" fmla="*/ 243495 h 2956895"/>
                <a:gd name="connsiteX29" fmla="*/ 11826910 w 11867103"/>
                <a:gd name="connsiteY29" fmla="*/ 333930 h 2956895"/>
                <a:gd name="connsiteX30" fmla="*/ 11836958 w 11867103"/>
                <a:gd name="connsiteY30" fmla="*/ 414317 h 2956895"/>
                <a:gd name="connsiteX31" fmla="*/ 11826910 w 11867103"/>
                <a:gd name="connsiteY31" fmla="*/ 725816 h 2956895"/>
                <a:gd name="connsiteX32" fmla="*/ 11816862 w 11867103"/>
                <a:gd name="connsiteY32" fmla="*/ 786106 h 2956895"/>
                <a:gd name="connsiteX33" fmla="*/ 11806813 w 11867103"/>
                <a:gd name="connsiteY33" fmla="*/ 856444 h 2956895"/>
                <a:gd name="connsiteX34" fmla="*/ 11816862 w 11867103"/>
                <a:gd name="connsiteY34" fmla="*/ 2323504 h 2956895"/>
                <a:gd name="connsiteX35" fmla="*/ 11826910 w 11867103"/>
                <a:gd name="connsiteY35" fmla="*/ 2393842 h 2956895"/>
                <a:gd name="connsiteX36" fmla="*/ 11836958 w 11867103"/>
                <a:gd name="connsiteY36" fmla="*/ 2423987 h 2956895"/>
                <a:gd name="connsiteX37" fmla="*/ 11857055 w 11867103"/>
                <a:gd name="connsiteY37" fmla="*/ 2554616 h 2956895"/>
                <a:gd name="connsiteX38" fmla="*/ 11867103 w 11867103"/>
                <a:gd name="connsiteY38" fmla="*/ 2594809 h 2956895"/>
                <a:gd name="connsiteX39" fmla="*/ 11857055 w 11867103"/>
                <a:gd name="connsiteY39" fmla="*/ 2825921 h 2956895"/>
                <a:gd name="connsiteX40" fmla="*/ 11836958 w 11867103"/>
                <a:gd name="connsiteY40" fmla="*/ 2856066 h 2956895"/>
                <a:gd name="connsiteX41" fmla="*/ 11033090 w 11867103"/>
                <a:gd name="connsiteY41" fmla="*/ 2846018 h 2956895"/>
                <a:gd name="connsiteX42" fmla="*/ 10621108 w 11867103"/>
                <a:gd name="connsiteY42" fmla="*/ 2835970 h 2956895"/>
                <a:gd name="connsiteX43" fmla="*/ 10128739 w 11867103"/>
                <a:gd name="connsiteY43" fmla="*/ 2846018 h 2956895"/>
                <a:gd name="connsiteX44" fmla="*/ 10048352 w 11867103"/>
                <a:gd name="connsiteY44" fmla="*/ 2856066 h 2956895"/>
                <a:gd name="connsiteX45" fmla="*/ 9555982 w 11867103"/>
                <a:gd name="connsiteY45" fmla="*/ 2846018 h 2956895"/>
                <a:gd name="connsiteX46" fmla="*/ 9445451 w 11867103"/>
                <a:gd name="connsiteY46" fmla="*/ 2835970 h 2956895"/>
                <a:gd name="connsiteX47" fmla="*/ 9415306 w 11867103"/>
                <a:gd name="connsiteY47" fmla="*/ 2815873 h 2956895"/>
                <a:gd name="connsiteX48" fmla="*/ 9204290 w 11867103"/>
                <a:gd name="connsiteY48" fmla="*/ 2795776 h 2956895"/>
                <a:gd name="connsiteX49" fmla="*/ 9073662 w 11867103"/>
                <a:gd name="connsiteY49" fmla="*/ 2775679 h 2956895"/>
                <a:gd name="connsiteX50" fmla="*/ 8812404 w 11867103"/>
                <a:gd name="connsiteY50" fmla="*/ 2765631 h 2956895"/>
                <a:gd name="connsiteX51" fmla="*/ 8400422 w 11867103"/>
                <a:gd name="connsiteY51" fmla="*/ 2755583 h 2956895"/>
                <a:gd name="connsiteX52" fmla="*/ 8269793 w 11867103"/>
                <a:gd name="connsiteY52" fmla="*/ 2745534 h 2956895"/>
                <a:gd name="connsiteX53" fmla="*/ 7797521 w 11867103"/>
                <a:gd name="connsiteY53" fmla="*/ 2765631 h 2956895"/>
                <a:gd name="connsiteX54" fmla="*/ 7717134 w 11867103"/>
                <a:gd name="connsiteY54" fmla="*/ 2775679 h 2956895"/>
                <a:gd name="connsiteX55" fmla="*/ 7486022 w 11867103"/>
                <a:gd name="connsiteY55" fmla="*/ 2805825 h 2956895"/>
                <a:gd name="connsiteX56" fmla="*/ 7395587 w 11867103"/>
                <a:gd name="connsiteY56" fmla="*/ 2825921 h 2956895"/>
                <a:gd name="connsiteX57" fmla="*/ 7325248 w 11867103"/>
                <a:gd name="connsiteY57" fmla="*/ 2835970 h 2956895"/>
                <a:gd name="connsiteX58" fmla="*/ 6863024 w 11867103"/>
                <a:gd name="connsiteY58" fmla="*/ 2825921 h 2956895"/>
                <a:gd name="connsiteX59" fmla="*/ 6722347 w 11867103"/>
                <a:gd name="connsiteY59" fmla="*/ 2815873 h 2956895"/>
                <a:gd name="connsiteX60" fmla="*/ 4903596 w 11867103"/>
                <a:gd name="connsiteY60" fmla="*/ 2866115 h 2956895"/>
                <a:gd name="connsiteX61" fmla="*/ 4722725 w 11867103"/>
                <a:gd name="connsiteY61" fmla="*/ 2906308 h 2956895"/>
                <a:gd name="connsiteX62" fmla="*/ 4300695 w 11867103"/>
                <a:gd name="connsiteY62" fmla="*/ 2886211 h 2956895"/>
                <a:gd name="connsiteX63" fmla="*/ 4059534 w 11867103"/>
                <a:gd name="connsiteY63" fmla="*/ 2846018 h 2956895"/>
                <a:gd name="connsiteX64" fmla="*/ 3768132 w 11867103"/>
                <a:gd name="connsiteY64" fmla="*/ 2815873 h 2956895"/>
                <a:gd name="connsiteX65" fmla="*/ 3627455 w 11867103"/>
                <a:gd name="connsiteY65" fmla="*/ 2805825 h 2956895"/>
                <a:gd name="connsiteX66" fmla="*/ 3125037 w 11867103"/>
                <a:gd name="connsiteY66" fmla="*/ 2815873 h 2956895"/>
                <a:gd name="connsiteX67" fmla="*/ 3064747 w 11867103"/>
                <a:gd name="connsiteY67" fmla="*/ 2825921 h 2956895"/>
                <a:gd name="connsiteX68" fmla="*/ 2009670 w 11867103"/>
                <a:gd name="connsiteY68" fmla="*/ 2835970 h 2956895"/>
                <a:gd name="connsiteX69" fmla="*/ 1678075 w 11867103"/>
                <a:gd name="connsiteY69" fmla="*/ 2926405 h 2956895"/>
                <a:gd name="connsiteX70" fmla="*/ 1607736 w 11867103"/>
                <a:gd name="connsiteY70" fmla="*/ 2956550 h 2956895"/>
                <a:gd name="connsiteX71" fmla="*/ 1135464 w 11867103"/>
                <a:gd name="connsiteY71" fmla="*/ 2936453 h 2956895"/>
                <a:gd name="connsiteX72" fmla="*/ 944545 w 11867103"/>
                <a:gd name="connsiteY72" fmla="*/ 2906308 h 2956895"/>
                <a:gd name="connsiteX73" fmla="*/ 723481 w 11867103"/>
                <a:gd name="connsiteY73" fmla="*/ 2866115 h 2956895"/>
                <a:gd name="connsiteX74" fmla="*/ 643095 w 11867103"/>
                <a:gd name="connsiteY74" fmla="*/ 2856066 h 2956895"/>
                <a:gd name="connsiteX75" fmla="*/ 371789 w 11867103"/>
                <a:gd name="connsiteY75" fmla="*/ 2815873 h 2956895"/>
                <a:gd name="connsiteX76" fmla="*/ 0 w 11867103"/>
                <a:gd name="connsiteY76" fmla="*/ 2805825 h 2956895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420897 w 11867103"/>
                <a:gd name="connsiteY8" fmla="*/ 82721 h 2956895"/>
                <a:gd name="connsiteX9" fmla="*/ 7204668 w 11867103"/>
                <a:gd name="connsiteY9" fmla="*/ 2334 h 2956895"/>
                <a:gd name="connsiteX10" fmla="*/ 7285055 w 11867103"/>
                <a:gd name="connsiteY10" fmla="*/ 22431 h 2956895"/>
                <a:gd name="connsiteX11" fmla="*/ 7375490 w 11867103"/>
                <a:gd name="connsiteY11" fmla="*/ 32479 h 2956895"/>
                <a:gd name="connsiteX12" fmla="*/ 7928150 w 11867103"/>
                <a:gd name="connsiteY12" fmla="*/ 52576 h 2956895"/>
                <a:gd name="connsiteX13" fmla="*/ 8109020 w 11867103"/>
                <a:gd name="connsiteY13" fmla="*/ 72673 h 2956895"/>
                <a:gd name="connsiteX14" fmla="*/ 8219552 w 11867103"/>
                <a:gd name="connsiteY14" fmla="*/ 82721 h 2956895"/>
                <a:gd name="connsiteX15" fmla="*/ 8299939 w 11867103"/>
                <a:gd name="connsiteY15" fmla="*/ 92770 h 2956895"/>
                <a:gd name="connsiteX16" fmla="*/ 8521002 w 11867103"/>
                <a:gd name="connsiteY16" fmla="*/ 102818 h 2956895"/>
                <a:gd name="connsiteX17" fmla="*/ 9515789 w 11867103"/>
                <a:gd name="connsiteY17" fmla="*/ 92770 h 2956895"/>
                <a:gd name="connsiteX18" fmla="*/ 9606224 w 11867103"/>
                <a:gd name="connsiteY18" fmla="*/ 82721 h 2956895"/>
                <a:gd name="connsiteX19" fmla="*/ 9716756 w 11867103"/>
                <a:gd name="connsiteY19" fmla="*/ 72673 h 2956895"/>
                <a:gd name="connsiteX20" fmla="*/ 9797143 w 11867103"/>
                <a:gd name="connsiteY20" fmla="*/ 62625 h 2956895"/>
                <a:gd name="connsiteX21" fmla="*/ 9947868 w 11867103"/>
                <a:gd name="connsiteY21" fmla="*/ 52576 h 2956895"/>
                <a:gd name="connsiteX22" fmla="*/ 10791930 w 11867103"/>
                <a:gd name="connsiteY22" fmla="*/ 22431 h 2956895"/>
                <a:gd name="connsiteX23" fmla="*/ 11736475 w 11867103"/>
                <a:gd name="connsiteY23" fmla="*/ 42528 h 2956895"/>
                <a:gd name="connsiteX24" fmla="*/ 11766620 w 11867103"/>
                <a:gd name="connsiteY24" fmla="*/ 72673 h 2956895"/>
                <a:gd name="connsiteX25" fmla="*/ 11786717 w 11867103"/>
                <a:gd name="connsiteY25" fmla="*/ 112866 h 2956895"/>
                <a:gd name="connsiteX26" fmla="*/ 11806813 w 11867103"/>
                <a:gd name="connsiteY26" fmla="*/ 203301 h 2956895"/>
                <a:gd name="connsiteX27" fmla="*/ 11816862 w 11867103"/>
                <a:gd name="connsiteY27" fmla="*/ 243495 h 2956895"/>
                <a:gd name="connsiteX28" fmla="*/ 11826910 w 11867103"/>
                <a:gd name="connsiteY28" fmla="*/ 333930 h 2956895"/>
                <a:gd name="connsiteX29" fmla="*/ 11836958 w 11867103"/>
                <a:gd name="connsiteY29" fmla="*/ 414317 h 2956895"/>
                <a:gd name="connsiteX30" fmla="*/ 11826910 w 11867103"/>
                <a:gd name="connsiteY30" fmla="*/ 725816 h 2956895"/>
                <a:gd name="connsiteX31" fmla="*/ 11816862 w 11867103"/>
                <a:gd name="connsiteY31" fmla="*/ 786106 h 2956895"/>
                <a:gd name="connsiteX32" fmla="*/ 11806813 w 11867103"/>
                <a:gd name="connsiteY32" fmla="*/ 856444 h 2956895"/>
                <a:gd name="connsiteX33" fmla="*/ 11816862 w 11867103"/>
                <a:gd name="connsiteY33" fmla="*/ 2323504 h 2956895"/>
                <a:gd name="connsiteX34" fmla="*/ 11826910 w 11867103"/>
                <a:gd name="connsiteY34" fmla="*/ 2393842 h 2956895"/>
                <a:gd name="connsiteX35" fmla="*/ 11836958 w 11867103"/>
                <a:gd name="connsiteY35" fmla="*/ 2423987 h 2956895"/>
                <a:gd name="connsiteX36" fmla="*/ 11857055 w 11867103"/>
                <a:gd name="connsiteY36" fmla="*/ 2554616 h 2956895"/>
                <a:gd name="connsiteX37" fmla="*/ 11867103 w 11867103"/>
                <a:gd name="connsiteY37" fmla="*/ 2594809 h 2956895"/>
                <a:gd name="connsiteX38" fmla="*/ 11857055 w 11867103"/>
                <a:gd name="connsiteY38" fmla="*/ 2825921 h 2956895"/>
                <a:gd name="connsiteX39" fmla="*/ 11836958 w 11867103"/>
                <a:gd name="connsiteY39" fmla="*/ 2856066 h 2956895"/>
                <a:gd name="connsiteX40" fmla="*/ 11033090 w 11867103"/>
                <a:gd name="connsiteY40" fmla="*/ 2846018 h 2956895"/>
                <a:gd name="connsiteX41" fmla="*/ 10621108 w 11867103"/>
                <a:gd name="connsiteY41" fmla="*/ 2835970 h 2956895"/>
                <a:gd name="connsiteX42" fmla="*/ 10128739 w 11867103"/>
                <a:gd name="connsiteY42" fmla="*/ 2846018 h 2956895"/>
                <a:gd name="connsiteX43" fmla="*/ 10048352 w 11867103"/>
                <a:gd name="connsiteY43" fmla="*/ 2856066 h 2956895"/>
                <a:gd name="connsiteX44" fmla="*/ 9555982 w 11867103"/>
                <a:gd name="connsiteY44" fmla="*/ 2846018 h 2956895"/>
                <a:gd name="connsiteX45" fmla="*/ 9445451 w 11867103"/>
                <a:gd name="connsiteY45" fmla="*/ 2835970 h 2956895"/>
                <a:gd name="connsiteX46" fmla="*/ 9415306 w 11867103"/>
                <a:gd name="connsiteY46" fmla="*/ 2815873 h 2956895"/>
                <a:gd name="connsiteX47" fmla="*/ 9204290 w 11867103"/>
                <a:gd name="connsiteY47" fmla="*/ 2795776 h 2956895"/>
                <a:gd name="connsiteX48" fmla="*/ 9073662 w 11867103"/>
                <a:gd name="connsiteY48" fmla="*/ 2775679 h 2956895"/>
                <a:gd name="connsiteX49" fmla="*/ 8812404 w 11867103"/>
                <a:gd name="connsiteY49" fmla="*/ 2765631 h 2956895"/>
                <a:gd name="connsiteX50" fmla="*/ 8400422 w 11867103"/>
                <a:gd name="connsiteY50" fmla="*/ 2755583 h 2956895"/>
                <a:gd name="connsiteX51" fmla="*/ 8269793 w 11867103"/>
                <a:gd name="connsiteY51" fmla="*/ 2745534 h 2956895"/>
                <a:gd name="connsiteX52" fmla="*/ 7797521 w 11867103"/>
                <a:gd name="connsiteY52" fmla="*/ 2765631 h 2956895"/>
                <a:gd name="connsiteX53" fmla="*/ 7717134 w 11867103"/>
                <a:gd name="connsiteY53" fmla="*/ 2775679 h 2956895"/>
                <a:gd name="connsiteX54" fmla="*/ 7486022 w 11867103"/>
                <a:gd name="connsiteY54" fmla="*/ 2805825 h 2956895"/>
                <a:gd name="connsiteX55" fmla="*/ 7395587 w 11867103"/>
                <a:gd name="connsiteY55" fmla="*/ 2825921 h 2956895"/>
                <a:gd name="connsiteX56" fmla="*/ 7325248 w 11867103"/>
                <a:gd name="connsiteY56" fmla="*/ 2835970 h 2956895"/>
                <a:gd name="connsiteX57" fmla="*/ 6863024 w 11867103"/>
                <a:gd name="connsiteY57" fmla="*/ 2825921 h 2956895"/>
                <a:gd name="connsiteX58" fmla="*/ 6722347 w 11867103"/>
                <a:gd name="connsiteY58" fmla="*/ 2815873 h 2956895"/>
                <a:gd name="connsiteX59" fmla="*/ 4903596 w 11867103"/>
                <a:gd name="connsiteY59" fmla="*/ 2866115 h 2956895"/>
                <a:gd name="connsiteX60" fmla="*/ 4722725 w 11867103"/>
                <a:gd name="connsiteY60" fmla="*/ 2906308 h 2956895"/>
                <a:gd name="connsiteX61" fmla="*/ 4300695 w 11867103"/>
                <a:gd name="connsiteY61" fmla="*/ 2886211 h 2956895"/>
                <a:gd name="connsiteX62" fmla="*/ 4059534 w 11867103"/>
                <a:gd name="connsiteY62" fmla="*/ 2846018 h 2956895"/>
                <a:gd name="connsiteX63" fmla="*/ 3768132 w 11867103"/>
                <a:gd name="connsiteY63" fmla="*/ 2815873 h 2956895"/>
                <a:gd name="connsiteX64" fmla="*/ 3627455 w 11867103"/>
                <a:gd name="connsiteY64" fmla="*/ 2805825 h 2956895"/>
                <a:gd name="connsiteX65" fmla="*/ 3125037 w 11867103"/>
                <a:gd name="connsiteY65" fmla="*/ 2815873 h 2956895"/>
                <a:gd name="connsiteX66" fmla="*/ 3064747 w 11867103"/>
                <a:gd name="connsiteY66" fmla="*/ 2825921 h 2956895"/>
                <a:gd name="connsiteX67" fmla="*/ 2009670 w 11867103"/>
                <a:gd name="connsiteY67" fmla="*/ 2835970 h 2956895"/>
                <a:gd name="connsiteX68" fmla="*/ 1678075 w 11867103"/>
                <a:gd name="connsiteY68" fmla="*/ 2926405 h 2956895"/>
                <a:gd name="connsiteX69" fmla="*/ 1607736 w 11867103"/>
                <a:gd name="connsiteY69" fmla="*/ 2956550 h 2956895"/>
                <a:gd name="connsiteX70" fmla="*/ 1135464 w 11867103"/>
                <a:gd name="connsiteY70" fmla="*/ 2936453 h 2956895"/>
                <a:gd name="connsiteX71" fmla="*/ 944545 w 11867103"/>
                <a:gd name="connsiteY71" fmla="*/ 2906308 h 2956895"/>
                <a:gd name="connsiteX72" fmla="*/ 723481 w 11867103"/>
                <a:gd name="connsiteY72" fmla="*/ 2866115 h 2956895"/>
                <a:gd name="connsiteX73" fmla="*/ 643095 w 11867103"/>
                <a:gd name="connsiteY73" fmla="*/ 2856066 h 2956895"/>
                <a:gd name="connsiteX74" fmla="*/ 371789 w 11867103"/>
                <a:gd name="connsiteY74" fmla="*/ 2815873 h 2956895"/>
                <a:gd name="connsiteX75" fmla="*/ 0 w 11867103"/>
                <a:gd name="connsiteY75" fmla="*/ 2805825 h 2956895"/>
                <a:gd name="connsiteX0" fmla="*/ 120580 w 11867103"/>
                <a:gd name="connsiteY0" fmla="*/ 42790 h 2957157"/>
                <a:gd name="connsiteX1" fmla="*/ 281354 w 11867103"/>
                <a:gd name="connsiteY1" fmla="*/ 32741 h 2957157"/>
                <a:gd name="connsiteX2" fmla="*/ 673240 w 11867103"/>
                <a:gd name="connsiteY2" fmla="*/ 22693 h 2957157"/>
                <a:gd name="connsiteX3" fmla="*/ 1356528 w 11867103"/>
                <a:gd name="connsiteY3" fmla="*/ 72935 h 2957157"/>
                <a:gd name="connsiteX4" fmla="*/ 1758462 w 11867103"/>
                <a:gd name="connsiteY4" fmla="*/ 32741 h 2957157"/>
                <a:gd name="connsiteX5" fmla="*/ 2140299 w 11867103"/>
                <a:gd name="connsiteY5" fmla="*/ 32741 h 2957157"/>
                <a:gd name="connsiteX6" fmla="*/ 4652387 w 11867103"/>
                <a:gd name="connsiteY6" fmla="*/ 52838 h 2957157"/>
                <a:gd name="connsiteX7" fmla="*/ 4692580 w 11867103"/>
                <a:gd name="connsiteY7" fmla="*/ 62887 h 2957157"/>
                <a:gd name="connsiteX8" fmla="*/ 6420897 w 11867103"/>
                <a:gd name="connsiteY8" fmla="*/ 82983 h 2957157"/>
                <a:gd name="connsiteX9" fmla="*/ 7204668 w 11867103"/>
                <a:gd name="connsiteY9" fmla="*/ 2596 h 2957157"/>
                <a:gd name="connsiteX10" fmla="*/ 7285055 w 11867103"/>
                <a:gd name="connsiteY10" fmla="*/ 22693 h 2957157"/>
                <a:gd name="connsiteX11" fmla="*/ 7928150 w 11867103"/>
                <a:gd name="connsiteY11" fmla="*/ 52838 h 2957157"/>
                <a:gd name="connsiteX12" fmla="*/ 8109020 w 11867103"/>
                <a:gd name="connsiteY12" fmla="*/ 72935 h 2957157"/>
                <a:gd name="connsiteX13" fmla="*/ 8219552 w 11867103"/>
                <a:gd name="connsiteY13" fmla="*/ 82983 h 2957157"/>
                <a:gd name="connsiteX14" fmla="*/ 8299939 w 11867103"/>
                <a:gd name="connsiteY14" fmla="*/ 93032 h 2957157"/>
                <a:gd name="connsiteX15" fmla="*/ 8521002 w 11867103"/>
                <a:gd name="connsiteY15" fmla="*/ 103080 h 2957157"/>
                <a:gd name="connsiteX16" fmla="*/ 9515789 w 11867103"/>
                <a:gd name="connsiteY16" fmla="*/ 93032 h 2957157"/>
                <a:gd name="connsiteX17" fmla="*/ 9606224 w 11867103"/>
                <a:gd name="connsiteY17" fmla="*/ 82983 h 2957157"/>
                <a:gd name="connsiteX18" fmla="*/ 9716756 w 11867103"/>
                <a:gd name="connsiteY18" fmla="*/ 72935 h 2957157"/>
                <a:gd name="connsiteX19" fmla="*/ 9797143 w 11867103"/>
                <a:gd name="connsiteY19" fmla="*/ 62887 h 2957157"/>
                <a:gd name="connsiteX20" fmla="*/ 9947868 w 11867103"/>
                <a:gd name="connsiteY20" fmla="*/ 52838 h 2957157"/>
                <a:gd name="connsiteX21" fmla="*/ 10791930 w 11867103"/>
                <a:gd name="connsiteY21" fmla="*/ 22693 h 2957157"/>
                <a:gd name="connsiteX22" fmla="*/ 11736475 w 11867103"/>
                <a:gd name="connsiteY22" fmla="*/ 42790 h 2957157"/>
                <a:gd name="connsiteX23" fmla="*/ 11766620 w 11867103"/>
                <a:gd name="connsiteY23" fmla="*/ 72935 h 2957157"/>
                <a:gd name="connsiteX24" fmla="*/ 11786717 w 11867103"/>
                <a:gd name="connsiteY24" fmla="*/ 113128 h 2957157"/>
                <a:gd name="connsiteX25" fmla="*/ 11806813 w 11867103"/>
                <a:gd name="connsiteY25" fmla="*/ 203563 h 2957157"/>
                <a:gd name="connsiteX26" fmla="*/ 11816862 w 11867103"/>
                <a:gd name="connsiteY26" fmla="*/ 243757 h 2957157"/>
                <a:gd name="connsiteX27" fmla="*/ 11826910 w 11867103"/>
                <a:gd name="connsiteY27" fmla="*/ 334192 h 2957157"/>
                <a:gd name="connsiteX28" fmla="*/ 11836958 w 11867103"/>
                <a:gd name="connsiteY28" fmla="*/ 414579 h 2957157"/>
                <a:gd name="connsiteX29" fmla="*/ 11826910 w 11867103"/>
                <a:gd name="connsiteY29" fmla="*/ 726078 h 2957157"/>
                <a:gd name="connsiteX30" fmla="*/ 11816862 w 11867103"/>
                <a:gd name="connsiteY30" fmla="*/ 786368 h 2957157"/>
                <a:gd name="connsiteX31" fmla="*/ 11806813 w 11867103"/>
                <a:gd name="connsiteY31" fmla="*/ 856706 h 2957157"/>
                <a:gd name="connsiteX32" fmla="*/ 11816862 w 11867103"/>
                <a:gd name="connsiteY32" fmla="*/ 2323766 h 2957157"/>
                <a:gd name="connsiteX33" fmla="*/ 11826910 w 11867103"/>
                <a:gd name="connsiteY33" fmla="*/ 2394104 h 2957157"/>
                <a:gd name="connsiteX34" fmla="*/ 11836958 w 11867103"/>
                <a:gd name="connsiteY34" fmla="*/ 2424249 h 2957157"/>
                <a:gd name="connsiteX35" fmla="*/ 11857055 w 11867103"/>
                <a:gd name="connsiteY35" fmla="*/ 2554878 h 2957157"/>
                <a:gd name="connsiteX36" fmla="*/ 11867103 w 11867103"/>
                <a:gd name="connsiteY36" fmla="*/ 2595071 h 2957157"/>
                <a:gd name="connsiteX37" fmla="*/ 11857055 w 11867103"/>
                <a:gd name="connsiteY37" fmla="*/ 2826183 h 2957157"/>
                <a:gd name="connsiteX38" fmla="*/ 11836958 w 11867103"/>
                <a:gd name="connsiteY38" fmla="*/ 2856328 h 2957157"/>
                <a:gd name="connsiteX39" fmla="*/ 11033090 w 11867103"/>
                <a:gd name="connsiteY39" fmla="*/ 2846280 h 2957157"/>
                <a:gd name="connsiteX40" fmla="*/ 10621108 w 11867103"/>
                <a:gd name="connsiteY40" fmla="*/ 2836232 h 2957157"/>
                <a:gd name="connsiteX41" fmla="*/ 10128739 w 11867103"/>
                <a:gd name="connsiteY41" fmla="*/ 2846280 h 2957157"/>
                <a:gd name="connsiteX42" fmla="*/ 10048352 w 11867103"/>
                <a:gd name="connsiteY42" fmla="*/ 2856328 h 2957157"/>
                <a:gd name="connsiteX43" fmla="*/ 9555982 w 11867103"/>
                <a:gd name="connsiteY43" fmla="*/ 2846280 h 2957157"/>
                <a:gd name="connsiteX44" fmla="*/ 9445451 w 11867103"/>
                <a:gd name="connsiteY44" fmla="*/ 2836232 h 2957157"/>
                <a:gd name="connsiteX45" fmla="*/ 9415306 w 11867103"/>
                <a:gd name="connsiteY45" fmla="*/ 2816135 h 2957157"/>
                <a:gd name="connsiteX46" fmla="*/ 9204290 w 11867103"/>
                <a:gd name="connsiteY46" fmla="*/ 2796038 h 2957157"/>
                <a:gd name="connsiteX47" fmla="*/ 9073662 w 11867103"/>
                <a:gd name="connsiteY47" fmla="*/ 2775941 h 2957157"/>
                <a:gd name="connsiteX48" fmla="*/ 8812404 w 11867103"/>
                <a:gd name="connsiteY48" fmla="*/ 2765893 h 2957157"/>
                <a:gd name="connsiteX49" fmla="*/ 8400422 w 11867103"/>
                <a:gd name="connsiteY49" fmla="*/ 2755845 h 2957157"/>
                <a:gd name="connsiteX50" fmla="*/ 8269793 w 11867103"/>
                <a:gd name="connsiteY50" fmla="*/ 2745796 h 2957157"/>
                <a:gd name="connsiteX51" fmla="*/ 7797521 w 11867103"/>
                <a:gd name="connsiteY51" fmla="*/ 2765893 h 2957157"/>
                <a:gd name="connsiteX52" fmla="*/ 7717134 w 11867103"/>
                <a:gd name="connsiteY52" fmla="*/ 2775941 h 2957157"/>
                <a:gd name="connsiteX53" fmla="*/ 7486022 w 11867103"/>
                <a:gd name="connsiteY53" fmla="*/ 2806087 h 2957157"/>
                <a:gd name="connsiteX54" fmla="*/ 7395587 w 11867103"/>
                <a:gd name="connsiteY54" fmla="*/ 2826183 h 2957157"/>
                <a:gd name="connsiteX55" fmla="*/ 7325248 w 11867103"/>
                <a:gd name="connsiteY55" fmla="*/ 2836232 h 2957157"/>
                <a:gd name="connsiteX56" fmla="*/ 6863024 w 11867103"/>
                <a:gd name="connsiteY56" fmla="*/ 2826183 h 2957157"/>
                <a:gd name="connsiteX57" fmla="*/ 6722347 w 11867103"/>
                <a:gd name="connsiteY57" fmla="*/ 2816135 h 2957157"/>
                <a:gd name="connsiteX58" fmla="*/ 4903596 w 11867103"/>
                <a:gd name="connsiteY58" fmla="*/ 2866377 h 2957157"/>
                <a:gd name="connsiteX59" fmla="*/ 4722725 w 11867103"/>
                <a:gd name="connsiteY59" fmla="*/ 2906570 h 2957157"/>
                <a:gd name="connsiteX60" fmla="*/ 4300695 w 11867103"/>
                <a:gd name="connsiteY60" fmla="*/ 2886473 h 2957157"/>
                <a:gd name="connsiteX61" fmla="*/ 4059534 w 11867103"/>
                <a:gd name="connsiteY61" fmla="*/ 2846280 h 2957157"/>
                <a:gd name="connsiteX62" fmla="*/ 3768132 w 11867103"/>
                <a:gd name="connsiteY62" fmla="*/ 2816135 h 2957157"/>
                <a:gd name="connsiteX63" fmla="*/ 3627455 w 11867103"/>
                <a:gd name="connsiteY63" fmla="*/ 2806087 h 2957157"/>
                <a:gd name="connsiteX64" fmla="*/ 3125037 w 11867103"/>
                <a:gd name="connsiteY64" fmla="*/ 2816135 h 2957157"/>
                <a:gd name="connsiteX65" fmla="*/ 3064747 w 11867103"/>
                <a:gd name="connsiteY65" fmla="*/ 2826183 h 2957157"/>
                <a:gd name="connsiteX66" fmla="*/ 2009670 w 11867103"/>
                <a:gd name="connsiteY66" fmla="*/ 2836232 h 2957157"/>
                <a:gd name="connsiteX67" fmla="*/ 1678075 w 11867103"/>
                <a:gd name="connsiteY67" fmla="*/ 2926667 h 2957157"/>
                <a:gd name="connsiteX68" fmla="*/ 1607736 w 11867103"/>
                <a:gd name="connsiteY68" fmla="*/ 2956812 h 2957157"/>
                <a:gd name="connsiteX69" fmla="*/ 1135464 w 11867103"/>
                <a:gd name="connsiteY69" fmla="*/ 2936715 h 2957157"/>
                <a:gd name="connsiteX70" fmla="*/ 944545 w 11867103"/>
                <a:gd name="connsiteY70" fmla="*/ 2906570 h 2957157"/>
                <a:gd name="connsiteX71" fmla="*/ 723481 w 11867103"/>
                <a:gd name="connsiteY71" fmla="*/ 2866377 h 2957157"/>
                <a:gd name="connsiteX72" fmla="*/ 643095 w 11867103"/>
                <a:gd name="connsiteY72" fmla="*/ 2856328 h 2957157"/>
                <a:gd name="connsiteX73" fmla="*/ 371789 w 11867103"/>
                <a:gd name="connsiteY73" fmla="*/ 2816135 h 2957157"/>
                <a:gd name="connsiteX74" fmla="*/ 0 w 11867103"/>
                <a:gd name="connsiteY74" fmla="*/ 2806087 h 2957157"/>
                <a:gd name="connsiteX0" fmla="*/ 120580 w 11867103"/>
                <a:gd name="connsiteY0" fmla="*/ 40596 h 2954963"/>
                <a:gd name="connsiteX1" fmla="*/ 281354 w 11867103"/>
                <a:gd name="connsiteY1" fmla="*/ 30547 h 2954963"/>
                <a:gd name="connsiteX2" fmla="*/ 673240 w 11867103"/>
                <a:gd name="connsiteY2" fmla="*/ 20499 h 2954963"/>
                <a:gd name="connsiteX3" fmla="*/ 1356528 w 11867103"/>
                <a:gd name="connsiteY3" fmla="*/ 70741 h 2954963"/>
                <a:gd name="connsiteX4" fmla="*/ 1758462 w 11867103"/>
                <a:gd name="connsiteY4" fmla="*/ 30547 h 2954963"/>
                <a:gd name="connsiteX5" fmla="*/ 2140299 w 11867103"/>
                <a:gd name="connsiteY5" fmla="*/ 30547 h 2954963"/>
                <a:gd name="connsiteX6" fmla="*/ 4652387 w 11867103"/>
                <a:gd name="connsiteY6" fmla="*/ 50644 h 2954963"/>
                <a:gd name="connsiteX7" fmla="*/ 4692580 w 11867103"/>
                <a:gd name="connsiteY7" fmla="*/ 60693 h 2954963"/>
                <a:gd name="connsiteX8" fmla="*/ 6420897 w 11867103"/>
                <a:gd name="connsiteY8" fmla="*/ 80789 h 2954963"/>
                <a:gd name="connsiteX9" fmla="*/ 7204668 w 11867103"/>
                <a:gd name="connsiteY9" fmla="*/ 402 h 2954963"/>
                <a:gd name="connsiteX10" fmla="*/ 7928150 w 11867103"/>
                <a:gd name="connsiteY10" fmla="*/ 50644 h 2954963"/>
                <a:gd name="connsiteX11" fmla="*/ 8109020 w 11867103"/>
                <a:gd name="connsiteY11" fmla="*/ 70741 h 2954963"/>
                <a:gd name="connsiteX12" fmla="*/ 8219552 w 11867103"/>
                <a:gd name="connsiteY12" fmla="*/ 80789 h 2954963"/>
                <a:gd name="connsiteX13" fmla="*/ 8299939 w 11867103"/>
                <a:gd name="connsiteY13" fmla="*/ 90838 h 2954963"/>
                <a:gd name="connsiteX14" fmla="*/ 8521002 w 11867103"/>
                <a:gd name="connsiteY14" fmla="*/ 100886 h 2954963"/>
                <a:gd name="connsiteX15" fmla="*/ 9515789 w 11867103"/>
                <a:gd name="connsiteY15" fmla="*/ 90838 h 2954963"/>
                <a:gd name="connsiteX16" fmla="*/ 9606224 w 11867103"/>
                <a:gd name="connsiteY16" fmla="*/ 80789 h 2954963"/>
                <a:gd name="connsiteX17" fmla="*/ 9716756 w 11867103"/>
                <a:gd name="connsiteY17" fmla="*/ 70741 h 2954963"/>
                <a:gd name="connsiteX18" fmla="*/ 9797143 w 11867103"/>
                <a:gd name="connsiteY18" fmla="*/ 60693 h 2954963"/>
                <a:gd name="connsiteX19" fmla="*/ 9947868 w 11867103"/>
                <a:gd name="connsiteY19" fmla="*/ 50644 h 2954963"/>
                <a:gd name="connsiteX20" fmla="*/ 10791930 w 11867103"/>
                <a:gd name="connsiteY20" fmla="*/ 20499 h 2954963"/>
                <a:gd name="connsiteX21" fmla="*/ 11736475 w 11867103"/>
                <a:gd name="connsiteY21" fmla="*/ 40596 h 2954963"/>
                <a:gd name="connsiteX22" fmla="*/ 11766620 w 11867103"/>
                <a:gd name="connsiteY22" fmla="*/ 70741 h 2954963"/>
                <a:gd name="connsiteX23" fmla="*/ 11786717 w 11867103"/>
                <a:gd name="connsiteY23" fmla="*/ 110934 h 2954963"/>
                <a:gd name="connsiteX24" fmla="*/ 11806813 w 11867103"/>
                <a:gd name="connsiteY24" fmla="*/ 201369 h 2954963"/>
                <a:gd name="connsiteX25" fmla="*/ 11816862 w 11867103"/>
                <a:gd name="connsiteY25" fmla="*/ 241563 h 2954963"/>
                <a:gd name="connsiteX26" fmla="*/ 11826910 w 11867103"/>
                <a:gd name="connsiteY26" fmla="*/ 331998 h 2954963"/>
                <a:gd name="connsiteX27" fmla="*/ 11836958 w 11867103"/>
                <a:gd name="connsiteY27" fmla="*/ 412385 h 2954963"/>
                <a:gd name="connsiteX28" fmla="*/ 11826910 w 11867103"/>
                <a:gd name="connsiteY28" fmla="*/ 723884 h 2954963"/>
                <a:gd name="connsiteX29" fmla="*/ 11816862 w 11867103"/>
                <a:gd name="connsiteY29" fmla="*/ 784174 h 2954963"/>
                <a:gd name="connsiteX30" fmla="*/ 11806813 w 11867103"/>
                <a:gd name="connsiteY30" fmla="*/ 854512 h 2954963"/>
                <a:gd name="connsiteX31" fmla="*/ 11816862 w 11867103"/>
                <a:gd name="connsiteY31" fmla="*/ 2321572 h 2954963"/>
                <a:gd name="connsiteX32" fmla="*/ 11826910 w 11867103"/>
                <a:gd name="connsiteY32" fmla="*/ 2391910 h 2954963"/>
                <a:gd name="connsiteX33" fmla="*/ 11836958 w 11867103"/>
                <a:gd name="connsiteY33" fmla="*/ 2422055 h 2954963"/>
                <a:gd name="connsiteX34" fmla="*/ 11857055 w 11867103"/>
                <a:gd name="connsiteY34" fmla="*/ 2552684 h 2954963"/>
                <a:gd name="connsiteX35" fmla="*/ 11867103 w 11867103"/>
                <a:gd name="connsiteY35" fmla="*/ 2592877 h 2954963"/>
                <a:gd name="connsiteX36" fmla="*/ 11857055 w 11867103"/>
                <a:gd name="connsiteY36" fmla="*/ 2823989 h 2954963"/>
                <a:gd name="connsiteX37" fmla="*/ 11836958 w 11867103"/>
                <a:gd name="connsiteY37" fmla="*/ 2854134 h 2954963"/>
                <a:gd name="connsiteX38" fmla="*/ 11033090 w 11867103"/>
                <a:gd name="connsiteY38" fmla="*/ 2844086 h 2954963"/>
                <a:gd name="connsiteX39" fmla="*/ 10621108 w 11867103"/>
                <a:gd name="connsiteY39" fmla="*/ 2834038 h 2954963"/>
                <a:gd name="connsiteX40" fmla="*/ 10128739 w 11867103"/>
                <a:gd name="connsiteY40" fmla="*/ 2844086 h 2954963"/>
                <a:gd name="connsiteX41" fmla="*/ 10048352 w 11867103"/>
                <a:gd name="connsiteY41" fmla="*/ 2854134 h 2954963"/>
                <a:gd name="connsiteX42" fmla="*/ 9555982 w 11867103"/>
                <a:gd name="connsiteY42" fmla="*/ 2844086 h 2954963"/>
                <a:gd name="connsiteX43" fmla="*/ 9445451 w 11867103"/>
                <a:gd name="connsiteY43" fmla="*/ 2834038 h 2954963"/>
                <a:gd name="connsiteX44" fmla="*/ 9415306 w 11867103"/>
                <a:gd name="connsiteY44" fmla="*/ 2813941 h 2954963"/>
                <a:gd name="connsiteX45" fmla="*/ 9204290 w 11867103"/>
                <a:gd name="connsiteY45" fmla="*/ 2793844 h 2954963"/>
                <a:gd name="connsiteX46" fmla="*/ 9073662 w 11867103"/>
                <a:gd name="connsiteY46" fmla="*/ 2773747 h 2954963"/>
                <a:gd name="connsiteX47" fmla="*/ 8812404 w 11867103"/>
                <a:gd name="connsiteY47" fmla="*/ 2763699 h 2954963"/>
                <a:gd name="connsiteX48" fmla="*/ 8400422 w 11867103"/>
                <a:gd name="connsiteY48" fmla="*/ 2753651 h 2954963"/>
                <a:gd name="connsiteX49" fmla="*/ 8269793 w 11867103"/>
                <a:gd name="connsiteY49" fmla="*/ 2743602 h 2954963"/>
                <a:gd name="connsiteX50" fmla="*/ 7797521 w 11867103"/>
                <a:gd name="connsiteY50" fmla="*/ 2763699 h 2954963"/>
                <a:gd name="connsiteX51" fmla="*/ 7717134 w 11867103"/>
                <a:gd name="connsiteY51" fmla="*/ 2773747 h 2954963"/>
                <a:gd name="connsiteX52" fmla="*/ 7486022 w 11867103"/>
                <a:gd name="connsiteY52" fmla="*/ 2803893 h 2954963"/>
                <a:gd name="connsiteX53" fmla="*/ 7395587 w 11867103"/>
                <a:gd name="connsiteY53" fmla="*/ 2823989 h 2954963"/>
                <a:gd name="connsiteX54" fmla="*/ 7325248 w 11867103"/>
                <a:gd name="connsiteY54" fmla="*/ 2834038 h 2954963"/>
                <a:gd name="connsiteX55" fmla="*/ 6863024 w 11867103"/>
                <a:gd name="connsiteY55" fmla="*/ 2823989 h 2954963"/>
                <a:gd name="connsiteX56" fmla="*/ 6722347 w 11867103"/>
                <a:gd name="connsiteY56" fmla="*/ 2813941 h 2954963"/>
                <a:gd name="connsiteX57" fmla="*/ 4903596 w 11867103"/>
                <a:gd name="connsiteY57" fmla="*/ 2864183 h 2954963"/>
                <a:gd name="connsiteX58" fmla="*/ 4722725 w 11867103"/>
                <a:gd name="connsiteY58" fmla="*/ 2904376 h 2954963"/>
                <a:gd name="connsiteX59" fmla="*/ 4300695 w 11867103"/>
                <a:gd name="connsiteY59" fmla="*/ 2884279 h 2954963"/>
                <a:gd name="connsiteX60" fmla="*/ 4059534 w 11867103"/>
                <a:gd name="connsiteY60" fmla="*/ 2844086 h 2954963"/>
                <a:gd name="connsiteX61" fmla="*/ 3768132 w 11867103"/>
                <a:gd name="connsiteY61" fmla="*/ 2813941 h 2954963"/>
                <a:gd name="connsiteX62" fmla="*/ 3627455 w 11867103"/>
                <a:gd name="connsiteY62" fmla="*/ 2803893 h 2954963"/>
                <a:gd name="connsiteX63" fmla="*/ 3125037 w 11867103"/>
                <a:gd name="connsiteY63" fmla="*/ 2813941 h 2954963"/>
                <a:gd name="connsiteX64" fmla="*/ 3064747 w 11867103"/>
                <a:gd name="connsiteY64" fmla="*/ 2823989 h 2954963"/>
                <a:gd name="connsiteX65" fmla="*/ 2009670 w 11867103"/>
                <a:gd name="connsiteY65" fmla="*/ 2834038 h 2954963"/>
                <a:gd name="connsiteX66" fmla="*/ 1678075 w 11867103"/>
                <a:gd name="connsiteY66" fmla="*/ 2924473 h 2954963"/>
                <a:gd name="connsiteX67" fmla="*/ 1607736 w 11867103"/>
                <a:gd name="connsiteY67" fmla="*/ 2954618 h 2954963"/>
                <a:gd name="connsiteX68" fmla="*/ 1135464 w 11867103"/>
                <a:gd name="connsiteY68" fmla="*/ 2934521 h 2954963"/>
                <a:gd name="connsiteX69" fmla="*/ 944545 w 11867103"/>
                <a:gd name="connsiteY69" fmla="*/ 2904376 h 2954963"/>
                <a:gd name="connsiteX70" fmla="*/ 723481 w 11867103"/>
                <a:gd name="connsiteY70" fmla="*/ 2864183 h 2954963"/>
                <a:gd name="connsiteX71" fmla="*/ 643095 w 11867103"/>
                <a:gd name="connsiteY71" fmla="*/ 2854134 h 2954963"/>
                <a:gd name="connsiteX72" fmla="*/ 371789 w 11867103"/>
                <a:gd name="connsiteY72" fmla="*/ 2813941 h 2954963"/>
                <a:gd name="connsiteX73" fmla="*/ 0 w 11867103"/>
                <a:gd name="connsiteY73" fmla="*/ 2803893 h 2954963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109020 w 11867103"/>
                <a:gd name="connsiteY11" fmla="*/ 52092 h 2936314"/>
                <a:gd name="connsiteX12" fmla="*/ 8219552 w 11867103"/>
                <a:gd name="connsiteY12" fmla="*/ 62140 h 2936314"/>
                <a:gd name="connsiteX13" fmla="*/ 8299939 w 11867103"/>
                <a:gd name="connsiteY13" fmla="*/ 72189 h 2936314"/>
                <a:gd name="connsiteX14" fmla="*/ 8521002 w 11867103"/>
                <a:gd name="connsiteY14" fmla="*/ 82237 h 2936314"/>
                <a:gd name="connsiteX15" fmla="*/ 9515789 w 11867103"/>
                <a:gd name="connsiteY15" fmla="*/ 72189 h 2936314"/>
                <a:gd name="connsiteX16" fmla="*/ 9606224 w 11867103"/>
                <a:gd name="connsiteY16" fmla="*/ 62140 h 2936314"/>
                <a:gd name="connsiteX17" fmla="*/ 9716756 w 11867103"/>
                <a:gd name="connsiteY17" fmla="*/ 52092 h 2936314"/>
                <a:gd name="connsiteX18" fmla="*/ 9797143 w 11867103"/>
                <a:gd name="connsiteY18" fmla="*/ 42044 h 2936314"/>
                <a:gd name="connsiteX19" fmla="*/ 9947868 w 11867103"/>
                <a:gd name="connsiteY19" fmla="*/ 31995 h 2936314"/>
                <a:gd name="connsiteX20" fmla="*/ 10791930 w 11867103"/>
                <a:gd name="connsiteY20" fmla="*/ 1850 h 2936314"/>
                <a:gd name="connsiteX21" fmla="*/ 11736475 w 11867103"/>
                <a:gd name="connsiteY21" fmla="*/ 21947 h 2936314"/>
                <a:gd name="connsiteX22" fmla="*/ 11766620 w 11867103"/>
                <a:gd name="connsiteY22" fmla="*/ 52092 h 2936314"/>
                <a:gd name="connsiteX23" fmla="*/ 11786717 w 11867103"/>
                <a:gd name="connsiteY23" fmla="*/ 92285 h 2936314"/>
                <a:gd name="connsiteX24" fmla="*/ 11806813 w 11867103"/>
                <a:gd name="connsiteY24" fmla="*/ 182720 h 2936314"/>
                <a:gd name="connsiteX25" fmla="*/ 11816862 w 11867103"/>
                <a:gd name="connsiteY25" fmla="*/ 222914 h 2936314"/>
                <a:gd name="connsiteX26" fmla="*/ 11826910 w 11867103"/>
                <a:gd name="connsiteY26" fmla="*/ 313349 h 2936314"/>
                <a:gd name="connsiteX27" fmla="*/ 11836958 w 11867103"/>
                <a:gd name="connsiteY27" fmla="*/ 393736 h 2936314"/>
                <a:gd name="connsiteX28" fmla="*/ 11826910 w 11867103"/>
                <a:gd name="connsiteY28" fmla="*/ 705235 h 2936314"/>
                <a:gd name="connsiteX29" fmla="*/ 11816862 w 11867103"/>
                <a:gd name="connsiteY29" fmla="*/ 765525 h 2936314"/>
                <a:gd name="connsiteX30" fmla="*/ 11806813 w 11867103"/>
                <a:gd name="connsiteY30" fmla="*/ 835863 h 2936314"/>
                <a:gd name="connsiteX31" fmla="*/ 11816862 w 11867103"/>
                <a:gd name="connsiteY31" fmla="*/ 2302923 h 2936314"/>
                <a:gd name="connsiteX32" fmla="*/ 11826910 w 11867103"/>
                <a:gd name="connsiteY32" fmla="*/ 2373261 h 2936314"/>
                <a:gd name="connsiteX33" fmla="*/ 11836958 w 11867103"/>
                <a:gd name="connsiteY33" fmla="*/ 2403406 h 2936314"/>
                <a:gd name="connsiteX34" fmla="*/ 11857055 w 11867103"/>
                <a:gd name="connsiteY34" fmla="*/ 2534035 h 2936314"/>
                <a:gd name="connsiteX35" fmla="*/ 11867103 w 11867103"/>
                <a:gd name="connsiteY35" fmla="*/ 2574228 h 2936314"/>
                <a:gd name="connsiteX36" fmla="*/ 11857055 w 11867103"/>
                <a:gd name="connsiteY36" fmla="*/ 2805340 h 2936314"/>
                <a:gd name="connsiteX37" fmla="*/ 11836958 w 11867103"/>
                <a:gd name="connsiteY37" fmla="*/ 2835485 h 2936314"/>
                <a:gd name="connsiteX38" fmla="*/ 11033090 w 11867103"/>
                <a:gd name="connsiteY38" fmla="*/ 2825437 h 2936314"/>
                <a:gd name="connsiteX39" fmla="*/ 10621108 w 11867103"/>
                <a:gd name="connsiteY39" fmla="*/ 2815389 h 2936314"/>
                <a:gd name="connsiteX40" fmla="*/ 10128739 w 11867103"/>
                <a:gd name="connsiteY40" fmla="*/ 2825437 h 2936314"/>
                <a:gd name="connsiteX41" fmla="*/ 10048352 w 11867103"/>
                <a:gd name="connsiteY41" fmla="*/ 2835485 h 2936314"/>
                <a:gd name="connsiteX42" fmla="*/ 9555982 w 11867103"/>
                <a:gd name="connsiteY42" fmla="*/ 2825437 h 2936314"/>
                <a:gd name="connsiteX43" fmla="*/ 9445451 w 11867103"/>
                <a:gd name="connsiteY43" fmla="*/ 2815389 h 2936314"/>
                <a:gd name="connsiteX44" fmla="*/ 9415306 w 11867103"/>
                <a:gd name="connsiteY44" fmla="*/ 2795292 h 2936314"/>
                <a:gd name="connsiteX45" fmla="*/ 9204290 w 11867103"/>
                <a:gd name="connsiteY45" fmla="*/ 2775195 h 2936314"/>
                <a:gd name="connsiteX46" fmla="*/ 9073662 w 11867103"/>
                <a:gd name="connsiteY46" fmla="*/ 2755098 h 2936314"/>
                <a:gd name="connsiteX47" fmla="*/ 8812404 w 11867103"/>
                <a:gd name="connsiteY47" fmla="*/ 2745050 h 2936314"/>
                <a:gd name="connsiteX48" fmla="*/ 8400422 w 11867103"/>
                <a:gd name="connsiteY48" fmla="*/ 2735002 h 2936314"/>
                <a:gd name="connsiteX49" fmla="*/ 8269793 w 11867103"/>
                <a:gd name="connsiteY49" fmla="*/ 2724953 h 2936314"/>
                <a:gd name="connsiteX50" fmla="*/ 7797521 w 11867103"/>
                <a:gd name="connsiteY50" fmla="*/ 2745050 h 2936314"/>
                <a:gd name="connsiteX51" fmla="*/ 7717134 w 11867103"/>
                <a:gd name="connsiteY51" fmla="*/ 2755098 h 2936314"/>
                <a:gd name="connsiteX52" fmla="*/ 7486022 w 11867103"/>
                <a:gd name="connsiteY52" fmla="*/ 2785244 h 2936314"/>
                <a:gd name="connsiteX53" fmla="*/ 7395587 w 11867103"/>
                <a:gd name="connsiteY53" fmla="*/ 2805340 h 2936314"/>
                <a:gd name="connsiteX54" fmla="*/ 7325248 w 11867103"/>
                <a:gd name="connsiteY54" fmla="*/ 2815389 h 2936314"/>
                <a:gd name="connsiteX55" fmla="*/ 6863024 w 11867103"/>
                <a:gd name="connsiteY55" fmla="*/ 2805340 h 2936314"/>
                <a:gd name="connsiteX56" fmla="*/ 6722347 w 11867103"/>
                <a:gd name="connsiteY56" fmla="*/ 2795292 h 2936314"/>
                <a:gd name="connsiteX57" fmla="*/ 4903596 w 11867103"/>
                <a:gd name="connsiteY57" fmla="*/ 2845534 h 2936314"/>
                <a:gd name="connsiteX58" fmla="*/ 4722725 w 11867103"/>
                <a:gd name="connsiteY58" fmla="*/ 2885727 h 2936314"/>
                <a:gd name="connsiteX59" fmla="*/ 4300695 w 11867103"/>
                <a:gd name="connsiteY59" fmla="*/ 2865630 h 2936314"/>
                <a:gd name="connsiteX60" fmla="*/ 4059534 w 11867103"/>
                <a:gd name="connsiteY60" fmla="*/ 2825437 h 2936314"/>
                <a:gd name="connsiteX61" fmla="*/ 3768132 w 11867103"/>
                <a:gd name="connsiteY61" fmla="*/ 2795292 h 2936314"/>
                <a:gd name="connsiteX62" fmla="*/ 3627455 w 11867103"/>
                <a:gd name="connsiteY62" fmla="*/ 2785244 h 2936314"/>
                <a:gd name="connsiteX63" fmla="*/ 3125037 w 11867103"/>
                <a:gd name="connsiteY63" fmla="*/ 2795292 h 2936314"/>
                <a:gd name="connsiteX64" fmla="*/ 3064747 w 11867103"/>
                <a:gd name="connsiteY64" fmla="*/ 2805340 h 2936314"/>
                <a:gd name="connsiteX65" fmla="*/ 2009670 w 11867103"/>
                <a:gd name="connsiteY65" fmla="*/ 2815389 h 2936314"/>
                <a:gd name="connsiteX66" fmla="*/ 1678075 w 11867103"/>
                <a:gd name="connsiteY66" fmla="*/ 2905824 h 2936314"/>
                <a:gd name="connsiteX67" fmla="*/ 1607736 w 11867103"/>
                <a:gd name="connsiteY67" fmla="*/ 2935969 h 2936314"/>
                <a:gd name="connsiteX68" fmla="*/ 1135464 w 11867103"/>
                <a:gd name="connsiteY68" fmla="*/ 2915872 h 2936314"/>
                <a:gd name="connsiteX69" fmla="*/ 944545 w 11867103"/>
                <a:gd name="connsiteY69" fmla="*/ 2885727 h 2936314"/>
                <a:gd name="connsiteX70" fmla="*/ 723481 w 11867103"/>
                <a:gd name="connsiteY70" fmla="*/ 2845534 h 2936314"/>
                <a:gd name="connsiteX71" fmla="*/ 643095 w 11867103"/>
                <a:gd name="connsiteY71" fmla="*/ 2835485 h 2936314"/>
                <a:gd name="connsiteX72" fmla="*/ 371789 w 11867103"/>
                <a:gd name="connsiteY72" fmla="*/ 2795292 h 2936314"/>
                <a:gd name="connsiteX73" fmla="*/ 0 w 11867103"/>
                <a:gd name="connsiteY7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299939 w 11867103"/>
                <a:gd name="connsiteY12" fmla="*/ 72189 h 2936314"/>
                <a:gd name="connsiteX13" fmla="*/ 8521002 w 11867103"/>
                <a:gd name="connsiteY13" fmla="*/ 82237 h 2936314"/>
                <a:gd name="connsiteX14" fmla="*/ 9515789 w 11867103"/>
                <a:gd name="connsiteY14" fmla="*/ 72189 h 2936314"/>
                <a:gd name="connsiteX15" fmla="*/ 9606224 w 11867103"/>
                <a:gd name="connsiteY15" fmla="*/ 62140 h 2936314"/>
                <a:gd name="connsiteX16" fmla="*/ 9716756 w 11867103"/>
                <a:gd name="connsiteY16" fmla="*/ 52092 h 2936314"/>
                <a:gd name="connsiteX17" fmla="*/ 9797143 w 11867103"/>
                <a:gd name="connsiteY17" fmla="*/ 42044 h 2936314"/>
                <a:gd name="connsiteX18" fmla="*/ 9947868 w 11867103"/>
                <a:gd name="connsiteY18" fmla="*/ 31995 h 2936314"/>
                <a:gd name="connsiteX19" fmla="*/ 10791930 w 11867103"/>
                <a:gd name="connsiteY19" fmla="*/ 1850 h 2936314"/>
                <a:gd name="connsiteX20" fmla="*/ 11736475 w 11867103"/>
                <a:gd name="connsiteY20" fmla="*/ 21947 h 2936314"/>
                <a:gd name="connsiteX21" fmla="*/ 11766620 w 11867103"/>
                <a:gd name="connsiteY21" fmla="*/ 52092 h 2936314"/>
                <a:gd name="connsiteX22" fmla="*/ 11786717 w 11867103"/>
                <a:gd name="connsiteY22" fmla="*/ 92285 h 2936314"/>
                <a:gd name="connsiteX23" fmla="*/ 11806813 w 11867103"/>
                <a:gd name="connsiteY23" fmla="*/ 182720 h 2936314"/>
                <a:gd name="connsiteX24" fmla="*/ 11816862 w 11867103"/>
                <a:gd name="connsiteY24" fmla="*/ 222914 h 2936314"/>
                <a:gd name="connsiteX25" fmla="*/ 11826910 w 11867103"/>
                <a:gd name="connsiteY25" fmla="*/ 313349 h 2936314"/>
                <a:gd name="connsiteX26" fmla="*/ 11836958 w 11867103"/>
                <a:gd name="connsiteY26" fmla="*/ 393736 h 2936314"/>
                <a:gd name="connsiteX27" fmla="*/ 11826910 w 11867103"/>
                <a:gd name="connsiteY27" fmla="*/ 705235 h 2936314"/>
                <a:gd name="connsiteX28" fmla="*/ 11816862 w 11867103"/>
                <a:gd name="connsiteY28" fmla="*/ 765525 h 2936314"/>
                <a:gd name="connsiteX29" fmla="*/ 11806813 w 11867103"/>
                <a:gd name="connsiteY29" fmla="*/ 835863 h 2936314"/>
                <a:gd name="connsiteX30" fmla="*/ 11816862 w 11867103"/>
                <a:gd name="connsiteY30" fmla="*/ 2302923 h 2936314"/>
                <a:gd name="connsiteX31" fmla="*/ 11826910 w 11867103"/>
                <a:gd name="connsiteY31" fmla="*/ 2373261 h 2936314"/>
                <a:gd name="connsiteX32" fmla="*/ 11836958 w 11867103"/>
                <a:gd name="connsiteY32" fmla="*/ 2403406 h 2936314"/>
                <a:gd name="connsiteX33" fmla="*/ 11857055 w 11867103"/>
                <a:gd name="connsiteY33" fmla="*/ 2534035 h 2936314"/>
                <a:gd name="connsiteX34" fmla="*/ 11867103 w 11867103"/>
                <a:gd name="connsiteY34" fmla="*/ 2574228 h 2936314"/>
                <a:gd name="connsiteX35" fmla="*/ 11857055 w 11867103"/>
                <a:gd name="connsiteY35" fmla="*/ 2805340 h 2936314"/>
                <a:gd name="connsiteX36" fmla="*/ 11836958 w 11867103"/>
                <a:gd name="connsiteY36" fmla="*/ 2835485 h 2936314"/>
                <a:gd name="connsiteX37" fmla="*/ 11033090 w 11867103"/>
                <a:gd name="connsiteY37" fmla="*/ 2825437 h 2936314"/>
                <a:gd name="connsiteX38" fmla="*/ 10621108 w 11867103"/>
                <a:gd name="connsiteY38" fmla="*/ 2815389 h 2936314"/>
                <a:gd name="connsiteX39" fmla="*/ 10128739 w 11867103"/>
                <a:gd name="connsiteY39" fmla="*/ 2825437 h 2936314"/>
                <a:gd name="connsiteX40" fmla="*/ 10048352 w 11867103"/>
                <a:gd name="connsiteY40" fmla="*/ 2835485 h 2936314"/>
                <a:gd name="connsiteX41" fmla="*/ 9555982 w 11867103"/>
                <a:gd name="connsiteY41" fmla="*/ 2825437 h 2936314"/>
                <a:gd name="connsiteX42" fmla="*/ 9445451 w 11867103"/>
                <a:gd name="connsiteY42" fmla="*/ 2815389 h 2936314"/>
                <a:gd name="connsiteX43" fmla="*/ 9415306 w 11867103"/>
                <a:gd name="connsiteY43" fmla="*/ 2795292 h 2936314"/>
                <a:gd name="connsiteX44" fmla="*/ 9204290 w 11867103"/>
                <a:gd name="connsiteY44" fmla="*/ 2775195 h 2936314"/>
                <a:gd name="connsiteX45" fmla="*/ 9073662 w 11867103"/>
                <a:gd name="connsiteY45" fmla="*/ 2755098 h 2936314"/>
                <a:gd name="connsiteX46" fmla="*/ 8812404 w 11867103"/>
                <a:gd name="connsiteY46" fmla="*/ 2745050 h 2936314"/>
                <a:gd name="connsiteX47" fmla="*/ 8400422 w 11867103"/>
                <a:gd name="connsiteY47" fmla="*/ 2735002 h 2936314"/>
                <a:gd name="connsiteX48" fmla="*/ 8269793 w 11867103"/>
                <a:gd name="connsiteY48" fmla="*/ 2724953 h 2936314"/>
                <a:gd name="connsiteX49" fmla="*/ 7797521 w 11867103"/>
                <a:gd name="connsiteY49" fmla="*/ 2745050 h 2936314"/>
                <a:gd name="connsiteX50" fmla="*/ 7717134 w 11867103"/>
                <a:gd name="connsiteY50" fmla="*/ 2755098 h 2936314"/>
                <a:gd name="connsiteX51" fmla="*/ 7486022 w 11867103"/>
                <a:gd name="connsiteY51" fmla="*/ 2785244 h 2936314"/>
                <a:gd name="connsiteX52" fmla="*/ 7395587 w 11867103"/>
                <a:gd name="connsiteY52" fmla="*/ 2805340 h 2936314"/>
                <a:gd name="connsiteX53" fmla="*/ 7325248 w 11867103"/>
                <a:gd name="connsiteY53" fmla="*/ 2815389 h 2936314"/>
                <a:gd name="connsiteX54" fmla="*/ 6863024 w 11867103"/>
                <a:gd name="connsiteY54" fmla="*/ 2805340 h 2936314"/>
                <a:gd name="connsiteX55" fmla="*/ 6722347 w 11867103"/>
                <a:gd name="connsiteY55" fmla="*/ 2795292 h 2936314"/>
                <a:gd name="connsiteX56" fmla="*/ 4903596 w 11867103"/>
                <a:gd name="connsiteY56" fmla="*/ 2845534 h 2936314"/>
                <a:gd name="connsiteX57" fmla="*/ 4722725 w 11867103"/>
                <a:gd name="connsiteY57" fmla="*/ 2885727 h 2936314"/>
                <a:gd name="connsiteX58" fmla="*/ 4300695 w 11867103"/>
                <a:gd name="connsiteY58" fmla="*/ 2865630 h 2936314"/>
                <a:gd name="connsiteX59" fmla="*/ 4059534 w 11867103"/>
                <a:gd name="connsiteY59" fmla="*/ 2825437 h 2936314"/>
                <a:gd name="connsiteX60" fmla="*/ 3768132 w 11867103"/>
                <a:gd name="connsiteY60" fmla="*/ 2795292 h 2936314"/>
                <a:gd name="connsiteX61" fmla="*/ 3627455 w 11867103"/>
                <a:gd name="connsiteY61" fmla="*/ 2785244 h 2936314"/>
                <a:gd name="connsiteX62" fmla="*/ 3125037 w 11867103"/>
                <a:gd name="connsiteY62" fmla="*/ 2795292 h 2936314"/>
                <a:gd name="connsiteX63" fmla="*/ 3064747 w 11867103"/>
                <a:gd name="connsiteY63" fmla="*/ 2805340 h 2936314"/>
                <a:gd name="connsiteX64" fmla="*/ 2009670 w 11867103"/>
                <a:gd name="connsiteY64" fmla="*/ 2815389 h 2936314"/>
                <a:gd name="connsiteX65" fmla="*/ 1678075 w 11867103"/>
                <a:gd name="connsiteY65" fmla="*/ 2905824 h 2936314"/>
                <a:gd name="connsiteX66" fmla="*/ 1607736 w 11867103"/>
                <a:gd name="connsiteY66" fmla="*/ 2935969 h 2936314"/>
                <a:gd name="connsiteX67" fmla="*/ 1135464 w 11867103"/>
                <a:gd name="connsiteY67" fmla="*/ 2915872 h 2936314"/>
                <a:gd name="connsiteX68" fmla="*/ 944545 w 11867103"/>
                <a:gd name="connsiteY68" fmla="*/ 2885727 h 2936314"/>
                <a:gd name="connsiteX69" fmla="*/ 723481 w 11867103"/>
                <a:gd name="connsiteY69" fmla="*/ 2845534 h 2936314"/>
                <a:gd name="connsiteX70" fmla="*/ 643095 w 11867103"/>
                <a:gd name="connsiteY70" fmla="*/ 2835485 h 2936314"/>
                <a:gd name="connsiteX71" fmla="*/ 371789 w 11867103"/>
                <a:gd name="connsiteY71" fmla="*/ 2795292 h 2936314"/>
                <a:gd name="connsiteX72" fmla="*/ 0 w 11867103"/>
                <a:gd name="connsiteY7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521002 w 11867103"/>
                <a:gd name="connsiteY12" fmla="*/ 82237 h 2936314"/>
                <a:gd name="connsiteX13" fmla="*/ 9515789 w 11867103"/>
                <a:gd name="connsiteY13" fmla="*/ 72189 h 2936314"/>
                <a:gd name="connsiteX14" fmla="*/ 9606224 w 11867103"/>
                <a:gd name="connsiteY14" fmla="*/ 62140 h 2936314"/>
                <a:gd name="connsiteX15" fmla="*/ 9716756 w 11867103"/>
                <a:gd name="connsiteY15" fmla="*/ 52092 h 2936314"/>
                <a:gd name="connsiteX16" fmla="*/ 9797143 w 11867103"/>
                <a:gd name="connsiteY16" fmla="*/ 42044 h 2936314"/>
                <a:gd name="connsiteX17" fmla="*/ 9947868 w 11867103"/>
                <a:gd name="connsiteY17" fmla="*/ 31995 h 2936314"/>
                <a:gd name="connsiteX18" fmla="*/ 10791930 w 11867103"/>
                <a:gd name="connsiteY18" fmla="*/ 1850 h 2936314"/>
                <a:gd name="connsiteX19" fmla="*/ 11736475 w 11867103"/>
                <a:gd name="connsiteY19" fmla="*/ 21947 h 2936314"/>
                <a:gd name="connsiteX20" fmla="*/ 11766620 w 11867103"/>
                <a:gd name="connsiteY20" fmla="*/ 52092 h 2936314"/>
                <a:gd name="connsiteX21" fmla="*/ 11786717 w 11867103"/>
                <a:gd name="connsiteY21" fmla="*/ 92285 h 2936314"/>
                <a:gd name="connsiteX22" fmla="*/ 11806813 w 11867103"/>
                <a:gd name="connsiteY22" fmla="*/ 182720 h 2936314"/>
                <a:gd name="connsiteX23" fmla="*/ 11816862 w 11867103"/>
                <a:gd name="connsiteY23" fmla="*/ 222914 h 2936314"/>
                <a:gd name="connsiteX24" fmla="*/ 11826910 w 11867103"/>
                <a:gd name="connsiteY24" fmla="*/ 313349 h 2936314"/>
                <a:gd name="connsiteX25" fmla="*/ 11836958 w 11867103"/>
                <a:gd name="connsiteY25" fmla="*/ 393736 h 2936314"/>
                <a:gd name="connsiteX26" fmla="*/ 11826910 w 11867103"/>
                <a:gd name="connsiteY26" fmla="*/ 705235 h 2936314"/>
                <a:gd name="connsiteX27" fmla="*/ 11816862 w 11867103"/>
                <a:gd name="connsiteY27" fmla="*/ 765525 h 2936314"/>
                <a:gd name="connsiteX28" fmla="*/ 11806813 w 11867103"/>
                <a:gd name="connsiteY28" fmla="*/ 835863 h 2936314"/>
                <a:gd name="connsiteX29" fmla="*/ 11816862 w 11867103"/>
                <a:gd name="connsiteY29" fmla="*/ 2302923 h 2936314"/>
                <a:gd name="connsiteX30" fmla="*/ 11826910 w 11867103"/>
                <a:gd name="connsiteY30" fmla="*/ 2373261 h 2936314"/>
                <a:gd name="connsiteX31" fmla="*/ 11836958 w 11867103"/>
                <a:gd name="connsiteY31" fmla="*/ 2403406 h 2936314"/>
                <a:gd name="connsiteX32" fmla="*/ 11857055 w 11867103"/>
                <a:gd name="connsiteY32" fmla="*/ 2534035 h 2936314"/>
                <a:gd name="connsiteX33" fmla="*/ 11867103 w 11867103"/>
                <a:gd name="connsiteY33" fmla="*/ 2574228 h 2936314"/>
                <a:gd name="connsiteX34" fmla="*/ 11857055 w 11867103"/>
                <a:gd name="connsiteY34" fmla="*/ 2805340 h 2936314"/>
                <a:gd name="connsiteX35" fmla="*/ 11836958 w 11867103"/>
                <a:gd name="connsiteY35" fmla="*/ 2835485 h 2936314"/>
                <a:gd name="connsiteX36" fmla="*/ 11033090 w 11867103"/>
                <a:gd name="connsiteY36" fmla="*/ 2825437 h 2936314"/>
                <a:gd name="connsiteX37" fmla="*/ 10621108 w 11867103"/>
                <a:gd name="connsiteY37" fmla="*/ 2815389 h 2936314"/>
                <a:gd name="connsiteX38" fmla="*/ 10128739 w 11867103"/>
                <a:gd name="connsiteY38" fmla="*/ 2825437 h 2936314"/>
                <a:gd name="connsiteX39" fmla="*/ 10048352 w 11867103"/>
                <a:gd name="connsiteY39" fmla="*/ 2835485 h 2936314"/>
                <a:gd name="connsiteX40" fmla="*/ 9555982 w 11867103"/>
                <a:gd name="connsiteY40" fmla="*/ 2825437 h 2936314"/>
                <a:gd name="connsiteX41" fmla="*/ 9445451 w 11867103"/>
                <a:gd name="connsiteY41" fmla="*/ 2815389 h 2936314"/>
                <a:gd name="connsiteX42" fmla="*/ 9415306 w 11867103"/>
                <a:gd name="connsiteY42" fmla="*/ 2795292 h 2936314"/>
                <a:gd name="connsiteX43" fmla="*/ 9204290 w 11867103"/>
                <a:gd name="connsiteY43" fmla="*/ 2775195 h 2936314"/>
                <a:gd name="connsiteX44" fmla="*/ 9073662 w 11867103"/>
                <a:gd name="connsiteY44" fmla="*/ 2755098 h 2936314"/>
                <a:gd name="connsiteX45" fmla="*/ 8812404 w 11867103"/>
                <a:gd name="connsiteY45" fmla="*/ 2745050 h 2936314"/>
                <a:gd name="connsiteX46" fmla="*/ 8400422 w 11867103"/>
                <a:gd name="connsiteY46" fmla="*/ 2735002 h 2936314"/>
                <a:gd name="connsiteX47" fmla="*/ 8269793 w 11867103"/>
                <a:gd name="connsiteY47" fmla="*/ 2724953 h 2936314"/>
                <a:gd name="connsiteX48" fmla="*/ 7797521 w 11867103"/>
                <a:gd name="connsiteY48" fmla="*/ 2745050 h 2936314"/>
                <a:gd name="connsiteX49" fmla="*/ 7717134 w 11867103"/>
                <a:gd name="connsiteY49" fmla="*/ 2755098 h 2936314"/>
                <a:gd name="connsiteX50" fmla="*/ 7486022 w 11867103"/>
                <a:gd name="connsiteY50" fmla="*/ 2785244 h 2936314"/>
                <a:gd name="connsiteX51" fmla="*/ 7395587 w 11867103"/>
                <a:gd name="connsiteY51" fmla="*/ 2805340 h 2936314"/>
                <a:gd name="connsiteX52" fmla="*/ 7325248 w 11867103"/>
                <a:gd name="connsiteY52" fmla="*/ 2815389 h 2936314"/>
                <a:gd name="connsiteX53" fmla="*/ 6863024 w 11867103"/>
                <a:gd name="connsiteY53" fmla="*/ 2805340 h 2936314"/>
                <a:gd name="connsiteX54" fmla="*/ 6722347 w 11867103"/>
                <a:gd name="connsiteY54" fmla="*/ 2795292 h 2936314"/>
                <a:gd name="connsiteX55" fmla="*/ 4903596 w 11867103"/>
                <a:gd name="connsiteY55" fmla="*/ 2845534 h 2936314"/>
                <a:gd name="connsiteX56" fmla="*/ 4722725 w 11867103"/>
                <a:gd name="connsiteY56" fmla="*/ 2885727 h 2936314"/>
                <a:gd name="connsiteX57" fmla="*/ 4300695 w 11867103"/>
                <a:gd name="connsiteY57" fmla="*/ 2865630 h 2936314"/>
                <a:gd name="connsiteX58" fmla="*/ 4059534 w 11867103"/>
                <a:gd name="connsiteY58" fmla="*/ 2825437 h 2936314"/>
                <a:gd name="connsiteX59" fmla="*/ 3768132 w 11867103"/>
                <a:gd name="connsiteY59" fmla="*/ 2795292 h 2936314"/>
                <a:gd name="connsiteX60" fmla="*/ 3627455 w 11867103"/>
                <a:gd name="connsiteY60" fmla="*/ 2785244 h 2936314"/>
                <a:gd name="connsiteX61" fmla="*/ 3125037 w 11867103"/>
                <a:gd name="connsiteY61" fmla="*/ 2795292 h 2936314"/>
                <a:gd name="connsiteX62" fmla="*/ 3064747 w 11867103"/>
                <a:gd name="connsiteY62" fmla="*/ 2805340 h 2936314"/>
                <a:gd name="connsiteX63" fmla="*/ 2009670 w 11867103"/>
                <a:gd name="connsiteY63" fmla="*/ 2815389 h 2936314"/>
                <a:gd name="connsiteX64" fmla="*/ 1678075 w 11867103"/>
                <a:gd name="connsiteY64" fmla="*/ 2905824 h 2936314"/>
                <a:gd name="connsiteX65" fmla="*/ 1607736 w 11867103"/>
                <a:gd name="connsiteY65" fmla="*/ 2935969 h 2936314"/>
                <a:gd name="connsiteX66" fmla="*/ 1135464 w 11867103"/>
                <a:gd name="connsiteY66" fmla="*/ 2915872 h 2936314"/>
                <a:gd name="connsiteX67" fmla="*/ 944545 w 11867103"/>
                <a:gd name="connsiteY67" fmla="*/ 2885727 h 2936314"/>
                <a:gd name="connsiteX68" fmla="*/ 723481 w 11867103"/>
                <a:gd name="connsiteY68" fmla="*/ 2845534 h 2936314"/>
                <a:gd name="connsiteX69" fmla="*/ 643095 w 11867103"/>
                <a:gd name="connsiteY69" fmla="*/ 2835485 h 2936314"/>
                <a:gd name="connsiteX70" fmla="*/ 371789 w 11867103"/>
                <a:gd name="connsiteY70" fmla="*/ 2795292 h 2936314"/>
                <a:gd name="connsiteX71" fmla="*/ 0 w 11867103"/>
                <a:gd name="connsiteY7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515789 w 11867103"/>
                <a:gd name="connsiteY12" fmla="*/ 72189 h 2936314"/>
                <a:gd name="connsiteX13" fmla="*/ 9606224 w 11867103"/>
                <a:gd name="connsiteY13" fmla="*/ 62140 h 2936314"/>
                <a:gd name="connsiteX14" fmla="*/ 9716756 w 11867103"/>
                <a:gd name="connsiteY14" fmla="*/ 52092 h 2936314"/>
                <a:gd name="connsiteX15" fmla="*/ 9797143 w 11867103"/>
                <a:gd name="connsiteY15" fmla="*/ 42044 h 2936314"/>
                <a:gd name="connsiteX16" fmla="*/ 9947868 w 11867103"/>
                <a:gd name="connsiteY16" fmla="*/ 31995 h 2936314"/>
                <a:gd name="connsiteX17" fmla="*/ 10791930 w 11867103"/>
                <a:gd name="connsiteY17" fmla="*/ 1850 h 2936314"/>
                <a:gd name="connsiteX18" fmla="*/ 11736475 w 11867103"/>
                <a:gd name="connsiteY18" fmla="*/ 21947 h 2936314"/>
                <a:gd name="connsiteX19" fmla="*/ 11766620 w 11867103"/>
                <a:gd name="connsiteY19" fmla="*/ 52092 h 2936314"/>
                <a:gd name="connsiteX20" fmla="*/ 11786717 w 11867103"/>
                <a:gd name="connsiteY20" fmla="*/ 92285 h 2936314"/>
                <a:gd name="connsiteX21" fmla="*/ 11806813 w 11867103"/>
                <a:gd name="connsiteY21" fmla="*/ 182720 h 2936314"/>
                <a:gd name="connsiteX22" fmla="*/ 11816862 w 11867103"/>
                <a:gd name="connsiteY22" fmla="*/ 222914 h 2936314"/>
                <a:gd name="connsiteX23" fmla="*/ 11826910 w 11867103"/>
                <a:gd name="connsiteY23" fmla="*/ 313349 h 2936314"/>
                <a:gd name="connsiteX24" fmla="*/ 11836958 w 11867103"/>
                <a:gd name="connsiteY24" fmla="*/ 393736 h 2936314"/>
                <a:gd name="connsiteX25" fmla="*/ 11826910 w 11867103"/>
                <a:gd name="connsiteY25" fmla="*/ 705235 h 2936314"/>
                <a:gd name="connsiteX26" fmla="*/ 11816862 w 11867103"/>
                <a:gd name="connsiteY26" fmla="*/ 765525 h 2936314"/>
                <a:gd name="connsiteX27" fmla="*/ 11806813 w 11867103"/>
                <a:gd name="connsiteY27" fmla="*/ 835863 h 2936314"/>
                <a:gd name="connsiteX28" fmla="*/ 11816862 w 11867103"/>
                <a:gd name="connsiteY28" fmla="*/ 2302923 h 2936314"/>
                <a:gd name="connsiteX29" fmla="*/ 11826910 w 11867103"/>
                <a:gd name="connsiteY29" fmla="*/ 2373261 h 2936314"/>
                <a:gd name="connsiteX30" fmla="*/ 11836958 w 11867103"/>
                <a:gd name="connsiteY30" fmla="*/ 2403406 h 2936314"/>
                <a:gd name="connsiteX31" fmla="*/ 11857055 w 11867103"/>
                <a:gd name="connsiteY31" fmla="*/ 2534035 h 2936314"/>
                <a:gd name="connsiteX32" fmla="*/ 11867103 w 11867103"/>
                <a:gd name="connsiteY32" fmla="*/ 2574228 h 2936314"/>
                <a:gd name="connsiteX33" fmla="*/ 11857055 w 11867103"/>
                <a:gd name="connsiteY33" fmla="*/ 2805340 h 2936314"/>
                <a:gd name="connsiteX34" fmla="*/ 11836958 w 11867103"/>
                <a:gd name="connsiteY34" fmla="*/ 2835485 h 2936314"/>
                <a:gd name="connsiteX35" fmla="*/ 11033090 w 11867103"/>
                <a:gd name="connsiteY35" fmla="*/ 2825437 h 2936314"/>
                <a:gd name="connsiteX36" fmla="*/ 10621108 w 11867103"/>
                <a:gd name="connsiteY36" fmla="*/ 2815389 h 2936314"/>
                <a:gd name="connsiteX37" fmla="*/ 10128739 w 11867103"/>
                <a:gd name="connsiteY37" fmla="*/ 2825437 h 2936314"/>
                <a:gd name="connsiteX38" fmla="*/ 10048352 w 11867103"/>
                <a:gd name="connsiteY38" fmla="*/ 2835485 h 2936314"/>
                <a:gd name="connsiteX39" fmla="*/ 9555982 w 11867103"/>
                <a:gd name="connsiteY39" fmla="*/ 2825437 h 2936314"/>
                <a:gd name="connsiteX40" fmla="*/ 9445451 w 11867103"/>
                <a:gd name="connsiteY40" fmla="*/ 2815389 h 2936314"/>
                <a:gd name="connsiteX41" fmla="*/ 9415306 w 11867103"/>
                <a:gd name="connsiteY41" fmla="*/ 2795292 h 2936314"/>
                <a:gd name="connsiteX42" fmla="*/ 9204290 w 11867103"/>
                <a:gd name="connsiteY42" fmla="*/ 2775195 h 2936314"/>
                <a:gd name="connsiteX43" fmla="*/ 9073662 w 11867103"/>
                <a:gd name="connsiteY43" fmla="*/ 2755098 h 2936314"/>
                <a:gd name="connsiteX44" fmla="*/ 8812404 w 11867103"/>
                <a:gd name="connsiteY44" fmla="*/ 2745050 h 2936314"/>
                <a:gd name="connsiteX45" fmla="*/ 8400422 w 11867103"/>
                <a:gd name="connsiteY45" fmla="*/ 2735002 h 2936314"/>
                <a:gd name="connsiteX46" fmla="*/ 8269793 w 11867103"/>
                <a:gd name="connsiteY46" fmla="*/ 2724953 h 2936314"/>
                <a:gd name="connsiteX47" fmla="*/ 7797521 w 11867103"/>
                <a:gd name="connsiteY47" fmla="*/ 2745050 h 2936314"/>
                <a:gd name="connsiteX48" fmla="*/ 7717134 w 11867103"/>
                <a:gd name="connsiteY48" fmla="*/ 2755098 h 2936314"/>
                <a:gd name="connsiteX49" fmla="*/ 7486022 w 11867103"/>
                <a:gd name="connsiteY49" fmla="*/ 2785244 h 2936314"/>
                <a:gd name="connsiteX50" fmla="*/ 7395587 w 11867103"/>
                <a:gd name="connsiteY50" fmla="*/ 2805340 h 2936314"/>
                <a:gd name="connsiteX51" fmla="*/ 7325248 w 11867103"/>
                <a:gd name="connsiteY51" fmla="*/ 2815389 h 2936314"/>
                <a:gd name="connsiteX52" fmla="*/ 6863024 w 11867103"/>
                <a:gd name="connsiteY52" fmla="*/ 2805340 h 2936314"/>
                <a:gd name="connsiteX53" fmla="*/ 6722347 w 11867103"/>
                <a:gd name="connsiteY53" fmla="*/ 2795292 h 2936314"/>
                <a:gd name="connsiteX54" fmla="*/ 4903596 w 11867103"/>
                <a:gd name="connsiteY54" fmla="*/ 2845534 h 2936314"/>
                <a:gd name="connsiteX55" fmla="*/ 4722725 w 11867103"/>
                <a:gd name="connsiteY55" fmla="*/ 2885727 h 2936314"/>
                <a:gd name="connsiteX56" fmla="*/ 4300695 w 11867103"/>
                <a:gd name="connsiteY56" fmla="*/ 2865630 h 2936314"/>
                <a:gd name="connsiteX57" fmla="*/ 4059534 w 11867103"/>
                <a:gd name="connsiteY57" fmla="*/ 2825437 h 2936314"/>
                <a:gd name="connsiteX58" fmla="*/ 3768132 w 11867103"/>
                <a:gd name="connsiteY58" fmla="*/ 2795292 h 2936314"/>
                <a:gd name="connsiteX59" fmla="*/ 3627455 w 11867103"/>
                <a:gd name="connsiteY59" fmla="*/ 2785244 h 2936314"/>
                <a:gd name="connsiteX60" fmla="*/ 3125037 w 11867103"/>
                <a:gd name="connsiteY60" fmla="*/ 2795292 h 2936314"/>
                <a:gd name="connsiteX61" fmla="*/ 3064747 w 11867103"/>
                <a:gd name="connsiteY61" fmla="*/ 2805340 h 2936314"/>
                <a:gd name="connsiteX62" fmla="*/ 2009670 w 11867103"/>
                <a:gd name="connsiteY62" fmla="*/ 2815389 h 2936314"/>
                <a:gd name="connsiteX63" fmla="*/ 1678075 w 11867103"/>
                <a:gd name="connsiteY63" fmla="*/ 2905824 h 2936314"/>
                <a:gd name="connsiteX64" fmla="*/ 1607736 w 11867103"/>
                <a:gd name="connsiteY64" fmla="*/ 2935969 h 2936314"/>
                <a:gd name="connsiteX65" fmla="*/ 1135464 w 11867103"/>
                <a:gd name="connsiteY65" fmla="*/ 2915872 h 2936314"/>
                <a:gd name="connsiteX66" fmla="*/ 944545 w 11867103"/>
                <a:gd name="connsiteY66" fmla="*/ 2885727 h 2936314"/>
                <a:gd name="connsiteX67" fmla="*/ 723481 w 11867103"/>
                <a:gd name="connsiteY67" fmla="*/ 2845534 h 2936314"/>
                <a:gd name="connsiteX68" fmla="*/ 643095 w 11867103"/>
                <a:gd name="connsiteY68" fmla="*/ 2835485 h 2936314"/>
                <a:gd name="connsiteX69" fmla="*/ 371789 w 11867103"/>
                <a:gd name="connsiteY69" fmla="*/ 2795292 h 2936314"/>
                <a:gd name="connsiteX70" fmla="*/ 0 w 11867103"/>
                <a:gd name="connsiteY70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16756 w 11867103"/>
                <a:gd name="connsiteY13" fmla="*/ 52092 h 2936314"/>
                <a:gd name="connsiteX14" fmla="*/ 9797143 w 11867103"/>
                <a:gd name="connsiteY14" fmla="*/ 42044 h 2936314"/>
                <a:gd name="connsiteX15" fmla="*/ 9947868 w 11867103"/>
                <a:gd name="connsiteY15" fmla="*/ 31995 h 2936314"/>
                <a:gd name="connsiteX16" fmla="*/ 10791930 w 11867103"/>
                <a:gd name="connsiteY16" fmla="*/ 1850 h 2936314"/>
                <a:gd name="connsiteX17" fmla="*/ 11736475 w 11867103"/>
                <a:gd name="connsiteY17" fmla="*/ 21947 h 2936314"/>
                <a:gd name="connsiteX18" fmla="*/ 11766620 w 11867103"/>
                <a:gd name="connsiteY18" fmla="*/ 52092 h 2936314"/>
                <a:gd name="connsiteX19" fmla="*/ 11786717 w 11867103"/>
                <a:gd name="connsiteY19" fmla="*/ 92285 h 2936314"/>
                <a:gd name="connsiteX20" fmla="*/ 11806813 w 11867103"/>
                <a:gd name="connsiteY20" fmla="*/ 182720 h 2936314"/>
                <a:gd name="connsiteX21" fmla="*/ 11816862 w 11867103"/>
                <a:gd name="connsiteY21" fmla="*/ 222914 h 2936314"/>
                <a:gd name="connsiteX22" fmla="*/ 11826910 w 11867103"/>
                <a:gd name="connsiteY22" fmla="*/ 313349 h 2936314"/>
                <a:gd name="connsiteX23" fmla="*/ 11836958 w 11867103"/>
                <a:gd name="connsiteY23" fmla="*/ 393736 h 2936314"/>
                <a:gd name="connsiteX24" fmla="*/ 11826910 w 11867103"/>
                <a:gd name="connsiteY24" fmla="*/ 705235 h 2936314"/>
                <a:gd name="connsiteX25" fmla="*/ 11816862 w 11867103"/>
                <a:gd name="connsiteY25" fmla="*/ 765525 h 2936314"/>
                <a:gd name="connsiteX26" fmla="*/ 11806813 w 11867103"/>
                <a:gd name="connsiteY26" fmla="*/ 835863 h 2936314"/>
                <a:gd name="connsiteX27" fmla="*/ 11816862 w 11867103"/>
                <a:gd name="connsiteY27" fmla="*/ 2302923 h 2936314"/>
                <a:gd name="connsiteX28" fmla="*/ 11826910 w 11867103"/>
                <a:gd name="connsiteY28" fmla="*/ 2373261 h 2936314"/>
                <a:gd name="connsiteX29" fmla="*/ 11836958 w 11867103"/>
                <a:gd name="connsiteY29" fmla="*/ 2403406 h 2936314"/>
                <a:gd name="connsiteX30" fmla="*/ 11857055 w 11867103"/>
                <a:gd name="connsiteY30" fmla="*/ 2534035 h 2936314"/>
                <a:gd name="connsiteX31" fmla="*/ 11867103 w 11867103"/>
                <a:gd name="connsiteY31" fmla="*/ 2574228 h 2936314"/>
                <a:gd name="connsiteX32" fmla="*/ 11857055 w 11867103"/>
                <a:gd name="connsiteY32" fmla="*/ 2805340 h 2936314"/>
                <a:gd name="connsiteX33" fmla="*/ 11836958 w 11867103"/>
                <a:gd name="connsiteY33" fmla="*/ 2835485 h 2936314"/>
                <a:gd name="connsiteX34" fmla="*/ 11033090 w 11867103"/>
                <a:gd name="connsiteY34" fmla="*/ 2825437 h 2936314"/>
                <a:gd name="connsiteX35" fmla="*/ 10621108 w 11867103"/>
                <a:gd name="connsiteY35" fmla="*/ 2815389 h 2936314"/>
                <a:gd name="connsiteX36" fmla="*/ 10128739 w 11867103"/>
                <a:gd name="connsiteY36" fmla="*/ 2825437 h 2936314"/>
                <a:gd name="connsiteX37" fmla="*/ 10048352 w 11867103"/>
                <a:gd name="connsiteY37" fmla="*/ 2835485 h 2936314"/>
                <a:gd name="connsiteX38" fmla="*/ 9555982 w 11867103"/>
                <a:gd name="connsiteY38" fmla="*/ 2825437 h 2936314"/>
                <a:gd name="connsiteX39" fmla="*/ 9445451 w 11867103"/>
                <a:gd name="connsiteY39" fmla="*/ 2815389 h 2936314"/>
                <a:gd name="connsiteX40" fmla="*/ 9415306 w 11867103"/>
                <a:gd name="connsiteY40" fmla="*/ 2795292 h 2936314"/>
                <a:gd name="connsiteX41" fmla="*/ 9204290 w 11867103"/>
                <a:gd name="connsiteY41" fmla="*/ 2775195 h 2936314"/>
                <a:gd name="connsiteX42" fmla="*/ 9073662 w 11867103"/>
                <a:gd name="connsiteY42" fmla="*/ 2755098 h 2936314"/>
                <a:gd name="connsiteX43" fmla="*/ 8812404 w 11867103"/>
                <a:gd name="connsiteY43" fmla="*/ 2745050 h 2936314"/>
                <a:gd name="connsiteX44" fmla="*/ 8400422 w 11867103"/>
                <a:gd name="connsiteY44" fmla="*/ 2735002 h 2936314"/>
                <a:gd name="connsiteX45" fmla="*/ 8269793 w 11867103"/>
                <a:gd name="connsiteY45" fmla="*/ 2724953 h 2936314"/>
                <a:gd name="connsiteX46" fmla="*/ 7797521 w 11867103"/>
                <a:gd name="connsiteY46" fmla="*/ 2745050 h 2936314"/>
                <a:gd name="connsiteX47" fmla="*/ 7717134 w 11867103"/>
                <a:gd name="connsiteY47" fmla="*/ 2755098 h 2936314"/>
                <a:gd name="connsiteX48" fmla="*/ 7486022 w 11867103"/>
                <a:gd name="connsiteY48" fmla="*/ 2785244 h 2936314"/>
                <a:gd name="connsiteX49" fmla="*/ 7395587 w 11867103"/>
                <a:gd name="connsiteY49" fmla="*/ 2805340 h 2936314"/>
                <a:gd name="connsiteX50" fmla="*/ 7325248 w 11867103"/>
                <a:gd name="connsiteY50" fmla="*/ 2815389 h 2936314"/>
                <a:gd name="connsiteX51" fmla="*/ 6863024 w 11867103"/>
                <a:gd name="connsiteY51" fmla="*/ 2805340 h 2936314"/>
                <a:gd name="connsiteX52" fmla="*/ 6722347 w 11867103"/>
                <a:gd name="connsiteY52" fmla="*/ 2795292 h 2936314"/>
                <a:gd name="connsiteX53" fmla="*/ 4903596 w 11867103"/>
                <a:gd name="connsiteY53" fmla="*/ 2845534 h 2936314"/>
                <a:gd name="connsiteX54" fmla="*/ 4722725 w 11867103"/>
                <a:gd name="connsiteY54" fmla="*/ 2885727 h 2936314"/>
                <a:gd name="connsiteX55" fmla="*/ 4300695 w 11867103"/>
                <a:gd name="connsiteY55" fmla="*/ 2865630 h 2936314"/>
                <a:gd name="connsiteX56" fmla="*/ 4059534 w 11867103"/>
                <a:gd name="connsiteY56" fmla="*/ 2825437 h 2936314"/>
                <a:gd name="connsiteX57" fmla="*/ 3768132 w 11867103"/>
                <a:gd name="connsiteY57" fmla="*/ 2795292 h 2936314"/>
                <a:gd name="connsiteX58" fmla="*/ 3627455 w 11867103"/>
                <a:gd name="connsiteY58" fmla="*/ 2785244 h 2936314"/>
                <a:gd name="connsiteX59" fmla="*/ 3125037 w 11867103"/>
                <a:gd name="connsiteY59" fmla="*/ 2795292 h 2936314"/>
                <a:gd name="connsiteX60" fmla="*/ 3064747 w 11867103"/>
                <a:gd name="connsiteY60" fmla="*/ 2805340 h 2936314"/>
                <a:gd name="connsiteX61" fmla="*/ 2009670 w 11867103"/>
                <a:gd name="connsiteY61" fmla="*/ 2815389 h 2936314"/>
                <a:gd name="connsiteX62" fmla="*/ 1678075 w 11867103"/>
                <a:gd name="connsiteY62" fmla="*/ 2905824 h 2936314"/>
                <a:gd name="connsiteX63" fmla="*/ 1607736 w 11867103"/>
                <a:gd name="connsiteY63" fmla="*/ 2935969 h 2936314"/>
                <a:gd name="connsiteX64" fmla="*/ 1135464 w 11867103"/>
                <a:gd name="connsiteY64" fmla="*/ 2915872 h 2936314"/>
                <a:gd name="connsiteX65" fmla="*/ 944545 w 11867103"/>
                <a:gd name="connsiteY65" fmla="*/ 2885727 h 2936314"/>
                <a:gd name="connsiteX66" fmla="*/ 723481 w 11867103"/>
                <a:gd name="connsiteY66" fmla="*/ 2845534 h 2936314"/>
                <a:gd name="connsiteX67" fmla="*/ 643095 w 11867103"/>
                <a:gd name="connsiteY67" fmla="*/ 2835485 h 2936314"/>
                <a:gd name="connsiteX68" fmla="*/ 371789 w 11867103"/>
                <a:gd name="connsiteY68" fmla="*/ 2795292 h 2936314"/>
                <a:gd name="connsiteX69" fmla="*/ 0 w 11867103"/>
                <a:gd name="connsiteY69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97143 w 11867103"/>
                <a:gd name="connsiteY13" fmla="*/ 42044 h 2936314"/>
                <a:gd name="connsiteX14" fmla="*/ 9947868 w 11867103"/>
                <a:gd name="connsiteY14" fmla="*/ 31995 h 2936314"/>
                <a:gd name="connsiteX15" fmla="*/ 10791930 w 11867103"/>
                <a:gd name="connsiteY15" fmla="*/ 1850 h 2936314"/>
                <a:gd name="connsiteX16" fmla="*/ 11736475 w 11867103"/>
                <a:gd name="connsiteY16" fmla="*/ 21947 h 2936314"/>
                <a:gd name="connsiteX17" fmla="*/ 11766620 w 11867103"/>
                <a:gd name="connsiteY17" fmla="*/ 52092 h 2936314"/>
                <a:gd name="connsiteX18" fmla="*/ 11786717 w 11867103"/>
                <a:gd name="connsiteY18" fmla="*/ 92285 h 2936314"/>
                <a:gd name="connsiteX19" fmla="*/ 11806813 w 11867103"/>
                <a:gd name="connsiteY19" fmla="*/ 182720 h 2936314"/>
                <a:gd name="connsiteX20" fmla="*/ 11816862 w 11867103"/>
                <a:gd name="connsiteY20" fmla="*/ 222914 h 2936314"/>
                <a:gd name="connsiteX21" fmla="*/ 11826910 w 11867103"/>
                <a:gd name="connsiteY21" fmla="*/ 313349 h 2936314"/>
                <a:gd name="connsiteX22" fmla="*/ 11836958 w 11867103"/>
                <a:gd name="connsiteY22" fmla="*/ 393736 h 2936314"/>
                <a:gd name="connsiteX23" fmla="*/ 11826910 w 11867103"/>
                <a:gd name="connsiteY23" fmla="*/ 705235 h 2936314"/>
                <a:gd name="connsiteX24" fmla="*/ 11816862 w 11867103"/>
                <a:gd name="connsiteY24" fmla="*/ 765525 h 2936314"/>
                <a:gd name="connsiteX25" fmla="*/ 11806813 w 11867103"/>
                <a:gd name="connsiteY25" fmla="*/ 835863 h 2936314"/>
                <a:gd name="connsiteX26" fmla="*/ 11816862 w 11867103"/>
                <a:gd name="connsiteY26" fmla="*/ 2302923 h 2936314"/>
                <a:gd name="connsiteX27" fmla="*/ 11826910 w 11867103"/>
                <a:gd name="connsiteY27" fmla="*/ 2373261 h 2936314"/>
                <a:gd name="connsiteX28" fmla="*/ 11836958 w 11867103"/>
                <a:gd name="connsiteY28" fmla="*/ 2403406 h 2936314"/>
                <a:gd name="connsiteX29" fmla="*/ 11857055 w 11867103"/>
                <a:gd name="connsiteY29" fmla="*/ 2534035 h 2936314"/>
                <a:gd name="connsiteX30" fmla="*/ 11867103 w 11867103"/>
                <a:gd name="connsiteY30" fmla="*/ 2574228 h 2936314"/>
                <a:gd name="connsiteX31" fmla="*/ 11857055 w 11867103"/>
                <a:gd name="connsiteY31" fmla="*/ 2805340 h 2936314"/>
                <a:gd name="connsiteX32" fmla="*/ 11836958 w 11867103"/>
                <a:gd name="connsiteY32" fmla="*/ 2835485 h 2936314"/>
                <a:gd name="connsiteX33" fmla="*/ 11033090 w 11867103"/>
                <a:gd name="connsiteY33" fmla="*/ 2825437 h 2936314"/>
                <a:gd name="connsiteX34" fmla="*/ 10621108 w 11867103"/>
                <a:gd name="connsiteY34" fmla="*/ 2815389 h 2936314"/>
                <a:gd name="connsiteX35" fmla="*/ 10128739 w 11867103"/>
                <a:gd name="connsiteY35" fmla="*/ 2825437 h 2936314"/>
                <a:gd name="connsiteX36" fmla="*/ 10048352 w 11867103"/>
                <a:gd name="connsiteY36" fmla="*/ 2835485 h 2936314"/>
                <a:gd name="connsiteX37" fmla="*/ 9555982 w 11867103"/>
                <a:gd name="connsiteY37" fmla="*/ 2825437 h 2936314"/>
                <a:gd name="connsiteX38" fmla="*/ 9445451 w 11867103"/>
                <a:gd name="connsiteY38" fmla="*/ 2815389 h 2936314"/>
                <a:gd name="connsiteX39" fmla="*/ 9415306 w 11867103"/>
                <a:gd name="connsiteY39" fmla="*/ 2795292 h 2936314"/>
                <a:gd name="connsiteX40" fmla="*/ 9204290 w 11867103"/>
                <a:gd name="connsiteY40" fmla="*/ 2775195 h 2936314"/>
                <a:gd name="connsiteX41" fmla="*/ 9073662 w 11867103"/>
                <a:gd name="connsiteY41" fmla="*/ 2755098 h 2936314"/>
                <a:gd name="connsiteX42" fmla="*/ 8812404 w 11867103"/>
                <a:gd name="connsiteY42" fmla="*/ 2745050 h 2936314"/>
                <a:gd name="connsiteX43" fmla="*/ 8400422 w 11867103"/>
                <a:gd name="connsiteY43" fmla="*/ 2735002 h 2936314"/>
                <a:gd name="connsiteX44" fmla="*/ 8269793 w 11867103"/>
                <a:gd name="connsiteY44" fmla="*/ 2724953 h 2936314"/>
                <a:gd name="connsiteX45" fmla="*/ 7797521 w 11867103"/>
                <a:gd name="connsiteY45" fmla="*/ 2745050 h 2936314"/>
                <a:gd name="connsiteX46" fmla="*/ 7717134 w 11867103"/>
                <a:gd name="connsiteY46" fmla="*/ 2755098 h 2936314"/>
                <a:gd name="connsiteX47" fmla="*/ 7486022 w 11867103"/>
                <a:gd name="connsiteY47" fmla="*/ 2785244 h 2936314"/>
                <a:gd name="connsiteX48" fmla="*/ 7395587 w 11867103"/>
                <a:gd name="connsiteY48" fmla="*/ 2805340 h 2936314"/>
                <a:gd name="connsiteX49" fmla="*/ 7325248 w 11867103"/>
                <a:gd name="connsiteY49" fmla="*/ 2815389 h 2936314"/>
                <a:gd name="connsiteX50" fmla="*/ 6863024 w 11867103"/>
                <a:gd name="connsiteY50" fmla="*/ 2805340 h 2936314"/>
                <a:gd name="connsiteX51" fmla="*/ 6722347 w 11867103"/>
                <a:gd name="connsiteY51" fmla="*/ 2795292 h 2936314"/>
                <a:gd name="connsiteX52" fmla="*/ 4903596 w 11867103"/>
                <a:gd name="connsiteY52" fmla="*/ 2845534 h 2936314"/>
                <a:gd name="connsiteX53" fmla="*/ 4722725 w 11867103"/>
                <a:gd name="connsiteY53" fmla="*/ 2885727 h 2936314"/>
                <a:gd name="connsiteX54" fmla="*/ 4300695 w 11867103"/>
                <a:gd name="connsiteY54" fmla="*/ 2865630 h 2936314"/>
                <a:gd name="connsiteX55" fmla="*/ 4059534 w 11867103"/>
                <a:gd name="connsiteY55" fmla="*/ 2825437 h 2936314"/>
                <a:gd name="connsiteX56" fmla="*/ 3768132 w 11867103"/>
                <a:gd name="connsiteY56" fmla="*/ 2795292 h 2936314"/>
                <a:gd name="connsiteX57" fmla="*/ 3627455 w 11867103"/>
                <a:gd name="connsiteY57" fmla="*/ 2785244 h 2936314"/>
                <a:gd name="connsiteX58" fmla="*/ 3125037 w 11867103"/>
                <a:gd name="connsiteY58" fmla="*/ 2795292 h 2936314"/>
                <a:gd name="connsiteX59" fmla="*/ 3064747 w 11867103"/>
                <a:gd name="connsiteY59" fmla="*/ 2805340 h 2936314"/>
                <a:gd name="connsiteX60" fmla="*/ 2009670 w 11867103"/>
                <a:gd name="connsiteY60" fmla="*/ 2815389 h 2936314"/>
                <a:gd name="connsiteX61" fmla="*/ 1678075 w 11867103"/>
                <a:gd name="connsiteY61" fmla="*/ 2905824 h 2936314"/>
                <a:gd name="connsiteX62" fmla="*/ 1607736 w 11867103"/>
                <a:gd name="connsiteY62" fmla="*/ 2935969 h 2936314"/>
                <a:gd name="connsiteX63" fmla="*/ 1135464 w 11867103"/>
                <a:gd name="connsiteY63" fmla="*/ 2915872 h 2936314"/>
                <a:gd name="connsiteX64" fmla="*/ 944545 w 11867103"/>
                <a:gd name="connsiteY64" fmla="*/ 2885727 h 2936314"/>
                <a:gd name="connsiteX65" fmla="*/ 723481 w 11867103"/>
                <a:gd name="connsiteY65" fmla="*/ 2845534 h 2936314"/>
                <a:gd name="connsiteX66" fmla="*/ 643095 w 11867103"/>
                <a:gd name="connsiteY66" fmla="*/ 2835485 h 2936314"/>
                <a:gd name="connsiteX67" fmla="*/ 371789 w 11867103"/>
                <a:gd name="connsiteY67" fmla="*/ 2795292 h 2936314"/>
                <a:gd name="connsiteX68" fmla="*/ 0 w 11867103"/>
                <a:gd name="connsiteY68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22914 h 2936314"/>
                <a:gd name="connsiteX20" fmla="*/ 11826910 w 11867103"/>
                <a:gd name="connsiteY20" fmla="*/ 313349 h 2936314"/>
                <a:gd name="connsiteX21" fmla="*/ 11836958 w 11867103"/>
                <a:gd name="connsiteY21" fmla="*/ 393736 h 2936314"/>
                <a:gd name="connsiteX22" fmla="*/ 11826910 w 11867103"/>
                <a:gd name="connsiteY22" fmla="*/ 705235 h 2936314"/>
                <a:gd name="connsiteX23" fmla="*/ 11816862 w 11867103"/>
                <a:gd name="connsiteY23" fmla="*/ 765525 h 2936314"/>
                <a:gd name="connsiteX24" fmla="*/ 11806813 w 11867103"/>
                <a:gd name="connsiteY24" fmla="*/ 835863 h 2936314"/>
                <a:gd name="connsiteX25" fmla="*/ 11816862 w 11867103"/>
                <a:gd name="connsiteY25" fmla="*/ 2302923 h 2936314"/>
                <a:gd name="connsiteX26" fmla="*/ 11826910 w 11867103"/>
                <a:gd name="connsiteY26" fmla="*/ 2373261 h 2936314"/>
                <a:gd name="connsiteX27" fmla="*/ 11836958 w 11867103"/>
                <a:gd name="connsiteY27" fmla="*/ 2403406 h 2936314"/>
                <a:gd name="connsiteX28" fmla="*/ 11857055 w 11867103"/>
                <a:gd name="connsiteY28" fmla="*/ 2534035 h 2936314"/>
                <a:gd name="connsiteX29" fmla="*/ 11867103 w 11867103"/>
                <a:gd name="connsiteY29" fmla="*/ 2574228 h 2936314"/>
                <a:gd name="connsiteX30" fmla="*/ 11857055 w 11867103"/>
                <a:gd name="connsiteY30" fmla="*/ 2805340 h 2936314"/>
                <a:gd name="connsiteX31" fmla="*/ 11836958 w 11867103"/>
                <a:gd name="connsiteY31" fmla="*/ 2835485 h 2936314"/>
                <a:gd name="connsiteX32" fmla="*/ 11033090 w 11867103"/>
                <a:gd name="connsiteY32" fmla="*/ 2825437 h 2936314"/>
                <a:gd name="connsiteX33" fmla="*/ 10621108 w 11867103"/>
                <a:gd name="connsiteY33" fmla="*/ 2815389 h 2936314"/>
                <a:gd name="connsiteX34" fmla="*/ 10128739 w 11867103"/>
                <a:gd name="connsiteY34" fmla="*/ 2825437 h 2936314"/>
                <a:gd name="connsiteX35" fmla="*/ 10048352 w 11867103"/>
                <a:gd name="connsiteY35" fmla="*/ 2835485 h 2936314"/>
                <a:gd name="connsiteX36" fmla="*/ 9555982 w 11867103"/>
                <a:gd name="connsiteY36" fmla="*/ 2825437 h 2936314"/>
                <a:gd name="connsiteX37" fmla="*/ 9445451 w 11867103"/>
                <a:gd name="connsiteY37" fmla="*/ 2815389 h 2936314"/>
                <a:gd name="connsiteX38" fmla="*/ 9415306 w 11867103"/>
                <a:gd name="connsiteY38" fmla="*/ 2795292 h 2936314"/>
                <a:gd name="connsiteX39" fmla="*/ 9204290 w 11867103"/>
                <a:gd name="connsiteY39" fmla="*/ 2775195 h 2936314"/>
                <a:gd name="connsiteX40" fmla="*/ 9073662 w 11867103"/>
                <a:gd name="connsiteY40" fmla="*/ 2755098 h 2936314"/>
                <a:gd name="connsiteX41" fmla="*/ 8812404 w 11867103"/>
                <a:gd name="connsiteY41" fmla="*/ 2745050 h 2936314"/>
                <a:gd name="connsiteX42" fmla="*/ 8400422 w 11867103"/>
                <a:gd name="connsiteY42" fmla="*/ 2735002 h 2936314"/>
                <a:gd name="connsiteX43" fmla="*/ 8269793 w 11867103"/>
                <a:gd name="connsiteY43" fmla="*/ 2724953 h 2936314"/>
                <a:gd name="connsiteX44" fmla="*/ 7797521 w 11867103"/>
                <a:gd name="connsiteY44" fmla="*/ 2745050 h 2936314"/>
                <a:gd name="connsiteX45" fmla="*/ 7717134 w 11867103"/>
                <a:gd name="connsiteY45" fmla="*/ 2755098 h 2936314"/>
                <a:gd name="connsiteX46" fmla="*/ 7486022 w 11867103"/>
                <a:gd name="connsiteY46" fmla="*/ 2785244 h 2936314"/>
                <a:gd name="connsiteX47" fmla="*/ 7395587 w 11867103"/>
                <a:gd name="connsiteY47" fmla="*/ 2805340 h 2936314"/>
                <a:gd name="connsiteX48" fmla="*/ 7325248 w 11867103"/>
                <a:gd name="connsiteY48" fmla="*/ 2815389 h 2936314"/>
                <a:gd name="connsiteX49" fmla="*/ 6863024 w 11867103"/>
                <a:gd name="connsiteY49" fmla="*/ 2805340 h 2936314"/>
                <a:gd name="connsiteX50" fmla="*/ 6722347 w 11867103"/>
                <a:gd name="connsiteY50" fmla="*/ 2795292 h 2936314"/>
                <a:gd name="connsiteX51" fmla="*/ 4903596 w 11867103"/>
                <a:gd name="connsiteY51" fmla="*/ 2845534 h 2936314"/>
                <a:gd name="connsiteX52" fmla="*/ 4722725 w 11867103"/>
                <a:gd name="connsiteY52" fmla="*/ 2885727 h 2936314"/>
                <a:gd name="connsiteX53" fmla="*/ 4300695 w 11867103"/>
                <a:gd name="connsiteY53" fmla="*/ 2865630 h 2936314"/>
                <a:gd name="connsiteX54" fmla="*/ 4059534 w 11867103"/>
                <a:gd name="connsiteY54" fmla="*/ 2825437 h 2936314"/>
                <a:gd name="connsiteX55" fmla="*/ 3768132 w 11867103"/>
                <a:gd name="connsiteY55" fmla="*/ 2795292 h 2936314"/>
                <a:gd name="connsiteX56" fmla="*/ 3627455 w 11867103"/>
                <a:gd name="connsiteY56" fmla="*/ 2785244 h 2936314"/>
                <a:gd name="connsiteX57" fmla="*/ 3125037 w 11867103"/>
                <a:gd name="connsiteY57" fmla="*/ 2795292 h 2936314"/>
                <a:gd name="connsiteX58" fmla="*/ 3064747 w 11867103"/>
                <a:gd name="connsiteY58" fmla="*/ 2805340 h 2936314"/>
                <a:gd name="connsiteX59" fmla="*/ 2009670 w 11867103"/>
                <a:gd name="connsiteY59" fmla="*/ 2815389 h 2936314"/>
                <a:gd name="connsiteX60" fmla="*/ 1678075 w 11867103"/>
                <a:gd name="connsiteY60" fmla="*/ 2905824 h 2936314"/>
                <a:gd name="connsiteX61" fmla="*/ 1607736 w 11867103"/>
                <a:gd name="connsiteY61" fmla="*/ 2935969 h 2936314"/>
                <a:gd name="connsiteX62" fmla="*/ 1135464 w 11867103"/>
                <a:gd name="connsiteY62" fmla="*/ 2915872 h 2936314"/>
                <a:gd name="connsiteX63" fmla="*/ 944545 w 11867103"/>
                <a:gd name="connsiteY63" fmla="*/ 2885727 h 2936314"/>
                <a:gd name="connsiteX64" fmla="*/ 723481 w 11867103"/>
                <a:gd name="connsiteY64" fmla="*/ 2845534 h 2936314"/>
                <a:gd name="connsiteX65" fmla="*/ 643095 w 11867103"/>
                <a:gd name="connsiteY65" fmla="*/ 2835485 h 2936314"/>
                <a:gd name="connsiteX66" fmla="*/ 371789 w 11867103"/>
                <a:gd name="connsiteY66" fmla="*/ 2795292 h 2936314"/>
                <a:gd name="connsiteX67" fmla="*/ 0 w 11867103"/>
                <a:gd name="connsiteY67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313349 h 2936314"/>
                <a:gd name="connsiteX20" fmla="*/ 11836958 w 11867103"/>
                <a:gd name="connsiteY20" fmla="*/ 393736 h 2936314"/>
                <a:gd name="connsiteX21" fmla="*/ 11826910 w 11867103"/>
                <a:gd name="connsiteY21" fmla="*/ 705235 h 2936314"/>
                <a:gd name="connsiteX22" fmla="*/ 11816862 w 11867103"/>
                <a:gd name="connsiteY22" fmla="*/ 765525 h 2936314"/>
                <a:gd name="connsiteX23" fmla="*/ 11806813 w 11867103"/>
                <a:gd name="connsiteY23" fmla="*/ 835863 h 2936314"/>
                <a:gd name="connsiteX24" fmla="*/ 11816862 w 11867103"/>
                <a:gd name="connsiteY24" fmla="*/ 2302923 h 2936314"/>
                <a:gd name="connsiteX25" fmla="*/ 11826910 w 11867103"/>
                <a:gd name="connsiteY25" fmla="*/ 2373261 h 2936314"/>
                <a:gd name="connsiteX26" fmla="*/ 11836958 w 11867103"/>
                <a:gd name="connsiteY26" fmla="*/ 2403406 h 2936314"/>
                <a:gd name="connsiteX27" fmla="*/ 11857055 w 11867103"/>
                <a:gd name="connsiteY27" fmla="*/ 2534035 h 2936314"/>
                <a:gd name="connsiteX28" fmla="*/ 11867103 w 11867103"/>
                <a:gd name="connsiteY28" fmla="*/ 2574228 h 2936314"/>
                <a:gd name="connsiteX29" fmla="*/ 11857055 w 11867103"/>
                <a:gd name="connsiteY29" fmla="*/ 2805340 h 2936314"/>
                <a:gd name="connsiteX30" fmla="*/ 11836958 w 11867103"/>
                <a:gd name="connsiteY30" fmla="*/ 2835485 h 2936314"/>
                <a:gd name="connsiteX31" fmla="*/ 11033090 w 11867103"/>
                <a:gd name="connsiteY31" fmla="*/ 2825437 h 2936314"/>
                <a:gd name="connsiteX32" fmla="*/ 10621108 w 11867103"/>
                <a:gd name="connsiteY32" fmla="*/ 2815389 h 2936314"/>
                <a:gd name="connsiteX33" fmla="*/ 10128739 w 11867103"/>
                <a:gd name="connsiteY33" fmla="*/ 2825437 h 2936314"/>
                <a:gd name="connsiteX34" fmla="*/ 10048352 w 11867103"/>
                <a:gd name="connsiteY34" fmla="*/ 2835485 h 2936314"/>
                <a:gd name="connsiteX35" fmla="*/ 9555982 w 11867103"/>
                <a:gd name="connsiteY35" fmla="*/ 2825437 h 2936314"/>
                <a:gd name="connsiteX36" fmla="*/ 9445451 w 11867103"/>
                <a:gd name="connsiteY36" fmla="*/ 2815389 h 2936314"/>
                <a:gd name="connsiteX37" fmla="*/ 9415306 w 11867103"/>
                <a:gd name="connsiteY37" fmla="*/ 2795292 h 2936314"/>
                <a:gd name="connsiteX38" fmla="*/ 9204290 w 11867103"/>
                <a:gd name="connsiteY38" fmla="*/ 2775195 h 2936314"/>
                <a:gd name="connsiteX39" fmla="*/ 9073662 w 11867103"/>
                <a:gd name="connsiteY39" fmla="*/ 2755098 h 2936314"/>
                <a:gd name="connsiteX40" fmla="*/ 8812404 w 11867103"/>
                <a:gd name="connsiteY40" fmla="*/ 2745050 h 2936314"/>
                <a:gd name="connsiteX41" fmla="*/ 8400422 w 11867103"/>
                <a:gd name="connsiteY41" fmla="*/ 2735002 h 2936314"/>
                <a:gd name="connsiteX42" fmla="*/ 8269793 w 11867103"/>
                <a:gd name="connsiteY42" fmla="*/ 2724953 h 2936314"/>
                <a:gd name="connsiteX43" fmla="*/ 7797521 w 11867103"/>
                <a:gd name="connsiteY43" fmla="*/ 2745050 h 2936314"/>
                <a:gd name="connsiteX44" fmla="*/ 7717134 w 11867103"/>
                <a:gd name="connsiteY44" fmla="*/ 2755098 h 2936314"/>
                <a:gd name="connsiteX45" fmla="*/ 7486022 w 11867103"/>
                <a:gd name="connsiteY45" fmla="*/ 2785244 h 2936314"/>
                <a:gd name="connsiteX46" fmla="*/ 7395587 w 11867103"/>
                <a:gd name="connsiteY46" fmla="*/ 2805340 h 2936314"/>
                <a:gd name="connsiteX47" fmla="*/ 7325248 w 11867103"/>
                <a:gd name="connsiteY47" fmla="*/ 2815389 h 2936314"/>
                <a:gd name="connsiteX48" fmla="*/ 6863024 w 11867103"/>
                <a:gd name="connsiteY48" fmla="*/ 2805340 h 2936314"/>
                <a:gd name="connsiteX49" fmla="*/ 6722347 w 11867103"/>
                <a:gd name="connsiteY49" fmla="*/ 2795292 h 2936314"/>
                <a:gd name="connsiteX50" fmla="*/ 4903596 w 11867103"/>
                <a:gd name="connsiteY50" fmla="*/ 2845534 h 2936314"/>
                <a:gd name="connsiteX51" fmla="*/ 4722725 w 11867103"/>
                <a:gd name="connsiteY51" fmla="*/ 2885727 h 2936314"/>
                <a:gd name="connsiteX52" fmla="*/ 4300695 w 11867103"/>
                <a:gd name="connsiteY52" fmla="*/ 2865630 h 2936314"/>
                <a:gd name="connsiteX53" fmla="*/ 4059534 w 11867103"/>
                <a:gd name="connsiteY53" fmla="*/ 2825437 h 2936314"/>
                <a:gd name="connsiteX54" fmla="*/ 3768132 w 11867103"/>
                <a:gd name="connsiteY54" fmla="*/ 2795292 h 2936314"/>
                <a:gd name="connsiteX55" fmla="*/ 3627455 w 11867103"/>
                <a:gd name="connsiteY55" fmla="*/ 2785244 h 2936314"/>
                <a:gd name="connsiteX56" fmla="*/ 3125037 w 11867103"/>
                <a:gd name="connsiteY56" fmla="*/ 2795292 h 2936314"/>
                <a:gd name="connsiteX57" fmla="*/ 3064747 w 11867103"/>
                <a:gd name="connsiteY57" fmla="*/ 2805340 h 2936314"/>
                <a:gd name="connsiteX58" fmla="*/ 2009670 w 11867103"/>
                <a:gd name="connsiteY58" fmla="*/ 2815389 h 2936314"/>
                <a:gd name="connsiteX59" fmla="*/ 1678075 w 11867103"/>
                <a:gd name="connsiteY59" fmla="*/ 2905824 h 2936314"/>
                <a:gd name="connsiteX60" fmla="*/ 1607736 w 11867103"/>
                <a:gd name="connsiteY60" fmla="*/ 2935969 h 2936314"/>
                <a:gd name="connsiteX61" fmla="*/ 1135464 w 11867103"/>
                <a:gd name="connsiteY61" fmla="*/ 2915872 h 2936314"/>
                <a:gd name="connsiteX62" fmla="*/ 944545 w 11867103"/>
                <a:gd name="connsiteY62" fmla="*/ 2885727 h 2936314"/>
                <a:gd name="connsiteX63" fmla="*/ 723481 w 11867103"/>
                <a:gd name="connsiteY63" fmla="*/ 2845534 h 2936314"/>
                <a:gd name="connsiteX64" fmla="*/ 643095 w 11867103"/>
                <a:gd name="connsiteY64" fmla="*/ 2835485 h 2936314"/>
                <a:gd name="connsiteX65" fmla="*/ 371789 w 11867103"/>
                <a:gd name="connsiteY65" fmla="*/ 2795292 h 2936314"/>
                <a:gd name="connsiteX66" fmla="*/ 0 w 11867103"/>
                <a:gd name="connsiteY66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36958 w 11867103"/>
                <a:gd name="connsiteY19" fmla="*/ 393736 h 2936314"/>
                <a:gd name="connsiteX20" fmla="*/ 11826910 w 11867103"/>
                <a:gd name="connsiteY20" fmla="*/ 705235 h 2936314"/>
                <a:gd name="connsiteX21" fmla="*/ 11816862 w 11867103"/>
                <a:gd name="connsiteY21" fmla="*/ 765525 h 2936314"/>
                <a:gd name="connsiteX22" fmla="*/ 11806813 w 11867103"/>
                <a:gd name="connsiteY22" fmla="*/ 835863 h 2936314"/>
                <a:gd name="connsiteX23" fmla="*/ 11816862 w 11867103"/>
                <a:gd name="connsiteY23" fmla="*/ 2302923 h 2936314"/>
                <a:gd name="connsiteX24" fmla="*/ 11826910 w 11867103"/>
                <a:gd name="connsiteY24" fmla="*/ 2373261 h 2936314"/>
                <a:gd name="connsiteX25" fmla="*/ 11836958 w 11867103"/>
                <a:gd name="connsiteY25" fmla="*/ 2403406 h 2936314"/>
                <a:gd name="connsiteX26" fmla="*/ 11857055 w 11867103"/>
                <a:gd name="connsiteY26" fmla="*/ 2534035 h 2936314"/>
                <a:gd name="connsiteX27" fmla="*/ 11867103 w 11867103"/>
                <a:gd name="connsiteY27" fmla="*/ 2574228 h 2936314"/>
                <a:gd name="connsiteX28" fmla="*/ 11857055 w 11867103"/>
                <a:gd name="connsiteY28" fmla="*/ 2805340 h 2936314"/>
                <a:gd name="connsiteX29" fmla="*/ 11836958 w 11867103"/>
                <a:gd name="connsiteY29" fmla="*/ 2835485 h 2936314"/>
                <a:gd name="connsiteX30" fmla="*/ 11033090 w 11867103"/>
                <a:gd name="connsiteY30" fmla="*/ 2825437 h 2936314"/>
                <a:gd name="connsiteX31" fmla="*/ 10621108 w 11867103"/>
                <a:gd name="connsiteY31" fmla="*/ 2815389 h 2936314"/>
                <a:gd name="connsiteX32" fmla="*/ 10128739 w 11867103"/>
                <a:gd name="connsiteY32" fmla="*/ 2825437 h 2936314"/>
                <a:gd name="connsiteX33" fmla="*/ 10048352 w 11867103"/>
                <a:gd name="connsiteY33" fmla="*/ 2835485 h 2936314"/>
                <a:gd name="connsiteX34" fmla="*/ 9555982 w 11867103"/>
                <a:gd name="connsiteY34" fmla="*/ 2825437 h 2936314"/>
                <a:gd name="connsiteX35" fmla="*/ 9445451 w 11867103"/>
                <a:gd name="connsiteY35" fmla="*/ 2815389 h 2936314"/>
                <a:gd name="connsiteX36" fmla="*/ 9415306 w 11867103"/>
                <a:gd name="connsiteY36" fmla="*/ 2795292 h 2936314"/>
                <a:gd name="connsiteX37" fmla="*/ 9204290 w 11867103"/>
                <a:gd name="connsiteY37" fmla="*/ 2775195 h 2936314"/>
                <a:gd name="connsiteX38" fmla="*/ 9073662 w 11867103"/>
                <a:gd name="connsiteY38" fmla="*/ 2755098 h 2936314"/>
                <a:gd name="connsiteX39" fmla="*/ 8812404 w 11867103"/>
                <a:gd name="connsiteY39" fmla="*/ 2745050 h 2936314"/>
                <a:gd name="connsiteX40" fmla="*/ 8400422 w 11867103"/>
                <a:gd name="connsiteY40" fmla="*/ 2735002 h 2936314"/>
                <a:gd name="connsiteX41" fmla="*/ 8269793 w 11867103"/>
                <a:gd name="connsiteY41" fmla="*/ 2724953 h 2936314"/>
                <a:gd name="connsiteX42" fmla="*/ 7797521 w 11867103"/>
                <a:gd name="connsiteY42" fmla="*/ 2745050 h 2936314"/>
                <a:gd name="connsiteX43" fmla="*/ 7717134 w 11867103"/>
                <a:gd name="connsiteY43" fmla="*/ 2755098 h 2936314"/>
                <a:gd name="connsiteX44" fmla="*/ 7486022 w 11867103"/>
                <a:gd name="connsiteY44" fmla="*/ 2785244 h 2936314"/>
                <a:gd name="connsiteX45" fmla="*/ 7395587 w 11867103"/>
                <a:gd name="connsiteY45" fmla="*/ 2805340 h 2936314"/>
                <a:gd name="connsiteX46" fmla="*/ 7325248 w 11867103"/>
                <a:gd name="connsiteY46" fmla="*/ 2815389 h 2936314"/>
                <a:gd name="connsiteX47" fmla="*/ 6863024 w 11867103"/>
                <a:gd name="connsiteY47" fmla="*/ 2805340 h 2936314"/>
                <a:gd name="connsiteX48" fmla="*/ 6722347 w 11867103"/>
                <a:gd name="connsiteY48" fmla="*/ 2795292 h 2936314"/>
                <a:gd name="connsiteX49" fmla="*/ 4903596 w 11867103"/>
                <a:gd name="connsiteY49" fmla="*/ 2845534 h 2936314"/>
                <a:gd name="connsiteX50" fmla="*/ 4722725 w 11867103"/>
                <a:gd name="connsiteY50" fmla="*/ 2885727 h 2936314"/>
                <a:gd name="connsiteX51" fmla="*/ 4300695 w 11867103"/>
                <a:gd name="connsiteY51" fmla="*/ 2865630 h 2936314"/>
                <a:gd name="connsiteX52" fmla="*/ 4059534 w 11867103"/>
                <a:gd name="connsiteY52" fmla="*/ 2825437 h 2936314"/>
                <a:gd name="connsiteX53" fmla="*/ 3768132 w 11867103"/>
                <a:gd name="connsiteY53" fmla="*/ 2795292 h 2936314"/>
                <a:gd name="connsiteX54" fmla="*/ 3627455 w 11867103"/>
                <a:gd name="connsiteY54" fmla="*/ 2785244 h 2936314"/>
                <a:gd name="connsiteX55" fmla="*/ 3125037 w 11867103"/>
                <a:gd name="connsiteY55" fmla="*/ 2795292 h 2936314"/>
                <a:gd name="connsiteX56" fmla="*/ 3064747 w 11867103"/>
                <a:gd name="connsiteY56" fmla="*/ 2805340 h 2936314"/>
                <a:gd name="connsiteX57" fmla="*/ 2009670 w 11867103"/>
                <a:gd name="connsiteY57" fmla="*/ 2815389 h 2936314"/>
                <a:gd name="connsiteX58" fmla="*/ 1678075 w 11867103"/>
                <a:gd name="connsiteY58" fmla="*/ 2905824 h 2936314"/>
                <a:gd name="connsiteX59" fmla="*/ 1607736 w 11867103"/>
                <a:gd name="connsiteY59" fmla="*/ 2935969 h 2936314"/>
                <a:gd name="connsiteX60" fmla="*/ 1135464 w 11867103"/>
                <a:gd name="connsiteY60" fmla="*/ 2915872 h 2936314"/>
                <a:gd name="connsiteX61" fmla="*/ 944545 w 11867103"/>
                <a:gd name="connsiteY61" fmla="*/ 2885727 h 2936314"/>
                <a:gd name="connsiteX62" fmla="*/ 723481 w 11867103"/>
                <a:gd name="connsiteY62" fmla="*/ 2845534 h 2936314"/>
                <a:gd name="connsiteX63" fmla="*/ 643095 w 11867103"/>
                <a:gd name="connsiteY63" fmla="*/ 2835485 h 2936314"/>
                <a:gd name="connsiteX64" fmla="*/ 371789 w 11867103"/>
                <a:gd name="connsiteY64" fmla="*/ 2795292 h 2936314"/>
                <a:gd name="connsiteX65" fmla="*/ 0 w 11867103"/>
                <a:gd name="connsiteY65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765525 h 2936314"/>
                <a:gd name="connsiteX21" fmla="*/ 11806813 w 11867103"/>
                <a:gd name="connsiteY21" fmla="*/ 835863 h 2936314"/>
                <a:gd name="connsiteX22" fmla="*/ 11816862 w 11867103"/>
                <a:gd name="connsiteY22" fmla="*/ 2302923 h 2936314"/>
                <a:gd name="connsiteX23" fmla="*/ 11826910 w 11867103"/>
                <a:gd name="connsiteY23" fmla="*/ 2373261 h 2936314"/>
                <a:gd name="connsiteX24" fmla="*/ 11836958 w 11867103"/>
                <a:gd name="connsiteY24" fmla="*/ 2403406 h 2936314"/>
                <a:gd name="connsiteX25" fmla="*/ 11857055 w 11867103"/>
                <a:gd name="connsiteY25" fmla="*/ 2534035 h 2936314"/>
                <a:gd name="connsiteX26" fmla="*/ 11867103 w 11867103"/>
                <a:gd name="connsiteY26" fmla="*/ 2574228 h 2936314"/>
                <a:gd name="connsiteX27" fmla="*/ 11857055 w 11867103"/>
                <a:gd name="connsiteY27" fmla="*/ 2805340 h 2936314"/>
                <a:gd name="connsiteX28" fmla="*/ 11836958 w 11867103"/>
                <a:gd name="connsiteY28" fmla="*/ 2835485 h 2936314"/>
                <a:gd name="connsiteX29" fmla="*/ 11033090 w 11867103"/>
                <a:gd name="connsiteY29" fmla="*/ 2825437 h 2936314"/>
                <a:gd name="connsiteX30" fmla="*/ 10621108 w 11867103"/>
                <a:gd name="connsiteY30" fmla="*/ 2815389 h 2936314"/>
                <a:gd name="connsiteX31" fmla="*/ 10128739 w 11867103"/>
                <a:gd name="connsiteY31" fmla="*/ 2825437 h 2936314"/>
                <a:gd name="connsiteX32" fmla="*/ 10048352 w 11867103"/>
                <a:gd name="connsiteY32" fmla="*/ 2835485 h 2936314"/>
                <a:gd name="connsiteX33" fmla="*/ 9555982 w 11867103"/>
                <a:gd name="connsiteY33" fmla="*/ 2825437 h 2936314"/>
                <a:gd name="connsiteX34" fmla="*/ 9445451 w 11867103"/>
                <a:gd name="connsiteY34" fmla="*/ 2815389 h 2936314"/>
                <a:gd name="connsiteX35" fmla="*/ 9415306 w 11867103"/>
                <a:gd name="connsiteY35" fmla="*/ 2795292 h 2936314"/>
                <a:gd name="connsiteX36" fmla="*/ 9204290 w 11867103"/>
                <a:gd name="connsiteY36" fmla="*/ 2775195 h 2936314"/>
                <a:gd name="connsiteX37" fmla="*/ 9073662 w 11867103"/>
                <a:gd name="connsiteY37" fmla="*/ 2755098 h 2936314"/>
                <a:gd name="connsiteX38" fmla="*/ 8812404 w 11867103"/>
                <a:gd name="connsiteY38" fmla="*/ 2745050 h 2936314"/>
                <a:gd name="connsiteX39" fmla="*/ 8400422 w 11867103"/>
                <a:gd name="connsiteY39" fmla="*/ 2735002 h 2936314"/>
                <a:gd name="connsiteX40" fmla="*/ 8269793 w 11867103"/>
                <a:gd name="connsiteY40" fmla="*/ 2724953 h 2936314"/>
                <a:gd name="connsiteX41" fmla="*/ 7797521 w 11867103"/>
                <a:gd name="connsiteY41" fmla="*/ 2745050 h 2936314"/>
                <a:gd name="connsiteX42" fmla="*/ 7717134 w 11867103"/>
                <a:gd name="connsiteY42" fmla="*/ 2755098 h 2936314"/>
                <a:gd name="connsiteX43" fmla="*/ 7486022 w 11867103"/>
                <a:gd name="connsiteY43" fmla="*/ 2785244 h 2936314"/>
                <a:gd name="connsiteX44" fmla="*/ 7395587 w 11867103"/>
                <a:gd name="connsiteY44" fmla="*/ 2805340 h 2936314"/>
                <a:gd name="connsiteX45" fmla="*/ 7325248 w 11867103"/>
                <a:gd name="connsiteY45" fmla="*/ 2815389 h 2936314"/>
                <a:gd name="connsiteX46" fmla="*/ 6863024 w 11867103"/>
                <a:gd name="connsiteY46" fmla="*/ 2805340 h 2936314"/>
                <a:gd name="connsiteX47" fmla="*/ 6722347 w 11867103"/>
                <a:gd name="connsiteY47" fmla="*/ 2795292 h 2936314"/>
                <a:gd name="connsiteX48" fmla="*/ 4903596 w 11867103"/>
                <a:gd name="connsiteY48" fmla="*/ 2845534 h 2936314"/>
                <a:gd name="connsiteX49" fmla="*/ 4722725 w 11867103"/>
                <a:gd name="connsiteY49" fmla="*/ 2885727 h 2936314"/>
                <a:gd name="connsiteX50" fmla="*/ 4300695 w 11867103"/>
                <a:gd name="connsiteY50" fmla="*/ 2865630 h 2936314"/>
                <a:gd name="connsiteX51" fmla="*/ 4059534 w 11867103"/>
                <a:gd name="connsiteY51" fmla="*/ 2825437 h 2936314"/>
                <a:gd name="connsiteX52" fmla="*/ 3768132 w 11867103"/>
                <a:gd name="connsiteY52" fmla="*/ 2795292 h 2936314"/>
                <a:gd name="connsiteX53" fmla="*/ 3627455 w 11867103"/>
                <a:gd name="connsiteY53" fmla="*/ 2785244 h 2936314"/>
                <a:gd name="connsiteX54" fmla="*/ 3125037 w 11867103"/>
                <a:gd name="connsiteY54" fmla="*/ 2795292 h 2936314"/>
                <a:gd name="connsiteX55" fmla="*/ 3064747 w 11867103"/>
                <a:gd name="connsiteY55" fmla="*/ 2805340 h 2936314"/>
                <a:gd name="connsiteX56" fmla="*/ 2009670 w 11867103"/>
                <a:gd name="connsiteY56" fmla="*/ 2815389 h 2936314"/>
                <a:gd name="connsiteX57" fmla="*/ 1678075 w 11867103"/>
                <a:gd name="connsiteY57" fmla="*/ 2905824 h 2936314"/>
                <a:gd name="connsiteX58" fmla="*/ 1607736 w 11867103"/>
                <a:gd name="connsiteY58" fmla="*/ 2935969 h 2936314"/>
                <a:gd name="connsiteX59" fmla="*/ 1135464 w 11867103"/>
                <a:gd name="connsiteY59" fmla="*/ 2915872 h 2936314"/>
                <a:gd name="connsiteX60" fmla="*/ 944545 w 11867103"/>
                <a:gd name="connsiteY60" fmla="*/ 2885727 h 2936314"/>
                <a:gd name="connsiteX61" fmla="*/ 723481 w 11867103"/>
                <a:gd name="connsiteY61" fmla="*/ 2845534 h 2936314"/>
                <a:gd name="connsiteX62" fmla="*/ 643095 w 11867103"/>
                <a:gd name="connsiteY62" fmla="*/ 2835485 h 2936314"/>
                <a:gd name="connsiteX63" fmla="*/ 371789 w 11867103"/>
                <a:gd name="connsiteY63" fmla="*/ 2795292 h 2936314"/>
                <a:gd name="connsiteX64" fmla="*/ 0 w 11867103"/>
                <a:gd name="connsiteY64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06813 w 11867103"/>
                <a:gd name="connsiteY20" fmla="*/ 835863 h 2936314"/>
                <a:gd name="connsiteX21" fmla="*/ 11816862 w 11867103"/>
                <a:gd name="connsiteY21" fmla="*/ 2302923 h 2936314"/>
                <a:gd name="connsiteX22" fmla="*/ 11826910 w 11867103"/>
                <a:gd name="connsiteY22" fmla="*/ 2373261 h 2936314"/>
                <a:gd name="connsiteX23" fmla="*/ 11836958 w 11867103"/>
                <a:gd name="connsiteY23" fmla="*/ 2403406 h 2936314"/>
                <a:gd name="connsiteX24" fmla="*/ 11857055 w 11867103"/>
                <a:gd name="connsiteY24" fmla="*/ 2534035 h 2936314"/>
                <a:gd name="connsiteX25" fmla="*/ 11867103 w 11867103"/>
                <a:gd name="connsiteY25" fmla="*/ 2574228 h 2936314"/>
                <a:gd name="connsiteX26" fmla="*/ 11857055 w 11867103"/>
                <a:gd name="connsiteY26" fmla="*/ 2805340 h 2936314"/>
                <a:gd name="connsiteX27" fmla="*/ 11836958 w 11867103"/>
                <a:gd name="connsiteY27" fmla="*/ 2835485 h 2936314"/>
                <a:gd name="connsiteX28" fmla="*/ 11033090 w 11867103"/>
                <a:gd name="connsiteY28" fmla="*/ 2825437 h 2936314"/>
                <a:gd name="connsiteX29" fmla="*/ 10621108 w 11867103"/>
                <a:gd name="connsiteY29" fmla="*/ 2815389 h 2936314"/>
                <a:gd name="connsiteX30" fmla="*/ 10128739 w 11867103"/>
                <a:gd name="connsiteY30" fmla="*/ 2825437 h 2936314"/>
                <a:gd name="connsiteX31" fmla="*/ 10048352 w 11867103"/>
                <a:gd name="connsiteY31" fmla="*/ 2835485 h 2936314"/>
                <a:gd name="connsiteX32" fmla="*/ 9555982 w 11867103"/>
                <a:gd name="connsiteY32" fmla="*/ 2825437 h 2936314"/>
                <a:gd name="connsiteX33" fmla="*/ 9445451 w 11867103"/>
                <a:gd name="connsiteY33" fmla="*/ 2815389 h 2936314"/>
                <a:gd name="connsiteX34" fmla="*/ 9415306 w 11867103"/>
                <a:gd name="connsiteY34" fmla="*/ 2795292 h 2936314"/>
                <a:gd name="connsiteX35" fmla="*/ 9204290 w 11867103"/>
                <a:gd name="connsiteY35" fmla="*/ 2775195 h 2936314"/>
                <a:gd name="connsiteX36" fmla="*/ 9073662 w 11867103"/>
                <a:gd name="connsiteY36" fmla="*/ 2755098 h 2936314"/>
                <a:gd name="connsiteX37" fmla="*/ 8812404 w 11867103"/>
                <a:gd name="connsiteY37" fmla="*/ 2745050 h 2936314"/>
                <a:gd name="connsiteX38" fmla="*/ 8400422 w 11867103"/>
                <a:gd name="connsiteY38" fmla="*/ 2735002 h 2936314"/>
                <a:gd name="connsiteX39" fmla="*/ 8269793 w 11867103"/>
                <a:gd name="connsiteY39" fmla="*/ 2724953 h 2936314"/>
                <a:gd name="connsiteX40" fmla="*/ 7797521 w 11867103"/>
                <a:gd name="connsiteY40" fmla="*/ 2745050 h 2936314"/>
                <a:gd name="connsiteX41" fmla="*/ 7717134 w 11867103"/>
                <a:gd name="connsiteY41" fmla="*/ 2755098 h 2936314"/>
                <a:gd name="connsiteX42" fmla="*/ 7486022 w 11867103"/>
                <a:gd name="connsiteY42" fmla="*/ 2785244 h 2936314"/>
                <a:gd name="connsiteX43" fmla="*/ 7395587 w 11867103"/>
                <a:gd name="connsiteY43" fmla="*/ 2805340 h 2936314"/>
                <a:gd name="connsiteX44" fmla="*/ 7325248 w 11867103"/>
                <a:gd name="connsiteY44" fmla="*/ 2815389 h 2936314"/>
                <a:gd name="connsiteX45" fmla="*/ 6863024 w 11867103"/>
                <a:gd name="connsiteY45" fmla="*/ 2805340 h 2936314"/>
                <a:gd name="connsiteX46" fmla="*/ 6722347 w 11867103"/>
                <a:gd name="connsiteY46" fmla="*/ 2795292 h 2936314"/>
                <a:gd name="connsiteX47" fmla="*/ 4903596 w 11867103"/>
                <a:gd name="connsiteY47" fmla="*/ 2845534 h 2936314"/>
                <a:gd name="connsiteX48" fmla="*/ 4722725 w 11867103"/>
                <a:gd name="connsiteY48" fmla="*/ 2885727 h 2936314"/>
                <a:gd name="connsiteX49" fmla="*/ 4300695 w 11867103"/>
                <a:gd name="connsiteY49" fmla="*/ 2865630 h 2936314"/>
                <a:gd name="connsiteX50" fmla="*/ 4059534 w 11867103"/>
                <a:gd name="connsiteY50" fmla="*/ 2825437 h 2936314"/>
                <a:gd name="connsiteX51" fmla="*/ 3768132 w 11867103"/>
                <a:gd name="connsiteY51" fmla="*/ 2795292 h 2936314"/>
                <a:gd name="connsiteX52" fmla="*/ 3627455 w 11867103"/>
                <a:gd name="connsiteY52" fmla="*/ 2785244 h 2936314"/>
                <a:gd name="connsiteX53" fmla="*/ 3125037 w 11867103"/>
                <a:gd name="connsiteY53" fmla="*/ 2795292 h 2936314"/>
                <a:gd name="connsiteX54" fmla="*/ 3064747 w 11867103"/>
                <a:gd name="connsiteY54" fmla="*/ 2805340 h 2936314"/>
                <a:gd name="connsiteX55" fmla="*/ 2009670 w 11867103"/>
                <a:gd name="connsiteY55" fmla="*/ 2815389 h 2936314"/>
                <a:gd name="connsiteX56" fmla="*/ 1678075 w 11867103"/>
                <a:gd name="connsiteY56" fmla="*/ 2905824 h 2936314"/>
                <a:gd name="connsiteX57" fmla="*/ 1607736 w 11867103"/>
                <a:gd name="connsiteY57" fmla="*/ 2935969 h 2936314"/>
                <a:gd name="connsiteX58" fmla="*/ 1135464 w 11867103"/>
                <a:gd name="connsiteY58" fmla="*/ 2915872 h 2936314"/>
                <a:gd name="connsiteX59" fmla="*/ 944545 w 11867103"/>
                <a:gd name="connsiteY59" fmla="*/ 2885727 h 2936314"/>
                <a:gd name="connsiteX60" fmla="*/ 723481 w 11867103"/>
                <a:gd name="connsiteY60" fmla="*/ 2845534 h 2936314"/>
                <a:gd name="connsiteX61" fmla="*/ 643095 w 11867103"/>
                <a:gd name="connsiteY61" fmla="*/ 2835485 h 2936314"/>
                <a:gd name="connsiteX62" fmla="*/ 371789 w 11867103"/>
                <a:gd name="connsiteY62" fmla="*/ 2795292 h 2936314"/>
                <a:gd name="connsiteX63" fmla="*/ 0 w 11867103"/>
                <a:gd name="connsiteY6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2302923 h 2936314"/>
                <a:gd name="connsiteX21" fmla="*/ 11826910 w 11867103"/>
                <a:gd name="connsiteY21" fmla="*/ 2373261 h 2936314"/>
                <a:gd name="connsiteX22" fmla="*/ 11836958 w 11867103"/>
                <a:gd name="connsiteY22" fmla="*/ 2403406 h 2936314"/>
                <a:gd name="connsiteX23" fmla="*/ 11857055 w 11867103"/>
                <a:gd name="connsiteY23" fmla="*/ 2534035 h 2936314"/>
                <a:gd name="connsiteX24" fmla="*/ 11867103 w 11867103"/>
                <a:gd name="connsiteY24" fmla="*/ 2574228 h 2936314"/>
                <a:gd name="connsiteX25" fmla="*/ 11857055 w 11867103"/>
                <a:gd name="connsiteY25" fmla="*/ 2805340 h 2936314"/>
                <a:gd name="connsiteX26" fmla="*/ 11836958 w 11867103"/>
                <a:gd name="connsiteY26" fmla="*/ 2835485 h 2936314"/>
                <a:gd name="connsiteX27" fmla="*/ 11033090 w 11867103"/>
                <a:gd name="connsiteY27" fmla="*/ 2825437 h 2936314"/>
                <a:gd name="connsiteX28" fmla="*/ 10621108 w 11867103"/>
                <a:gd name="connsiteY28" fmla="*/ 2815389 h 2936314"/>
                <a:gd name="connsiteX29" fmla="*/ 10128739 w 11867103"/>
                <a:gd name="connsiteY29" fmla="*/ 2825437 h 2936314"/>
                <a:gd name="connsiteX30" fmla="*/ 10048352 w 11867103"/>
                <a:gd name="connsiteY30" fmla="*/ 2835485 h 2936314"/>
                <a:gd name="connsiteX31" fmla="*/ 9555982 w 11867103"/>
                <a:gd name="connsiteY31" fmla="*/ 2825437 h 2936314"/>
                <a:gd name="connsiteX32" fmla="*/ 9445451 w 11867103"/>
                <a:gd name="connsiteY32" fmla="*/ 2815389 h 2936314"/>
                <a:gd name="connsiteX33" fmla="*/ 9415306 w 11867103"/>
                <a:gd name="connsiteY33" fmla="*/ 2795292 h 2936314"/>
                <a:gd name="connsiteX34" fmla="*/ 9204290 w 11867103"/>
                <a:gd name="connsiteY34" fmla="*/ 2775195 h 2936314"/>
                <a:gd name="connsiteX35" fmla="*/ 9073662 w 11867103"/>
                <a:gd name="connsiteY35" fmla="*/ 2755098 h 2936314"/>
                <a:gd name="connsiteX36" fmla="*/ 8812404 w 11867103"/>
                <a:gd name="connsiteY36" fmla="*/ 2745050 h 2936314"/>
                <a:gd name="connsiteX37" fmla="*/ 8400422 w 11867103"/>
                <a:gd name="connsiteY37" fmla="*/ 2735002 h 2936314"/>
                <a:gd name="connsiteX38" fmla="*/ 8269793 w 11867103"/>
                <a:gd name="connsiteY38" fmla="*/ 2724953 h 2936314"/>
                <a:gd name="connsiteX39" fmla="*/ 7797521 w 11867103"/>
                <a:gd name="connsiteY39" fmla="*/ 2745050 h 2936314"/>
                <a:gd name="connsiteX40" fmla="*/ 7717134 w 11867103"/>
                <a:gd name="connsiteY40" fmla="*/ 2755098 h 2936314"/>
                <a:gd name="connsiteX41" fmla="*/ 7486022 w 11867103"/>
                <a:gd name="connsiteY41" fmla="*/ 2785244 h 2936314"/>
                <a:gd name="connsiteX42" fmla="*/ 7395587 w 11867103"/>
                <a:gd name="connsiteY42" fmla="*/ 2805340 h 2936314"/>
                <a:gd name="connsiteX43" fmla="*/ 7325248 w 11867103"/>
                <a:gd name="connsiteY43" fmla="*/ 2815389 h 2936314"/>
                <a:gd name="connsiteX44" fmla="*/ 6863024 w 11867103"/>
                <a:gd name="connsiteY44" fmla="*/ 2805340 h 2936314"/>
                <a:gd name="connsiteX45" fmla="*/ 6722347 w 11867103"/>
                <a:gd name="connsiteY45" fmla="*/ 2795292 h 2936314"/>
                <a:gd name="connsiteX46" fmla="*/ 4903596 w 11867103"/>
                <a:gd name="connsiteY46" fmla="*/ 2845534 h 2936314"/>
                <a:gd name="connsiteX47" fmla="*/ 4722725 w 11867103"/>
                <a:gd name="connsiteY47" fmla="*/ 2885727 h 2936314"/>
                <a:gd name="connsiteX48" fmla="*/ 4300695 w 11867103"/>
                <a:gd name="connsiteY48" fmla="*/ 2865630 h 2936314"/>
                <a:gd name="connsiteX49" fmla="*/ 4059534 w 11867103"/>
                <a:gd name="connsiteY49" fmla="*/ 2825437 h 2936314"/>
                <a:gd name="connsiteX50" fmla="*/ 3768132 w 11867103"/>
                <a:gd name="connsiteY50" fmla="*/ 2795292 h 2936314"/>
                <a:gd name="connsiteX51" fmla="*/ 3627455 w 11867103"/>
                <a:gd name="connsiteY51" fmla="*/ 2785244 h 2936314"/>
                <a:gd name="connsiteX52" fmla="*/ 3125037 w 11867103"/>
                <a:gd name="connsiteY52" fmla="*/ 2795292 h 2936314"/>
                <a:gd name="connsiteX53" fmla="*/ 3064747 w 11867103"/>
                <a:gd name="connsiteY53" fmla="*/ 2805340 h 2936314"/>
                <a:gd name="connsiteX54" fmla="*/ 2009670 w 11867103"/>
                <a:gd name="connsiteY54" fmla="*/ 2815389 h 2936314"/>
                <a:gd name="connsiteX55" fmla="*/ 1678075 w 11867103"/>
                <a:gd name="connsiteY55" fmla="*/ 2905824 h 2936314"/>
                <a:gd name="connsiteX56" fmla="*/ 1607736 w 11867103"/>
                <a:gd name="connsiteY56" fmla="*/ 2935969 h 2936314"/>
                <a:gd name="connsiteX57" fmla="*/ 1135464 w 11867103"/>
                <a:gd name="connsiteY57" fmla="*/ 2915872 h 2936314"/>
                <a:gd name="connsiteX58" fmla="*/ 944545 w 11867103"/>
                <a:gd name="connsiteY58" fmla="*/ 2885727 h 2936314"/>
                <a:gd name="connsiteX59" fmla="*/ 723481 w 11867103"/>
                <a:gd name="connsiteY59" fmla="*/ 2845534 h 2936314"/>
                <a:gd name="connsiteX60" fmla="*/ 643095 w 11867103"/>
                <a:gd name="connsiteY60" fmla="*/ 2835485 h 2936314"/>
                <a:gd name="connsiteX61" fmla="*/ 371789 w 11867103"/>
                <a:gd name="connsiteY61" fmla="*/ 2795292 h 2936314"/>
                <a:gd name="connsiteX62" fmla="*/ 0 w 11867103"/>
                <a:gd name="connsiteY6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302923 h 2936314"/>
                <a:gd name="connsiteX20" fmla="*/ 11826910 w 11867103"/>
                <a:gd name="connsiteY20" fmla="*/ 2373261 h 2936314"/>
                <a:gd name="connsiteX21" fmla="*/ 11836958 w 11867103"/>
                <a:gd name="connsiteY21" fmla="*/ 2403406 h 2936314"/>
                <a:gd name="connsiteX22" fmla="*/ 11857055 w 11867103"/>
                <a:gd name="connsiteY22" fmla="*/ 2534035 h 2936314"/>
                <a:gd name="connsiteX23" fmla="*/ 11867103 w 11867103"/>
                <a:gd name="connsiteY23" fmla="*/ 2574228 h 2936314"/>
                <a:gd name="connsiteX24" fmla="*/ 11857055 w 11867103"/>
                <a:gd name="connsiteY24" fmla="*/ 2805340 h 2936314"/>
                <a:gd name="connsiteX25" fmla="*/ 11836958 w 11867103"/>
                <a:gd name="connsiteY25" fmla="*/ 2835485 h 2936314"/>
                <a:gd name="connsiteX26" fmla="*/ 11033090 w 11867103"/>
                <a:gd name="connsiteY26" fmla="*/ 2825437 h 2936314"/>
                <a:gd name="connsiteX27" fmla="*/ 10621108 w 11867103"/>
                <a:gd name="connsiteY27" fmla="*/ 2815389 h 2936314"/>
                <a:gd name="connsiteX28" fmla="*/ 10128739 w 11867103"/>
                <a:gd name="connsiteY28" fmla="*/ 2825437 h 2936314"/>
                <a:gd name="connsiteX29" fmla="*/ 10048352 w 11867103"/>
                <a:gd name="connsiteY29" fmla="*/ 2835485 h 2936314"/>
                <a:gd name="connsiteX30" fmla="*/ 9555982 w 11867103"/>
                <a:gd name="connsiteY30" fmla="*/ 2825437 h 2936314"/>
                <a:gd name="connsiteX31" fmla="*/ 9445451 w 11867103"/>
                <a:gd name="connsiteY31" fmla="*/ 2815389 h 2936314"/>
                <a:gd name="connsiteX32" fmla="*/ 9415306 w 11867103"/>
                <a:gd name="connsiteY32" fmla="*/ 2795292 h 2936314"/>
                <a:gd name="connsiteX33" fmla="*/ 9204290 w 11867103"/>
                <a:gd name="connsiteY33" fmla="*/ 2775195 h 2936314"/>
                <a:gd name="connsiteX34" fmla="*/ 9073662 w 11867103"/>
                <a:gd name="connsiteY34" fmla="*/ 2755098 h 2936314"/>
                <a:gd name="connsiteX35" fmla="*/ 8812404 w 11867103"/>
                <a:gd name="connsiteY35" fmla="*/ 2745050 h 2936314"/>
                <a:gd name="connsiteX36" fmla="*/ 8400422 w 11867103"/>
                <a:gd name="connsiteY36" fmla="*/ 2735002 h 2936314"/>
                <a:gd name="connsiteX37" fmla="*/ 8269793 w 11867103"/>
                <a:gd name="connsiteY37" fmla="*/ 2724953 h 2936314"/>
                <a:gd name="connsiteX38" fmla="*/ 7797521 w 11867103"/>
                <a:gd name="connsiteY38" fmla="*/ 2745050 h 2936314"/>
                <a:gd name="connsiteX39" fmla="*/ 7717134 w 11867103"/>
                <a:gd name="connsiteY39" fmla="*/ 2755098 h 2936314"/>
                <a:gd name="connsiteX40" fmla="*/ 7486022 w 11867103"/>
                <a:gd name="connsiteY40" fmla="*/ 2785244 h 2936314"/>
                <a:gd name="connsiteX41" fmla="*/ 7395587 w 11867103"/>
                <a:gd name="connsiteY41" fmla="*/ 2805340 h 2936314"/>
                <a:gd name="connsiteX42" fmla="*/ 7325248 w 11867103"/>
                <a:gd name="connsiteY42" fmla="*/ 2815389 h 2936314"/>
                <a:gd name="connsiteX43" fmla="*/ 6863024 w 11867103"/>
                <a:gd name="connsiteY43" fmla="*/ 2805340 h 2936314"/>
                <a:gd name="connsiteX44" fmla="*/ 6722347 w 11867103"/>
                <a:gd name="connsiteY44" fmla="*/ 2795292 h 2936314"/>
                <a:gd name="connsiteX45" fmla="*/ 4903596 w 11867103"/>
                <a:gd name="connsiteY45" fmla="*/ 2845534 h 2936314"/>
                <a:gd name="connsiteX46" fmla="*/ 4722725 w 11867103"/>
                <a:gd name="connsiteY46" fmla="*/ 2885727 h 2936314"/>
                <a:gd name="connsiteX47" fmla="*/ 4300695 w 11867103"/>
                <a:gd name="connsiteY47" fmla="*/ 2865630 h 2936314"/>
                <a:gd name="connsiteX48" fmla="*/ 4059534 w 11867103"/>
                <a:gd name="connsiteY48" fmla="*/ 2825437 h 2936314"/>
                <a:gd name="connsiteX49" fmla="*/ 3768132 w 11867103"/>
                <a:gd name="connsiteY49" fmla="*/ 2795292 h 2936314"/>
                <a:gd name="connsiteX50" fmla="*/ 3627455 w 11867103"/>
                <a:gd name="connsiteY50" fmla="*/ 2785244 h 2936314"/>
                <a:gd name="connsiteX51" fmla="*/ 3125037 w 11867103"/>
                <a:gd name="connsiteY51" fmla="*/ 2795292 h 2936314"/>
                <a:gd name="connsiteX52" fmla="*/ 3064747 w 11867103"/>
                <a:gd name="connsiteY52" fmla="*/ 2805340 h 2936314"/>
                <a:gd name="connsiteX53" fmla="*/ 2009670 w 11867103"/>
                <a:gd name="connsiteY53" fmla="*/ 2815389 h 2936314"/>
                <a:gd name="connsiteX54" fmla="*/ 1678075 w 11867103"/>
                <a:gd name="connsiteY54" fmla="*/ 2905824 h 2936314"/>
                <a:gd name="connsiteX55" fmla="*/ 1607736 w 11867103"/>
                <a:gd name="connsiteY55" fmla="*/ 2935969 h 2936314"/>
                <a:gd name="connsiteX56" fmla="*/ 1135464 w 11867103"/>
                <a:gd name="connsiteY56" fmla="*/ 2915872 h 2936314"/>
                <a:gd name="connsiteX57" fmla="*/ 944545 w 11867103"/>
                <a:gd name="connsiteY57" fmla="*/ 2885727 h 2936314"/>
                <a:gd name="connsiteX58" fmla="*/ 723481 w 11867103"/>
                <a:gd name="connsiteY58" fmla="*/ 2845534 h 2936314"/>
                <a:gd name="connsiteX59" fmla="*/ 643095 w 11867103"/>
                <a:gd name="connsiteY59" fmla="*/ 2835485 h 2936314"/>
                <a:gd name="connsiteX60" fmla="*/ 371789 w 11867103"/>
                <a:gd name="connsiteY60" fmla="*/ 2795292 h 2936314"/>
                <a:gd name="connsiteX61" fmla="*/ 0 w 11867103"/>
                <a:gd name="connsiteY6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16862 w 11867103"/>
                <a:gd name="connsiteY18" fmla="*/ 2302923 h 2936314"/>
                <a:gd name="connsiteX19" fmla="*/ 11826910 w 11867103"/>
                <a:gd name="connsiteY19" fmla="*/ 2373261 h 2936314"/>
                <a:gd name="connsiteX20" fmla="*/ 11836958 w 11867103"/>
                <a:gd name="connsiteY20" fmla="*/ 2403406 h 2936314"/>
                <a:gd name="connsiteX21" fmla="*/ 11857055 w 11867103"/>
                <a:gd name="connsiteY21" fmla="*/ 2534035 h 2936314"/>
                <a:gd name="connsiteX22" fmla="*/ 11867103 w 11867103"/>
                <a:gd name="connsiteY22" fmla="*/ 2574228 h 2936314"/>
                <a:gd name="connsiteX23" fmla="*/ 11857055 w 11867103"/>
                <a:gd name="connsiteY23" fmla="*/ 2805340 h 2936314"/>
                <a:gd name="connsiteX24" fmla="*/ 11836958 w 11867103"/>
                <a:gd name="connsiteY24" fmla="*/ 2835485 h 2936314"/>
                <a:gd name="connsiteX25" fmla="*/ 11033090 w 11867103"/>
                <a:gd name="connsiteY25" fmla="*/ 2825437 h 2936314"/>
                <a:gd name="connsiteX26" fmla="*/ 10621108 w 11867103"/>
                <a:gd name="connsiteY26" fmla="*/ 2815389 h 2936314"/>
                <a:gd name="connsiteX27" fmla="*/ 10128739 w 11867103"/>
                <a:gd name="connsiteY27" fmla="*/ 2825437 h 2936314"/>
                <a:gd name="connsiteX28" fmla="*/ 10048352 w 11867103"/>
                <a:gd name="connsiteY28" fmla="*/ 2835485 h 2936314"/>
                <a:gd name="connsiteX29" fmla="*/ 9555982 w 11867103"/>
                <a:gd name="connsiteY29" fmla="*/ 2825437 h 2936314"/>
                <a:gd name="connsiteX30" fmla="*/ 9445451 w 11867103"/>
                <a:gd name="connsiteY30" fmla="*/ 2815389 h 2936314"/>
                <a:gd name="connsiteX31" fmla="*/ 9415306 w 11867103"/>
                <a:gd name="connsiteY31" fmla="*/ 2795292 h 2936314"/>
                <a:gd name="connsiteX32" fmla="*/ 9204290 w 11867103"/>
                <a:gd name="connsiteY32" fmla="*/ 2775195 h 2936314"/>
                <a:gd name="connsiteX33" fmla="*/ 9073662 w 11867103"/>
                <a:gd name="connsiteY33" fmla="*/ 2755098 h 2936314"/>
                <a:gd name="connsiteX34" fmla="*/ 8812404 w 11867103"/>
                <a:gd name="connsiteY34" fmla="*/ 2745050 h 2936314"/>
                <a:gd name="connsiteX35" fmla="*/ 8400422 w 11867103"/>
                <a:gd name="connsiteY35" fmla="*/ 2735002 h 2936314"/>
                <a:gd name="connsiteX36" fmla="*/ 8269793 w 11867103"/>
                <a:gd name="connsiteY36" fmla="*/ 2724953 h 2936314"/>
                <a:gd name="connsiteX37" fmla="*/ 7797521 w 11867103"/>
                <a:gd name="connsiteY37" fmla="*/ 2745050 h 2936314"/>
                <a:gd name="connsiteX38" fmla="*/ 7717134 w 11867103"/>
                <a:gd name="connsiteY38" fmla="*/ 2755098 h 2936314"/>
                <a:gd name="connsiteX39" fmla="*/ 7486022 w 11867103"/>
                <a:gd name="connsiteY39" fmla="*/ 2785244 h 2936314"/>
                <a:gd name="connsiteX40" fmla="*/ 7395587 w 11867103"/>
                <a:gd name="connsiteY40" fmla="*/ 2805340 h 2936314"/>
                <a:gd name="connsiteX41" fmla="*/ 7325248 w 11867103"/>
                <a:gd name="connsiteY41" fmla="*/ 2815389 h 2936314"/>
                <a:gd name="connsiteX42" fmla="*/ 6863024 w 11867103"/>
                <a:gd name="connsiteY42" fmla="*/ 2805340 h 2936314"/>
                <a:gd name="connsiteX43" fmla="*/ 6722347 w 11867103"/>
                <a:gd name="connsiteY43" fmla="*/ 2795292 h 2936314"/>
                <a:gd name="connsiteX44" fmla="*/ 4903596 w 11867103"/>
                <a:gd name="connsiteY44" fmla="*/ 2845534 h 2936314"/>
                <a:gd name="connsiteX45" fmla="*/ 4722725 w 11867103"/>
                <a:gd name="connsiteY45" fmla="*/ 2885727 h 2936314"/>
                <a:gd name="connsiteX46" fmla="*/ 4300695 w 11867103"/>
                <a:gd name="connsiteY46" fmla="*/ 2865630 h 2936314"/>
                <a:gd name="connsiteX47" fmla="*/ 4059534 w 11867103"/>
                <a:gd name="connsiteY47" fmla="*/ 2825437 h 2936314"/>
                <a:gd name="connsiteX48" fmla="*/ 3768132 w 11867103"/>
                <a:gd name="connsiteY48" fmla="*/ 2795292 h 2936314"/>
                <a:gd name="connsiteX49" fmla="*/ 3627455 w 11867103"/>
                <a:gd name="connsiteY49" fmla="*/ 2785244 h 2936314"/>
                <a:gd name="connsiteX50" fmla="*/ 3125037 w 11867103"/>
                <a:gd name="connsiteY50" fmla="*/ 2795292 h 2936314"/>
                <a:gd name="connsiteX51" fmla="*/ 3064747 w 11867103"/>
                <a:gd name="connsiteY51" fmla="*/ 2805340 h 2936314"/>
                <a:gd name="connsiteX52" fmla="*/ 2009670 w 11867103"/>
                <a:gd name="connsiteY52" fmla="*/ 2815389 h 2936314"/>
                <a:gd name="connsiteX53" fmla="*/ 1678075 w 11867103"/>
                <a:gd name="connsiteY53" fmla="*/ 2905824 h 2936314"/>
                <a:gd name="connsiteX54" fmla="*/ 1607736 w 11867103"/>
                <a:gd name="connsiteY54" fmla="*/ 2935969 h 2936314"/>
                <a:gd name="connsiteX55" fmla="*/ 1135464 w 11867103"/>
                <a:gd name="connsiteY55" fmla="*/ 2915872 h 2936314"/>
                <a:gd name="connsiteX56" fmla="*/ 944545 w 11867103"/>
                <a:gd name="connsiteY56" fmla="*/ 2885727 h 2936314"/>
                <a:gd name="connsiteX57" fmla="*/ 723481 w 11867103"/>
                <a:gd name="connsiteY57" fmla="*/ 2845534 h 2936314"/>
                <a:gd name="connsiteX58" fmla="*/ 643095 w 11867103"/>
                <a:gd name="connsiteY58" fmla="*/ 2835485 h 2936314"/>
                <a:gd name="connsiteX59" fmla="*/ 371789 w 11867103"/>
                <a:gd name="connsiteY59" fmla="*/ 2795292 h 2936314"/>
                <a:gd name="connsiteX60" fmla="*/ 0 w 11867103"/>
                <a:gd name="connsiteY60" fmla="*/ 2785244 h 2936314"/>
                <a:gd name="connsiteX0" fmla="*/ 120580 w 11867103"/>
                <a:gd name="connsiteY0" fmla="*/ 146825 h 3061192"/>
                <a:gd name="connsiteX1" fmla="*/ 281354 w 11867103"/>
                <a:gd name="connsiteY1" fmla="*/ 136776 h 3061192"/>
                <a:gd name="connsiteX2" fmla="*/ 673240 w 11867103"/>
                <a:gd name="connsiteY2" fmla="*/ 126728 h 3061192"/>
                <a:gd name="connsiteX3" fmla="*/ 1356528 w 11867103"/>
                <a:gd name="connsiteY3" fmla="*/ 176970 h 3061192"/>
                <a:gd name="connsiteX4" fmla="*/ 1758462 w 11867103"/>
                <a:gd name="connsiteY4" fmla="*/ 136776 h 3061192"/>
                <a:gd name="connsiteX5" fmla="*/ 2140299 w 11867103"/>
                <a:gd name="connsiteY5" fmla="*/ 136776 h 3061192"/>
                <a:gd name="connsiteX6" fmla="*/ 4652387 w 11867103"/>
                <a:gd name="connsiteY6" fmla="*/ 156873 h 3061192"/>
                <a:gd name="connsiteX7" fmla="*/ 4692580 w 11867103"/>
                <a:gd name="connsiteY7" fmla="*/ 166922 h 3061192"/>
                <a:gd name="connsiteX8" fmla="*/ 6420897 w 11867103"/>
                <a:gd name="connsiteY8" fmla="*/ 187018 h 3061192"/>
                <a:gd name="connsiteX9" fmla="*/ 7184571 w 11867103"/>
                <a:gd name="connsiteY9" fmla="*/ 156873 h 3061192"/>
                <a:gd name="connsiteX10" fmla="*/ 7928150 w 11867103"/>
                <a:gd name="connsiteY10" fmla="*/ 156873 h 3061192"/>
                <a:gd name="connsiteX11" fmla="*/ 8219552 w 11867103"/>
                <a:gd name="connsiteY11" fmla="*/ 187018 h 3061192"/>
                <a:gd name="connsiteX12" fmla="*/ 9606224 w 11867103"/>
                <a:gd name="connsiteY12" fmla="*/ 187018 h 3061192"/>
                <a:gd name="connsiteX13" fmla="*/ 9947868 w 11867103"/>
                <a:gd name="connsiteY13" fmla="*/ 156873 h 3061192"/>
                <a:gd name="connsiteX14" fmla="*/ 10791930 w 11867103"/>
                <a:gd name="connsiteY14" fmla="*/ 126728 h 3061192"/>
                <a:gd name="connsiteX15" fmla="*/ 11736475 w 11867103"/>
                <a:gd name="connsiteY15" fmla="*/ 146825 h 3061192"/>
                <a:gd name="connsiteX16" fmla="*/ 11766620 w 11867103"/>
                <a:gd name="connsiteY16" fmla="*/ 176970 h 3061192"/>
                <a:gd name="connsiteX17" fmla="*/ 11816862 w 11867103"/>
                <a:gd name="connsiteY17" fmla="*/ 2427801 h 3061192"/>
                <a:gd name="connsiteX18" fmla="*/ 11826910 w 11867103"/>
                <a:gd name="connsiteY18" fmla="*/ 2498139 h 3061192"/>
                <a:gd name="connsiteX19" fmla="*/ 11836958 w 11867103"/>
                <a:gd name="connsiteY19" fmla="*/ 2528284 h 3061192"/>
                <a:gd name="connsiteX20" fmla="*/ 11857055 w 11867103"/>
                <a:gd name="connsiteY20" fmla="*/ 2658913 h 3061192"/>
                <a:gd name="connsiteX21" fmla="*/ 11867103 w 11867103"/>
                <a:gd name="connsiteY21" fmla="*/ 2699106 h 3061192"/>
                <a:gd name="connsiteX22" fmla="*/ 11857055 w 11867103"/>
                <a:gd name="connsiteY22" fmla="*/ 2930218 h 3061192"/>
                <a:gd name="connsiteX23" fmla="*/ 11836958 w 11867103"/>
                <a:gd name="connsiteY23" fmla="*/ 2960363 h 3061192"/>
                <a:gd name="connsiteX24" fmla="*/ 11033090 w 11867103"/>
                <a:gd name="connsiteY24" fmla="*/ 2950315 h 3061192"/>
                <a:gd name="connsiteX25" fmla="*/ 10621108 w 11867103"/>
                <a:gd name="connsiteY25" fmla="*/ 2940267 h 3061192"/>
                <a:gd name="connsiteX26" fmla="*/ 10128739 w 11867103"/>
                <a:gd name="connsiteY26" fmla="*/ 2950315 h 3061192"/>
                <a:gd name="connsiteX27" fmla="*/ 10048352 w 11867103"/>
                <a:gd name="connsiteY27" fmla="*/ 2960363 h 3061192"/>
                <a:gd name="connsiteX28" fmla="*/ 9555982 w 11867103"/>
                <a:gd name="connsiteY28" fmla="*/ 2950315 h 3061192"/>
                <a:gd name="connsiteX29" fmla="*/ 9445451 w 11867103"/>
                <a:gd name="connsiteY29" fmla="*/ 2940267 h 3061192"/>
                <a:gd name="connsiteX30" fmla="*/ 9415306 w 11867103"/>
                <a:gd name="connsiteY30" fmla="*/ 2920170 h 3061192"/>
                <a:gd name="connsiteX31" fmla="*/ 9204290 w 11867103"/>
                <a:gd name="connsiteY31" fmla="*/ 2900073 h 3061192"/>
                <a:gd name="connsiteX32" fmla="*/ 9073662 w 11867103"/>
                <a:gd name="connsiteY32" fmla="*/ 2879976 h 3061192"/>
                <a:gd name="connsiteX33" fmla="*/ 8812404 w 11867103"/>
                <a:gd name="connsiteY33" fmla="*/ 2869928 h 3061192"/>
                <a:gd name="connsiteX34" fmla="*/ 8400422 w 11867103"/>
                <a:gd name="connsiteY34" fmla="*/ 2859880 h 3061192"/>
                <a:gd name="connsiteX35" fmla="*/ 8269793 w 11867103"/>
                <a:gd name="connsiteY35" fmla="*/ 2849831 h 3061192"/>
                <a:gd name="connsiteX36" fmla="*/ 7797521 w 11867103"/>
                <a:gd name="connsiteY36" fmla="*/ 2869928 h 3061192"/>
                <a:gd name="connsiteX37" fmla="*/ 7717134 w 11867103"/>
                <a:gd name="connsiteY37" fmla="*/ 2879976 h 3061192"/>
                <a:gd name="connsiteX38" fmla="*/ 7486022 w 11867103"/>
                <a:gd name="connsiteY38" fmla="*/ 2910122 h 3061192"/>
                <a:gd name="connsiteX39" fmla="*/ 7395587 w 11867103"/>
                <a:gd name="connsiteY39" fmla="*/ 2930218 h 3061192"/>
                <a:gd name="connsiteX40" fmla="*/ 7325248 w 11867103"/>
                <a:gd name="connsiteY40" fmla="*/ 2940267 h 3061192"/>
                <a:gd name="connsiteX41" fmla="*/ 6863024 w 11867103"/>
                <a:gd name="connsiteY41" fmla="*/ 2930218 h 3061192"/>
                <a:gd name="connsiteX42" fmla="*/ 6722347 w 11867103"/>
                <a:gd name="connsiteY42" fmla="*/ 2920170 h 3061192"/>
                <a:gd name="connsiteX43" fmla="*/ 4903596 w 11867103"/>
                <a:gd name="connsiteY43" fmla="*/ 2970412 h 3061192"/>
                <a:gd name="connsiteX44" fmla="*/ 4722725 w 11867103"/>
                <a:gd name="connsiteY44" fmla="*/ 3010605 h 3061192"/>
                <a:gd name="connsiteX45" fmla="*/ 4300695 w 11867103"/>
                <a:gd name="connsiteY45" fmla="*/ 2990508 h 3061192"/>
                <a:gd name="connsiteX46" fmla="*/ 4059534 w 11867103"/>
                <a:gd name="connsiteY46" fmla="*/ 2950315 h 3061192"/>
                <a:gd name="connsiteX47" fmla="*/ 3768132 w 11867103"/>
                <a:gd name="connsiteY47" fmla="*/ 2920170 h 3061192"/>
                <a:gd name="connsiteX48" fmla="*/ 3627455 w 11867103"/>
                <a:gd name="connsiteY48" fmla="*/ 2910122 h 3061192"/>
                <a:gd name="connsiteX49" fmla="*/ 3125037 w 11867103"/>
                <a:gd name="connsiteY49" fmla="*/ 2920170 h 3061192"/>
                <a:gd name="connsiteX50" fmla="*/ 3064747 w 11867103"/>
                <a:gd name="connsiteY50" fmla="*/ 2930218 h 3061192"/>
                <a:gd name="connsiteX51" fmla="*/ 2009670 w 11867103"/>
                <a:gd name="connsiteY51" fmla="*/ 2940267 h 3061192"/>
                <a:gd name="connsiteX52" fmla="*/ 1678075 w 11867103"/>
                <a:gd name="connsiteY52" fmla="*/ 3030702 h 3061192"/>
                <a:gd name="connsiteX53" fmla="*/ 1607736 w 11867103"/>
                <a:gd name="connsiteY53" fmla="*/ 3060847 h 3061192"/>
                <a:gd name="connsiteX54" fmla="*/ 1135464 w 11867103"/>
                <a:gd name="connsiteY54" fmla="*/ 3040750 h 3061192"/>
                <a:gd name="connsiteX55" fmla="*/ 944545 w 11867103"/>
                <a:gd name="connsiteY55" fmla="*/ 3010605 h 3061192"/>
                <a:gd name="connsiteX56" fmla="*/ 723481 w 11867103"/>
                <a:gd name="connsiteY56" fmla="*/ 2970412 h 3061192"/>
                <a:gd name="connsiteX57" fmla="*/ 643095 w 11867103"/>
                <a:gd name="connsiteY57" fmla="*/ 2960363 h 3061192"/>
                <a:gd name="connsiteX58" fmla="*/ 371789 w 11867103"/>
                <a:gd name="connsiteY58" fmla="*/ 2920170 h 3061192"/>
                <a:gd name="connsiteX59" fmla="*/ 0 w 11867103"/>
                <a:gd name="connsiteY59" fmla="*/ 2910122 h 3061192"/>
                <a:gd name="connsiteX0" fmla="*/ 120580 w 11867103"/>
                <a:gd name="connsiteY0" fmla="*/ 58358 h 2972725"/>
                <a:gd name="connsiteX1" fmla="*/ 281354 w 11867103"/>
                <a:gd name="connsiteY1" fmla="*/ 48309 h 2972725"/>
                <a:gd name="connsiteX2" fmla="*/ 673240 w 11867103"/>
                <a:gd name="connsiteY2" fmla="*/ 38261 h 2972725"/>
                <a:gd name="connsiteX3" fmla="*/ 1356528 w 11867103"/>
                <a:gd name="connsiteY3" fmla="*/ 88503 h 2972725"/>
                <a:gd name="connsiteX4" fmla="*/ 1758462 w 11867103"/>
                <a:gd name="connsiteY4" fmla="*/ 48309 h 2972725"/>
                <a:gd name="connsiteX5" fmla="*/ 2140299 w 11867103"/>
                <a:gd name="connsiteY5" fmla="*/ 48309 h 2972725"/>
                <a:gd name="connsiteX6" fmla="*/ 4652387 w 11867103"/>
                <a:gd name="connsiteY6" fmla="*/ 68406 h 2972725"/>
                <a:gd name="connsiteX7" fmla="*/ 4692580 w 11867103"/>
                <a:gd name="connsiteY7" fmla="*/ 78455 h 2972725"/>
                <a:gd name="connsiteX8" fmla="*/ 6420897 w 11867103"/>
                <a:gd name="connsiteY8" fmla="*/ 98551 h 2972725"/>
                <a:gd name="connsiteX9" fmla="*/ 7184571 w 11867103"/>
                <a:gd name="connsiteY9" fmla="*/ 68406 h 2972725"/>
                <a:gd name="connsiteX10" fmla="*/ 7928150 w 11867103"/>
                <a:gd name="connsiteY10" fmla="*/ 68406 h 2972725"/>
                <a:gd name="connsiteX11" fmla="*/ 8219552 w 11867103"/>
                <a:gd name="connsiteY11" fmla="*/ 98551 h 2972725"/>
                <a:gd name="connsiteX12" fmla="*/ 9606224 w 11867103"/>
                <a:gd name="connsiteY12" fmla="*/ 98551 h 2972725"/>
                <a:gd name="connsiteX13" fmla="*/ 9947868 w 11867103"/>
                <a:gd name="connsiteY13" fmla="*/ 68406 h 2972725"/>
                <a:gd name="connsiteX14" fmla="*/ 10791930 w 11867103"/>
                <a:gd name="connsiteY14" fmla="*/ 38261 h 2972725"/>
                <a:gd name="connsiteX15" fmla="*/ 11736475 w 11867103"/>
                <a:gd name="connsiteY15" fmla="*/ 58358 h 2972725"/>
                <a:gd name="connsiteX16" fmla="*/ 11806813 w 11867103"/>
                <a:gd name="connsiteY16" fmla="*/ 771791 h 2972725"/>
                <a:gd name="connsiteX17" fmla="*/ 11816862 w 11867103"/>
                <a:gd name="connsiteY17" fmla="*/ 2339334 h 2972725"/>
                <a:gd name="connsiteX18" fmla="*/ 11826910 w 11867103"/>
                <a:gd name="connsiteY18" fmla="*/ 2409672 h 2972725"/>
                <a:gd name="connsiteX19" fmla="*/ 11836958 w 11867103"/>
                <a:gd name="connsiteY19" fmla="*/ 2439817 h 2972725"/>
                <a:gd name="connsiteX20" fmla="*/ 11857055 w 11867103"/>
                <a:gd name="connsiteY20" fmla="*/ 2570446 h 2972725"/>
                <a:gd name="connsiteX21" fmla="*/ 11867103 w 11867103"/>
                <a:gd name="connsiteY21" fmla="*/ 2610639 h 2972725"/>
                <a:gd name="connsiteX22" fmla="*/ 11857055 w 11867103"/>
                <a:gd name="connsiteY22" fmla="*/ 2841751 h 2972725"/>
                <a:gd name="connsiteX23" fmla="*/ 11836958 w 11867103"/>
                <a:gd name="connsiteY23" fmla="*/ 2871896 h 2972725"/>
                <a:gd name="connsiteX24" fmla="*/ 11033090 w 11867103"/>
                <a:gd name="connsiteY24" fmla="*/ 2861848 h 2972725"/>
                <a:gd name="connsiteX25" fmla="*/ 10621108 w 11867103"/>
                <a:gd name="connsiteY25" fmla="*/ 2851800 h 2972725"/>
                <a:gd name="connsiteX26" fmla="*/ 10128739 w 11867103"/>
                <a:gd name="connsiteY26" fmla="*/ 2861848 h 2972725"/>
                <a:gd name="connsiteX27" fmla="*/ 10048352 w 11867103"/>
                <a:gd name="connsiteY27" fmla="*/ 2871896 h 2972725"/>
                <a:gd name="connsiteX28" fmla="*/ 9555982 w 11867103"/>
                <a:gd name="connsiteY28" fmla="*/ 2861848 h 2972725"/>
                <a:gd name="connsiteX29" fmla="*/ 9445451 w 11867103"/>
                <a:gd name="connsiteY29" fmla="*/ 2851800 h 2972725"/>
                <a:gd name="connsiteX30" fmla="*/ 9415306 w 11867103"/>
                <a:gd name="connsiteY30" fmla="*/ 2831703 h 2972725"/>
                <a:gd name="connsiteX31" fmla="*/ 9204290 w 11867103"/>
                <a:gd name="connsiteY31" fmla="*/ 2811606 h 2972725"/>
                <a:gd name="connsiteX32" fmla="*/ 9073662 w 11867103"/>
                <a:gd name="connsiteY32" fmla="*/ 2791509 h 2972725"/>
                <a:gd name="connsiteX33" fmla="*/ 8812404 w 11867103"/>
                <a:gd name="connsiteY33" fmla="*/ 2781461 h 2972725"/>
                <a:gd name="connsiteX34" fmla="*/ 8400422 w 11867103"/>
                <a:gd name="connsiteY34" fmla="*/ 2771413 h 2972725"/>
                <a:gd name="connsiteX35" fmla="*/ 8269793 w 11867103"/>
                <a:gd name="connsiteY35" fmla="*/ 2761364 h 2972725"/>
                <a:gd name="connsiteX36" fmla="*/ 7797521 w 11867103"/>
                <a:gd name="connsiteY36" fmla="*/ 2781461 h 2972725"/>
                <a:gd name="connsiteX37" fmla="*/ 7717134 w 11867103"/>
                <a:gd name="connsiteY37" fmla="*/ 2791509 h 2972725"/>
                <a:gd name="connsiteX38" fmla="*/ 7486022 w 11867103"/>
                <a:gd name="connsiteY38" fmla="*/ 2821655 h 2972725"/>
                <a:gd name="connsiteX39" fmla="*/ 7395587 w 11867103"/>
                <a:gd name="connsiteY39" fmla="*/ 2841751 h 2972725"/>
                <a:gd name="connsiteX40" fmla="*/ 7325248 w 11867103"/>
                <a:gd name="connsiteY40" fmla="*/ 2851800 h 2972725"/>
                <a:gd name="connsiteX41" fmla="*/ 6863024 w 11867103"/>
                <a:gd name="connsiteY41" fmla="*/ 2841751 h 2972725"/>
                <a:gd name="connsiteX42" fmla="*/ 6722347 w 11867103"/>
                <a:gd name="connsiteY42" fmla="*/ 2831703 h 2972725"/>
                <a:gd name="connsiteX43" fmla="*/ 4903596 w 11867103"/>
                <a:gd name="connsiteY43" fmla="*/ 2881945 h 2972725"/>
                <a:gd name="connsiteX44" fmla="*/ 4722725 w 11867103"/>
                <a:gd name="connsiteY44" fmla="*/ 2922138 h 2972725"/>
                <a:gd name="connsiteX45" fmla="*/ 4300695 w 11867103"/>
                <a:gd name="connsiteY45" fmla="*/ 2902041 h 2972725"/>
                <a:gd name="connsiteX46" fmla="*/ 4059534 w 11867103"/>
                <a:gd name="connsiteY46" fmla="*/ 2861848 h 2972725"/>
                <a:gd name="connsiteX47" fmla="*/ 3768132 w 11867103"/>
                <a:gd name="connsiteY47" fmla="*/ 2831703 h 2972725"/>
                <a:gd name="connsiteX48" fmla="*/ 3627455 w 11867103"/>
                <a:gd name="connsiteY48" fmla="*/ 2821655 h 2972725"/>
                <a:gd name="connsiteX49" fmla="*/ 3125037 w 11867103"/>
                <a:gd name="connsiteY49" fmla="*/ 2831703 h 2972725"/>
                <a:gd name="connsiteX50" fmla="*/ 3064747 w 11867103"/>
                <a:gd name="connsiteY50" fmla="*/ 2841751 h 2972725"/>
                <a:gd name="connsiteX51" fmla="*/ 2009670 w 11867103"/>
                <a:gd name="connsiteY51" fmla="*/ 2851800 h 2972725"/>
                <a:gd name="connsiteX52" fmla="*/ 1678075 w 11867103"/>
                <a:gd name="connsiteY52" fmla="*/ 2942235 h 2972725"/>
                <a:gd name="connsiteX53" fmla="*/ 1607736 w 11867103"/>
                <a:gd name="connsiteY53" fmla="*/ 2972380 h 2972725"/>
                <a:gd name="connsiteX54" fmla="*/ 1135464 w 11867103"/>
                <a:gd name="connsiteY54" fmla="*/ 2952283 h 2972725"/>
                <a:gd name="connsiteX55" fmla="*/ 944545 w 11867103"/>
                <a:gd name="connsiteY55" fmla="*/ 2922138 h 2972725"/>
                <a:gd name="connsiteX56" fmla="*/ 723481 w 11867103"/>
                <a:gd name="connsiteY56" fmla="*/ 2881945 h 2972725"/>
                <a:gd name="connsiteX57" fmla="*/ 643095 w 11867103"/>
                <a:gd name="connsiteY57" fmla="*/ 2871896 h 2972725"/>
                <a:gd name="connsiteX58" fmla="*/ 371789 w 11867103"/>
                <a:gd name="connsiteY58" fmla="*/ 2831703 h 2972725"/>
                <a:gd name="connsiteX59" fmla="*/ 0 w 11867103"/>
                <a:gd name="connsiteY59" fmla="*/ 2821655 h 2972725"/>
                <a:gd name="connsiteX0" fmla="*/ 120580 w 11867103"/>
                <a:gd name="connsiteY0" fmla="*/ 91200 h 3005567"/>
                <a:gd name="connsiteX1" fmla="*/ 281354 w 11867103"/>
                <a:gd name="connsiteY1" fmla="*/ 81151 h 3005567"/>
                <a:gd name="connsiteX2" fmla="*/ 673240 w 11867103"/>
                <a:gd name="connsiteY2" fmla="*/ 71103 h 3005567"/>
                <a:gd name="connsiteX3" fmla="*/ 1356528 w 11867103"/>
                <a:gd name="connsiteY3" fmla="*/ 121345 h 3005567"/>
                <a:gd name="connsiteX4" fmla="*/ 1758462 w 11867103"/>
                <a:gd name="connsiteY4" fmla="*/ 81151 h 3005567"/>
                <a:gd name="connsiteX5" fmla="*/ 2140299 w 11867103"/>
                <a:gd name="connsiteY5" fmla="*/ 81151 h 3005567"/>
                <a:gd name="connsiteX6" fmla="*/ 4652387 w 11867103"/>
                <a:gd name="connsiteY6" fmla="*/ 101248 h 3005567"/>
                <a:gd name="connsiteX7" fmla="*/ 4692580 w 11867103"/>
                <a:gd name="connsiteY7" fmla="*/ 111297 h 3005567"/>
                <a:gd name="connsiteX8" fmla="*/ 6420897 w 11867103"/>
                <a:gd name="connsiteY8" fmla="*/ 131393 h 3005567"/>
                <a:gd name="connsiteX9" fmla="*/ 7184571 w 11867103"/>
                <a:gd name="connsiteY9" fmla="*/ 101248 h 3005567"/>
                <a:gd name="connsiteX10" fmla="*/ 7928150 w 11867103"/>
                <a:gd name="connsiteY10" fmla="*/ 101248 h 3005567"/>
                <a:gd name="connsiteX11" fmla="*/ 8219552 w 11867103"/>
                <a:gd name="connsiteY11" fmla="*/ 131393 h 3005567"/>
                <a:gd name="connsiteX12" fmla="*/ 9606224 w 11867103"/>
                <a:gd name="connsiteY12" fmla="*/ 131393 h 3005567"/>
                <a:gd name="connsiteX13" fmla="*/ 9947868 w 11867103"/>
                <a:gd name="connsiteY13" fmla="*/ 101248 h 3005567"/>
                <a:gd name="connsiteX14" fmla="*/ 10791930 w 11867103"/>
                <a:gd name="connsiteY14" fmla="*/ 71103 h 3005567"/>
                <a:gd name="connsiteX15" fmla="*/ 11736475 w 11867103"/>
                <a:gd name="connsiteY15" fmla="*/ 91200 h 3005567"/>
                <a:gd name="connsiteX16" fmla="*/ 11806813 w 11867103"/>
                <a:gd name="connsiteY16" fmla="*/ 804633 h 3005567"/>
                <a:gd name="connsiteX17" fmla="*/ 11816862 w 11867103"/>
                <a:gd name="connsiteY17" fmla="*/ 2372176 h 3005567"/>
                <a:gd name="connsiteX18" fmla="*/ 11826910 w 11867103"/>
                <a:gd name="connsiteY18" fmla="*/ 2442514 h 3005567"/>
                <a:gd name="connsiteX19" fmla="*/ 11836958 w 11867103"/>
                <a:gd name="connsiteY19" fmla="*/ 2472659 h 3005567"/>
                <a:gd name="connsiteX20" fmla="*/ 11857055 w 11867103"/>
                <a:gd name="connsiteY20" fmla="*/ 2603288 h 3005567"/>
                <a:gd name="connsiteX21" fmla="*/ 11867103 w 11867103"/>
                <a:gd name="connsiteY21" fmla="*/ 2643481 h 3005567"/>
                <a:gd name="connsiteX22" fmla="*/ 11857055 w 11867103"/>
                <a:gd name="connsiteY22" fmla="*/ 2874593 h 3005567"/>
                <a:gd name="connsiteX23" fmla="*/ 11836958 w 11867103"/>
                <a:gd name="connsiteY23" fmla="*/ 2904738 h 3005567"/>
                <a:gd name="connsiteX24" fmla="*/ 11033090 w 11867103"/>
                <a:gd name="connsiteY24" fmla="*/ 2894690 h 3005567"/>
                <a:gd name="connsiteX25" fmla="*/ 10621108 w 11867103"/>
                <a:gd name="connsiteY25" fmla="*/ 2884642 h 3005567"/>
                <a:gd name="connsiteX26" fmla="*/ 10128739 w 11867103"/>
                <a:gd name="connsiteY26" fmla="*/ 2894690 h 3005567"/>
                <a:gd name="connsiteX27" fmla="*/ 10048352 w 11867103"/>
                <a:gd name="connsiteY27" fmla="*/ 2904738 h 3005567"/>
                <a:gd name="connsiteX28" fmla="*/ 9555982 w 11867103"/>
                <a:gd name="connsiteY28" fmla="*/ 2894690 h 3005567"/>
                <a:gd name="connsiteX29" fmla="*/ 9445451 w 11867103"/>
                <a:gd name="connsiteY29" fmla="*/ 2884642 h 3005567"/>
                <a:gd name="connsiteX30" fmla="*/ 9415306 w 11867103"/>
                <a:gd name="connsiteY30" fmla="*/ 2864545 h 3005567"/>
                <a:gd name="connsiteX31" fmla="*/ 9204290 w 11867103"/>
                <a:gd name="connsiteY31" fmla="*/ 2844448 h 3005567"/>
                <a:gd name="connsiteX32" fmla="*/ 9073662 w 11867103"/>
                <a:gd name="connsiteY32" fmla="*/ 2824351 h 3005567"/>
                <a:gd name="connsiteX33" fmla="*/ 8812404 w 11867103"/>
                <a:gd name="connsiteY33" fmla="*/ 2814303 h 3005567"/>
                <a:gd name="connsiteX34" fmla="*/ 8400422 w 11867103"/>
                <a:gd name="connsiteY34" fmla="*/ 2804255 h 3005567"/>
                <a:gd name="connsiteX35" fmla="*/ 8269793 w 11867103"/>
                <a:gd name="connsiteY35" fmla="*/ 2794206 h 3005567"/>
                <a:gd name="connsiteX36" fmla="*/ 7797521 w 11867103"/>
                <a:gd name="connsiteY36" fmla="*/ 2814303 h 3005567"/>
                <a:gd name="connsiteX37" fmla="*/ 7717134 w 11867103"/>
                <a:gd name="connsiteY37" fmla="*/ 2824351 h 3005567"/>
                <a:gd name="connsiteX38" fmla="*/ 7486022 w 11867103"/>
                <a:gd name="connsiteY38" fmla="*/ 2854497 h 3005567"/>
                <a:gd name="connsiteX39" fmla="*/ 7395587 w 11867103"/>
                <a:gd name="connsiteY39" fmla="*/ 2874593 h 3005567"/>
                <a:gd name="connsiteX40" fmla="*/ 7325248 w 11867103"/>
                <a:gd name="connsiteY40" fmla="*/ 2884642 h 3005567"/>
                <a:gd name="connsiteX41" fmla="*/ 6863024 w 11867103"/>
                <a:gd name="connsiteY41" fmla="*/ 2874593 h 3005567"/>
                <a:gd name="connsiteX42" fmla="*/ 6722347 w 11867103"/>
                <a:gd name="connsiteY42" fmla="*/ 2864545 h 3005567"/>
                <a:gd name="connsiteX43" fmla="*/ 4903596 w 11867103"/>
                <a:gd name="connsiteY43" fmla="*/ 2914787 h 3005567"/>
                <a:gd name="connsiteX44" fmla="*/ 4722725 w 11867103"/>
                <a:gd name="connsiteY44" fmla="*/ 2954980 h 3005567"/>
                <a:gd name="connsiteX45" fmla="*/ 4300695 w 11867103"/>
                <a:gd name="connsiteY45" fmla="*/ 2934883 h 3005567"/>
                <a:gd name="connsiteX46" fmla="*/ 4059534 w 11867103"/>
                <a:gd name="connsiteY46" fmla="*/ 2894690 h 3005567"/>
                <a:gd name="connsiteX47" fmla="*/ 3768132 w 11867103"/>
                <a:gd name="connsiteY47" fmla="*/ 2864545 h 3005567"/>
                <a:gd name="connsiteX48" fmla="*/ 3627455 w 11867103"/>
                <a:gd name="connsiteY48" fmla="*/ 2854497 h 3005567"/>
                <a:gd name="connsiteX49" fmla="*/ 3125037 w 11867103"/>
                <a:gd name="connsiteY49" fmla="*/ 2864545 h 3005567"/>
                <a:gd name="connsiteX50" fmla="*/ 3064747 w 11867103"/>
                <a:gd name="connsiteY50" fmla="*/ 2874593 h 3005567"/>
                <a:gd name="connsiteX51" fmla="*/ 2009670 w 11867103"/>
                <a:gd name="connsiteY51" fmla="*/ 2884642 h 3005567"/>
                <a:gd name="connsiteX52" fmla="*/ 1678075 w 11867103"/>
                <a:gd name="connsiteY52" fmla="*/ 2975077 h 3005567"/>
                <a:gd name="connsiteX53" fmla="*/ 1607736 w 11867103"/>
                <a:gd name="connsiteY53" fmla="*/ 3005222 h 3005567"/>
                <a:gd name="connsiteX54" fmla="*/ 1135464 w 11867103"/>
                <a:gd name="connsiteY54" fmla="*/ 2985125 h 3005567"/>
                <a:gd name="connsiteX55" fmla="*/ 944545 w 11867103"/>
                <a:gd name="connsiteY55" fmla="*/ 2954980 h 3005567"/>
                <a:gd name="connsiteX56" fmla="*/ 723481 w 11867103"/>
                <a:gd name="connsiteY56" fmla="*/ 2914787 h 3005567"/>
                <a:gd name="connsiteX57" fmla="*/ 643095 w 11867103"/>
                <a:gd name="connsiteY57" fmla="*/ 2904738 h 3005567"/>
                <a:gd name="connsiteX58" fmla="*/ 371789 w 11867103"/>
                <a:gd name="connsiteY58" fmla="*/ 2864545 h 3005567"/>
                <a:gd name="connsiteX59" fmla="*/ 0 w 11867103"/>
                <a:gd name="connsiteY59" fmla="*/ 2854497 h 3005567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36958 w 11867103"/>
                <a:gd name="connsiteY19" fmla="*/ 2437070 h 2969978"/>
                <a:gd name="connsiteX20" fmla="*/ 11857055 w 11867103"/>
                <a:gd name="connsiteY20" fmla="*/ 2567699 h 2969978"/>
                <a:gd name="connsiteX21" fmla="*/ 11867103 w 11867103"/>
                <a:gd name="connsiteY21" fmla="*/ 2607892 h 2969978"/>
                <a:gd name="connsiteX22" fmla="*/ 11857055 w 11867103"/>
                <a:gd name="connsiteY22" fmla="*/ 2839004 h 2969978"/>
                <a:gd name="connsiteX23" fmla="*/ 11836958 w 11867103"/>
                <a:gd name="connsiteY23" fmla="*/ 2869149 h 2969978"/>
                <a:gd name="connsiteX24" fmla="*/ 11033090 w 11867103"/>
                <a:gd name="connsiteY24" fmla="*/ 2859101 h 2969978"/>
                <a:gd name="connsiteX25" fmla="*/ 10621108 w 11867103"/>
                <a:gd name="connsiteY25" fmla="*/ 2849053 h 2969978"/>
                <a:gd name="connsiteX26" fmla="*/ 10128739 w 11867103"/>
                <a:gd name="connsiteY26" fmla="*/ 2859101 h 2969978"/>
                <a:gd name="connsiteX27" fmla="*/ 10048352 w 11867103"/>
                <a:gd name="connsiteY27" fmla="*/ 2869149 h 2969978"/>
                <a:gd name="connsiteX28" fmla="*/ 9555982 w 11867103"/>
                <a:gd name="connsiteY28" fmla="*/ 2859101 h 2969978"/>
                <a:gd name="connsiteX29" fmla="*/ 9445451 w 11867103"/>
                <a:gd name="connsiteY29" fmla="*/ 2849053 h 2969978"/>
                <a:gd name="connsiteX30" fmla="*/ 9415306 w 11867103"/>
                <a:gd name="connsiteY30" fmla="*/ 2828956 h 2969978"/>
                <a:gd name="connsiteX31" fmla="*/ 9204290 w 11867103"/>
                <a:gd name="connsiteY31" fmla="*/ 2808859 h 2969978"/>
                <a:gd name="connsiteX32" fmla="*/ 9073662 w 11867103"/>
                <a:gd name="connsiteY32" fmla="*/ 2788762 h 2969978"/>
                <a:gd name="connsiteX33" fmla="*/ 8812404 w 11867103"/>
                <a:gd name="connsiteY33" fmla="*/ 2778714 h 2969978"/>
                <a:gd name="connsiteX34" fmla="*/ 8400422 w 11867103"/>
                <a:gd name="connsiteY34" fmla="*/ 2768666 h 2969978"/>
                <a:gd name="connsiteX35" fmla="*/ 8269793 w 11867103"/>
                <a:gd name="connsiteY35" fmla="*/ 2758617 h 2969978"/>
                <a:gd name="connsiteX36" fmla="*/ 7797521 w 11867103"/>
                <a:gd name="connsiteY36" fmla="*/ 2778714 h 2969978"/>
                <a:gd name="connsiteX37" fmla="*/ 7717134 w 11867103"/>
                <a:gd name="connsiteY37" fmla="*/ 2788762 h 2969978"/>
                <a:gd name="connsiteX38" fmla="*/ 7486022 w 11867103"/>
                <a:gd name="connsiteY38" fmla="*/ 2818908 h 2969978"/>
                <a:gd name="connsiteX39" fmla="*/ 7395587 w 11867103"/>
                <a:gd name="connsiteY39" fmla="*/ 2839004 h 2969978"/>
                <a:gd name="connsiteX40" fmla="*/ 7325248 w 11867103"/>
                <a:gd name="connsiteY40" fmla="*/ 2849053 h 2969978"/>
                <a:gd name="connsiteX41" fmla="*/ 6863024 w 11867103"/>
                <a:gd name="connsiteY41" fmla="*/ 2839004 h 2969978"/>
                <a:gd name="connsiteX42" fmla="*/ 6722347 w 11867103"/>
                <a:gd name="connsiteY42" fmla="*/ 2828956 h 2969978"/>
                <a:gd name="connsiteX43" fmla="*/ 4903596 w 11867103"/>
                <a:gd name="connsiteY43" fmla="*/ 2879198 h 2969978"/>
                <a:gd name="connsiteX44" fmla="*/ 4722725 w 11867103"/>
                <a:gd name="connsiteY44" fmla="*/ 2919391 h 2969978"/>
                <a:gd name="connsiteX45" fmla="*/ 4300695 w 11867103"/>
                <a:gd name="connsiteY45" fmla="*/ 2899294 h 2969978"/>
                <a:gd name="connsiteX46" fmla="*/ 4059534 w 11867103"/>
                <a:gd name="connsiteY46" fmla="*/ 2859101 h 2969978"/>
                <a:gd name="connsiteX47" fmla="*/ 3768132 w 11867103"/>
                <a:gd name="connsiteY47" fmla="*/ 2828956 h 2969978"/>
                <a:gd name="connsiteX48" fmla="*/ 3627455 w 11867103"/>
                <a:gd name="connsiteY48" fmla="*/ 2818908 h 2969978"/>
                <a:gd name="connsiteX49" fmla="*/ 3125037 w 11867103"/>
                <a:gd name="connsiteY49" fmla="*/ 2828956 h 2969978"/>
                <a:gd name="connsiteX50" fmla="*/ 3064747 w 11867103"/>
                <a:gd name="connsiteY50" fmla="*/ 2839004 h 2969978"/>
                <a:gd name="connsiteX51" fmla="*/ 2009670 w 11867103"/>
                <a:gd name="connsiteY51" fmla="*/ 2849053 h 2969978"/>
                <a:gd name="connsiteX52" fmla="*/ 1678075 w 11867103"/>
                <a:gd name="connsiteY52" fmla="*/ 2939488 h 2969978"/>
                <a:gd name="connsiteX53" fmla="*/ 1607736 w 11867103"/>
                <a:gd name="connsiteY53" fmla="*/ 2969633 h 2969978"/>
                <a:gd name="connsiteX54" fmla="*/ 1135464 w 11867103"/>
                <a:gd name="connsiteY54" fmla="*/ 2949536 h 2969978"/>
                <a:gd name="connsiteX55" fmla="*/ 944545 w 11867103"/>
                <a:gd name="connsiteY55" fmla="*/ 2919391 h 2969978"/>
                <a:gd name="connsiteX56" fmla="*/ 723481 w 11867103"/>
                <a:gd name="connsiteY56" fmla="*/ 2879198 h 2969978"/>
                <a:gd name="connsiteX57" fmla="*/ 643095 w 11867103"/>
                <a:gd name="connsiteY57" fmla="*/ 2869149 h 2969978"/>
                <a:gd name="connsiteX58" fmla="*/ 371789 w 11867103"/>
                <a:gd name="connsiteY58" fmla="*/ 2828956 h 2969978"/>
                <a:gd name="connsiteX59" fmla="*/ 0 w 11867103"/>
                <a:gd name="connsiteY59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57055 w 11867103"/>
                <a:gd name="connsiteY19" fmla="*/ 2567699 h 2969978"/>
                <a:gd name="connsiteX20" fmla="*/ 11867103 w 11867103"/>
                <a:gd name="connsiteY20" fmla="*/ 2607892 h 2969978"/>
                <a:gd name="connsiteX21" fmla="*/ 11857055 w 11867103"/>
                <a:gd name="connsiteY21" fmla="*/ 2839004 h 2969978"/>
                <a:gd name="connsiteX22" fmla="*/ 11836958 w 11867103"/>
                <a:gd name="connsiteY22" fmla="*/ 2869149 h 2969978"/>
                <a:gd name="connsiteX23" fmla="*/ 11033090 w 11867103"/>
                <a:gd name="connsiteY23" fmla="*/ 2859101 h 2969978"/>
                <a:gd name="connsiteX24" fmla="*/ 10621108 w 11867103"/>
                <a:gd name="connsiteY24" fmla="*/ 2849053 h 2969978"/>
                <a:gd name="connsiteX25" fmla="*/ 10128739 w 11867103"/>
                <a:gd name="connsiteY25" fmla="*/ 2859101 h 2969978"/>
                <a:gd name="connsiteX26" fmla="*/ 10048352 w 11867103"/>
                <a:gd name="connsiteY26" fmla="*/ 2869149 h 2969978"/>
                <a:gd name="connsiteX27" fmla="*/ 9555982 w 11867103"/>
                <a:gd name="connsiteY27" fmla="*/ 2859101 h 2969978"/>
                <a:gd name="connsiteX28" fmla="*/ 9445451 w 11867103"/>
                <a:gd name="connsiteY28" fmla="*/ 2849053 h 2969978"/>
                <a:gd name="connsiteX29" fmla="*/ 9415306 w 11867103"/>
                <a:gd name="connsiteY29" fmla="*/ 2828956 h 2969978"/>
                <a:gd name="connsiteX30" fmla="*/ 9204290 w 11867103"/>
                <a:gd name="connsiteY30" fmla="*/ 2808859 h 2969978"/>
                <a:gd name="connsiteX31" fmla="*/ 9073662 w 11867103"/>
                <a:gd name="connsiteY31" fmla="*/ 2788762 h 2969978"/>
                <a:gd name="connsiteX32" fmla="*/ 8812404 w 11867103"/>
                <a:gd name="connsiteY32" fmla="*/ 2778714 h 2969978"/>
                <a:gd name="connsiteX33" fmla="*/ 8400422 w 11867103"/>
                <a:gd name="connsiteY33" fmla="*/ 2768666 h 2969978"/>
                <a:gd name="connsiteX34" fmla="*/ 8269793 w 11867103"/>
                <a:gd name="connsiteY34" fmla="*/ 2758617 h 2969978"/>
                <a:gd name="connsiteX35" fmla="*/ 7797521 w 11867103"/>
                <a:gd name="connsiteY35" fmla="*/ 2778714 h 2969978"/>
                <a:gd name="connsiteX36" fmla="*/ 7717134 w 11867103"/>
                <a:gd name="connsiteY36" fmla="*/ 2788762 h 2969978"/>
                <a:gd name="connsiteX37" fmla="*/ 7486022 w 11867103"/>
                <a:gd name="connsiteY37" fmla="*/ 2818908 h 2969978"/>
                <a:gd name="connsiteX38" fmla="*/ 7395587 w 11867103"/>
                <a:gd name="connsiteY38" fmla="*/ 2839004 h 2969978"/>
                <a:gd name="connsiteX39" fmla="*/ 7325248 w 11867103"/>
                <a:gd name="connsiteY39" fmla="*/ 2849053 h 2969978"/>
                <a:gd name="connsiteX40" fmla="*/ 6863024 w 11867103"/>
                <a:gd name="connsiteY40" fmla="*/ 2839004 h 2969978"/>
                <a:gd name="connsiteX41" fmla="*/ 6722347 w 11867103"/>
                <a:gd name="connsiteY41" fmla="*/ 2828956 h 2969978"/>
                <a:gd name="connsiteX42" fmla="*/ 4903596 w 11867103"/>
                <a:gd name="connsiteY42" fmla="*/ 2879198 h 2969978"/>
                <a:gd name="connsiteX43" fmla="*/ 4722725 w 11867103"/>
                <a:gd name="connsiteY43" fmla="*/ 2919391 h 2969978"/>
                <a:gd name="connsiteX44" fmla="*/ 4300695 w 11867103"/>
                <a:gd name="connsiteY44" fmla="*/ 2899294 h 2969978"/>
                <a:gd name="connsiteX45" fmla="*/ 4059534 w 11867103"/>
                <a:gd name="connsiteY45" fmla="*/ 2859101 h 2969978"/>
                <a:gd name="connsiteX46" fmla="*/ 3768132 w 11867103"/>
                <a:gd name="connsiteY46" fmla="*/ 2828956 h 2969978"/>
                <a:gd name="connsiteX47" fmla="*/ 3627455 w 11867103"/>
                <a:gd name="connsiteY47" fmla="*/ 2818908 h 2969978"/>
                <a:gd name="connsiteX48" fmla="*/ 3125037 w 11867103"/>
                <a:gd name="connsiteY48" fmla="*/ 2828956 h 2969978"/>
                <a:gd name="connsiteX49" fmla="*/ 3064747 w 11867103"/>
                <a:gd name="connsiteY49" fmla="*/ 2839004 h 2969978"/>
                <a:gd name="connsiteX50" fmla="*/ 2009670 w 11867103"/>
                <a:gd name="connsiteY50" fmla="*/ 2849053 h 2969978"/>
                <a:gd name="connsiteX51" fmla="*/ 1678075 w 11867103"/>
                <a:gd name="connsiteY51" fmla="*/ 2939488 h 2969978"/>
                <a:gd name="connsiteX52" fmla="*/ 1607736 w 11867103"/>
                <a:gd name="connsiteY52" fmla="*/ 2969633 h 2969978"/>
                <a:gd name="connsiteX53" fmla="*/ 1135464 w 11867103"/>
                <a:gd name="connsiteY53" fmla="*/ 2949536 h 2969978"/>
                <a:gd name="connsiteX54" fmla="*/ 944545 w 11867103"/>
                <a:gd name="connsiteY54" fmla="*/ 2919391 h 2969978"/>
                <a:gd name="connsiteX55" fmla="*/ 723481 w 11867103"/>
                <a:gd name="connsiteY55" fmla="*/ 2879198 h 2969978"/>
                <a:gd name="connsiteX56" fmla="*/ 643095 w 11867103"/>
                <a:gd name="connsiteY56" fmla="*/ 2869149 h 2969978"/>
                <a:gd name="connsiteX57" fmla="*/ 371789 w 11867103"/>
                <a:gd name="connsiteY57" fmla="*/ 2828956 h 2969978"/>
                <a:gd name="connsiteX58" fmla="*/ 0 w 11867103"/>
                <a:gd name="connsiteY58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57055 w 11867103"/>
                <a:gd name="connsiteY18" fmla="*/ 2567699 h 2969978"/>
                <a:gd name="connsiteX19" fmla="*/ 11867103 w 11867103"/>
                <a:gd name="connsiteY19" fmla="*/ 2607892 h 2969978"/>
                <a:gd name="connsiteX20" fmla="*/ 11857055 w 11867103"/>
                <a:gd name="connsiteY20" fmla="*/ 2839004 h 2969978"/>
                <a:gd name="connsiteX21" fmla="*/ 11836958 w 11867103"/>
                <a:gd name="connsiteY21" fmla="*/ 2869149 h 2969978"/>
                <a:gd name="connsiteX22" fmla="*/ 11033090 w 11867103"/>
                <a:gd name="connsiteY22" fmla="*/ 2859101 h 2969978"/>
                <a:gd name="connsiteX23" fmla="*/ 10621108 w 11867103"/>
                <a:gd name="connsiteY23" fmla="*/ 2849053 h 2969978"/>
                <a:gd name="connsiteX24" fmla="*/ 10128739 w 11867103"/>
                <a:gd name="connsiteY24" fmla="*/ 2859101 h 2969978"/>
                <a:gd name="connsiteX25" fmla="*/ 10048352 w 11867103"/>
                <a:gd name="connsiteY25" fmla="*/ 2869149 h 2969978"/>
                <a:gd name="connsiteX26" fmla="*/ 9555982 w 11867103"/>
                <a:gd name="connsiteY26" fmla="*/ 2859101 h 2969978"/>
                <a:gd name="connsiteX27" fmla="*/ 9445451 w 11867103"/>
                <a:gd name="connsiteY27" fmla="*/ 2849053 h 2969978"/>
                <a:gd name="connsiteX28" fmla="*/ 9415306 w 11867103"/>
                <a:gd name="connsiteY28" fmla="*/ 2828956 h 2969978"/>
                <a:gd name="connsiteX29" fmla="*/ 9204290 w 11867103"/>
                <a:gd name="connsiteY29" fmla="*/ 2808859 h 2969978"/>
                <a:gd name="connsiteX30" fmla="*/ 9073662 w 11867103"/>
                <a:gd name="connsiteY30" fmla="*/ 2788762 h 2969978"/>
                <a:gd name="connsiteX31" fmla="*/ 8812404 w 11867103"/>
                <a:gd name="connsiteY31" fmla="*/ 2778714 h 2969978"/>
                <a:gd name="connsiteX32" fmla="*/ 8400422 w 11867103"/>
                <a:gd name="connsiteY32" fmla="*/ 2768666 h 2969978"/>
                <a:gd name="connsiteX33" fmla="*/ 8269793 w 11867103"/>
                <a:gd name="connsiteY33" fmla="*/ 2758617 h 2969978"/>
                <a:gd name="connsiteX34" fmla="*/ 7797521 w 11867103"/>
                <a:gd name="connsiteY34" fmla="*/ 2778714 h 2969978"/>
                <a:gd name="connsiteX35" fmla="*/ 7717134 w 11867103"/>
                <a:gd name="connsiteY35" fmla="*/ 2788762 h 2969978"/>
                <a:gd name="connsiteX36" fmla="*/ 7486022 w 11867103"/>
                <a:gd name="connsiteY36" fmla="*/ 2818908 h 2969978"/>
                <a:gd name="connsiteX37" fmla="*/ 7395587 w 11867103"/>
                <a:gd name="connsiteY37" fmla="*/ 2839004 h 2969978"/>
                <a:gd name="connsiteX38" fmla="*/ 7325248 w 11867103"/>
                <a:gd name="connsiteY38" fmla="*/ 2849053 h 2969978"/>
                <a:gd name="connsiteX39" fmla="*/ 6863024 w 11867103"/>
                <a:gd name="connsiteY39" fmla="*/ 2839004 h 2969978"/>
                <a:gd name="connsiteX40" fmla="*/ 6722347 w 11867103"/>
                <a:gd name="connsiteY40" fmla="*/ 2828956 h 2969978"/>
                <a:gd name="connsiteX41" fmla="*/ 4903596 w 11867103"/>
                <a:gd name="connsiteY41" fmla="*/ 2879198 h 2969978"/>
                <a:gd name="connsiteX42" fmla="*/ 4722725 w 11867103"/>
                <a:gd name="connsiteY42" fmla="*/ 2919391 h 2969978"/>
                <a:gd name="connsiteX43" fmla="*/ 4300695 w 11867103"/>
                <a:gd name="connsiteY43" fmla="*/ 2899294 h 2969978"/>
                <a:gd name="connsiteX44" fmla="*/ 4059534 w 11867103"/>
                <a:gd name="connsiteY44" fmla="*/ 2859101 h 2969978"/>
                <a:gd name="connsiteX45" fmla="*/ 3768132 w 11867103"/>
                <a:gd name="connsiteY45" fmla="*/ 2828956 h 2969978"/>
                <a:gd name="connsiteX46" fmla="*/ 3627455 w 11867103"/>
                <a:gd name="connsiteY46" fmla="*/ 2818908 h 2969978"/>
                <a:gd name="connsiteX47" fmla="*/ 3125037 w 11867103"/>
                <a:gd name="connsiteY47" fmla="*/ 2828956 h 2969978"/>
                <a:gd name="connsiteX48" fmla="*/ 3064747 w 11867103"/>
                <a:gd name="connsiteY48" fmla="*/ 2839004 h 2969978"/>
                <a:gd name="connsiteX49" fmla="*/ 2009670 w 11867103"/>
                <a:gd name="connsiteY49" fmla="*/ 2849053 h 2969978"/>
                <a:gd name="connsiteX50" fmla="*/ 1678075 w 11867103"/>
                <a:gd name="connsiteY50" fmla="*/ 2939488 h 2969978"/>
                <a:gd name="connsiteX51" fmla="*/ 1607736 w 11867103"/>
                <a:gd name="connsiteY51" fmla="*/ 2969633 h 2969978"/>
                <a:gd name="connsiteX52" fmla="*/ 1135464 w 11867103"/>
                <a:gd name="connsiteY52" fmla="*/ 2949536 h 2969978"/>
                <a:gd name="connsiteX53" fmla="*/ 944545 w 11867103"/>
                <a:gd name="connsiteY53" fmla="*/ 2919391 h 2969978"/>
                <a:gd name="connsiteX54" fmla="*/ 723481 w 11867103"/>
                <a:gd name="connsiteY54" fmla="*/ 2879198 h 2969978"/>
                <a:gd name="connsiteX55" fmla="*/ 643095 w 11867103"/>
                <a:gd name="connsiteY55" fmla="*/ 2869149 h 2969978"/>
                <a:gd name="connsiteX56" fmla="*/ 371789 w 11867103"/>
                <a:gd name="connsiteY56" fmla="*/ 2828956 h 2969978"/>
                <a:gd name="connsiteX57" fmla="*/ 0 w 11867103"/>
                <a:gd name="connsiteY57" fmla="*/ 2818908 h 2969978"/>
                <a:gd name="connsiteX0" fmla="*/ 120580 w 11860922"/>
                <a:gd name="connsiteY0" fmla="*/ 55611 h 2969978"/>
                <a:gd name="connsiteX1" fmla="*/ 281354 w 11860922"/>
                <a:gd name="connsiteY1" fmla="*/ 45562 h 2969978"/>
                <a:gd name="connsiteX2" fmla="*/ 673240 w 11860922"/>
                <a:gd name="connsiteY2" fmla="*/ 35514 h 2969978"/>
                <a:gd name="connsiteX3" fmla="*/ 1356528 w 11860922"/>
                <a:gd name="connsiteY3" fmla="*/ 85756 h 2969978"/>
                <a:gd name="connsiteX4" fmla="*/ 1758462 w 11860922"/>
                <a:gd name="connsiteY4" fmla="*/ 45562 h 2969978"/>
                <a:gd name="connsiteX5" fmla="*/ 2140299 w 11860922"/>
                <a:gd name="connsiteY5" fmla="*/ 45562 h 2969978"/>
                <a:gd name="connsiteX6" fmla="*/ 4652387 w 11860922"/>
                <a:gd name="connsiteY6" fmla="*/ 65659 h 2969978"/>
                <a:gd name="connsiteX7" fmla="*/ 4692580 w 11860922"/>
                <a:gd name="connsiteY7" fmla="*/ 75708 h 2969978"/>
                <a:gd name="connsiteX8" fmla="*/ 6420897 w 11860922"/>
                <a:gd name="connsiteY8" fmla="*/ 95804 h 2969978"/>
                <a:gd name="connsiteX9" fmla="*/ 7184571 w 11860922"/>
                <a:gd name="connsiteY9" fmla="*/ 65659 h 2969978"/>
                <a:gd name="connsiteX10" fmla="*/ 7928150 w 11860922"/>
                <a:gd name="connsiteY10" fmla="*/ 65659 h 2969978"/>
                <a:gd name="connsiteX11" fmla="*/ 8219552 w 11860922"/>
                <a:gd name="connsiteY11" fmla="*/ 95804 h 2969978"/>
                <a:gd name="connsiteX12" fmla="*/ 9606224 w 11860922"/>
                <a:gd name="connsiteY12" fmla="*/ 95804 h 2969978"/>
                <a:gd name="connsiteX13" fmla="*/ 9947868 w 11860922"/>
                <a:gd name="connsiteY13" fmla="*/ 65659 h 2969978"/>
                <a:gd name="connsiteX14" fmla="*/ 10791930 w 11860922"/>
                <a:gd name="connsiteY14" fmla="*/ 35514 h 2969978"/>
                <a:gd name="connsiteX15" fmla="*/ 11736475 w 11860922"/>
                <a:gd name="connsiteY15" fmla="*/ 55611 h 2969978"/>
                <a:gd name="connsiteX16" fmla="*/ 11806813 w 11860922"/>
                <a:gd name="connsiteY16" fmla="*/ 769044 h 2969978"/>
                <a:gd name="connsiteX17" fmla="*/ 11816862 w 11860922"/>
                <a:gd name="connsiteY17" fmla="*/ 2336587 h 2969978"/>
                <a:gd name="connsiteX18" fmla="*/ 11857055 w 11860922"/>
                <a:gd name="connsiteY18" fmla="*/ 2567699 h 2969978"/>
                <a:gd name="connsiteX19" fmla="*/ 11857055 w 11860922"/>
                <a:gd name="connsiteY19" fmla="*/ 2839004 h 2969978"/>
                <a:gd name="connsiteX20" fmla="*/ 11836958 w 11860922"/>
                <a:gd name="connsiteY20" fmla="*/ 2869149 h 2969978"/>
                <a:gd name="connsiteX21" fmla="*/ 11033090 w 11860922"/>
                <a:gd name="connsiteY21" fmla="*/ 2859101 h 2969978"/>
                <a:gd name="connsiteX22" fmla="*/ 10621108 w 11860922"/>
                <a:gd name="connsiteY22" fmla="*/ 2849053 h 2969978"/>
                <a:gd name="connsiteX23" fmla="*/ 10128739 w 11860922"/>
                <a:gd name="connsiteY23" fmla="*/ 2859101 h 2969978"/>
                <a:gd name="connsiteX24" fmla="*/ 10048352 w 11860922"/>
                <a:gd name="connsiteY24" fmla="*/ 2869149 h 2969978"/>
                <a:gd name="connsiteX25" fmla="*/ 9555982 w 11860922"/>
                <a:gd name="connsiteY25" fmla="*/ 2859101 h 2969978"/>
                <a:gd name="connsiteX26" fmla="*/ 9445451 w 11860922"/>
                <a:gd name="connsiteY26" fmla="*/ 2849053 h 2969978"/>
                <a:gd name="connsiteX27" fmla="*/ 9415306 w 11860922"/>
                <a:gd name="connsiteY27" fmla="*/ 2828956 h 2969978"/>
                <a:gd name="connsiteX28" fmla="*/ 9204290 w 11860922"/>
                <a:gd name="connsiteY28" fmla="*/ 2808859 h 2969978"/>
                <a:gd name="connsiteX29" fmla="*/ 9073662 w 11860922"/>
                <a:gd name="connsiteY29" fmla="*/ 2788762 h 2969978"/>
                <a:gd name="connsiteX30" fmla="*/ 8812404 w 11860922"/>
                <a:gd name="connsiteY30" fmla="*/ 2778714 h 2969978"/>
                <a:gd name="connsiteX31" fmla="*/ 8400422 w 11860922"/>
                <a:gd name="connsiteY31" fmla="*/ 2768666 h 2969978"/>
                <a:gd name="connsiteX32" fmla="*/ 8269793 w 11860922"/>
                <a:gd name="connsiteY32" fmla="*/ 2758617 h 2969978"/>
                <a:gd name="connsiteX33" fmla="*/ 7797521 w 11860922"/>
                <a:gd name="connsiteY33" fmla="*/ 2778714 h 2969978"/>
                <a:gd name="connsiteX34" fmla="*/ 7717134 w 11860922"/>
                <a:gd name="connsiteY34" fmla="*/ 2788762 h 2969978"/>
                <a:gd name="connsiteX35" fmla="*/ 7486022 w 11860922"/>
                <a:gd name="connsiteY35" fmla="*/ 2818908 h 2969978"/>
                <a:gd name="connsiteX36" fmla="*/ 7395587 w 11860922"/>
                <a:gd name="connsiteY36" fmla="*/ 2839004 h 2969978"/>
                <a:gd name="connsiteX37" fmla="*/ 7325248 w 11860922"/>
                <a:gd name="connsiteY37" fmla="*/ 2849053 h 2969978"/>
                <a:gd name="connsiteX38" fmla="*/ 6863024 w 11860922"/>
                <a:gd name="connsiteY38" fmla="*/ 2839004 h 2969978"/>
                <a:gd name="connsiteX39" fmla="*/ 6722347 w 11860922"/>
                <a:gd name="connsiteY39" fmla="*/ 2828956 h 2969978"/>
                <a:gd name="connsiteX40" fmla="*/ 4903596 w 11860922"/>
                <a:gd name="connsiteY40" fmla="*/ 2879198 h 2969978"/>
                <a:gd name="connsiteX41" fmla="*/ 4722725 w 11860922"/>
                <a:gd name="connsiteY41" fmla="*/ 2919391 h 2969978"/>
                <a:gd name="connsiteX42" fmla="*/ 4300695 w 11860922"/>
                <a:gd name="connsiteY42" fmla="*/ 2899294 h 2969978"/>
                <a:gd name="connsiteX43" fmla="*/ 4059534 w 11860922"/>
                <a:gd name="connsiteY43" fmla="*/ 2859101 h 2969978"/>
                <a:gd name="connsiteX44" fmla="*/ 3768132 w 11860922"/>
                <a:gd name="connsiteY44" fmla="*/ 2828956 h 2969978"/>
                <a:gd name="connsiteX45" fmla="*/ 3627455 w 11860922"/>
                <a:gd name="connsiteY45" fmla="*/ 2818908 h 2969978"/>
                <a:gd name="connsiteX46" fmla="*/ 3125037 w 11860922"/>
                <a:gd name="connsiteY46" fmla="*/ 2828956 h 2969978"/>
                <a:gd name="connsiteX47" fmla="*/ 3064747 w 11860922"/>
                <a:gd name="connsiteY47" fmla="*/ 2839004 h 2969978"/>
                <a:gd name="connsiteX48" fmla="*/ 2009670 w 11860922"/>
                <a:gd name="connsiteY48" fmla="*/ 2849053 h 2969978"/>
                <a:gd name="connsiteX49" fmla="*/ 1678075 w 11860922"/>
                <a:gd name="connsiteY49" fmla="*/ 2939488 h 2969978"/>
                <a:gd name="connsiteX50" fmla="*/ 1607736 w 11860922"/>
                <a:gd name="connsiteY50" fmla="*/ 2969633 h 2969978"/>
                <a:gd name="connsiteX51" fmla="*/ 1135464 w 11860922"/>
                <a:gd name="connsiteY51" fmla="*/ 2949536 h 2969978"/>
                <a:gd name="connsiteX52" fmla="*/ 944545 w 11860922"/>
                <a:gd name="connsiteY52" fmla="*/ 2919391 h 2969978"/>
                <a:gd name="connsiteX53" fmla="*/ 723481 w 11860922"/>
                <a:gd name="connsiteY53" fmla="*/ 2879198 h 2969978"/>
                <a:gd name="connsiteX54" fmla="*/ 643095 w 11860922"/>
                <a:gd name="connsiteY54" fmla="*/ 2869149 h 2969978"/>
                <a:gd name="connsiteX55" fmla="*/ 371789 w 11860922"/>
                <a:gd name="connsiteY55" fmla="*/ 2828956 h 2969978"/>
                <a:gd name="connsiteX56" fmla="*/ 0 w 11860922"/>
                <a:gd name="connsiteY56" fmla="*/ 2818908 h 2969978"/>
                <a:gd name="connsiteX0" fmla="*/ 120580 w 11857648"/>
                <a:gd name="connsiteY0" fmla="*/ 55611 h 2969978"/>
                <a:gd name="connsiteX1" fmla="*/ 281354 w 11857648"/>
                <a:gd name="connsiteY1" fmla="*/ 45562 h 2969978"/>
                <a:gd name="connsiteX2" fmla="*/ 673240 w 11857648"/>
                <a:gd name="connsiteY2" fmla="*/ 35514 h 2969978"/>
                <a:gd name="connsiteX3" fmla="*/ 1356528 w 11857648"/>
                <a:gd name="connsiteY3" fmla="*/ 85756 h 2969978"/>
                <a:gd name="connsiteX4" fmla="*/ 1758462 w 11857648"/>
                <a:gd name="connsiteY4" fmla="*/ 45562 h 2969978"/>
                <a:gd name="connsiteX5" fmla="*/ 2140299 w 11857648"/>
                <a:gd name="connsiteY5" fmla="*/ 45562 h 2969978"/>
                <a:gd name="connsiteX6" fmla="*/ 4652387 w 11857648"/>
                <a:gd name="connsiteY6" fmla="*/ 65659 h 2969978"/>
                <a:gd name="connsiteX7" fmla="*/ 4692580 w 11857648"/>
                <a:gd name="connsiteY7" fmla="*/ 75708 h 2969978"/>
                <a:gd name="connsiteX8" fmla="*/ 6420897 w 11857648"/>
                <a:gd name="connsiteY8" fmla="*/ 95804 h 2969978"/>
                <a:gd name="connsiteX9" fmla="*/ 7184571 w 11857648"/>
                <a:gd name="connsiteY9" fmla="*/ 65659 h 2969978"/>
                <a:gd name="connsiteX10" fmla="*/ 7928150 w 11857648"/>
                <a:gd name="connsiteY10" fmla="*/ 65659 h 2969978"/>
                <a:gd name="connsiteX11" fmla="*/ 8219552 w 11857648"/>
                <a:gd name="connsiteY11" fmla="*/ 95804 h 2969978"/>
                <a:gd name="connsiteX12" fmla="*/ 9606224 w 11857648"/>
                <a:gd name="connsiteY12" fmla="*/ 95804 h 2969978"/>
                <a:gd name="connsiteX13" fmla="*/ 9947868 w 11857648"/>
                <a:gd name="connsiteY13" fmla="*/ 65659 h 2969978"/>
                <a:gd name="connsiteX14" fmla="*/ 10791930 w 11857648"/>
                <a:gd name="connsiteY14" fmla="*/ 35514 h 2969978"/>
                <a:gd name="connsiteX15" fmla="*/ 11736475 w 11857648"/>
                <a:gd name="connsiteY15" fmla="*/ 55611 h 2969978"/>
                <a:gd name="connsiteX16" fmla="*/ 11806813 w 11857648"/>
                <a:gd name="connsiteY16" fmla="*/ 769044 h 2969978"/>
                <a:gd name="connsiteX17" fmla="*/ 11816862 w 11857648"/>
                <a:gd name="connsiteY17" fmla="*/ 2336587 h 2969978"/>
                <a:gd name="connsiteX18" fmla="*/ 11857055 w 11857648"/>
                <a:gd name="connsiteY18" fmla="*/ 2839004 h 2969978"/>
                <a:gd name="connsiteX19" fmla="*/ 11836958 w 11857648"/>
                <a:gd name="connsiteY19" fmla="*/ 2869149 h 2969978"/>
                <a:gd name="connsiteX20" fmla="*/ 11033090 w 11857648"/>
                <a:gd name="connsiteY20" fmla="*/ 2859101 h 2969978"/>
                <a:gd name="connsiteX21" fmla="*/ 10621108 w 11857648"/>
                <a:gd name="connsiteY21" fmla="*/ 2849053 h 2969978"/>
                <a:gd name="connsiteX22" fmla="*/ 10128739 w 11857648"/>
                <a:gd name="connsiteY22" fmla="*/ 2859101 h 2969978"/>
                <a:gd name="connsiteX23" fmla="*/ 10048352 w 11857648"/>
                <a:gd name="connsiteY23" fmla="*/ 2869149 h 2969978"/>
                <a:gd name="connsiteX24" fmla="*/ 9555982 w 11857648"/>
                <a:gd name="connsiteY24" fmla="*/ 2859101 h 2969978"/>
                <a:gd name="connsiteX25" fmla="*/ 9445451 w 11857648"/>
                <a:gd name="connsiteY25" fmla="*/ 2849053 h 2969978"/>
                <a:gd name="connsiteX26" fmla="*/ 9415306 w 11857648"/>
                <a:gd name="connsiteY26" fmla="*/ 2828956 h 2969978"/>
                <a:gd name="connsiteX27" fmla="*/ 9204290 w 11857648"/>
                <a:gd name="connsiteY27" fmla="*/ 2808859 h 2969978"/>
                <a:gd name="connsiteX28" fmla="*/ 9073662 w 11857648"/>
                <a:gd name="connsiteY28" fmla="*/ 2788762 h 2969978"/>
                <a:gd name="connsiteX29" fmla="*/ 8812404 w 11857648"/>
                <a:gd name="connsiteY29" fmla="*/ 2778714 h 2969978"/>
                <a:gd name="connsiteX30" fmla="*/ 8400422 w 11857648"/>
                <a:gd name="connsiteY30" fmla="*/ 2768666 h 2969978"/>
                <a:gd name="connsiteX31" fmla="*/ 8269793 w 11857648"/>
                <a:gd name="connsiteY31" fmla="*/ 2758617 h 2969978"/>
                <a:gd name="connsiteX32" fmla="*/ 7797521 w 11857648"/>
                <a:gd name="connsiteY32" fmla="*/ 2778714 h 2969978"/>
                <a:gd name="connsiteX33" fmla="*/ 7717134 w 11857648"/>
                <a:gd name="connsiteY33" fmla="*/ 2788762 h 2969978"/>
                <a:gd name="connsiteX34" fmla="*/ 7486022 w 11857648"/>
                <a:gd name="connsiteY34" fmla="*/ 2818908 h 2969978"/>
                <a:gd name="connsiteX35" fmla="*/ 7395587 w 11857648"/>
                <a:gd name="connsiteY35" fmla="*/ 2839004 h 2969978"/>
                <a:gd name="connsiteX36" fmla="*/ 7325248 w 11857648"/>
                <a:gd name="connsiteY36" fmla="*/ 2849053 h 2969978"/>
                <a:gd name="connsiteX37" fmla="*/ 6863024 w 11857648"/>
                <a:gd name="connsiteY37" fmla="*/ 2839004 h 2969978"/>
                <a:gd name="connsiteX38" fmla="*/ 6722347 w 11857648"/>
                <a:gd name="connsiteY38" fmla="*/ 2828956 h 2969978"/>
                <a:gd name="connsiteX39" fmla="*/ 4903596 w 11857648"/>
                <a:gd name="connsiteY39" fmla="*/ 2879198 h 2969978"/>
                <a:gd name="connsiteX40" fmla="*/ 4722725 w 11857648"/>
                <a:gd name="connsiteY40" fmla="*/ 2919391 h 2969978"/>
                <a:gd name="connsiteX41" fmla="*/ 4300695 w 11857648"/>
                <a:gd name="connsiteY41" fmla="*/ 2899294 h 2969978"/>
                <a:gd name="connsiteX42" fmla="*/ 4059534 w 11857648"/>
                <a:gd name="connsiteY42" fmla="*/ 2859101 h 2969978"/>
                <a:gd name="connsiteX43" fmla="*/ 3768132 w 11857648"/>
                <a:gd name="connsiteY43" fmla="*/ 2828956 h 2969978"/>
                <a:gd name="connsiteX44" fmla="*/ 3627455 w 11857648"/>
                <a:gd name="connsiteY44" fmla="*/ 2818908 h 2969978"/>
                <a:gd name="connsiteX45" fmla="*/ 3125037 w 11857648"/>
                <a:gd name="connsiteY45" fmla="*/ 2828956 h 2969978"/>
                <a:gd name="connsiteX46" fmla="*/ 3064747 w 11857648"/>
                <a:gd name="connsiteY46" fmla="*/ 2839004 h 2969978"/>
                <a:gd name="connsiteX47" fmla="*/ 2009670 w 11857648"/>
                <a:gd name="connsiteY47" fmla="*/ 2849053 h 2969978"/>
                <a:gd name="connsiteX48" fmla="*/ 1678075 w 11857648"/>
                <a:gd name="connsiteY48" fmla="*/ 2939488 h 2969978"/>
                <a:gd name="connsiteX49" fmla="*/ 1607736 w 11857648"/>
                <a:gd name="connsiteY49" fmla="*/ 2969633 h 2969978"/>
                <a:gd name="connsiteX50" fmla="*/ 1135464 w 11857648"/>
                <a:gd name="connsiteY50" fmla="*/ 2949536 h 2969978"/>
                <a:gd name="connsiteX51" fmla="*/ 944545 w 11857648"/>
                <a:gd name="connsiteY51" fmla="*/ 2919391 h 2969978"/>
                <a:gd name="connsiteX52" fmla="*/ 723481 w 11857648"/>
                <a:gd name="connsiteY52" fmla="*/ 2879198 h 2969978"/>
                <a:gd name="connsiteX53" fmla="*/ 643095 w 11857648"/>
                <a:gd name="connsiteY53" fmla="*/ 2869149 h 2969978"/>
                <a:gd name="connsiteX54" fmla="*/ 371789 w 11857648"/>
                <a:gd name="connsiteY54" fmla="*/ 2828956 h 2969978"/>
                <a:gd name="connsiteX55" fmla="*/ 0 w 11857648"/>
                <a:gd name="connsiteY55" fmla="*/ 2818908 h 2969978"/>
                <a:gd name="connsiteX0" fmla="*/ 120580 w 11907678"/>
                <a:gd name="connsiteY0" fmla="*/ 55611 h 2969978"/>
                <a:gd name="connsiteX1" fmla="*/ 281354 w 11907678"/>
                <a:gd name="connsiteY1" fmla="*/ 45562 h 2969978"/>
                <a:gd name="connsiteX2" fmla="*/ 673240 w 11907678"/>
                <a:gd name="connsiteY2" fmla="*/ 35514 h 2969978"/>
                <a:gd name="connsiteX3" fmla="*/ 1356528 w 11907678"/>
                <a:gd name="connsiteY3" fmla="*/ 85756 h 2969978"/>
                <a:gd name="connsiteX4" fmla="*/ 1758462 w 11907678"/>
                <a:gd name="connsiteY4" fmla="*/ 45562 h 2969978"/>
                <a:gd name="connsiteX5" fmla="*/ 2140299 w 11907678"/>
                <a:gd name="connsiteY5" fmla="*/ 45562 h 2969978"/>
                <a:gd name="connsiteX6" fmla="*/ 4652387 w 11907678"/>
                <a:gd name="connsiteY6" fmla="*/ 65659 h 2969978"/>
                <a:gd name="connsiteX7" fmla="*/ 4692580 w 11907678"/>
                <a:gd name="connsiteY7" fmla="*/ 75708 h 2969978"/>
                <a:gd name="connsiteX8" fmla="*/ 6420897 w 11907678"/>
                <a:gd name="connsiteY8" fmla="*/ 95804 h 2969978"/>
                <a:gd name="connsiteX9" fmla="*/ 7184571 w 11907678"/>
                <a:gd name="connsiteY9" fmla="*/ 65659 h 2969978"/>
                <a:gd name="connsiteX10" fmla="*/ 7928150 w 11907678"/>
                <a:gd name="connsiteY10" fmla="*/ 65659 h 2969978"/>
                <a:gd name="connsiteX11" fmla="*/ 8219552 w 11907678"/>
                <a:gd name="connsiteY11" fmla="*/ 95804 h 2969978"/>
                <a:gd name="connsiteX12" fmla="*/ 9606224 w 11907678"/>
                <a:gd name="connsiteY12" fmla="*/ 95804 h 2969978"/>
                <a:gd name="connsiteX13" fmla="*/ 9947868 w 11907678"/>
                <a:gd name="connsiteY13" fmla="*/ 65659 h 2969978"/>
                <a:gd name="connsiteX14" fmla="*/ 10791930 w 11907678"/>
                <a:gd name="connsiteY14" fmla="*/ 35514 h 2969978"/>
                <a:gd name="connsiteX15" fmla="*/ 11736475 w 11907678"/>
                <a:gd name="connsiteY15" fmla="*/ 55611 h 2969978"/>
                <a:gd name="connsiteX16" fmla="*/ 11806813 w 11907678"/>
                <a:gd name="connsiteY16" fmla="*/ 769044 h 2969978"/>
                <a:gd name="connsiteX17" fmla="*/ 11816862 w 11907678"/>
                <a:gd name="connsiteY17" fmla="*/ 2336587 h 2969978"/>
                <a:gd name="connsiteX18" fmla="*/ 11857055 w 11907678"/>
                <a:gd name="connsiteY18" fmla="*/ 2839004 h 2969978"/>
                <a:gd name="connsiteX19" fmla="*/ 11033090 w 11907678"/>
                <a:gd name="connsiteY19" fmla="*/ 2859101 h 2969978"/>
                <a:gd name="connsiteX20" fmla="*/ 10621108 w 11907678"/>
                <a:gd name="connsiteY20" fmla="*/ 2849053 h 2969978"/>
                <a:gd name="connsiteX21" fmla="*/ 10128739 w 11907678"/>
                <a:gd name="connsiteY21" fmla="*/ 2859101 h 2969978"/>
                <a:gd name="connsiteX22" fmla="*/ 10048352 w 11907678"/>
                <a:gd name="connsiteY22" fmla="*/ 2869149 h 2969978"/>
                <a:gd name="connsiteX23" fmla="*/ 9555982 w 11907678"/>
                <a:gd name="connsiteY23" fmla="*/ 2859101 h 2969978"/>
                <a:gd name="connsiteX24" fmla="*/ 9445451 w 11907678"/>
                <a:gd name="connsiteY24" fmla="*/ 2849053 h 2969978"/>
                <a:gd name="connsiteX25" fmla="*/ 9415306 w 11907678"/>
                <a:gd name="connsiteY25" fmla="*/ 2828956 h 2969978"/>
                <a:gd name="connsiteX26" fmla="*/ 9204290 w 11907678"/>
                <a:gd name="connsiteY26" fmla="*/ 2808859 h 2969978"/>
                <a:gd name="connsiteX27" fmla="*/ 9073662 w 11907678"/>
                <a:gd name="connsiteY27" fmla="*/ 2788762 h 2969978"/>
                <a:gd name="connsiteX28" fmla="*/ 8812404 w 11907678"/>
                <a:gd name="connsiteY28" fmla="*/ 2778714 h 2969978"/>
                <a:gd name="connsiteX29" fmla="*/ 8400422 w 11907678"/>
                <a:gd name="connsiteY29" fmla="*/ 2768666 h 2969978"/>
                <a:gd name="connsiteX30" fmla="*/ 8269793 w 11907678"/>
                <a:gd name="connsiteY30" fmla="*/ 2758617 h 2969978"/>
                <a:gd name="connsiteX31" fmla="*/ 7797521 w 11907678"/>
                <a:gd name="connsiteY31" fmla="*/ 2778714 h 2969978"/>
                <a:gd name="connsiteX32" fmla="*/ 7717134 w 11907678"/>
                <a:gd name="connsiteY32" fmla="*/ 2788762 h 2969978"/>
                <a:gd name="connsiteX33" fmla="*/ 7486022 w 11907678"/>
                <a:gd name="connsiteY33" fmla="*/ 2818908 h 2969978"/>
                <a:gd name="connsiteX34" fmla="*/ 7395587 w 11907678"/>
                <a:gd name="connsiteY34" fmla="*/ 2839004 h 2969978"/>
                <a:gd name="connsiteX35" fmla="*/ 7325248 w 11907678"/>
                <a:gd name="connsiteY35" fmla="*/ 2849053 h 2969978"/>
                <a:gd name="connsiteX36" fmla="*/ 6863024 w 11907678"/>
                <a:gd name="connsiteY36" fmla="*/ 2839004 h 2969978"/>
                <a:gd name="connsiteX37" fmla="*/ 6722347 w 11907678"/>
                <a:gd name="connsiteY37" fmla="*/ 2828956 h 2969978"/>
                <a:gd name="connsiteX38" fmla="*/ 4903596 w 11907678"/>
                <a:gd name="connsiteY38" fmla="*/ 2879198 h 2969978"/>
                <a:gd name="connsiteX39" fmla="*/ 4722725 w 11907678"/>
                <a:gd name="connsiteY39" fmla="*/ 2919391 h 2969978"/>
                <a:gd name="connsiteX40" fmla="*/ 4300695 w 11907678"/>
                <a:gd name="connsiteY40" fmla="*/ 2899294 h 2969978"/>
                <a:gd name="connsiteX41" fmla="*/ 4059534 w 11907678"/>
                <a:gd name="connsiteY41" fmla="*/ 2859101 h 2969978"/>
                <a:gd name="connsiteX42" fmla="*/ 3768132 w 11907678"/>
                <a:gd name="connsiteY42" fmla="*/ 2828956 h 2969978"/>
                <a:gd name="connsiteX43" fmla="*/ 3627455 w 11907678"/>
                <a:gd name="connsiteY43" fmla="*/ 2818908 h 2969978"/>
                <a:gd name="connsiteX44" fmla="*/ 3125037 w 11907678"/>
                <a:gd name="connsiteY44" fmla="*/ 2828956 h 2969978"/>
                <a:gd name="connsiteX45" fmla="*/ 3064747 w 11907678"/>
                <a:gd name="connsiteY45" fmla="*/ 2839004 h 2969978"/>
                <a:gd name="connsiteX46" fmla="*/ 2009670 w 11907678"/>
                <a:gd name="connsiteY46" fmla="*/ 2849053 h 2969978"/>
                <a:gd name="connsiteX47" fmla="*/ 1678075 w 11907678"/>
                <a:gd name="connsiteY47" fmla="*/ 2939488 h 2969978"/>
                <a:gd name="connsiteX48" fmla="*/ 1607736 w 11907678"/>
                <a:gd name="connsiteY48" fmla="*/ 2969633 h 2969978"/>
                <a:gd name="connsiteX49" fmla="*/ 1135464 w 11907678"/>
                <a:gd name="connsiteY49" fmla="*/ 2949536 h 2969978"/>
                <a:gd name="connsiteX50" fmla="*/ 944545 w 11907678"/>
                <a:gd name="connsiteY50" fmla="*/ 2919391 h 2969978"/>
                <a:gd name="connsiteX51" fmla="*/ 723481 w 11907678"/>
                <a:gd name="connsiteY51" fmla="*/ 2879198 h 2969978"/>
                <a:gd name="connsiteX52" fmla="*/ 643095 w 11907678"/>
                <a:gd name="connsiteY52" fmla="*/ 2869149 h 2969978"/>
                <a:gd name="connsiteX53" fmla="*/ 371789 w 11907678"/>
                <a:gd name="connsiteY53" fmla="*/ 2828956 h 2969978"/>
                <a:gd name="connsiteX54" fmla="*/ 0 w 11907678"/>
                <a:gd name="connsiteY54" fmla="*/ 2818908 h 2969978"/>
                <a:gd name="connsiteX0" fmla="*/ 120580 w 11869655"/>
                <a:gd name="connsiteY0" fmla="*/ 55611 h 2969978"/>
                <a:gd name="connsiteX1" fmla="*/ 281354 w 11869655"/>
                <a:gd name="connsiteY1" fmla="*/ 45562 h 2969978"/>
                <a:gd name="connsiteX2" fmla="*/ 673240 w 11869655"/>
                <a:gd name="connsiteY2" fmla="*/ 35514 h 2969978"/>
                <a:gd name="connsiteX3" fmla="*/ 1356528 w 11869655"/>
                <a:gd name="connsiteY3" fmla="*/ 85756 h 2969978"/>
                <a:gd name="connsiteX4" fmla="*/ 1758462 w 11869655"/>
                <a:gd name="connsiteY4" fmla="*/ 45562 h 2969978"/>
                <a:gd name="connsiteX5" fmla="*/ 2140299 w 11869655"/>
                <a:gd name="connsiteY5" fmla="*/ 45562 h 2969978"/>
                <a:gd name="connsiteX6" fmla="*/ 4652387 w 11869655"/>
                <a:gd name="connsiteY6" fmla="*/ 65659 h 2969978"/>
                <a:gd name="connsiteX7" fmla="*/ 4692580 w 11869655"/>
                <a:gd name="connsiteY7" fmla="*/ 75708 h 2969978"/>
                <a:gd name="connsiteX8" fmla="*/ 6420897 w 11869655"/>
                <a:gd name="connsiteY8" fmla="*/ 95804 h 2969978"/>
                <a:gd name="connsiteX9" fmla="*/ 7184571 w 11869655"/>
                <a:gd name="connsiteY9" fmla="*/ 65659 h 2969978"/>
                <a:gd name="connsiteX10" fmla="*/ 7928150 w 11869655"/>
                <a:gd name="connsiteY10" fmla="*/ 65659 h 2969978"/>
                <a:gd name="connsiteX11" fmla="*/ 8219552 w 11869655"/>
                <a:gd name="connsiteY11" fmla="*/ 95804 h 2969978"/>
                <a:gd name="connsiteX12" fmla="*/ 9606224 w 11869655"/>
                <a:gd name="connsiteY12" fmla="*/ 95804 h 2969978"/>
                <a:gd name="connsiteX13" fmla="*/ 9947868 w 11869655"/>
                <a:gd name="connsiteY13" fmla="*/ 65659 h 2969978"/>
                <a:gd name="connsiteX14" fmla="*/ 10791930 w 11869655"/>
                <a:gd name="connsiteY14" fmla="*/ 35514 h 2969978"/>
                <a:gd name="connsiteX15" fmla="*/ 11736475 w 11869655"/>
                <a:gd name="connsiteY15" fmla="*/ 55611 h 2969978"/>
                <a:gd name="connsiteX16" fmla="*/ 11806813 w 11869655"/>
                <a:gd name="connsiteY16" fmla="*/ 769044 h 2969978"/>
                <a:gd name="connsiteX17" fmla="*/ 11816862 w 11869655"/>
                <a:gd name="connsiteY17" fmla="*/ 2336587 h 2969978"/>
                <a:gd name="connsiteX18" fmla="*/ 11806813 w 11869655"/>
                <a:gd name="connsiteY18" fmla="*/ 2828956 h 2969978"/>
                <a:gd name="connsiteX19" fmla="*/ 11033090 w 11869655"/>
                <a:gd name="connsiteY19" fmla="*/ 2859101 h 2969978"/>
                <a:gd name="connsiteX20" fmla="*/ 10621108 w 11869655"/>
                <a:gd name="connsiteY20" fmla="*/ 2849053 h 2969978"/>
                <a:gd name="connsiteX21" fmla="*/ 10128739 w 11869655"/>
                <a:gd name="connsiteY21" fmla="*/ 2859101 h 2969978"/>
                <a:gd name="connsiteX22" fmla="*/ 10048352 w 11869655"/>
                <a:gd name="connsiteY22" fmla="*/ 2869149 h 2969978"/>
                <a:gd name="connsiteX23" fmla="*/ 9555982 w 11869655"/>
                <a:gd name="connsiteY23" fmla="*/ 2859101 h 2969978"/>
                <a:gd name="connsiteX24" fmla="*/ 9445451 w 11869655"/>
                <a:gd name="connsiteY24" fmla="*/ 2849053 h 2969978"/>
                <a:gd name="connsiteX25" fmla="*/ 9415306 w 11869655"/>
                <a:gd name="connsiteY25" fmla="*/ 2828956 h 2969978"/>
                <a:gd name="connsiteX26" fmla="*/ 9204290 w 11869655"/>
                <a:gd name="connsiteY26" fmla="*/ 2808859 h 2969978"/>
                <a:gd name="connsiteX27" fmla="*/ 9073662 w 11869655"/>
                <a:gd name="connsiteY27" fmla="*/ 2788762 h 2969978"/>
                <a:gd name="connsiteX28" fmla="*/ 8812404 w 11869655"/>
                <a:gd name="connsiteY28" fmla="*/ 2778714 h 2969978"/>
                <a:gd name="connsiteX29" fmla="*/ 8400422 w 11869655"/>
                <a:gd name="connsiteY29" fmla="*/ 2768666 h 2969978"/>
                <a:gd name="connsiteX30" fmla="*/ 8269793 w 11869655"/>
                <a:gd name="connsiteY30" fmla="*/ 2758617 h 2969978"/>
                <a:gd name="connsiteX31" fmla="*/ 7797521 w 11869655"/>
                <a:gd name="connsiteY31" fmla="*/ 2778714 h 2969978"/>
                <a:gd name="connsiteX32" fmla="*/ 7717134 w 11869655"/>
                <a:gd name="connsiteY32" fmla="*/ 2788762 h 2969978"/>
                <a:gd name="connsiteX33" fmla="*/ 7486022 w 11869655"/>
                <a:gd name="connsiteY33" fmla="*/ 2818908 h 2969978"/>
                <a:gd name="connsiteX34" fmla="*/ 7395587 w 11869655"/>
                <a:gd name="connsiteY34" fmla="*/ 2839004 h 2969978"/>
                <a:gd name="connsiteX35" fmla="*/ 7325248 w 11869655"/>
                <a:gd name="connsiteY35" fmla="*/ 2849053 h 2969978"/>
                <a:gd name="connsiteX36" fmla="*/ 6863024 w 11869655"/>
                <a:gd name="connsiteY36" fmla="*/ 2839004 h 2969978"/>
                <a:gd name="connsiteX37" fmla="*/ 6722347 w 11869655"/>
                <a:gd name="connsiteY37" fmla="*/ 2828956 h 2969978"/>
                <a:gd name="connsiteX38" fmla="*/ 4903596 w 11869655"/>
                <a:gd name="connsiteY38" fmla="*/ 2879198 h 2969978"/>
                <a:gd name="connsiteX39" fmla="*/ 4722725 w 11869655"/>
                <a:gd name="connsiteY39" fmla="*/ 2919391 h 2969978"/>
                <a:gd name="connsiteX40" fmla="*/ 4300695 w 11869655"/>
                <a:gd name="connsiteY40" fmla="*/ 2899294 h 2969978"/>
                <a:gd name="connsiteX41" fmla="*/ 4059534 w 11869655"/>
                <a:gd name="connsiteY41" fmla="*/ 2859101 h 2969978"/>
                <a:gd name="connsiteX42" fmla="*/ 3768132 w 11869655"/>
                <a:gd name="connsiteY42" fmla="*/ 2828956 h 2969978"/>
                <a:gd name="connsiteX43" fmla="*/ 3627455 w 11869655"/>
                <a:gd name="connsiteY43" fmla="*/ 2818908 h 2969978"/>
                <a:gd name="connsiteX44" fmla="*/ 3125037 w 11869655"/>
                <a:gd name="connsiteY44" fmla="*/ 2828956 h 2969978"/>
                <a:gd name="connsiteX45" fmla="*/ 3064747 w 11869655"/>
                <a:gd name="connsiteY45" fmla="*/ 2839004 h 2969978"/>
                <a:gd name="connsiteX46" fmla="*/ 2009670 w 11869655"/>
                <a:gd name="connsiteY46" fmla="*/ 2849053 h 2969978"/>
                <a:gd name="connsiteX47" fmla="*/ 1678075 w 11869655"/>
                <a:gd name="connsiteY47" fmla="*/ 2939488 h 2969978"/>
                <a:gd name="connsiteX48" fmla="*/ 1607736 w 11869655"/>
                <a:gd name="connsiteY48" fmla="*/ 2969633 h 2969978"/>
                <a:gd name="connsiteX49" fmla="*/ 1135464 w 11869655"/>
                <a:gd name="connsiteY49" fmla="*/ 2949536 h 2969978"/>
                <a:gd name="connsiteX50" fmla="*/ 944545 w 11869655"/>
                <a:gd name="connsiteY50" fmla="*/ 2919391 h 2969978"/>
                <a:gd name="connsiteX51" fmla="*/ 723481 w 11869655"/>
                <a:gd name="connsiteY51" fmla="*/ 2879198 h 2969978"/>
                <a:gd name="connsiteX52" fmla="*/ 643095 w 11869655"/>
                <a:gd name="connsiteY52" fmla="*/ 2869149 h 2969978"/>
                <a:gd name="connsiteX53" fmla="*/ 371789 w 11869655"/>
                <a:gd name="connsiteY53" fmla="*/ 2828956 h 2969978"/>
                <a:gd name="connsiteX54" fmla="*/ 0 w 11869655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621108 w 11851944"/>
                <a:gd name="connsiteY20" fmla="*/ 2849053 h 2969978"/>
                <a:gd name="connsiteX21" fmla="*/ 10128739 w 11851944"/>
                <a:gd name="connsiteY21" fmla="*/ 2859101 h 2969978"/>
                <a:gd name="connsiteX22" fmla="*/ 10048352 w 11851944"/>
                <a:gd name="connsiteY22" fmla="*/ 2869149 h 2969978"/>
                <a:gd name="connsiteX23" fmla="*/ 9555982 w 11851944"/>
                <a:gd name="connsiteY23" fmla="*/ 2859101 h 2969978"/>
                <a:gd name="connsiteX24" fmla="*/ 9445451 w 11851944"/>
                <a:gd name="connsiteY24" fmla="*/ 2849053 h 2969978"/>
                <a:gd name="connsiteX25" fmla="*/ 9415306 w 11851944"/>
                <a:gd name="connsiteY25" fmla="*/ 2828956 h 2969978"/>
                <a:gd name="connsiteX26" fmla="*/ 9204290 w 11851944"/>
                <a:gd name="connsiteY26" fmla="*/ 2808859 h 2969978"/>
                <a:gd name="connsiteX27" fmla="*/ 9073662 w 11851944"/>
                <a:gd name="connsiteY27" fmla="*/ 2788762 h 2969978"/>
                <a:gd name="connsiteX28" fmla="*/ 8812404 w 11851944"/>
                <a:gd name="connsiteY28" fmla="*/ 2778714 h 2969978"/>
                <a:gd name="connsiteX29" fmla="*/ 8400422 w 11851944"/>
                <a:gd name="connsiteY29" fmla="*/ 2768666 h 2969978"/>
                <a:gd name="connsiteX30" fmla="*/ 8269793 w 11851944"/>
                <a:gd name="connsiteY30" fmla="*/ 2758617 h 2969978"/>
                <a:gd name="connsiteX31" fmla="*/ 7797521 w 11851944"/>
                <a:gd name="connsiteY31" fmla="*/ 2778714 h 2969978"/>
                <a:gd name="connsiteX32" fmla="*/ 7717134 w 11851944"/>
                <a:gd name="connsiteY32" fmla="*/ 2788762 h 2969978"/>
                <a:gd name="connsiteX33" fmla="*/ 7486022 w 11851944"/>
                <a:gd name="connsiteY33" fmla="*/ 2818908 h 2969978"/>
                <a:gd name="connsiteX34" fmla="*/ 7395587 w 11851944"/>
                <a:gd name="connsiteY34" fmla="*/ 2839004 h 2969978"/>
                <a:gd name="connsiteX35" fmla="*/ 7325248 w 11851944"/>
                <a:gd name="connsiteY35" fmla="*/ 2849053 h 2969978"/>
                <a:gd name="connsiteX36" fmla="*/ 6863024 w 11851944"/>
                <a:gd name="connsiteY36" fmla="*/ 2839004 h 2969978"/>
                <a:gd name="connsiteX37" fmla="*/ 6722347 w 11851944"/>
                <a:gd name="connsiteY37" fmla="*/ 2828956 h 2969978"/>
                <a:gd name="connsiteX38" fmla="*/ 4903596 w 11851944"/>
                <a:gd name="connsiteY38" fmla="*/ 2879198 h 2969978"/>
                <a:gd name="connsiteX39" fmla="*/ 4722725 w 11851944"/>
                <a:gd name="connsiteY39" fmla="*/ 2919391 h 2969978"/>
                <a:gd name="connsiteX40" fmla="*/ 4300695 w 11851944"/>
                <a:gd name="connsiteY40" fmla="*/ 2899294 h 2969978"/>
                <a:gd name="connsiteX41" fmla="*/ 4059534 w 11851944"/>
                <a:gd name="connsiteY41" fmla="*/ 2859101 h 2969978"/>
                <a:gd name="connsiteX42" fmla="*/ 3768132 w 11851944"/>
                <a:gd name="connsiteY42" fmla="*/ 2828956 h 2969978"/>
                <a:gd name="connsiteX43" fmla="*/ 3627455 w 11851944"/>
                <a:gd name="connsiteY43" fmla="*/ 2818908 h 2969978"/>
                <a:gd name="connsiteX44" fmla="*/ 3125037 w 11851944"/>
                <a:gd name="connsiteY44" fmla="*/ 2828956 h 2969978"/>
                <a:gd name="connsiteX45" fmla="*/ 3064747 w 11851944"/>
                <a:gd name="connsiteY45" fmla="*/ 2839004 h 2969978"/>
                <a:gd name="connsiteX46" fmla="*/ 2009670 w 11851944"/>
                <a:gd name="connsiteY46" fmla="*/ 2849053 h 2969978"/>
                <a:gd name="connsiteX47" fmla="*/ 1678075 w 11851944"/>
                <a:gd name="connsiteY47" fmla="*/ 2939488 h 2969978"/>
                <a:gd name="connsiteX48" fmla="*/ 1607736 w 11851944"/>
                <a:gd name="connsiteY48" fmla="*/ 2969633 h 2969978"/>
                <a:gd name="connsiteX49" fmla="*/ 1135464 w 11851944"/>
                <a:gd name="connsiteY49" fmla="*/ 2949536 h 2969978"/>
                <a:gd name="connsiteX50" fmla="*/ 944545 w 11851944"/>
                <a:gd name="connsiteY50" fmla="*/ 2919391 h 2969978"/>
                <a:gd name="connsiteX51" fmla="*/ 723481 w 11851944"/>
                <a:gd name="connsiteY51" fmla="*/ 2879198 h 2969978"/>
                <a:gd name="connsiteX52" fmla="*/ 643095 w 11851944"/>
                <a:gd name="connsiteY52" fmla="*/ 2869149 h 2969978"/>
                <a:gd name="connsiteX53" fmla="*/ 371789 w 11851944"/>
                <a:gd name="connsiteY53" fmla="*/ 2828956 h 2969978"/>
                <a:gd name="connsiteX54" fmla="*/ 0 w 11851944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415306 w 11851944"/>
                <a:gd name="connsiteY24" fmla="*/ 2828956 h 2969978"/>
                <a:gd name="connsiteX25" fmla="*/ 9204290 w 11851944"/>
                <a:gd name="connsiteY25" fmla="*/ 2808859 h 2969978"/>
                <a:gd name="connsiteX26" fmla="*/ 9073662 w 11851944"/>
                <a:gd name="connsiteY26" fmla="*/ 2788762 h 2969978"/>
                <a:gd name="connsiteX27" fmla="*/ 8812404 w 11851944"/>
                <a:gd name="connsiteY27" fmla="*/ 2778714 h 2969978"/>
                <a:gd name="connsiteX28" fmla="*/ 8400422 w 11851944"/>
                <a:gd name="connsiteY28" fmla="*/ 2768666 h 2969978"/>
                <a:gd name="connsiteX29" fmla="*/ 8269793 w 11851944"/>
                <a:gd name="connsiteY29" fmla="*/ 2758617 h 2969978"/>
                <a:gd name="connsiteX30" fmla="*/ 7797521 w 11851944"/>
                <a:gd name="connsiteY30" fmla="*/ 2778714 h 2969978"/>
                <a:gd name="connsiteX31" fmla="*/ 7717134 w 11851944"/>
                <a:gd name="connsiteY31" fmla="*/ 2788762 h 2969978"/>
                <a:gd name="connsiteX32" fmla="*/ 7486022 w 11851944"/>
                <a:gd name="connsiteY32" fmla="*/ 2818908 h 2969978"/>
                <a:gd name="connsiteX33" fmla="*/ 7395587 w 11851944"/>
                <a:gd name="connsiteY33" fmla="*/ 2839004 h 2969978"/>
                <a:gd name="connsiteX34" fmla="*/ 7325248 w 11851944"/>
                <a:gd name="connsiteY34" fmla="*/ 2849053 h 2969978"/>
                <a:gd name="connsiteX35" fmla="*/ 6863024 w 11851944"/>
                <a:gd name="connsiteY35" fmla="*/ 2839004 h 2969978"/>
                <a:gd name="connsiteX36" fmla="*/ 6722347 w 11851944"/>
                <a:gd name="connsiteY36" fmla="*/ 2828956 h 2969978"/>
                <a:gd name="connsiteX37" fmla="*/ 4903596 w 11851944"/>
                <a:gd name="connsiteY37" fmla="*/ 2879198 h 2969978"/>
                <a:gd name="connsiteX38" fmla="*/ 4722725 w 11851944"/>
                <a:gd name="connsiteY38" fmla="*/ 2919391 h 2969978"/>
                <a:gd name="connsiteX39" fmla="*/ 4300695 w 11851944"/>
                <a:gd name="connsiteY39" fmla="*/ 2899294 h 2969978"/>
                <a:gd name="connsiteX40" fmla="*/ 4059534 w 11851944"/>
                <a:gd name="connsiteY40" fmla="*/ 2859101 h 2969978"/>
                <a:gd name="connsiteX41" fmla="*/ 3768132 w 11851944"/>
                <a:gd name="connsiteY41" fmla="*/ 2828956 h 2969978"/>
                <a:gd name="connsiteX42" fmla="*/ 3627455 w 11851944"/>
                <a:gd name="connsiteY42" fmla="*/ 2818908 h 2969978"/>
                <a:gd name="connsiteX43" fmla="*/ 3125037 w 11851944"/>
                <a:gd name="connsiteY43" fmla="*/ 2828956 h 2969978"/>
                <a:gd name="connsiteX44" fmla="*/ 3064747 w 11851944"/>
                <a:gd name="connsiteY44" fmla="*/ 2839004 h 2969978"/>
                <a:gd name="connsiteX45" fmla="*/ 2009670 w 11851944"/>
                <a:gd name="connsiteY45" fmla="*/ 2849053 h 2969978"/>
                <a:gd name="connsiteX46" fmla="*/ 1678075 w 11851944"/>
                <a:gd name="connsiteY46" fmla="*/ 2939488 h 2969978"/>
                <a:gd name="connsiteX47" fmla="*/ 1607736 w 11851944"/>
                <a:gd name="connsiteY47" fmla="*/ 2969633 h 2969978"/>
                <a:gd name="connsiteX48" fmla="*/ 1135464 w 11851944"/>
                <a:gd name="connsiteY48" fmla="*/ 2949536 h 2969978"/>
                <a:gd name="connsiteX49" fmla="*/ 944545 w 11851944"/>
                <a:gd name="connsiteY49" fmla="*/ 2919391 h 2969978"/>
                <a:gd name="connsiteX50" fmla="*/ 723481 w 11851944"/>
                <a:gd name="connsiteY50" fmla="*/ 2879198 h 2969978"/>
                <a:gd name="connsiteX51" fmla="*/ 643095 w 11851944"/>
                <a:gd name="connsiteY51" fmla="*/ 2869149 h 2969978"/>
                <a:gd name="connsiteX52" fmla="*/ 371789 w 11851944"/>
                <a:gd name="connsiteY52" fmla="*/ 2828956 h 2969978"/>
                <a:gd name="connsiteX53" fmla="*/ 0 w 11851944"/>
                <a:gd name="connsiteY5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204290 w 11851944"/>
                <a:gd name="connsiteY24" fmla="*/ 2808859 h 2969978"/>
                <a:gd name="connsiteX25" fmla="*/ 9073662 w 11851944"/>
                <a:gd name="connsiteY25" fmla="*/ 2788762 h 2969978"/>
                <a:gd name="connsiteX26" fmla="*/ 8812404 w 11851944"/>
                <a:gd name="connsiteY26" fmla="*/ 2778714 h 2969978"/>
                <a:gd name="connsiteX27" fmla="*/ 8400422 w 11851944"/>
                <a:gd name="connsiteY27" fmla="*/ 2768666 h 2969978"/>
                <a:gd name="connsiteX28" fmla="*/ 8269793 w 11851944"/>
                <a:gd name="connsiteY28" fmla="*/ 2758617 h 2969978"/>
                <a:gd name="connsiteX29" fmla="*/ 7797521 w 11851944"/>
                <a:gd name="connsiteY29" fmla="*/ 2778714 h 2969978"/>
                <a:gd name="connsiteX30" fmla="*/ 7717134 w 11851944"/>
                <a:gd name="connsiteY30" fmla="*/ 2788762 h 2969978"/>
                <a:gd name="connsiteX31" fmla="*/ 7486022 w 11851944"/>
                <a:gd name="connsiteY31" fmla="*/ 2818908 h 2969978"/>
                <a:gd name="connsiteX32" fmla="*/ 7395587 w 11851944"/>
                <a:gd name="connsiteY32" fmla="*/ 2839004 h 2969978"/>
                <a:gd name="connsiteX33" fmla="*/ 7325248 w 11851944"/>
                <a:gd name="connsiteY33" fmla="*/ 2849053 h 2969978"/>
                <a:gd name="connsiteX34" fmla="*/ 6863024 w 11851944"/>
                <a:gd name="connsiteY34" fmla="*/ 2839004 h 2969978"/>
                <a:gd name="connsiteX35" fmla="*/ 6722347 w 11851944"/>
                <a:gd name="connsiteY35" fmla="*/ 2828956 h 2969978"/>
                <a:gd name="connsiteX36" fmla="*/ 4903596 w 11851944"/>
                <a:gd name="connsiteY36" fmla="*/ 2879198 h 2969978"/>
                <a:gd name="connsiteX37" fmla="*/ 4722725 w 11851944"/>
                <a:gd name="connsiteY37" fmla="*/ 2919391 h 2969978"/>
                <a:gd name="connsiteX38" fmla="*/ 4300695 w 11851944"/>
                <a:gd name="connsiteY38" fmla="*/ 2899294 h 2969978"/>
                <a:gd name="connsiteX39" fmla="*/ 4059534 w 11851944"/>
                <a:gd name="connsiteY39" fmla="*/ 2859101 h 2969978"/>
                <a:gd name="connsiteX40" fmla="*/ 3768132 w 11851944"/>
                <a:gd name="connsiteY40" fmla="*/ 2828956 h 2969978"/>
                <a:gd name="connsiteX41" fmla="*/ 3627455 w 11851944"/>
                <a:gd name="connsiteY41" fmla="*/ 2818908 h 2969978"/>
                <a:gd name="connsiteX42" fmla="*/ 3125037 w 11851944"/>
                <a:gd name="connsiteY42" fmla="*/ 2828956 h 2969978"/>
                <a:gd name="connsiteX43" fmla="*/ 3064747 w 11851944"/>
                <a:gd name="connsiteY43" fmla="*/ 2839004 h 2969978"/>
                <a:gd name="connsiteX44" fmla="*/ 2009670 w 11851944"/>
                <a:gd name="connsiteY44" fmla="*/ 2849053 h 2969978"/>
                <a:gd name="connsiteX45" fmla="*/ 1678075 w 11851944"/>
                <a:gd name="connsiteY45" fmla="*/ 2939488 h 2969978"/>
                <a:gd name="connsiteX46" fmla="*/ 1607736 w 11851944"/>
                <a:gd name="connsiteY46" fmla="*/ 2969633 h 2969978"/>
                <a:gd name="connsiteX47" fmla="*/ 1135464 w 11851944"/>
                <a:gd name="connsiteY47" fmla="*/ 2949536 h 2969978"/>
                <a:gd name="connsiteX48" fmla="*/ 944545 w 11851944"/>
                <a:gd name="connsiteY48" fmla="*/ 2919391 h 2969978"/>
                <a:gd name="connsiteX49" fmla="*/ 723481 w 11851944"/>
                <a:gd name="connsiteY49" fmla="*/ 2879198 h 2969978"/>
                <a:gd name="connsiteX50" fmla="*/ 643095 w 11851944"/>
                <a:gd name="connsiteY50" fmla="*/ 2869149 h 2969978"/>
                <a:gd name="connsiteX51" fmla="*/ 371789 w 11851944"/>
                <a:gd name="connsiteY51" fmla="*/ 2828956 h 2969978"/>
                <a:gd name="connsiteX52" fmla="*/ 0 w 11851944"/>
                <a:gd name="connsiteY5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204290 w 11851944"/>
                <a:gd name="connsiteY23" fmla="*/ 2808859 h 2969978"/>
                <a:gd name="connsiteX24" fmla="*/ 9073662 w 11851944"/>
                <a:gd name="connsiteY24" fmla="*/ 2788762 h 2969978"/>
                <a:gd name="connsiteX25" fmla="*/ 8812404 w 11851944"/>
                <a:gd name="connsiteY25" fmla="*/ 2778714 h 2969978"/>
                <a:gd name="connsiteX26" fmla="*/ 8400422 w 11851944"/>
                <a:gd name="connsiteY26" fmla="*/ 2768666 h 2969978"/>
                <a:gd name="connsiteX27" fmla="*/ 8269793 w 11851944"/>
                <a:gd name="connsiteY27" fmla="*/ 2758617 h 2969978"/>
                <a:gd name="connsiteX28" fmla="*/ 7797521 w 11851944"/>
                <a:gd name="connsiteY28" fmla="*/ 2778714 h 2969978"/>
                <a:gd name="connsiteX29" fmla="*/ 7717134 w 11851944"/>
                <a:gd name="connsiteY29" fmla="*/ 2788762 h 2969978"/>
                <a:gd name="connsiteX30" fmla="*/ 7486022 w 11851944"/>
                <a:gd name="connsiteY30" fmla="*/ 2818908 h 2969978"/>
                <a:gd name="connsiteX31" fmla="*/ 7395587 w 11851944"/>
                <a:gd name="connsiteY31" fmla="*/ 2839004 h 2969978"/>
                <a:gd name="connsiteX32" fmla="*/ 7325248 w 11851944"/>
                <a:gd name="connsiteY32" fmla="*/ 2849053 h 2969978"/>
                <a:gd name="connsiteX33" fmla="*/ 6863024 w 11851944"/>
                <a:gd name="connsiteY33" fmla="*/ 2839004 h 2969978"/>
                <a:gd name="connsiteX34" fmla="*/ 6722347 w 11851944"/>
                <a:gd name="connsiteY34" fmla="*/ 2828956 h 2969978"/>
                <a:gd name="connsiteX35" fmla="*/ 4903596 w 11851944"/>
                <a:gd name="connsiteY35" fmla="*/ 2879198 h 2969978"/>
                <a:gd name="connsiteX36" fmla="*/ 4722725 w 11851944"/>
                <a:gd name="connsiteY36" fmla="*/ 2919391 h 2969978"/>
                <a:gd name="connsiteX37" fmla="*/ 4300695 w 11851944"/>
                <a:gd name="connsiteY37" fmla="*/ 2899294 h 2969978"/>
                <a:gd name="connsiteX38" fmla="*/ 4059534 w 11851944"/>
                <a:gd name="connsiteY38" fmla="*/ 2859101 h 2969978"/>
                <a:gd name="connsiteX39" fmla="*/ 3768132 w 11851944"/>
                <a:gd name="connsiteY39" fmla="*/ 2828956 h 2969978"/>
                <a:gd name="connsiteX40" fmla="*/ 3627455 w 11851944"/>
                <a:gd name="connsiteY40" fmla="*/ 2818908 h 2969978"/>
                <a:gd name="connsiteX41" fmla="*/ 3125037 w 11851944"/>
                <a:gd name="connsiteY41" fmla="*/ 2828956 h 2969978"/>
                <a:gd name="connsiteX42" fmla="*/ 3064747 w 11851944"/>
                <a:gd name="connsiteY42" fmla="*/ 2839004 h 2969978"/>
                <a:gd name="connsiteX43" fmla="*/ 2009670 w 11851944"/>
                <a:gd name="connsiteY43" fmla="*/ 2849053 h 2969978"/>
                <a:gd name="connsiteX44" fmla="*/ 1678075 w 11851944"/>
                <a:gd name="connsiteY44" fmla="*/ 2939488 h 2969978"/>
                <a:gd name="connsiteX45" fmla="*/ 1607736 w 11851944"/>
                <a:gd name="connsiteY45" fmla="*/ 2969633 h 2969978"/>
                <a:gd name="connsiteX46" fmla="*/ 1135464 w 11851944"/>
                <a:gd name="connsiteY46" fmla="*/ 2949536 h 2969978"/>
                <a:gd name="connsiteX47" fmla="*/ 944545 w 11851944"/>
                <a:gd name="connsiteY47" fmla="*/ 2919391 h 2969978"/>
                <a:gd name="connsiteX48" fmla="*/ 723481 w 11851944"/>
                <a:gd name="connsiteY48" fmla="*/ 2879198 h 2969978"/>
                <a:gd name="connsiteX49" fmla="*/ 643095 w 11851944"/>
                <a:gd name="connsiteY49" fmla="*/ 2869149 h 2969978"/>
                <a:gd name="connsiteX50" fmla="*/ 371789 w 11851944"/>
                <a:gd name="connsiteY50" fmla="*/ 2828956 h 2969978"/>
                <a:gd name="connsiteX51" fmla="*/ 0 w 11851944"/>
                <a:gd name="connsiteY5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400422 w 11851944"/>
                <a:gd name="connsiteY25" fmla="*/ 2768666 h 2969978"/>
                <a:gd name="connsiteX26" fmla="*/ 8269793 w 11851944"/>
                <a:gd name="connsiteY26" fmla="*/ 2758617 h 2969978"/>
                <a:gd name="connsiteX27" fmla="*/ 7797521 w 11851944"/>
                <a:gd name="connsiteY27" fmla="*/ 2778714 h 2969978"/>
                <a:gd name="connsiteX28" fmla="*/ 7717134 w 11851944"/>
                <a:gd name="connsiteY28" fmla="*/ 2788762 h 2969978"/>
                <a:gd name="connsiteX29" fmla="*/ 7486022 w 11851944"/>
                <a:gd name="connsiteY29" fmla="*/ 2818908 h 2969978"/>
                <a:gd name="connsiteX30" fmla="*/ 7395587 w 11851944"/>
                <a:gd name="connsiteY30" fmla="*/ 2839004 h 2969978"/>
                <a:gd name="connsiteX31" fmla="*/ 7325248 w 11851944"/>
                <a:gd name="connsiteY31" fmla="*/ 2849053 h 2969978"/>
                <a:gd name="connsiteX32" fmla="*/ 6863024 w 11851944"/>
                <a:gd name="connsiteY32" fmla="*/ 2839004 h 2969978"/>
                <a:gd name="connsiteX33" fmla="*/ 6722347 w 11851944"/>
                <a:gd name="connsiteY33" fmla="*/ 2828956 h 2969978"/>
                <a:gd name="connsiteX34" fmla="*/ 4903596 w 11851944"/>
                <a:gd name="connsiteY34" fmla="*/ 2879198 h 2969978"/>
                <a:gd name="connsiteX35" fmla="*/ 4722725 w 11851944"/>
                <a:gd name="connsiteY35" fmla="*/ 2919391 h 2969978"/>
                <a:gd name="connsiteX36" fmla="*/ 4300695 w 11851944"/>
                <a:gd name="connsiteY36" fmla="*/ 2899294 h 2969978"/>
                <a:gd name="connsiteX37" fmla="*/ 4059534 w 11851944"/>
                <a:gd name="connsiteY37" fmla="*/ 2859101 h 2969978"/>
                <a:gd name="connsiteX38" fmla="*/ 3768132 w 11851944"/>
                <a:gd name="connsiteY38" fmla="*/ 2828956 h 2969978"/>
                <a:gd name="connsiteX39" fmla="*/ 3627455 w 11851944"/>
                <a:gd name="connsiteY39" fmla="*/ 2818908 h 2969978"/>
                <a:gd name="connsiteX40" fmla="*/ 3125037 w 11851944"/>
                <a:gd name="connsiteY40" fmla="*/ 2828956 h 2969978"/>
                <a:gd name="connsiteX41" fmla="*/ 3064747 w 11851944"/>
                <a:gd name="connsiteY41" fmla="*/ 2839004 h 2969978"/>
                <a:gd name="connsiteX42" fmla="*/ 2009670 w 11851944"/>
                <a:gd name="connsiteY42" fmla="*/ 2849053 h 2969978"/>
                <a:gd name="connsiteX43" fmla="*/ 1678075 w 11851944"/>
                <a:gd name="connsiteY43" fmla="*/ 2939488 h 2969978"/>
                <a:gd name="connsiteX44" fmla="*/ 1607736 w 11851944"/>
                <a:gd name="connsiteY44" fmla="*/ 2969633 h 2969978"/>
                <a:gd name="connsiteX45" fmla="*/ 1135464 w 11851944"/>
                <a:gd name="connsiteY45" fmla="*/ 2949536 h 2969978"/>
                <a:gd name="connsiteX46" fmla="*/ 944545 w 11851944"/>
                <a:gd name="connsiteY46" fmla="*/ 2919391 h 2969978"/>
                <a:gd name="connsiteX47" fmla="*/ 723481 w 11851944"/>
                <a:gd name="connsiteY47" fmla="*/ 2879198 h 2969978"/>
                <a:gd name="connsiteX48" fmla="*/ 643095 w 11851944"/>
                <a:gd name="connsiteY48" fmla="*/ 2869149 h 2969978"/>
                <a:gd name="connsiteX49" fmla="*/ 371789 w 11851944"/>
                <a:gd name="connsiteY49" fmla="*/ 2828956 h 2969978"/>
                <a:gd name="connsiteX50" fmla="*/ 0 w 11851944"/>
                <a:gd name="connsiteY5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269793 w 11851944"/>
                <a:gd name="connsiteY25" fmla="*/ 2758617 h 2969978"/>
                <a:gd name="connsiteX26" fmla="*/ 7797521 w 11851944"/>
                <a:gd name="connsiteY26" fmla="*/ 2778714 h 2969978"/>
                <a:gd name="connsiteX27" fmla="*/ 7717134 w 11851944"/>
                <a:gd name="connsiteY27" fmla="*/ 2788762 h 2969978"/>
                <a:gd name="connsiteX28" fmla="*/ 7486022 w 11851944"/>
                <a:gd name="connsiteY28" fmla="*/ 2818908 h 2969978"/>
                <a:gd name="connsiteX29" fmla="*/ 7395587 w 11851944"/>
                <a:gd name="connsiteY29" fmla="*/ 2839004 h 2969978"/>
                <a:gd name="connsiteX30" fmla="*/ 7325248 w 11851944"/>
                <a:gd name="connsiteY30" fmla="*/ 2849053 h 2969978"/>
                <a:gd name="connsiteX31" fmla="*/ 6863024 w 11851944"/>
                <a:gd name="connsiteY31" fmla="*/ 2839004 h 2969978"/>
                <a:gd name="connsiteX32" fmla="*/ 6722347 w 11851944"/>
                <a:gd name="connsiteY32" fmla="*/ 2828956 h 2969978"/>
                <a:gd name="connsiteX33" fmla="*/ 4903596 w 11851944"/>
                <a:gd name="connsiteY33" fmla="*/ 2879198 h 2969978"/>
                <a:gd name="connsiteX34" fmla="*/ 4722725 w 11851944"/>
                <a:gd name="connsiteY34" fmla="*/ 2919391 h 2969978"/>
                <a:gd name="connsiteX35" fmla="*/ 4300695 w 11851944"/>
                <a:gd name="connsiteY35" fmla="*/ 2899294 h 2969978"/>
                <a:gd name="connsiteX36" fmla="*/ 4059534 w 11851944"/>
                <a:gd name="connsiteY36" fmla="*/ 2859101 h 2969978"/>
                <a:gd name="connsiteX37" fmla="*/ 3768132 w 11851944"/>
                <a:gd name="connsiteY37" fmla="*/ 2828956 h 2969978"/>
                <a:gd name="connsiteX38" fmla="*/ 3627455 w 11851944"/>
                <a:gd name="connsiteY38" fmla="*/ 2818908 h 2969978"/>
                <a:gd name="connsiteX39" fmla="*/ 3125037 w 11851944"/>
                <a:gd name="connsiteY39" fmla="*/ 2828956 h 2969978"/>
                <a:gd name="connsiteX40" fmla="*/ 3064747 w 11851944"/>
                <a:gd name="connsiteY40" fmla="*/ 2839004 h 2969978"/>
                <a:gd name="connsiteX41" fmla="*/ 2009670 w 11851944"/>
                <a:gd name="connsiteY41" fmla="*/ 2849053 h 2969978"/>
                <a:gd name="connsiteX42" fmla="*/ 1678075 w 11851944"/>
                <a:gd name="connsiteY42" fmla="*/ 2939488 h 2969978"/>
                <a:gd name="connsiteX43" fmla="*/ 1607736 w 11851944"/>
                <a:gd name="connsiteY43" fmla="*/ 2969633 h 2969978"/>
                <a:gd name="connsiteX44" fmla="*/ 1135464 w 11851944"/>
                <a:gd name="connsiteY44" fmla="*/ 2949536 h 2969978"/>
                <a:gd name="connsiteX45" fmla="*/ 944545 w 11851944"/>
                <a:gd name="connsiteY45" fmla="*/ 2919391 h 2969978"/>
                <a:gd name="connsiteX46" fmla="*/ 723481 w 11851944"/>
                <a:gd name="connsiteY46" fmla="*/ 2879198 h 2969978"/>
                <a:gd name="connsiteX47" fmla="*/ 643095 w 11851944"/>
                <a:gd name="connsiteY47" fmla="*/ 2869149 h 2969978"/>
                <a:gd name="connsiteX48" fmla="*/ 371789 w 11851944"/>
                <a:gd name="connsiteY48" fmla="*/ 2828956 h 2969978"/>
                <a:gd name="connsiteX49" fmla="*/ 0 w 11851944"/>
                <a:gd name="connsiteY4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717134 w 11851944"/>
                <a:gd name="connsiteY26" fmla="*/ 2788762 h 2969978"/>
                <a:gd name="connsiteX27" fmla="*/ 7486022 w 11851944"/>
                <a:gd name="connsiteY27" fmla="*/ 2818908 h 2969978"/>
                <a:gd name="connsiteX28" fmla="*/ 7395587 w 11851944"/>
                <a:gd name="connsiteY28" fmla="*/ 2839004 h 2969978"/>
                <a:gd name="connsiteX29" fmla="*/ 7325248 w 11851944"/>
                <a:gd name="connsiteY29" fmla="*/ 2849053 h 2969978"/>
                <a:gd name="connsiteX30" fmla="*/ 6863024 w 11851944"/>
                <a:gd name="connsiteY30" fmla="*/ 2839004 h 2969978"/>
                <a:gd name="connsiteX31" fmla="*/ 6722347 w 11851944"/>
                <a:gd name="connsiteY31" fmla="*/ 2828956 h 2969978"/>
                <a:gd name="connsiteX32" fmla="*/ 4903596 w 11851944"/>
                <a:gd name="connsiteY32" fmla="*/ 2879198 h 2969978"/>
                <a:gd name="connsiteX33" fmla="*/ 4722725 w 11851944"/>
                <a:gd name="connsiteY33" fmla="*/ 2919391 h 2969978"/>
                <a:gd name="connsiteX34" fmla="*/ 4300695 w 11851944"/>
                <a:gd name="connsiteY34" fmla="*/ 2899294 h 2969978"/>
                <a:gd name="connsiteX35" fmla="*/ 4059534 w 11851944"/>
                <a:gd name="connsiteY35" fmla="*/ 2859101 h 2969978"/>
                <a:gd name="connsiteX36" fmla="*/ 3768132 w 11851944"/>
                <a:gd name="connsiteY36" fmla="*/ 2828956 h 2969978"/>
                <a:gd name="connsiteX37" fmla="*/ 3627455 w 11851944"/>
                <a:gd name="connsiteY37" fmla="*/ 2818908 h 2969978"/>
                <a:gd name="connsiteX38" fmla="*/ 3125037 w 11851944"/>
                <a:gd name="connsiteY38" fmla="*/ 2828956 h 2969978"/>
                <a:gd name="connsiteX39" fmla="*/ 3064747 w 11851944"/>
                <a:gd name="connsiteY39" fmla="*/ 2839004 h 2969978"/>
                <a:gd name="connsiteX40" fmla="*/ 2009670 w 11851944"/>
                <a:gd name="connsiteY40" fmla="*/ 2849053 h 2969978"/>
                <a:gd name="connsiteX41" fmla="*/ 1678075 w 11851944"/>
                <a:gd name="connsiteY41" fmla="*/ 2939488 h 2969978"/>
                <a:gd name="connsiteX42" fmla="*/ 1607736 w 11851944"/>
                <a:gd name="connsiteY42" fmla="*/ 2969633 h 2969978"/>
                <a:gd name="connsiteX43" fmla="*/ 1135464 w 11851944"/>
                <a:gd name="connsiteY43" fmla="*/ 2949536 h 2969978"/>
                <a:gd name="connsiteX44" fmla="*/ 944545 w 11851944"/>
                <a:gd name="connsiteY44" fmla="*/ 2919391 h 2969978"/>
                <a:gd name="connsiteX45" fmla="*/ 723481 w 11851944"/>
                <a:gd name="connsiteY45" fmla="*/ 2879198 h 2969978"/>
                <a:gd name="connsiteX46" fmla="*/ 643095 w 11851944"/>
                <a:gd name="connsiteY46" fmla="*/ 2869149 h 2969978"/>
                <a:gd name="connsiteX47" fmla="*/ 371789 w 11851944"/>
                <a:gd name="connsiteY47" fmla="*/ 2828956 h 2969978"/>
                <a:gd name="connsiteX48" fmla="*/ 0 w 11851944"/>
                <a:gd name="connsiteY4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486022 w 11851944"/>
                <a:gd name="connsiteY26" fmla="*/ 2818908 h 2969978"/>
                <a:gd name="connsiteX27" fmla="*/ 7395587 w 11851944"/>
                <a:gd name="connsiteY27" fmla="*/ 2839004 h 2969978"/>
                <a:gd name="connsiteX28" fmla="*/ 7325248 w 11851944"/>
                <a:gd name="connsiteY28" fmla="*/ 2849053 h 2969978"/>
                <a:gd name="connsiteX29" fmla="*/ 6863024 w 11851944"/>
                <a:gd name="connsiteY29" fmla="*/ 2839004 h 2969978"/>
                <a:gd name="connsiteX30" fmla="*/ 6722347 w 11851944"/>
                <a:gd name="connsiteY30" fmla="*/ 2828956 h 2969978"/>
                <a:gd name="connsiteX31" fmla="*/ 4903596 w 11851944"/>
                <a:gd name="connsiteY31" fmla="*/ 2879198 h 2969978"/>
                <a:gd name="connsiteX32" fmla="*/ 4722725 w 11851944"/>
                <a:gd name="connsiteY32" fmla="*/ 2919391 h 2969978"/>
                <a:gd name="connsiteX33" fmla="*/ 4300695 w 11851944"/>
                <a:gd name="connsiteY33" fmla="*/ 2899294 h 2969978"/>
                <a:gd name="connsiteX34" fmla="*/ 4059534 w 11851944"/>
                <a:gd name="connsiteY34" fmla="*/ 2859101 h 2969978"/>
                <a:gd name="connsiteX35" fmla="*/ 3768132 w 11851944"/>
                <a:gd name="connsiteY35" fmla="*/ 2828956 h 2969978"/>
                <a:gd name="connsiteX36" fmla="*/ 3627455 w 11851944"/>
                <a:gd name="connsiteY36" fmla="*/ 2818908 h 2969978"/>
                <a:gd name="connsiteX37" fmla="*/ 3125037 w 11851944"/>
                <a:gd name="connsiteY37" fmla="*/ 2828956 h 2969978"/>
                <a:gd name="connsiteX38" fmla="*/ 3064747 w 11851944"/>
                <a:gd name="connsiteY38" fmla="*/ 2839004 h 2969978"/>
                <a:gd name="connsiteX39" fmla="*/ 2009670 w 11851944"/>
                <a:gd name="connsiteY39" fmla="*/ 2849053 h 2969978"/>
                <a:gd name="connsiteX40" fmla="*/ 1678075 w 11851944"/>
                <a:gd name="connsiteY40" fmla="*/ 2939488 h 2969978"/>
                <a:gd name="connsiteX41" fmla="*/ 1607736 w 11851944"/>
                <a:gd name="connsiteY41" fmla="*/ 2969633 h 2969978"/>
                <a:gd name="connsiteX42" fmla="*/ 1135464 w 11851944"/>
                <a:gd name="connsiteY42" fmla="*/ 2949536 h 2969978"/>
                <a:gd name="connsiteX43" fmla="*/ 944545 w 11851944"/>
                <a:gd name="connsiteY43" fmla="*/ 2919391 h 2969978"/>
                <a:gd name="connsiteX44" fmla="*/ 723481 w 11851944"/>
                <a:gd name="connsiteY44" fmla="*/ 2879198 h 2969978"/>
                <a:gd name="connsiteX45" fmla="*/ 643095 w 11851944"/>
                <a:gd name="connsiteY45" fmla="*/ 2869149 h 2969978"/>
                <a:gd name="connsiteX46" fmla="*/ 371789 w 11851944"/>
                <a:gd name="connsiteY46" fmla="*/ 2828956 h 2969978"/>
                <a:gd name="connsiteX47" fmla="*/ 0 w 11851944"/>
                <a:gd name="connsiteY47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486022 w 11851944"/>
                <a:gd name="connsiteY25" fmla="*/ 2818908 h 2969978"/>
                <a:gd name="connsiteX26" fmla="*/ 7395587 w 11851944"/>
                <a:gd name="connsiteY26" fmla="*/ 2839004 h 2969978"/>
                <a:gd name="connsiteX27" fmla="*/ 7325248 w 11851944"/>
                <a:gd name="connsiteY27" fmla="*/ 2849053 h 2969978"/>
                <a:gd name="connsiteX28" fmla="*/ 6863024 w 11851944"/>
                <a:gd name="connsiteY28" fmla="*/ 2839004 h 2969978"/>
                <a:gd name="connsiteX29" fmla="*/ 6722347 w 11851944"/>
                <a:gd name="connsiteY29" fmla="*/ 2828956 h 2969978"/>
                <a:gd name="connsiteX30" fmla="*/ 4903596 w 11851944"/>
                <a:gd name="connsiteY30" fmla="*/ 2879198 h 2969978"/>
                <a:gd name="connsiteX31" fmla="*/ 4722725 w 11851944"/>
                <a:gd name="connsiteY31" fmla="*/ 2919391 h 2969978"/>
                <a:gd name="connsiteX32" fmla="*/ 4300695 w 11851944"/>
                <a:gd name="connsiteY32" fmla="*/ 2899294 h 2969978"/>
                <a:gd name="connsiteX33" fmla="*/ 4059534 w 11851944"/>
                <a:gd name="connsiteY33" fmla="*/ 2859101 h 2969978"/>
                <a:gd name="connsiteX34" fmla="*/ 3768132 w 11851944"/>
                <a:gd name="connsiteY34" fmla="*/ 2828956 h 2969978"/>
                <a:gd name="connsiteX35" fmla="*/ 3627455 w 11851944"/>
                <a:gd name="connsiteY35" fmla="*/ 2818908 h 2969978"/>
                <a:gd name="connsiteX36" fmla="*/ 3125037 w 11851944"/>
                <a:gd name="connsiteY36" fmla="*/ 2828956 h 2969978"/>
                <a:gd name="connsiteX37" fmla="*/ 3064747 w 11851944"/>
                <a:gd name="connsiteY37" fmla="*/ 2839004 h 2969978"/>
                <a:gd name="connsiteX38" fmla="*/ 2009670 w 11851944"/>
                <a:gd name="connsiteY38" fmla="*/ 2849053 h 2969978"/>
                <a:gd name="connsiteX39" fmla="*/ 1678075 w 11851944"/>
                <a:gd name="connsiteY39" fmla="*/ 2939488 h 2969978"/>
                <a:gd name="connsiteX40" fmla="*/ 1607736 w 11851944"/>
                <a:gd name="connsiteY40" fmla="*/ 2969633 h 2969978"/>
                <a:gd name="connsiteX41" fmla="*/ 1135464 w 11851944"/>
                <a:gd name="connsiteY41" fmla="*/ 2949536 h 2969978"/>
                <a:gd name="connsiteX42" fmla="*/ 944545 w 11851944"/>
                <a:gd name="connsiteY42" fmla="*/ 2919391 h 2969978"/>
                <a:gd name="connsiteX43" fmla="*/ 723481 w 11851944"/>
                <a:gd name="connsiteY43" fmla="*/ 2879198 h 2969978"/>
                <a:gd name="connsiteX44" fmla="*/ 643095 w 11851944"/>
                <a:gd name="connsiteY44" fmla="*/ 2869149 h 2969978"/>
                <a:gd name="connsiteX45" fmla="*/ 371789 w 11851944"/>
                <a:gd name="connsiteY45" fmla="*/ 2828956 h 2969978"/>
                <a:gd name="connsiteX46" fmla="*/ 0 w 11851944"/>
                <a:gd name="connsiteY46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7325248 w 11851944"/>
                <a:gd name="connsiteY26" fmla="*/ 2849053 h 2969978"/>
                <a:gd name="connsiteX27" fmla="*/ 6863024 w 11851944"/>
                <a:gd name="connsiteY27" fmla="*/ 2839004 h 2969978"/>
                <a:gd name="connsiteX28" fmla="*/ 6722347 w 11851944"/>
                <a:gd name="connsiteY28" fmla="*/ 2828956 h 2969978"/>
                <a:gd name="connsiteX29" fmla="*/ 4903596 w 11851944"/>
                <a:gd name="connsiteY29" fmla="*/ 2879198 h 2969978"/>
                <a:gd name="connsiteX30" fmla="*/ 4722725 w 11851944"/>
                <a:gd name="connsiteY30" fmla="*/ 2919391 h 2969978"/>
                <a:gd name="connsiteX31" fmla="*/ 4300695 w 11851944"/>
                <a:gd name="connsiteY31" fmla="*/ 2899294 h 2969978"/>
                <a:gd name="connsiteX32" fmla="*/ 4059534 w 11851944"/>
                <a:gd name="connsiteY32" fmla="*/ 2859101 h 2969978"/>
                <a:gd name="connsiteX33" fmla="*/ 3768132 w 11851944"/>
                <a:gd name="connsiteY33" fmla="*/ 2828956 h 2969978"/>
                <a:gd name="connsiteX34" fmla="*/ 3627455 w 11851944"/>
                <a:gd name="connsiteY34" fmla="*/ 2818908 h 2969978"/>
                <a:gd name="connsiteX35" fmla="*/ 3125037 w 11851944"/>
                <a:gd name="connsiteY35" fmla="*/ 2828956 h 2969978"/>
                <a:gd name="connsiteX36" fmla="*/ 3064747 w 11851944"/>
                <a:gd name="connsiteY36" fmla="*/ 2839004 h 2969978"/>
                <a:gd name="connsiteX37" fmla="*/ 2009670 w 11851944"/>
                <a:gd name="connsiteY37" fmla="*/ 2849053 h 2969978"/>
                <a:gd name="connsiteX38" fmla="*/ 1678075 w 11851944"/>
                <a:gd name="connsiteY38" fmla="*/ 2939488 h 2969978"/>
                <a:gd name="connsiteX39" fmla="*/ 1607736 w 11851944"/>
                <a:gd name="connsiteY39" fmla="*/ 2969633 h 2969978"/>
                <a:gd name="connsiteX40" fmla="*/ 1135464 w 11851944"/>
                <a:gd name="connsiteY40" fmla="*/ 2949536 h 2969978"/>
                <a:gd name="connsiteX41" fmla="*/ 944545 w 11851944"/>
                <a:gd name="connsiteY41" fmla="*/ 2919391 h 2969978"/>
                <a:gd name="connsiteX42" fmla="*/ 723481 w 11851944"/>
                <a:gd name="connsiteY42" fmla="*/ 2879198 h 2969978"/>
                <a:gd name="connsiteX43" fmla="*/ 643095 w 11851944"/>
                <a:gd name="connsiteY43" fmla="*/ 2869149 h 2969978"/>
                <a:gd name="connsiteX44" fmla="*/ 371789 w 11851944"/>
                <a:gd name="connsiteY44" fmla="*/ 2828956 h 2969978"/>
                <a:gd name="connsiteX45" fmla="*/ 0 w 11851944"/>
                <a:gd name="connsiteY45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6863024 w 11851944"/>
                <a:gd name="connsiteY26" fmla="*/ 2839004 h 2969978"/>
                <a:gd name="connsiteX27" fmla="*/ 6722347 w 11851944"/>
                <a:gd name="connsiteY27" fmla="*/ 2828956 h 2969978"/>
                <a:gd name="connsiteX28" fmla="*/ 4903596 w 11851944"/>
                <a:gd name="connsiteY28" fmla="*/ 2879198 h 2969978"/>
                <a:gd name="connsiteX29" fmla="*/ 4722725 w 11851944"/>
                <a:gd name="connsiteY29" fmla="*/ 2919391 h 2969978"/>
                <a:gd name="connsiteX30" fmla="*/ 4300695 w 11851944"/>
                <a:gd name="connsiteY30" fmla="*/ 2899294 h 2969978"/>
                <a:gd name="connsiteX31" fmla="*/ 4059534 w 11851944"/>
                <a:gd name="connsiteY31" fmla="*/ 2859101 h 2969978"/>
                <a:gd name="connsiteX32" fmla="*/ 3768132 w 11851944"/>
                <a:gd name="connsiteY32" fmla="*/ 2828956 h 2969978"/>
                <a:gd name="connsiteX33" fmla="*/ 3627455 w 11851944"/>
                <a:gd name="connsiteY33" fmla="*/ 2818908 h 2969978"/>
                <a:gd name="connsiteX34" fmla="*/ 3125037 w 11851944"/>
                <a:gd name="connsiteY34" fmla="*/ 2828956 h 2969978"/>
                <a:gd name="connsiteX35" fmla="*/ 3064747 w 11851944"/>
                <a:gd name="connsiteY35" fmla="*/ 2839004 h 2969978"/>
                <a:gd name="connsiteX36" fmla="*/ 2009670 w 11851944"/>
                <a:gd name="connsiteY36" fmla="*/ 2849053 h 2969978"/>
                <a:gd name="connsiteX37" fmla="*/ 1678075 w 11851944"/>
                <a:gd name="connsiteY37" fmla="*/ 2939488 h 2969978"/>
                <a:gd name="connsiteX38" fmla="*/ 1607736 w 11851944"/>
                <a:gd name="connsiteY38" fmla="*/ 2969633 h 2969978"/>
                <a:gd name="connsiteX39" fmla="*/ 1135464 w 11851944"/>
                <a:gd name="connsiteY39" fmla="*/ 2949536 h 2969978"/>
                <a:gd name="connsiteX40" fmla="*/ 944545 w 11851944"/>
                <a:gd name="connsiteY40" fmla="*/ 2919391 h 2969978"/>
                <a:gd name="connsiteX41" fmla="*/ 723481 w 11851944"/>
                <a:gd name="connsiteY41" fmla="*/ 2879198 h 2969978"/>
                <a:gd name="connsiteX42" fmla="*/ 643095 w 11851944"/>
                <a:gd name="connsiteY42" fmla="*/ 2869149 h 2969978"/>
                <a:gd name="connsiteX43" fmla="*/ 371789 w 11851944"/>
                <a:gd name="connsiteY43" fmla="*/ 2828956 h 2969978"/>
                <a:gd name="connsiteX44" fmla="*/ 0 w 11851944"/>
                <a:gd name="connsiteY4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6863024 w 11851944"/>
                <a:gd name="connsiteY25" fmla="*/ 2839004 h 2969978"/>
                <a:gd name="connsiteX26" fmla="*/ 6722347 w 11851944"/>
                <a:gd name="connsiteY26" fmla="*/ 2828956 h 2969978"/>
                <a:gd name="connsiteX27" fmla="*/ 4903596 w 11851944"/>
                <a:gd name="connsiteY27" fmla="*/ 2879198 h 2969978"/>
                <a:gd name="connsiteX28" fmla="*/ 4722725 w 11851944"/>
                <a:gd name="connsiteY28" fmla="*/ 2919391 h 2969978"/>
                <a:gd name="connsiteX29" fmla="*/ 4300695 w 11851944"/>
                <a:gd name="connsiteY29" fmla="*/ 2899294 h 2969978"/>
                <a:gd name="connsiteX30" fmla="*/ 4059534 w 11851944"/>
                <a:gd name="connsiteY30" fmla="*/ 2859101 h 2969978"/>
                <a:gd name="connsiteX31" fmla="*/ 3768132 w 11851944"/>
                <a:gd name="connsiteY31" fmla="*/ 2828956 h 2969978"/>
                <a:gd name="connsiteX32" fmla="*/ 3627455 w 11851944"/>
                <a:gd name="connsiteY32" fmla="*/ 2818908 h 2969978"/>
                <a:gd name="connsiteX33" fmla="*/ 3125037 w 11851944"/>
                <a:gd name="connsiteY33" fmla="*/ 2828956 h 2969978"/>
                <a:gd name="connsiteX34" fmla="*/ 3064747 w 11851944"/>
                <a:gd name="connsiteY34" fmla="*/ 2839004 h 2969978"/>
                <a:gd name="connsiteX35" fmla="*/ 2009670 w 11851944"/>
                <a:gd name="connsiteY35" fmla="*/ 2849053 h 2969978"/>
                <a:gd name="connsiteX36" fmla="*/ 1678075 w 11851944"/>
                <a:gd name="connsiteY36" fmla="*/ 2939488 h 2969978"/>
                <a:gd name="connsiteX37" fmla="*/ 1607736 w 11851944"/>
                <a:gd name="connsiteY37" fmla="*/ 2969633 h 2969978"/>
                <a:gd name="connsiteX38" fmla="*/ 1135464 w 11851944"/>
                <a:gd name="connsiteY38" fmla="*/ 2949536 h 2969978"/>
                <a:gd name="connsiteX39" fmla="*/ 944545 w 11851944"/>
                <a:gd name="connsiteY39" fmla="*/ 2919391 h 2969978"/>
                <a:gd name="connsiteX40" fmla="*/ 723481 w 11851944"/>
                <a:gd name="connsiteY40" fmla="*/ 2879198 h 2969978"/>
                <a:gd name="connsiteX41" fmla="*/ 643095 w 11851944"/>
                <a:gd name="connsiteY41" fmla="*/ 2869149 h 2969978"/>
                <a:gd name="connsiteX42" fmla="*/ 371789 w 11851944"/>
                <a:gd name="connsiteY42" fmla="*/ 2828956 h 2969978"/>
                <a:gd name="connsiteX43" fmla="*/ 0 w 11851944"/>
                <a:gd name="connsiteY4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722725 w 11851944"/>
                <a:gd name="connsiteY27" fmla="*/ 2919391 h 2969978"/>
                <a:gd name="connsiteX28" fmla="*/ 4300695 w 11851944"/>
                <a:gd name="connsiteY28" fmla="*/ 2899294 h 2969978"/>
                <a:gd name="connsiteX29" fmla="*/ 4059534 w 11851944"/>
                <a:gd name="connsiteY29" fmla="*/ 2859101 h 2969978"/>
                <a:gd name="connsiteX30" fmla="*/ 3768132 w 11851944"/>
                <a:gd name="connsiteY30" fmla="*/ 2828956 h 2969978"/>
                <a:gd name="connsiteX31" fmla="*/ 3627455 w 11851944"/>
                <a:gd name="connsiteY31" fmla="*/ 2818908 h 2969978"/>
                <a:gd name="connsiteX32" fmla="*/ 3125037 w 11851944"/>
                <a:gd name="connsiteY32" fmla="*/ 2828956 h 2969978"/>
                <a:gd name="connsiteX33" fmla="*/ 3064747 w 11851944"/>
                <a:gd name="connsiteY33" fmla="*/ 2839004 h 2969978"/>
                <a:gd name="connsiteX34" fmla="*/ 2009670 w 11851944"/>
                <a:gd name="connsiteY34" fmla="*/ 2849053 h 2969978"/>
                <a:gd name="connsiteX35" fmla="*/ 1678075 w 11851944"/>
                <a:gd name="connsiteY35" fmla="*/ 2939488 h 2969978"/>
                <a:gd name="connsiteX36" fmla="*/ 1607736 w 11851944"/>
                <a:gd name="connsiteY36" fmla="*/ 2969633 h 2969978"/>
                <a:gd name="connsiteX37" fmla="*/ 1135464 w 11851944"/>
                <a:gd name="connsiteY37" fmla="*/ 2949536 h 2969978"/>
                <a:gd name="connsiteX38" fmla="*/ 944545 w 11851944"/>
                <a:gd name="connsiteY38" fmla="*/ 2919391 h 2969978"/>
                <a:gd name="connsiteX39" fmla="*/ 723481 w 11851944"/>
                <a:gd name="connsiteY39" fmla="*/ 2879198 h 2969978"/>
                <a:gd name="connsiteX40" fmla="*/ 643095 w 11851944"/>
                <a:gd name="connsiteY40" fmla="*/ 2869149 h 2969978"/>
                <a:gd name="connsiteX41" fmla="*/ 371789 w 11851944"/>
                <a:gd name="connsiteY41" fmla="*/ 2828956 h 2969978"/>
                <a:gd name="connsiteX42" fmla="*/ 0 w 11851944"/>
                <a:gd name="connsiteY4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300695 w 11851944"/>
                <a:gd name="connsiteY27" fmla="*/ 2899294 h 2969978"/>
                <a:gd name="connsiteX28" fmla="*/ 4059534 w 11851944"/>
                <a:gd name="connsiteY28" fmla="*/ 2859101 h 2969978"/>
                <a:gd name="connsiteX29" fmla="*/ 3768132 w 11851944"/>
                <a:gd name="connsiteY29" fmla="*/ 2828956 h 2969978"/>
                <a:gd name="connsiteX30" fmla="*/ 3627455 w 11851944"/>
                <a:gd name="connsiteY30" fmla="*/ 2818908 h 2969978"/>
                <a:gd name="connsiteX31" fmla="*/ 3125037 w 11851944"/>
                <a:gd name="connsiteY31" fmla="*/ 2828956 h 2969978"/>
                <a:gd name="connsiteX32" fmla="*/ 3064747 w 11851944"/>
                <a:gd name="connsiteY32" fmla="*/ 2839004 h 2969978"/>
                <a:gd name="connsiteX33" fmla="*/ 2009670 w 11851944"/>
                <a:gd name="connsiteY33" fmla="*/ 2849053 h 2969978"/>
                <a:gd name="connsiteX34" fmla="*/ 1678075 w 11851944"/>
                <a:gd name="connsiteY34" fmla="*/ 2939488 h 2969978"/>
                <a:gd name="connsiteX35" fmla="*/ 1607736 w 11851944"/>
                <a:gd name="connsiteY35" fmla="*/ 2969633 h 2969978"/>
                <a:gd name="connsiteX36" fmla="*/ 1135464 w 11851944"/>
                <a:gd name="connsiteY36" fmla="*/ 2949536 h 2969978"/>
                <a:gd name="connsiteX37" fmla="*/ 944545 w 11851944"/>
                <a:gd name="connsiteY37" fmla="*/ 2919391 h 2969978"/>
                <a:gd name="connsiteX38" fmla="*/ 723481 w 11851944"/>
                <a:gd name="connsiteY38" fmla="*/ 2879198 h 2969978"/>
                <a:gd name="connsiteX39" fmla="*/ 643095 w 11851944"/>
                <a:gd name="connsiteY39" fmla="*/ 2869149 h 2969978"/>
                <a:gd name="connsiteX40" fmla="*/ 371789 w 11851944"/>
                <a:gd name="connsiteY40" fmla="*/ 2828956 h 2969978"/>
                <a:gd name="connsiteX41" fmla="*/ 0 w 11851944"/>
                <a:gd name="connsiteY4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768132 w 11851944"/>
                <a:gd name="connsiteY28" fmla="*/ 2828956 h 2969978"/>
                <a:gd name="connsiteX29" fmla="*/ 3627455 w 11851944"/>
                <a:gd name="connsiteY29" fmla="*/ 2818908 h 2969978"/>
                <a:gd name="connsiteX30" fmla="*/ 3125037 w 11851944"/>
                <a:gd name="connsiteY30" fmla="*/ 2828956 h 2969978"/>
                <a:gd name="connsiteX31" fmla="*/ 3064747 w 11851944"/>
                <a:gd name="connsiteY31" fmla="*/ 2839004 h 2969978"/>
                <a:gd name="connsiteX32" fmla="*/ 2009670 w 11851944"/>
                <a:gd name="connsiteY32" fmla="*/ 2849053 h 2969978"/>
                <a:gd name="connsiteX33" fmla="*/ 1678075 w 11851944"/>
                <a:gd name="connsiteY33" fmla="*/ 2939488 h 2969978"/>
                <a:gd name="connsiteX34" fmla="*/ 1607736 w 11851944"/>
                <a:gd name="connsiteY34" fmla="*/ 2969633 h 2969978"/>
                <a:gd name="connsiteX35" fmla="*/ 1135464 w 11851944"/>
                <a:gd name="connsiteY35" fmla="*/ 2949536 h 2969978"/>
                <a:gd name="connsiteX36" fmla="*/ 944545 w 11851944"/>
                <a:gd name="connsiteY36" fmla="*/ 2919391 h 2969978"/>
                <a:gd name="connsiteX37" fmla="*/ 723481 w 11851944"/>
                <a:gd name="connsiteY37" fmla="*/ 2879198 h 2969978"/>
                <a:gd name="connsiteX38" fmla="*/ 643095 w 11851944"/>
                <a:gd name="connsiteY38" fmla="*/ 2869149 h 2969978"/>
                <a:gd name="connsiteX39" fmla="*/ 371789 w 11851944"/>
                <a:gd name="connsiteY39" fmla="*/ 2828956 h 2969978"/>
                <a:gd name="connsiteX40" fmla="*/ 0 w 11851944"/>
                <a:gd name="connsiteY4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627455 w 11851944"/>
                <a:gd name="connsiteY28" fmla="*/ 2818908 h 2969978"/>
                <a:gd name="connsiteX29" fmla="*/ 3125037 w 11851944"/>
                <a:gd name="connsiteY29" fmla="*/ 2828956 h 2969978"/>
                <a:gd name="connsiteX30" fmla="*/ 3064747 w 11851944"/>
                <a:gd name="connsiteY30" fmla="*/ 2839004 h 2969978"/>
                <a:gd name="connsiteX31" fmla="*/ 2009670 w 11851944"/>
                <a:gd name="connsiteY31" fmla="*/ 2849053 h 2969978"/>
                <a:gd name="connsiteX32" fmla="*/ 1678075 w 11851944"/>
                <a:gd name="connsiteY32" fmla="*/ 2939488 h 2969978"/>
                <a:gd name="connsiteX33" fmla="*/ 1607736 w 11851944"/>
                <a:gd name="connsiteY33" fmla="*/ 2969633 h 2969978"/>
                <a:gd name="connsiteX34" fmla="*/ 1135464 w 11851944"/>
                <a:gd name="connsiteY34" fmla="*/ 2949536 h 2969978"/>
                <a:gd name="connsiteX35" fmla="*/ 944545 w 11851944"/>
                <a:gd name="connsiteY35" fmla="*/ 2919391 h 2969978"/>
                <a:gd name="connsiteX36" fmla="*/ 723481 w 11851944"/>
                <a:gd name="connsiteY36" fmla="*/ 2879198 h 2969978"/>
                <a:gd name="connsiteX37" fmla="*/ 643095 w 11851944"/>
                <a:gd name="connsiteY37" fmla="*/ 2869149 h 2969978"/>
                <a:gd name="connsiteX38" fmla="*/ 371789 w 11851944"/>
                <a:gd name="connsiteY38" fmla="*/ 2828956 h 2969978"/>
                <a:gd name="connsiteX39" fmla="*/ 0 w 11851944"/>
                <a:gd name="connsiteY3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125037 w 11851944"/>
                <a:gd name="connsiteY28" fmla="*/ 2828956 h 2969978"/>
                <a:gd name="connsiteX29" fmla="*/ 3064747 w 11851944"/>
                <a:gd name="connsiteY29" fmla="*/ 2839004 h 2969978"/>
                <a:gd name="connsiteX30" fmla="*/ 2009670 w 11851944"/>
                <a:gd name="connsiteY30" fmla="*/ 2849053 h 2969978"/>
                <a:gd name="connsiteX31" fmla="*/ 1678075 w 11851944"/>
                <a:gd name="connsiteY31" fmla="*/ 2939488 h 2969978"/>
                <a:gd name="connsiteX32" fmla="*/ 1607736 w 11851944"/>
                <a:gd name="connsiteY32" fmla="*/ 2969633 h 2969978"/>
                <a:gd name="connsiteX33" fmla="*/ 1135464 w 11851944"/>
                <a:gd name="connsiteY33" fmla="*/ 2949536 h 2969978"/>
                <a:gd name="connsiteX34" fmla="*/ 944545 w 11851944"/>
                <a:gd name="connsiteY34" fmla="*/ 2919391 h 2969978"/>
                <a:gd name="connsiteX35" fmla="*/ 723481 w 11851944"/>
                <a:gd name="connsiteY35" fmla="*/ 2879198 h 2969978"/>
                <a:gd name="connsiteX36" fmla="*/ 643095 w 11851944"/>
                <a:gd name="connsiteY36" fmla="*/ 2869149 h 2969978"/>
                <a:gd name="connsiteX37" fmla="*/ 371789 w 11851944"/>
                <a:gd name="connsiteY37" fmla="*/ 2828956 h 2969978"/>
                <a:gd name="connsiteX38" fmla="*/ 0 w 11851944"/>
                <a:gd name="connsiteY3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064747 w 11851944"/>
                <a:gd name="connsiteY28" fmla="*/ 2839004 h 2969978"/>
                <a:gd name="connsiteX29" fmla="*/ 2009670 w 11851944"/>
                <a:gd name="connsiteY29" fmla="*/ 2849053 h 2969978"/>
                <a:gd name="connsiteX30" fmla="*/ 1678075 w 11851944"/>
                <a:gd name="connsiteY30" fmla="*/ 2939488 h 2969978"/>
                <a:gd name="connsiteX31" fmla="*/ 1607736 w 11851944"/>
                <a:gd name="connsiteY31" fmla="*/ 2969633 h 2969978"/>
                <a:gd name="connsiteX32" fmla="*/ 1135464 w 11851944"/>
                <a:gd name="connsiteY32" fmla="*/ 2949536 h 2969978"/>
                <a:gd name="connsiteX33" fmla="*/ 944545 w 11851944"/>
                <a:gd name="connsiteY33" fmla="*/ 2919391 h 2969978"/>
                <a:gd name="connsiteX34" fmla="*/ 723481 w 11851944"/>
                <a:gd name="connsiteY34" fmla="*/ 2879198 h 2969978"/>
                <a:gd name="connsiteX35" fmla="*/ 643095 w 11851944"/>
                <a:gd name="connsiteY35" fmla="*/ 2869149 h 2969978"/>
                <a:gd name="connsiteX36" fmla="*/ 371789 w 11851944"/>
                <a:gd name="connsiteY36" fmla="*/ 2828956 h 2969978"/>
                <a:gd name="connsiteX37" fmla="*/ 0 w 11851944"/>
                <a:gd name="connsiteY37" fmla="*/ 2818908 h 2969978"/>
                <a:gd name="connsiteX0" fmla="*/ 120580 w 11851944"/>
                <a:gd name="connsiteY0" fmla="*/ 55611 h 2974631"/>
                <a:gd name="connsiteX1" fmla="*/ 281354 w 11851944"/>
                <a:gd name="connsiteY1" fmla="*/ 45562 h 2974631"/>
                <a:gd name="connsiteX2" fmla="*/ 673240 w 11851944"/>
                <a:gd name="connsiteY2" fmla="*/ 35514 h 2974631"/>
                <a:gd name="connsiteX3" fmla="*/ 1356528 w 11851944"/>
                <a:gd name="connsiteY3" fmla="*/ 85756 h 2974631"/>
                <a:gd name="connsiteX4" fmla="*/ 1758462 w 11851944"/>
                <a:gd name="connsiteY4" fmla="*/ 45562 h 2974631"/>
                <a:gd name="connsiteX5" fmla="*/ 2140299 w 11851944"/>
                <a:gd name="connsiteY5" fmla="*/ 45562 h 2974631"/>
                <a:gd name="connsiteX6" fmla="*/ 4652387 w 11851944"/>
                <a:gd name="connsiteY6" fmla="*/ 65659 h 2974631"/>
                <a:gd name="connsiteX7" fmla="*/ 4692580 w 11851944"/>
                <a:gd name="connsiteY7" fmla="*/ 75708 h 2974631"/>
                <a:gd name="connsiteX8" fmla="*/ 6420897 w 11851944"/>
                <a:gd name="connsiteY8" fmla="*/ 95804 h 2974631"/>
                <a:gd name="connsiteX9" fmla="*/ 7184571 w 11851944"/>
                <a:gd name="connsiteY9" fmla="*/ 65659 h 2974631"/>
                <a:gd name="connsiteX10" fmla="*/ 7928150 w 11851944"/>
                <a:gd name="connsiteY10" fmla="*/ 65659 h 2974631"/>
                <a:gd name="connsiteX11" fmla="*/ 8219552 w 11851944"/>
                <a:gd name="connsiteY11" fmla="*/ 95804 h 2974631"/>
                <a:gd name="connsiteX12" fmla="*/ 9606224 w 11851944"/>
                <a:gd name="connsiteY12" fmla="*/ 95804 h 2974631"/>
                <a:gd name="connsiteX13" fmla="*/ 9947868 w 11851944"/>
                <a:gd name="connsiteY13" fmla="*/ 65659 h 2974631"/>
                <a:gd name="connsiteX14" fmla="*/ 10791930 w 11851944"/>
                <a:gd name="connsiteY14" fmla="*/ 35514 h 2974631"/>
                <a:gd name="connsiteX15" fmla="*/ 11736475 w 11851944"/>
                <a:gd name="connsiteY15" fmla="*/ 55611 h 2974631"/>
                <a:gd name="connsiteX16" fmla="*/ 11806813 w 11851944"/>
                <a:gd name="connsiteY16" fmla="*/ 769044 h 2974631"/>
                <a:gd name="connsiteX17" fmla="*/ 11816862 w 11851944"/>
                <a:gd name="connsiteY17" fmla="*/ 2336587 h 2974631"/>
                <a:gd name="connsiteX18" fmla="*/ 11806813 w 11851944"/>
                <a:gd name="connsiteY18" fmla="*/ 2828956 h 2974631"/>
                <a:gd name="connsiteX19" fmla="*/ 11033090 w 11851944"/>
                <a:gd name="connsiteY19" fmla="*/ 2859101 h 2974631"/>
                <a:gd name="connsiteX20" fmla="*/ 10128739 w 11851944"/>
                <a:gd name="connsiteY20" fmla="*/ 2859101 h 2974631"/>
                <a:gd name="connsiteX21" fmla="*/ 9555982 w 11851944"/>
                <a:gd name="connsiteY21" fmla="*/ 2859101 h 2974631"/>
                <a:gd name="connsiteX22" fmla="*/ 9204290 w 11851944"/>
                <a:gd name="connsiteY22" fmla="*/ 2808859 h 2974631"/>
                <a:gd name="connsiteX23" fmla="*/ 7486022 w 11851944"/>
                <a:gd name="connsiteY23" fmla="*/ 2818908 h 2974631"/>
                <a:gd name="connsiteX24" fmla="*/ 6863024 w 11851944"/>
                <a:gd name="connsiteY24" fmla="*/ 2839004 h 2974631"/>
                <a:gd name="connsiteX25" fmla="*/ 6722347 w 11851944"/>
                <a:gd name="connsiteY25" fmla="*/ 2828956 h 2974631"/>
                <a:gd name="connsiteX26" fmla="*/ 4903596 w 11851944"/>
                <a:gd name="connsiteY26" fmla="*/ 2879198 h 2974631"/>
                <a:gd name="connsiteX27" fmla="*/ 4059534 w 11851944"/>
                <a:gd name="connsiteY27" fmla="*/ 2859101 h 2974631"/>
                <a:gd name="connsiteX28" fmla="*/ 3064747 w 11851944"/>
                <a:gd name="connsiteY28" fmla="*/ 2839004 h 2974631"/>
                <a:gd name="connsiteX29" fmla="*/ 2009670 w 11851944"/>
                <a:gd name="connsiteY29" fmla="*/ 2849053 h 2974631"/>
                <a:gd name="connsiteX30" fmla="*/ 1607736 w 11851944"/>
                <a:gd name="connsiteY30" fmla="*/ 2969633 h 2974631"/>
                <a:gd name="connsiteX31" fmla="*/ 1135464 w 11851944"/>
                <a:gd name="connsiteY31" fmla="*/ 2949536 h 2974631"/>
                <a:gd name="connsiteX32" fmla="*/ 944545 w 11851944"/>
                <a:gd name="connsiteY32" fmla="*/ 2919391 h 2974631"/>
                <a:gd name="connsiteX33" fmla="*/ 723481 w 11851944"/>
                <a:gd name="connsiteY33" fmla="*/ 2879198 h 2974631"/>
                <a:gd name="connsiteX34" fmla="*/ 643095 w 11851944"/>
                <a:gd name="connsiteY34" fmla="*/ 2869149 h 2974631"/>
                <a:gd name="connsiteX35" fmla="*/ 371789 w 11851944"/>
                <a:gd name="connsiteY35" fmla="*/ 2828956 h 2974631"/>
                <a:gd name="connsiteX36" fmla="*/ 0 w 11851944"/>
                <a:gd name="connsiteY36" fmla="*/ 2818908 h 2974631"/>
                <a:gd name="connsiteX0" fmla="*/ 120580 w 11851944"/>
                <a:gd name="connsiteY0" fmla="*/ 55611 h 2949536"/>
                <a:gd name="connsiteX1" fmla="*/ 281354 w 11851944"/>
                <a:gd name="connsiteY1" fmla="*/ 45562 h 2949536"/>
                <a:gd name="connsiteX2" fmla="*/ 673240 w 11851944"/>
                <a:gd name="connsiteY2" fmla="*/ 35514 h 2949536"/>
                <a:gd name="connsiteX3" fmla="*/ 1356528 w 11851944"/>
                <a:gd name="connsiteY3" fmla="*/ 85756 h 2949536"/>
                <a:gd name="connsiteX4" fmla="*/ 1758462 w 11851944"/>
                <a:gd name="connsiteY4" fmla="*/ 45562 h 2949536"/>
                <a:gd name="connsiteX5" fmla="*/ 2140299 w 11851944"/>
                <a:gd name="connsiteY5" fmla="*/ 45562 h 2949536"/>
                <a:gd name="connsiteX6" fmla="*/ 4652387 w 11851944"/>
                <a:gd name="connsiteY6" fmla="*/ 65659 h 2949536"/>
                <a:gd name="connsiteX7" fmla="*/ 4692580 w 11851944"/>
                <a:gd name="connsiteY7" fmla="*/ 75708 h 2949536"/>
                <a:gd name="connsiteX8" fmla="*/ 6420897 w 11851944"/>
                <a:gd name="connsiteY8" fmla="*/ 95804 h 2949536"/>
                <a:gd name="connsiteX9" fmla="*/ 7184571 w 11851944"/>
                <a:gd name="connsiteY9" fmla="*/ 65659 h 2949536"/>
                <a:gd name="connsiteX10" fmla="*/ 7928150 w 11851944"/>
                <a:gd name="connsiteY10" fmla="*/ 65659 h 2949536"/>
                <a:gd name="connsiteX11" fmla="*/ 8219552 w 11851944"/>
                <a:gd name="connsiteY11" fmla="*/ 95804 h 2949536"/>
                <a:gd name="connsiteX12" fmla="*/ 9606224 w 11851944"/>
                <a:gd name="connsiteY12" fmla="*/ 95804 h 2949536"/>
                <a:gd name="connsiteX13" fmla="*/ 9947868 w 11851944"/>
                <a:gd name="connsiteY13" fmla="*/ 65659 h 2949536"/>
                <a:gd name="connsiteX14" fmla="*/ 10791930 w 11851944"/>
                <a:gd name="connsiteY14" fmla="*/ 35514 h 2949536"/>
                <a:gd name="connsiteX15" fmla="*/ 11736475 w 11851944"/>
                <a:gd name="connsiteY15" fmla="*/ 55611 h 2949536"/>
                <a:gd name="connsiteX16" fmla="*/ 11806813 w 11851944"/>
                <a:gd name="connsiteY16" fmla="*/ 769044 h 2949536"/>
                <a:gd name="connsiteX17" fmla="*/ 11816862 w 11851944"/>
                <a:gd name="connsiteY17" fmla="*/ 2336587 h 2949536"/>
                <a:gd name="connsiteX18" fmla="*/ 11806813 w 11851944"/>
                <a:gd name="connsiteY18" fmla="*/ 2828956 h 2949536"/>
                <a:gd name="connsiteX19" fmla="*/ 11033090 w 11851944"/>
                <a:gd name="connsiteY19" fmla="*/ 2859101 h 2949536"/>
                <a:gd name="connsiteX20" fmla="*/ 10128739 w 11851944"/>
                <a:gd name="connsiteY20" fmla="*/ 2859101 h 2949536"/>
                <a:gd name="connsiteX21" fmla="*/ 9555982 w 11851944"/>
                <a:gd name="connsiteY21" fmla="*/ 2859101 h 2949536"/>
                <a:gd name="connsiteX22" fmla="*/ 9204290 w 11851944"/>
                <a:gd name="connsiteY22" fmla="*/ 2808859 h 2949536"/>
                <a:gd name="connsiteX23" fmla="*/ 7486022 w 11851944"/>
                <a:gd name="connsiteY23" fmla="*/ 2818908 h 2949536"/>
                <a:gd name="connsiteX24" fmla="*/ 6863024 w 11851944"/>
                <a:gd name="connsiteY24" fmla="*/ 2839004 h 2949536"/>
                <a:gd name="connsiteX25" fmla="*/ 6722347 w 11851944"/>
                <a:gd name="connsiteY25" fmla="*/ 2828956 h 2949536"/>
                <a:gd name="connsiteX26" fmla="*/ 4903596 w 11851944"/>
                <a:gd name="connsiteY26" fmla="*/ 2879198 h 2949536"/>
                <a:gd name="connsiteX27" fmla="*/ 4059534 w 11851944"/>
                <a:gd name="connsiteY27" fmla="*/ 2859101 h 2949536"/>
                <a:gd name="connsiteX28" fmla="*/ 3064747 w 11851944"/>
                <a:gd name="connsiteY28" fmla="*/ 2839004 h 2949536"/>
                <a:gd name="connsiteX29" fmla="*/ 2009670 w 11851944"/>
                <a:gd name="connsiteY29" fmla="*/ 2849053 h 2949536"/>
                <a:gd name="connsiteX30" fmla="*/ 1135464 w 11851944"/>
                <a:gd name="connsiteY30" fmla="*/ 2949536 h 2949536"/>
                <a:gd name="connsiteX31" fmla="*/ 944545 w 11851944"/>
                <a:gd name="connsiteY31" fmla="*/ 2919391 h 2949536"/>
                <a:gd name="connsiteX32" fmla="*/ 723481 w 11851944"/>
                <a:gd name="connsiteY32" fmla="*/ 2879198 h 2949536"/>
                <a:gd name="connsiteX33" fmla="*/ 643095 w 11851944"/>
                <a:gd name="connsiteY33" fmla="*/ 2869149 h 2949536"/>
                <a:gd name="connsiteX34" fmla="*/ 371789 w 11851944"/>
                <a:gd name="connsiteY34" fmla="*/ 2828956 h 2949536"/>
                <a:gd name="connsiteX35" fmla="*/ 0 w 11851944"/>
                <a:gd name="connsiteY35" fmla="*/ 2818908 h 2949536"/>
                <a:gd name="connsiteX0" fmla="*/ 120580 w 11851944"/>
                <a:gd name="connsiteY0" fmla="*/ 55611 h 2949840"/>
                <a:gd name="connsiteX1" fmla="*/ 281354 w 11851944"/>
                <a:gd name="connsiteY1" fmla="*/ 45562 h 2949840"/>
                <a:gd name="connsiteX2" fmla="*/ 673240 w 11851944"/>
                <a:gd name="connsiteY2" fmla="*/ 35514 h 2949840"/>
                <a:gd name="connsiteX3" fmla="*/ 1356528 w 11851944"/>
                <a:gd name="connsiteY3" fmla="*/ 85756 h 2949840"/>
                <a:gd name="connsiteX4" fmla="*/ 1758462 w 11851944"/>
                <a:gd name="connsiteY4" fmla="*/ 45562 h 2949840"/>
                <a:gd name="connsiteX5" fmla="*/ 2140299 w 11851944"/>
                <a:gd name="connsiteY5" fmla="*/ 45562 h 2949840"/>
                <a:gd name="connsiteX6" fmla="*/ 4652387 w 11851944"/>
                <a:gd name="connsiteY6" fmla="*/ 65659 h 2949840"/>
                <a:gd name="connsiteX7" fmla="*/ 4692580 w 11851944"/>
                <a:gd name="connsiteY7" fmla="*/ 75708 h 2949840"/>
                <a:gd name="connsiteX8" fmla="*/ 6420897 w 11851944"/>
                <a:gd name="connsiteY8" fmla="*/ 95804 h 2949840"/>
                <a:gd name="connsiteX9" fmla="*/ 7184571 w 11851944"/>
                <a:gd name="connsiteY9" fmla="*/ 65659 h 2949840"/>
                <a:gd name="connsiteX10" fmla="*/ 7928150 w 11851944"/>
                <a:gd name="connsiteY10" fmla="*/ 65659 h 2949840"/>
                <a:gd name="connsiteX11" fmla="*/ 8219552 w 11851944"/>
                <a:gd name="connsiteY11" fmla="*/ 95804 h 2949840"/>
                <a:gd name="connsiteX12" fmla="*/ 9606224 w 11851944"/>
                <a:gd name="connsiteY12" fmla="*/ 95804 h 2949840"/>
                <a:gd name="connsiteX13" fmla="*/ 9947868 w 11851944"/>
                <a:gd name="connsiteY13" fmla="*/ 65659 h 2949840"/>
                <a:gd name="connsiteX14" fmla="*/ 10791930 w 11851944"/>
                <a:gd name="connsiteY14" fmla="*/ 35514 h 2949840"/>
                <a:gd name="connsiteX15" fmla="*/ 11736475 w 11851944"/>
                <a:gd name="connsiteY15" fmla="*/ 55611 h 2949840"/>
                <a:gd name="connsiteX16" fmla="*/ 11806813 w 11851944"/>
                <a:gd name="connsiteY16" fmla="*/ 769044 h 2949840"/>
                <a:gd name="connsiteX17" fmla="*/ 11816862 w 11851944"/>
                <a:gd name="connsiteY17" fmla="*/ 2336587 h 2949840"/>
                <a:gd name="connsiteX18" fmla="*/ 11806813 w 11851944"/>
                <a:gd name="connsiteY18" fmla="*/ 2828956 h 2949840"/>
                <a:gd name="connsiteX19" fmla="*/ 11033090 w 11851944"/>
                <a:gd name="connsiteY19" fmla="*/ 2859101 h 2949840"/>
                <a:gd name="connsiteX20" fmla="*/ 10128739 w 11851944"/>
                <a:gd name="connsiteY20" fmla="*/ 2859101 h 2949840"/>
                <a:gd name="connsiteX21" fmla="*/ 9555982 w 11851944"/>
                <a:gd name="connsiteY21" fmla="*/ 2859101 h 2949840"/>
                <a:gd name="connsiteX22" fmla="*/ 9204290 w 11851944"/>
                <a:gd name="connsiteY22" fmla="*/ 2808859 h 2949840"/>
                <a:gd name="connsiteX23" fmla="*/ 7486022 w 11851944"/>
                <a:gd name="connsiteY23" fmla="*/ 2818908 h 2949840"/>
                <a:gd name="connsiteX24" fmla="*/ 6863024 w 11851944"/>
                <a:gd name="connsiteY24" fmla="*/ 2839004 h 2949840"/>
                <a:gd name="connsiteX25" fmla="*/ 6722347 w 11851944"/>
                <a:gd name="connsiteY25" fmla="*/ 2828956 h 2949840"/>
                <a:gd name="connsiteX26" fmla="*/ 4903596 w 11851944"/>
                <a:gd name="connsiteY26" fmla="*/ 2879198 h 2949840"/>
                <a:gd name="connsiteX27" fmla="*/ 4059534 w 11851944"/>
                <a:gd name="connsiteY27" fmla="*/ 2859101 h 2949840"/>
                <a:gd name="connsiteX28" fmla="*/ 3064747 w 11851944"/>
                <a:gd name="connsiteY28" fmla="*/ 2839004 h 2949840"/>
                <a:gd name="connsiteX29" fmla="*/ 2009670 w 11851944"/>
                <a:gd name="connsiteY29" fmla="*/ 2849053 h 2949840"/>
                <a:gd name="connsiteX30" fmla="*/ 1205803 w 11851944"/>
                <a:gd name="connsiteY30" fmla="*/ 2929437 h 2949840"/>
                <a:gd name="connsiteX31" fmla="*/ 1135464 w 11851944"/>
                <a:gd name="connsiteY31" fmla="*/ 2949536 h 2949840"/>
                <a:gd name="connsiteX32" fmla="*/ 944545 w 11851944"/>
                <a:gd name="connsiteY32" fmla="*/ 2919391 h 2949840"/>
                <a:gd name="connsiteX33" fmla="*/ 723481 w 11851944"/>
                <a:gd name="connsiteY33" fmla="*/ 2879198 h 2949840"/>
                <a:gd name="connsiteX34" fmla="*/ 643095 w 11851944"/>
                <a:gd name="connsiteY34" fmla="*/ 2869149 h 2949840"/>
                <a:gd name="connsiteX35" fmla="*/ 371789 w 11851944"/>
                <a:gd name="connsiteY35" fmla="*/ 2828956 h 2949840"/>
                <a:gd name="connsiteX36" fmla="*/ 0 w 11851944"/>
                <a:gd name="connsiteY36" fmla="*/ 2818908 h 2949840"/>
                <a:gd name="connsiteX0" fmla="*/ 120580 w 11851944"/>
                <a:gd name="connsiteY0" fmla="*/ 55611 h 2934038"/>
                <a:gd name="connsiteX1" fmla="*/ 281354 w 11851944"/>
                <a:gd name="connsiteY1" fmla="*/ 45562 h 2934038"/>
                <a:gd name="connsiteX2" fmla="*/ 673240 w 11851944"/>
                <a:gd name="connsiteY2" fmla="*/ 35514 h 2934038"/>
                <a:gd name="connsiteX3" fmla="*/ 1356528 w 11851944"/>
                <a:gd name="connsiteY3" fmla="*/ 85756 h 2934038"/>
                <a:gd name="connsiteX4" fmla="*/ 1758462 w 11851944"/>
                <a:gd name="connsiteY4" fmla="*/ 45562 h 2934038"/>
                <a:gd name="connsiteX5" fmla="*/ 2140299 w 11851944"/>
                <a:gd name="connsiteY5" fmla="*/ 45562 h 2934038"/>
                <a:gd name="connsiteX6" fmla="*/ 4652387 w 11851944"/>
                <a:gd name="connsiteY6" fmla="*/ 65659 h 2934038"/>
                <a:gd name="connsiteX7" fmla="*/ 4692580 w 11851944"/>
                <a:gd name="connsiteY7" fmla="*/ 75708 h 2934038"/>
                <a:gd name="connsiteX8" fmla="*/ 6420897 w 11851944"/>
                <a:gd name="connsiteY8" fmla="*/ 95804 h 2934038"/>
                <a:gd name="connsiteX9" fmla="*/ 7184571 w 11851944"/>
                <a:gd name="connsiteY9" fmla="*/ 65659 h 2934038"/>
                <a:gd name="connsiteX10" fmla="*/ 7928150 w 11851944"/>
                <a:gd name="connsiteY10" fmla="*/ 65659 h 2934038"/>
                <a:gd name="connsiteX11" fmla="*/ 8219552 w 11851944"/>
                <a:gd name="connsiteY11" fmla="*/ 95804 h 2934038"/>
                <a:gd name="connsiteX12" fmla="*/ 9606224 w 11851944"/>
                <a:gd name="connsiteY12" fmla="*/ 95804 h 2934038"/>
                <a:gd name="connsiteX13" fmla="*/ 9947868 w 11851944"/>
                <a:gd name="connsiteY13" fmla="*/ 65659 h 2934038"/>
                <a:gd name="connsiteX14" fmla="*/ 10791930 w 11851944"/>
                <a:gd name="connsiteY14" fmla="*/ 35514 h 2934038"/>
                <a:gd name="connsiteX15" fmla="*/ 11736475 w 11851944"/>
                <a:gd name="connsiteY15" fmla="*/ 55611 h 2934038"/>
                <a:gd name="connsiteX16" fmla="*/ 11806813 w 11851944"/>
                <a:gd name="connsiteY16" fmla="*/ 769044 h 2934038"/>
                <a:gd name="connsiteX17" fmla="*/ 11816862 w 11851944"/>
                <a:gd name="connsiteY17" fmla="*/ 2336587 h 2934038"/>
                <a:gd name="connsiteX18" fmla="*/ 11806813 w 11851944"/>
                <a:gd name="connsiteY18" fmla="*/ 2828956 h 2934038"/>
                <a:gd name="connsiteX19" fmla="*/ 11033090 w 11851944"/>
                <a:gd name="connsiteY19" fmla="*/ 2859101 h 2934038"/>
                <a:gd name="connsiteX20" fmla="*/ 10128739 w 11851944"/>
                <a:gd name="connsiteY20" fmla="*/ 2859101 h 2934038"/>
                <a:gd name="connsiteX21" fmla="*/ 9555982 w 11851944"/>
                <a:gd name="connsiteY21" fmla="*/ 2859101 h 2934038"/>
                <a:gd name="connsiteX22" fmla="*/ 9204290 w 11851944"/>
                <a:gd name="connsiteY22" fmla="*/ 2808859 h 2934038"/>
                <a:gd name="connsiteX23" fmla="*/ 7486022 w 11851944"/>
                <a:gd name="connsiteY23" fmla="*/ 2818908 h 2934038"/>
                <a:gd name="connsiteX24" fmla="*/ 6863024 w 11851944"/>
                <a:gd name="connsiteY24" fmla="*/ 2839004 h 2934038"/>
                <a:gd name="connsiteX25" fmla="*/ 6722347 w 11851944"/>
                <a:gd name="connsiteY25" fmla="*/ 2828956 h 2934038"/>
                <a:gd name="connsiteX26" fmla="*/ 4903596 w 11851944"/>
                <a:gd name="connsiteY26" fmla="*/ 2879198 h 2934038"/>
                <a:gd name="connsiteX27" fmla="*/ 4059534 w 11851944"/>
                <a:gd name="connsiteY27" fmla="*/ 2859101 h 2934038"/>
                <a:gd name="connsiteX28" fmla="*/ 3064747 w 11851944"/>
                <a:gd name="connsiteY28" fmla="*/ 2839004 h 2934038"/>
                <a:gd name="connsiteX29" fmla="*/ 2009670 w 11851944"/>
                <a:gd name="connsiteY29" fmla="*/ 2849053 h 2934038"/>
                <a:gd name="connsiteX30" fmla="*/ 1205803 w 11851944"/>
                <a:gd name="connsiteY30" fmla="*/ 2929437 h 2934038"/>
                <a:gd name="connsiteX31" fmla="*/ 944545 w 11851944"/>
                <a:gd name="connsiteY31" fmla="*/ 2919391 h 2934038"/>
                <a:gd name="connsiteX32" fmla="*/ 723481 w 11851944"/>
                <a:gd name="connsiteY32" fmla="*/ 2879198 h 2934038"/>
                <a:gd name="connsiteX33" fmla="*/ 643095 w 11851944"/>
                <a:gd name="connsiteY33" fmla="*/ 2869149 h 2934038"/>
                <a:gd name="connsiteX34" fmla="*/ 371789 w 11851944"/>
                <a:gd name="connsiteY34" fmla="*/ 2828956 h 2934038"/>
                <a:gd name="connsiteX35" fmla="*/ 0 w 11851944"/>
                <a:gd name="connsiteY35" fmla="*/ 2818908 h 2934038"/>
                <a:gd name="connsiteX0" fmla="*/ 120580 w 11851944"/>
                <a:gd name="connsiteY0" fmla="*/ 55611 h 2919923"/>
                <a:gd name="connsiteX1" fmla="*/ 281354 w 11851944"/>
                <a:gd name="connsiteY1" fmla="*/ 45562 h 2919923"/>
                <a:gd name="connsiteX2" fmla="*/ 673240 w 11851944"/>
                <a:gd name="connsiteY2" fmla="*/ 35514 h 2919923"/>
                <a:gd name="connsiteX3" fmla="*/ 1356528 w 11851944"/>
                <a:gd name="connsiteY3" fmla="*/ 85756 h 2919923"/>
                <a:gd name="connsiteX4" fmla="*/ 1758462 w 11851944"/>
                <a:gd name="connsiteY4" fmla="*/ 45562 h 2919923"/>
                <a:gd name="connsiteX5" fmla="*/ 2140299 w 11851944"/>
                <a:gd name="connsiteY5" fmla="*/ 45562 h 2919923"/>
                <a:gd name="connsiteX6" fmla="*/ 4652387 w 11851944"/>
                <a:gd name="connsiteY6" fmla="*/ 65659 h 2919923"/>
                <a:gd name="connsiteX7" fmla="*/ 4692580 w 11851944"/>
                <a:gd name="connsiteY7" fmla="*/ 75708 h 2919923"/>
                <a:gd name="connsiteX8" fmla="*/ 6420897 w 11851944"/>
                <a:gd name="connsiteY8" fmla="*/ 95804 h 2919923"/>
                <a:gd name="connsiteX9" fmla="*/ 7184571 w 11851944"/>
                <a:gd name="connsiteY9" fmla="*/ 65659 h 2919923"/>
                <a:gd name="connsiteX10" fmla="*/ 7928150 w 11851944"/>
                <a:gd name="connsiteY10" fmla="*/ 65659 h 2919923"/>
                <a:gd name="connsiteX11" fmla="*/ 8219552 w 11851944"/>
                <a:gd name="connsiteY11" fmla="*/ 95804 h 2919923"/>
                <a:gd name="connsiteX12" fmla="*/ 9606224 w 11851944"/>
                <a:gd name="connsiteY12" fmla="*/ 95804 h 2919923"/>
                <a:gd name="connsiteX13" fmla="*/ 9947868 w 11851944"/>
                <a:gd name="connsiteY13" fmla="*/ 65659 h 2919923"/>
                <a:gd name="connsiteX14" fmla="*/ 10791930 w 11851944"/>
                <a:gd name="connsiteY14" fmla="*/ 35514 h 2919923"/>
                <a:gd name="connsiteX15" fmla="*/ 11736475 w 11851944"/>
                <a:gd name="connsiteY15" fmla="*/ 55611 h 2919923"/>
                <a:gd name="connsiteX16" fmla="*/ 11806813 w 11851944"/>
                <a:gd name="connsiteY16" fmla="*/ 769044 h 2919923"/>
                <a:gd name="connsiteX17" fmla="*/ 11816862 w 11851944"/>
                <a:gd name="connsiteY17" fmla="*/ 2336587 h 2919923"/>
                <a:gd name="connsiteX18" fmla="*/ 11806813 w 11851944"/>
                <a:gd name="connsiteY18" fmla="*/ 2828956 h 2919923"/>
                <a:gd name="connsiteX19" fmla="*/ 11033090 w 11851944"/>
                <a:gd name="connsiteY19" fmla="*/ 2859101 h 2919923"/>
                <a:gd name="connsiteX20" fmla="*/ 10128739 w 11851944"/>
                <a:gd name="connsiteY20" fmla="*/ 2859101 h 2919923"/>
                <a:gd name="connsiteX21" fmla="*/ 9555982 w 11851944"/>
                <a:gd name="connsiteY21" fmla="*/ 2859101 h 2919923"/>
                <a:gd name="connsiteX22" fmla="*/ 9204290 w 11851944"/>
                <a:gd name="connsiteY22" fmla="*/ 2808859 h 2919923"/>
                <a:gd name="connsiteX23" fmla="*/ 7486022 w 11851944"/>
                <a:gd name="connsiteY23" fmla="*/ 2818908 h 2919923"/>
                <a:gd name="connsiteX24" fmla="*/ 6863024 w 11851944"/>
                <a:gd name="connsiteY24" fmla="*/ 2839004 h 2919923"/>
                <a:gd name="connsiteX25" fmla="*/ 6722347 w 11851944"/>
                <a:gd name="connsiteY25" fmla="*/ 2828956 h 2919923"/>
                <a:gd name="connsiteX26" fmla="*/ 4903596 w 11851944"/>
                <a:gd name="connsiteY26" fmla="*/ 2879198 h 2919923"/>
                <a:gd name="connsiteX27" fmla="*/ 4059534 w 11851944"/>
                <a:gd name="connsiteY27" fmla="*/ 2859101 h 2919923"/>
                <a:gd name="connsiteX28" fmla="*/ 3064747 w 11851944"/>
                <a:gd name="connsiteY28" fmla="*/ 2839004 h 2919923"/>
                <a:gd name="connsiteX29" fmla="*/ 2009670 w 11851944"/>
                <a:gd name="connsiteY29" fmla="*/ 2849053 h 2919923"/>
                <a:gd name="connsiteX30" fmla="*/ 944545 w 11851944"/>
                <a:gd name="connsiteY30" fmla="*/ 2919391 h 2919923"/>
                <a:gd name="connsiteX31" fmla="*/ 723481 w 11851944"/>
                <a:gd name="connsiteY31" fmla="*/ 2879198 h 2919923"/>
                <a:gd name="connsiteX32" fmla="*/ 643095 w 11851944"/>
                <a:gd name="connsiteY32" fmla="*/ 2869149 h 2919923"/>
                <a:gd name="connsiteX33" fmla="*/ 371789 w 11851944"/>
                <a:gd name="connsiteY33" fmla="*/ 2828956 h 2919923"/>
                <a:gd name="connsiteX34" fmla="*/ 0 w 11851944"/>
                <a:gd name="connsiteY34" fmla="*/ 2818908 h 2919923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723481 w 11851944"/>
                <a:gd name="connsiteY30" fmla="*/ 2879198 h 2890922"/>
                <a:gd name="connsiteX31" fmla="*/ 643095 w 11851944"/>
                <a:gd name="connsiteY31" fmla="*/ 2869149 h 2890922"/>
                <a:gd name="connsiteX32" fmla="*/ 371789 w 11851944"/>
                <a:gd name="connsiteY32" fmla="*/ 2828956 h 2890922"/>
                <a:gd name="connsiteX33" fmla="*/ 0 w 11851944"/>
                <a:gd name="connsiteY33" fmla="*/ 2818908 h 2890922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643095 w 11851944"/>
                <a:gd name="connsiteY30" fmla="*/ 2869149 h 2890922"/>
                <a:gd name="connsiteX31" fmla="*/ 371789 w 11851944"/>
                <a:gd name="connsiteY31" fmla="*/ 2828956 h 2890922"/>
                <a:gd name="connsiteX32" fmla="*/ 0 w 11851944"/>
                <a:gd name="connsiteY32" fmla="*/ 2818908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9083710 w 11731364"/>
                <a:gd name="connsiteY22" fmla="*/ 2808859 h 2890922"/>
                <a:gd name="connsiteX23" fmla="*/ 7365442 w 11731364"/>
                <a:gd name="connsiteY23" fmla="*/ 2818908 h 2890922"/>
                <a:gd name="connsiteX24" fmla="*/ 6742444 w 11731364"/>
                <a:gd name="connsiteY24" fmla="*/ 2839004 h 2890922"/>
                <a:gd name="connsiteX25" fmla="*/ 6601767 w 11731364"/>
                <a:gd name="connsiteY25" fmla="*/ 2828956 h 2890922"/>
                <a:gd name="connsiteX26" fmla="*/ 4783016 w 11731364"/>
                <a:gd name="connsiteY26" fmla="*/ 2879198 h 2890922"/>
                <a:gd name="connsiteX27" fmla="*/ 3938954 w 11731364"/>
                <a:gd name="connsiteY27" fmla="*/ 2859101 h 2890922"/>
                <a:gd name="connsiteX28" fmla="*/ 2944167 w 11731364"/>
                <a:gd name="connsiteY28" fmla="*/ 2839004 h 2890922"/>
                <a:gd name="connsiteX29" fmla="*/ 1889090 w 11731364"/>
                <a:gd name="connsiteY29" fmla="*/ 2849053 h 2890922"/>
                <a:gd name="connsiteX30" fmla="*/ 522515 w 11731364"/>
                <a:gd name="connsiteY30" fmla="*/ 2869149 h 2890922"/>
                <a:gd name="connsiteX31" fmla="*/ 251209 w 11731364"/>
                <a:gd name="connsiteY31" fmla="*/ 2828956 h 2890922"/>
                <a:gd name="connsiteX32" fmla="*/ 10048 w 11731364"/>
                <a:gd name="connsiteY32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251209 w 11731364"/>
                <a:gd name="connsiteY30" fmla="*/ 2828956 h 2890922"/>
                <a:gd name="connsiteX31" fmla="*/ 10048 w 11731364"/>
                <a:gd name="connsiteY31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10048 w 11731364"/>
                <a:gd name="connsiteY30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637882 w 11731364"/>
                <a:gd name="connsiteY3" fmla="*/ 45562 h 2890922"/>
                <a:gd name="connsiteX4" fmla="*/ 2019719 w 11731364"/>
                <a:gd name="connsiteY4" fmla="*/ 45562 h 2890922"/>
                <a:gd name="connsiteX5" fmla="*/ 4531807 w 11731364"/>
                <a:gd name="connsiteY5" fmla="*/ 65659 h 2890922"/>
                <a:gd name="connsiteX6" fmla="*/ 4572000 w 11731364"/>
                <a:gd name="connsiteY6" fmla="*/ 75708 h 2890922"/>
                <a:gd name="connsiteX7" fmla="*/ 6300317 w 11731364"/>
                <a:gd name="connsiteY7" fmla="*/ 95804 h 2890922"/>
                <a:gd name="connsiteX8" fmla="*/ 7063991 w 11731364"/>
                <a:gd name="connsiteY8" fmla="*/ 65659 h 2890922"/>
                <a:gd name="connsiteX9" fmla="*/ 7807570 w 11731364"/>
                <a:gd name="connsiteY9" fmla="*/ 65659 h 2890922"/>
                <a:gd name="connsiteX10" fmla="*/ 8098972 w 11731364"/>
                <a:gd name="connsiteY10" fmla="*/ 95804 h 2890922"/>
                <a:gd name="connsiteX11" fmla="*/ 9485644 w 11731364"/>
                <a:gd name="connsiteY11" fmla="*/ 95804 h 2890922"/>
                <a:gd name="connsiteX12" fmla="*/ 9827288 w 11731364"/>
                <a:gd name="connsiteY12" fmla="*/ 65659 h 2890922"/>
                <a:gd name="connsiteX13" fmla="*/ 10671350 w 11731364"/>
                <a:gd name="connsiteY13" fmla="*/ 35514 h 2890922"/>
                <a:gd name="connsiteX14" fmla="*/ 11615895 w 11731364"/>
                <a:gd name="connsiteY14" fmla="*/ 55611 h 2890922"/>
                <a:gd name="connsiteX15" fmla="*/ 11686233 w 11731364"/>
                <a:gd name="connsiteY15" fmla="*/ 769044 h 2890922"/>
                <a:gd name="connsiteX16" fmla="*/ 11696282 w 11731364"/>
                <a:gd name="connsiteY16" fmla="*/ 2336587 h 2890922"/>
                <a:gd name="connsiteX17" fmla="*/ 11686233 w 11731364"/>
                <a:gd name="connsiteY17" fmla="*/ 2828956 h 2890922"/>
                <a:gd name="connsiteX18" fmla="*/ 10912510 w 11731364"/>
                <a:gd name="connsiteY18" fmla="*/ 2859101 h 2890922"/>
                <a:gd name="connsiteX19" fmla="*/ 10008159 w 11731364"/>
                <a:gd name="connsiteY19" fmla="*/ 2859101 h 2890922"/>
                <a:gd name="connsiteX20" fmla="*/ 9435402 w 11731364"/>
                <a:gd name="connsiteY20" fmla="*/ 2859101 h 2890922"/>
                <a:gd name="connsiteX21" fmla="*/ 7365442 w 11731364"/>
                <a:gd name="connsiteY21" fmla="*/ 2818908 h 2890922"/>
                <a:gd name="connsiteX22" fmla="*/ 6742444 w 11731364"/>
                <a:gd name="connsiteY22" fmla="*/ 2839004 h 2890922"/>
                <a:gd name="connsiteX23" fmla="*/ 6601767 w 11731364"/>
                <a:gd name="connsiteY23" fmla="*/ 2828956 h 2890922"/>
                <a:gd name="connsiteX24" fmla="*/ 4783016 w 11731364"/>
                <a:gd name="connsiteY24" fmla="*/ 2879198 h 2890922"/>
                <a:gd name="connsiteX25" fmla="*/ 3938954 w 11731364"/>
                <a:gd name="connsiteY25" fmla="*/ 2859101 h 2890922"/>
                <a:gd name="connsiteX26" fmla="*/ 2944167 w 11731364"/>
                <a:gd name="connsiteY26" fmla="*/ 2839004 h 2890922"/>
                <a:gd name="connsiteX27" fmla="*/ 1889090 w 11731364"/>
                <a:gd name="connsiteY27" fmla="*/ 2849053 h 2890922"/>
                <a:gd name="connsiteX28" fmla="*/ 522515 w 11731364"/>
                <a:gd name="connsiteY28" fmla="*/ 2869149 h 2890922"/>
                <a:gd name="connsiteX29" fmla="*/ 10048 w 11731364"/>
                <a:gd name="connsiteY29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4572000 w 11731364"/>
                <a:gd name="connsiteY5" fmla="*/ 75708 h 2890922"/>
                <a:gd name="connsiteX6" fmla="*/ 6300317 w 11731364"/>
                <a:gd name="connsiteY6" fmla="*/ 95804 h 2890922"/>
                <a:gd name="connsiteX7" fmla="*/ 7063991 w 11731364"/>
                <a:gd name="connsiteY7" fmla="*/ 65659 h 2890922"/>
                <a:gd name="connsiteX8" fmla="*/ 7807570 w 11731364"/>
                <a:gd name="connsiteY8" fmla="*/ 65659 h 2890922"/>
                <a:gd name="connsiteX9" fmla="*/ 8098972 w 11731364"/>
                <a:gd name="connsiteY9" fmla="*/ 95804 h 2890922"/>
                <a:gd name="connsiteX10" fmla="*/ 9485644 w 11731364"/>
                <a:gd name="connsiteY10" fmla="*/ 95804 h 2890922"/>
                <a:gd name="connsiteX11" fmla="*/ 9827288 w 11731364"/>
                <a:gd name="connsiteY11" fmla="*/ 65659 h 2890922"/>
                <a:gd name="connsiteX12" fmla="*/ 10671350 w 11731364"/>
                <a:gd name="connsiteY12" fmla="*/ 35514 h 2890922"/>
                <a:gd name="connsiteX13" fmla="*/ 11615895 w 11731364"/>
                <a:gd name="connsiteY13" fmla="*/ 55611 h 2890922"/>
                <a:gd name="connsiteX14" fmla="*/ 11686233 w 11731364"/>
                <a:gd name="connsiteY14" fmla="*/ 769044 h 2890922"/>
                <a:gd name="connsiteX15" fmla="*/ 11696282 w 11731364"/>
                <a:gd name="connsiteY15" fmla="*/ 2336587 h 2890922"/>
                <a:gd name="connsiteX16" fmla="*/ 11686233 w 11731364"/>
                <a:gd name="connsiteY16" fmla="*/ 2828956 h 2890922"/>
                <a:gd name="connsiteX17" fmla="*/ 10912510 w 11731364"/>
                <a:gd name="connsiteY17" fmla="*/ 2859101 h 2890922"/>
                <a:gd name="connsiteX18" fmla="*/ 10008159 w 11731364"/>
                <a:gd name="connsiteY18" fmla="*/ 2859101 h 2890922"/>
                <a:gd name="connsiteX19" fmla="*/ 9435402 w 11731364"/>
                <a:gd name="connsiteY19" fmla="*/ 2859101 h 2890922"/>
                <a:gd name="connsiteX20" fmla="*/ 7365442 w 11731364"/>
                <a:gd name="connsiteY20" fmla="*/ 2818908 h 2890922"/>
                <a:gd name="connsiteX21" fmla="*/ 6742444 w 11731364"/>
                <a:gd name="connsiteY21" fmla="*/ 2839004 h 2890922"/>
                <a:gd name="connsiteX22" fmla="*/ 6601767 w 11731364"/>
                <a:gd name="connsiteY22" fmla="*/ 2828956 h 2890922"/>
                <a:gd name="connsiteX23" fmla="*/ 4783016 w 11731364"/>
                <a:gd name="connsiteY23" fmla="*/ 2879198 h 2890922"/>
                <a:gd name="connsiteX24" fmla="*/ 3938954 w 11731364"/>
                <a:gd name="connsiteY24" fmla="*/ 2859101 h 2890922"/>
                <a:gd name="connsiteX25" fmla="*/ 2944167 w 11731364"/>
                <a:gd name="connsiteY25" fmla="*/ 2839004 h 2890922"/>
                <a:gd name="connsiteX26" fmla="*/ 1889090 w 11731364"/>
                <a:gd name="connsiteY26" fmla="*/ 2849053 h 2890922"/>
                <a:gd name="connsiteX27" fmla="*/ 522515 w 11731364"/>
                <a:gd name="connsiteY27" fmla="*/ 2869149 h 2890922"/>
                <a:gd name="connsiteX28" fmla="*/ 10048 w 11731364"/>
                <a:gd name="connsiteY28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7807570 w 11731364"/>
                <a:gd name="connsiteY7" fmla="*/ 65659 h 2890922"/>
                <a:gd name="connsiteX8" fmla="*/ 8098972 w 11731364"/>
                <a:gd name="connsiteY8" fmla="*/ 95804 h 2890922"/>
                <a:gd name="connsiteX9" fmla="*/ 9485644 w 11731364"/>
                <a:gd name="connsiteY9" fmla="*/ 95804 h 2890922"/>
                <a:gd name="connsiteX10" fmla="*/ 9827288 w 11731364"/>
                <a:gd name="connsiteY10" fmla="*/ 65659 h 2890922"/>
                <a:gd name="connsiteX11" fmla="*/ 10671350 w 11731364"/>
                <a:gd name="connsiteY11" fmla="*/ 35514 h 2890922"/>
                <a:gd name="connsiteX12" fmla="*/ 11615895 w 11731364"/>
                <a:gd name="connsiteY12" fmla="*/ 55611 h 2890922"/>
                <a:gd name="connsiteX13" fmla="*/ 11686233 w 11731364"/>
                <a:gd name="connsiteY13" fmla="*/ 769044 h 2890922"/>
                <a:gd name="connsiteX14" fmla="*/ 11696282 w 11731364"/>
                <a:gd name="connsiteY14" fmla="*/ 2336587 h 2890922"/>
                <a:gd name="connsiteX15" fmla="*/ 11686233 w 11731364"/>
                <a:gd name="connsiteY15" fmla="*/ 2828956 h 2890922"/>
                <a:gd name="connsiteX16" fmla="*/ 10912510 w 11731364"/>
                <a:gd name="connsiteY16" fmla="*/ 2859101 h 2890922"/>
                <a:gd name="connsiteX17" fmla="*/ 10008159 w 11731364"/>
                <a:gd name="connsiteY17" fmla="*/ 2859101 h 2890922"/>
                <a:gd name="connsiteX18" fmla="*/ 9435402 w 11731364"/>
                <a:gd name="connsiteY18" fmla="*/ 2859101 h 2890922"/>
                <a:gd name="connsiteX19" fmla="*/ 7365442 w 11731364"/>
                <a:gd name="connsiteY19" fmla="*/ 2818908 h 2890922"/>
                <a:gd name="connsiteX20" fmla="*/ 6742444 w 11731364"/>
                <a:gd name="connsiteY20" fmla="*/ 2839004 h 2890922"/>
                <a:gd name="connsiteX21" fmla="*/ 6601767 w 11731364"/>
                <a:gd name="connsiteY21" fmla="*/ 2828956 h 2890922"/>
                <a:gd name="connsiteX22" fmla="*/ 4783016 w 11731364"/>
                <a:gd name="connsiteY22" fmla="*/ 2879198 h 2890922"/>
                <a:gd name="connsiteX23" fmla="*/ 3938954 w 11731364"/>
                <a:gd name="connsiteY23" fmla="*/ 2859101 h 2890922"/>
                <a:gd name="connsiteX24" fmla="*/ 2944167 w 11731364"/>
                <a:gd name="connsiteY24" fmla="*/ 2839004 h 2890922"/>
                <a:gd name="connsiteX25" fmla="*/ 1889090 w 11731364"/>
                <a:gd name="connsiteY25" fmla="*/ 2849053 h 2890922"/>
                <a:gd name="connsiteX26" fmla="*/ 522515 w 11731364"/>
                <a:gd name="connsiteY26" fmla="*/ 2869149 h 2890922"/>
                <a:gd name="connsiteX27" fmla="*/ 10048 w 11731364"/>
                <a:gd name="connsiteY27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8098972 w 11731364"/>
                <a:gd name="connsiteY7" fmla="*/ 95804 h 2890922"/>
                <a:gd name="connsiteX8" fmla="*/ 9485644 w 11731364"/>
                <a:gd name="connsiteY8" fmla="*/ 95804 h 2890922"/>
                <a:gd name="connsiteX9" fmla="*/ 9827288 w 11731364"/>
                <a:gd name="connsiteY9" fmla="*/ 65659 h 2890922"/>
                <a:gd name="connsiteX10" fmla="*/ 10671350 w 11731364"/>
                <a:gd name="connsiteY10" fmla="*/ 35514 h 2890922"/>
                <a:gd name="connsiteX11" fmla="*/ 11615895 w 11731364"/>
                <a:gd name="connsiteY11" fmla="*/ 55611 h 2890922"/>
                <a:gd name="connsiteX12" fmla="*/ 11686233 w 11731364"/>
                <a:gd name="connsiteY12" fmla="*/ 769044 h 2890922"/>
                <a:gd name="connsiteX13" fmla="*/ 11696282 w 11731364"/>
                <a:gd name="connsiteY13" fmla="*/ 2336587 h 2890922"/>
                <a:gd name="connsiteX14" fmla="*/ 11686233 w 11731364"/>
                <a:gd name="connsiteY14" fmla="*/ 2828956 h 2890922"/>
                <a:gd name="connsiteX15" fmla="*/ 10912510 w 11731364"/>
                <a:gd name="connsiteY15" fmla="*/ 2859101 h 2890922"/>
                <a:gd name="connsiteX16" fmla="*/ 10008159 w 11731364"/>
                <a:gd name="connsiteY16" fmla="*/ 2859101 h 2890922"/>
                <a:gd name="connsiteX17" fmla="*/ 9435402 w 11731364"/>
                <a:gd name="connsiteY17" fmla="*/ 2859101 h 2890922"/>
                <a:gd name="connsiteX18" fmla="*/ 7365442 w 11731364"/>
                <a:gd name="connsiteY18" fmla="*/ 2818908 h 2890922"/>
                <a:gd name="connsiteX19" fmla="*/ 6742444 w 11731364"/>
                <a:gd name="connsiteY19" fmla="*/ 2839004 h 2890922"/>
                <a:gd name="connsiteX20" fmla="*/ 6601767 w 11731364"/>
                <a:gd name="connsiteY20" fmla="*/ 2828956 h 2890922"/>
                <a:gd name="connsiteX21" fmla="*/ 4783016 w 11731364"/>
                <a:gd name="connsiteY21" fmla="*/ 2879198 h 2890922"/>
                <a:gd name="connsiteX22" fmla="*/ 3938954 w 11731364"/>
                <a:gd name="connsiteY22" fmla="*/ 2859101 h 2890922"/>
                <a:gd name="connsiteX23" fmla="*/ 2944167 w 11731364"/>
                <a:gd name="connsiteY23" fmla="*/ 2839004 h 2890922"/>
                <a:gd name="connsiteX24" fmla="*/ 1889090 w 11731364"/>
                <a:gd name="connsiteY24" fmla="*/ 2849053 h 2890922"/>
                <a:gd name="connsiteX25" fmla="*/ 522515 w 11731364"/>
                <a:gd name="connsiteY25" fmla="*/ 2869149 h 2890922"/>
                <a:gd name="connsiteX26" fmla="*/ 10048 w 11731364"/>
                <a:gd name="connsiteY26" fmla="*/ 2839005 h 2890922"/>
                <a:gd name="connsiteX0" fmla="*/ 0 w 11731364"/>
                <a:gd name="connsiteY0" fmla="*/ 36371 h 2871682"/>
                <a:gd name="connsiteX1" fmla="*/ 552660 w 11731364"/>
                <a:gd name="connsiteY1" fmla="*/ 16274 h 2871682"/>
                <a:gd name="connsiteX2" fmla="*/ 1637882 w 11731364"/>
                <a:gd name="connsiteY2" fmla="*/ 26322 h 2871682"/>
                <a:gd name="connsiteX3" fmla="*/ 2019719 w 11731364"/>
                <a:gd name="connsiteY3" fmla="*/ 26322 h 2871682"/>
                <a:gd name="connsiteX4" fmla="*/ 4531807 w 11731364"/>
                <a:gd name="connsiteY4" fmla="*/ 46419 h 2871682"/>
                <a:gd name="connsiteX5" fmla="*/ 6300317 w 11731364"/>
                <a:gd name="connsiteY5" fmla="*/ 76564 h 2871682"/>
                <a:gd name="connsiteX6" fmla="*/ 7063991 w 11731364"/>
                <a:gd name="connsiteY6" fmla="*/ 46419 h 2871682"/>
                <a:gd name="connsiteX7" fmla="*/ 8098972 w 11731364"/>
                <a:gd name="connsiteY7" fmla="*/ 76564 h 2871682"/>
                <a:gd name="connsiteX8" fmla="*/ 9485644 w 11731364"/>
                <a:gd name="connsiteY8" fmla="*/ 76564 h 2871682"/>
                <a:gd name="connsiteX9" fmla="*/ 9827288 w 11731364"/>
                <a:gd name="connsiteY9" fmla="*/ 46419 h 2871682"/>
                <a:gd name="connsiteX10" fmla="*/ 10671350 w 11731364"/>
                <a:gd name="connsiteY10" fmla="*/ 16274 h 2871682"/>
                <a:gd name="connsiteX11" fmla="*/ 11615895 w 11731364"/>
                <a:gd name="connsiteY11" fmla="*/ 66517 h 2871682"/>
                <a:gd name="connsiteX12" fmla="*/ 11686233 w 11731364"/>
                <a:gd name="connsiteY12" fmla="*/ 749804 h 2871682"/>
                <a:gd name="connsiteX13" fmla="*/ 11696282 w 11731364"/>
                <a:gd name="connsiteY13" fmla="*/ 2317347 h 2871682"/>
                <a:gd name="connsiteX14" fmla="*/ 11686233 w 11731364"/>
                <a:gd name="connsiteY14" fmla="*/ 2809716 h 2871682"/>
                <a:gd name="connsiteX15" fmla="*/ 10912510 w 11731364"/>
                <a:gd name="connsiteY15" fmla="*/ 2839861 h 2871682"/>
                <a:gd name="connsiteX16" fmla="*/ 10008159 w 11731364"/>
                <a:gd name="connsiteY16" fmla="*/ 2839861 h 2871682"/>
                <a:gd name="connsiteX17" fmla="*/ 9435402 w 11731364"/>
                <a:gd name="connsiteY17" fmla="*/ 2839861 h 2871682"/>
                <a:gd name="connsiteX18" fmla="*/ 7365442 w 11731364"/>
                <a:gd name="connsiteY18" fmla="*/ 2799668 h 2871682"/>
                <a:gd name="connsiteX19" fmla="*/ 6742444 w 11731364"/>
                <a:gd name="connsiteY19" fmla="*/ 2819764 h 2871682"/>
                <a:gd name="connsiteX20" fmla="*/ 6601767 w 11731364"/>
                <a:gd name="connsiteY20" fmla="*/ 2809716 h 2871682"/>
                <a:gd name="connsiteX21" fmla="*/ 4783016 w 11731364"/>
                <a:gd name="connsiteY21" fmla="*/ 2859958 h 2871682"/>
                <a:gd name="connsiteX22" fmla="*/ 3938954 w 11731364"/>
                <a:gd name="connsiteY22" fmla="*/ 2839861 h 2871682"/>
                <a:gd name="connsiteX23" fmla="*/ 2944167 w 11731364"/>
                <a:gd name="connsiteY23" fmla="*/ 2819764 h 2871682"/>
                <a:gd name="connsiteX24" fmla="*/ 1889090 w 11731364"/>
                <a:gd name="connsiteY24" fmla="*/ 2829813 h 2871682"/>
                <a:gd name="connsiteX25" fmla="*/ 522515 w 11731364"/>
                <a:gd name="connsiteY25" fmla="*/ 2849909 h 2871682"/>
                <a:gd name="connsiteX26" fmla="*/ 10048 w 11731364"/>
                <a:gd name="connsiteY26" fmla="*/ 2819765 h 2871682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26" fmla="*/ 10048 w 11731364"/>
                <a:gd name="connsiteY26" fmla="*/ 282296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311934 w 11731364"/>
                <a:gd name="connsiteY25" fmla="*/ 281291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72846 w 11731364"/>
                <a:gd name="connsiteY25" fmla="*/ 2772725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22882 w 11731364"/>
                <a:gd name="connsiteY25" fmla="*/ 284306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2890 w 11731364"/>
                <a:gd name="connsiteY25" fmla="*/ 2812918 h 2874886"/>
                <a:gd name="connsiteX0" fmla="*/ 0 w 11795893"/>
                <a:gd name="connsiteY0" fmla="*/ 28410 h 2863721"/>
                <a:gd name="connsiteX1" fmla="*/ 552660 w 11795893"/>
                <a:gd name="connsiteY1" fmla="*/ 8313 h 2863721"/>
                <a:gd name="connsiteX2" fmla="*/ 1637882 w 11795893"/>
                <a:gd name="connsiteY2" fmla="*/ 18361 h 2863721"/>
                <a:gd name="connsiteX3" fmla="*/ 2019719 w 11795893"/>
                <a:gd name="connsiteY3" fmla="*/ 18361 h 2863721"/>
                <a:gd name="connsiteX4" fmla="*/ 4531807 w 11795893"/>
                <a:gd name="connsiteY4" fmla="*/ 38458 h 2863721"/>
                <a:gd name="connsiteX5" fmla="*/ 6300317 w 11795893"/>
                <a:gd name="connsiteY5" fmla="*/ 68603 h 2863721"/>
                <a:gd name="connsiteX6" fmla="*/ 7063991 w 11795893"/>
                <a:gd name="connsiteY6" fmla="*/ 38458 h 2863721"/>
                <a:gd name="connsiteX7" fmla="*/ 8098972 w 11795893"/>
                <a:gd name="connsiteY7" fmla="*/ 68603 h 2863721"/>
                <a:gd name="connsiteX8" fmla="*/ 9485644 w 11795893"/>
                <a:gd name="connsiteY8" fmla="*/ 68603 h 2863721"/>
                <a:gd name="connsiteX9" fmla="*/ 9827288 w 11795893"/>
                <a:gd name="connsiteY9" fmla="*/ 38458 h 2863721"/>
                <a:gd name="connsiteX10" fmla="*/ 10671350 w 11795893"/>
                <a:gd name="connsiteY10" fmla="*/ 8313 h 2863721"/>
                <a:gd name="connsiteX11" fmla="*/ 11615895 w 11795893"/>
                <a:gd name="connsiteY11" fmla="*/ 58556 h 2863721"/>
                <a:gd name="connsiteX12" fmla="*/ 11686233 w 11795893"/>
                <a:gd name="connsiteY12" fmla="*/ 741843 h 2863721"/>
                <a:gd name="connsiteX13" fmla="*/ 11696282 w 11795893"/>
                <a:gd name="connsiteY13" fmla="*/ 2309386 h 2863721"/>
                <a:gd name="connsiteX14" fmla="*/ 11686233 w 11795893"/>
                <a:gd name="connsiteY14" fmla="*/ 2801755 h 2863721"/>
                <a:gd name="connsiteX15" fmla="*/ 10912510 w 11795893"/>
                <a:gd name="connsiteY15" fmla="*/ 2831900 h 2863721"/>
                <a:gd name="connsiteX16" fmla="*/ 10008159 w 11795893"/>
                <a:gd name="connsiteY16" fmla="*/ 2831900 h 2863721"/>
                <a:gd name="connsiteX17" fmla="*/ 9435402 w 11795893"/>
                <a:gd name="connsiteY17" fmla="*/ 2831900 h 2863721"/>
                <a:gd name="connsiteX18" fmla="*/ 7365442 w 11795893"/>
                <a:gd name="connsiteY18" fmla="*/ 2791707 h 2863721"/>
                <a:gd name="connsiteX19" fmla="*/ 6742444 w 11795893"/>
                <a:gd name="connsiteY19" fmla="*/ 2811803 h 2863721"/>
                <a:gd name="connsiteX20" fmla="*/ 6601767 w 11795893"/>
                <a:gd name="connsiteY20" fmla="*/ 2801755 h 2863721"/>
                <a:gd name="connsiteX21" fmla="*/ 4783016 w 11795893"/>
                <a:gd name="connsiteY21" fmla="*/ 2851997 h 2863721"/>
                <a:gd name="connsiteX22" fmla="*/ 3938954 w 11795893"/>
                <a:gd name="connsiteY22" fmla="*/ 2831900 h 2863721"/>
                <a:gd name="connsiteX23" fmla="*/ 2944167 w 11795893"/>
                <a:gd name="connsiteY23" fmla="*/ 2811803 h 2863721"/>
                <a:gd name="connsiteX24" fmla="*/ 1889090 w 11795893"/>
                <a:gd name="connsiteY24" fmla="*/ 2821852 h 2863721"/>
                <a:gd name="connsiteX25" fmla="*/ 12890 w 11795893"/>
                <a:gd name="connsiteY25" fmla="*/ 2801753 h 2863721"/>
                <a:gd name="connsiteX0" fmla="*/ 0 w 11731364"/>
                <a:gd name="connsiteY0" fmla="*/ 152690 h 2988001"/>
                <a:gd name="connsiteX1" fmla="*/ 552660 w 11731364"/>
                <a:gd name="connsiteY1" fmla="*/ 132593 h 2988001"/>
                <a:gd name="connsiteX2" fmla="*/ 1637882 w 11731364"/>
                <a:gd name="connsiteY2" fmla="*/ 142641 h 2988001"/>
                <a:gd name="connsiteX3" fmla="*/ 2019719 w 11731364"/>
                <a:gd name="connsiteY3" fmla="*/ 142641 h 2988001"/>
                <a:gd name="connsiteX4" fmla="*/ 4531807 w 11731364"/>
                <a:gd name="connsiteY4" fmla="*/ 162738 h 2988001"/>
                <a:gd name="connsiteX5" fmla="*/ 6300317 w 11731364"/>
                <a:gd name="connsiteY5" fmla="*/ 192883 h 2988001"/>
                <a:gd name="connsiteX6" fmla="*/ 7063991 w 11731364"/>
                <a:gd name="connsiteY6" fmla="*/ 162738 h 2988001"/>
                <a:gd name="connsiteX7" fmla="*/ 8098972 w 11731364"/>
                <a:gd name="connsiteY7" fmla="*/ 192883 h 2988001"/>
                <a:gd name="connsiteX8" fmla="*/ 9485644 w 11731364"/>
                <a:gd name="connsiteY8" fmla="*/ 192883 h 2988001"/>
                <a:gd name="connsiteX9" fmla="*/ 9827288 w 11731364"/>
                <a:gd name="connsiteY9" fmla="*/ 162738 h 2988001"/>
                <a:gd name="connsiteX10" fmla="*/ 10671350 w 11731364"/>
                <a:gd name="connsiteY10" fmla="*/ 132593 h 2988001"/>
                <a:gd name="connsiteX11" fmla="*/ 11615895 w 11731364"/>
                <a:gd name="connsiteY11" fmla="*/ 182836 h 2988001"/>
                <a:gd name="connsiteX12" fmla="*/ 11696282 w 11731364"/>
                <a:gd name="connsiteY12" fmla="*/ 2433666 h 2988001"/>
                <a:gd name="connsiteX13" fmla="*/ 11686233 w 11731364"/>
                <a:gd name="connsiteY13" fmla="*/ 2926035 h 2988001"/>
                <a:gd name="connsiteX14" fmla="*/ 10912510 w 11731364"/>
                <a:gd name="connsiteY14" fmla="*/ 2956180 h 2988001"/>
                <a:gd name="connsiteX15" fmla="*/ 10008159 w 11731364"/>
                <a:gd name="connsiteY15" fmla="*/ 2956180 h 2988001"/>
                <a:gd name="connsiteX16" fmla="*/ 9435402 w 11731364"/>
                <a:gd name="connsiteY16" fmla="*/ 2956180 h 2988001"/>
                <a:gd name="connsiteX17" fmla="*/ 7365442 w 11731364"/>
                <a:gd name="connsiteY17" fmla="*/ 2915987 h 2988001"/>
                <a:gd name="connsiteX18" fmla="*/ 6742444 w 11731364"/>
                <a:gd name="connsiteY18" fmla="*/ 2936083 h 2988001"/>
                <a:gd name="connsiteX19" fmla="*/ 6601767 w 11731364"/>
                <a:gd name="connsiteY19" fmla="*/ 2926035 h 2988001"/>
                <a:gd name="connsiteX20" fmla="*/ 4783016 w 11731364"/>
                <a:gd name="connsiteY20" fmla="*/ 2976277 h 2988001"/>
                <a:gd name="connsiteX21" fmla="*/ 3938954 w 11731364"/>
                <a:gd name="connsiteY21" fmla="*/ 2956180 h 2988001"/>
                <a:gd name="connsiteX22" fmla="*/ 2944167 w 11731364"/>
                <a:gd name="connsiteY22" fmla="*/ 2936083 h 2988001"/>
                <a:gd name="connsiteX23" fmla="*/ 1889090 w 11731364"/>
                <a:gd name="connsiteY23" fmla="*/ 2946132 h 2988001"/>
                <a:gd name="connsiteX24" fmla="*/ 12890 w 11731364"/>
                <a:gd name="connsiteY24" fmla="*/ 2926033 h 2988001"/>
                <a:gd name="connsiteX0" fmla="*/ 0 w 11761041"/>
                <a:gd name="connsiteY0" fmla="*/ 189003 h 3175501"/>
                <a:gd name="connsiteX1" fmla="*/ 552660 w 11761041"/>
                <a:gd name="connsiteY1" fmla="*/ 168906 h 3175501"/>
                <a:gd name="connsiteX2" fmla="*/ 1637882 w 11761041"/>
                <a:gd name="connsiteY2" fmla="*/ 178954 h 3175501"/>
                <a:gd name="connsiteX3" fmla="*/ 2019719 w 11761041"/>
                <a:gd name="connsiteY3" fmla="*/ 178954 h 3175501"/>
                <a:gd name="connsiteX4" fmla="*/ 4531807 w 11761041"/>
                <a:gd name="connsiteY4" fmla="*/ 199051 h 3175501"/>
                <a:gd name="connsiteX5" fmla="*/ 6300317 w 11761041"/>
                <a:gd name="connsiteY5" fmla="*/ 229196 h 3175501"/>
                <a:gd name="connsiteX6" fmla="*/ 7063991 w 11761041"/>
                <a:gd name="connsiteY6" fmla="*/ 199051 h 3175501"/>
                <a:gd name="connsiteX7" fmla="*/ 8098972 w 11761041"/>
                <a:gd name="connsiteY7" fmla="*/ 229196 h 3175501"/>
                <a:gd name="connsiteX8" fmla="*/ 9485644 w 11761041"/>
                <a:gd name="connsiteY8" fmla="*/ 229196 h 3175501"/>
                <a:gd name="connsiteX9" fmla="*/ 9827288 w 11761041"/>
                <a:gd name="connsiteY9" fmla="*/ 199051 h 3175501"/>
                <a:gd name="connsiteX10" fmla="*/ 10671350 w 11761041"/>
                <a:gd name="connsiteY10" fmla="*/ 168906 h 3175501"/>
                <a:gd name="connsiteX11" fmla="*/ 11615895 w 11761041"/>
                <a:gd name="connsiteY11" fmla="*/ 219149 h 3175501"/>
                <a:gd name="connsiteX12" fmla="*/ 11686233 w 11761041"/>
                <a:gd name="connsiteY12" fmla="*/ 2962348 h 3175501"/>
                <a:gd name="connsiteX13" fmla="*/ 10912510 w 11761041"/>
                <a:gd name="connsiteY13" fmla="*/ 2992493 h 3175501"/>
                <a:gd name="connsiteX14" fmla="*/ 10008159 w 11761041"/>
                <a:gd name="connsiteY14" fmla="*/ 2992493 h 3175501"/>
                <a:gd name="connsiteX15" fmla="*/ 9435402 w 11761041"/>
                <a:gd name="connsiteY15" fmla="*/ 2992493 h 3175501"/>
                <a:gd name="connsiteX16" fmla="*/ 7365442 w 11761041"/>
                <a:gd name="connsiteY16" fmla="*/ 2952300 h 3175501"/>
                <a:gd name="connsiteX17" fmla="*/ 6742444 w 11761041"/>
                <a:gd name="connsiteY17" fmla="*/ 2972396 h 3175501"/>
                <a:gd name="connsiteX18" fmla="*/ 6601767 w 11761041"/>
                <a:gd name="connsiteY18" fmla="*/ 2962348 h 3175501"/>
                <a:gd name="connsiteX19" fmla="*/ 4783016 w 11761041"/>
                <a:gd name="connsiteY19" fmla="*/ 3012590 h 3175501"/>
                <a:gd name="connsiteX20" fmla="*/ 3938954 w 11761041"/>
                <a:gd name="connsiteY20" fmla="*/ 2992493 h 3175501"/>
                <a:gd name="connsiteX21" fmla="*/ 2944167 w 11761041"/>
                <a:gd name="connsiteY21" fmla="*/ 2972396 h 3175501"/>
                <a:gd name="connsiteX22" fmla="*/ 1889090 w 11761041"/>
                <a:gd name="connsiteY22" fmla="*/ 2982445 h 3175501"/>
                <a:gd name="connsiteX23" fmla="*/ 12890 w 11761041"/>
                <a:gd name="connsiteY23" fmla="*/ 2962346 h 3175501"/>
                <a:gd name="connsiteX0" fmla="*/ 0 w 11837985"/>
                <a:gd name="connsiteY0" fmla="*/ 32082 h 2997028"/>
                <a:gd name="connsiteX1" fmla="*/ 552660 w 11837985"/>
                <a:gd name="connsiteY1" fmla="*/ 11985 h 2997028"/>
                <a:gd name="connsiteX2" fmla="*/ 1637882 w 11837985"/>
                <a:gd name="connsiteY2" fmla="*/ 22033 h 2997028"/>
                <a:gd name="connsiteX3" fmla="*/ 2019719 w 11837985"/>
                <a:gd name="connsiteY3" fmla="*/ 22033 h 2997028"/>
                <a:gd name="connsiteX4" fmla="*/ 4531807 w 11837985"/>
                <a:gd name="connsiteY4" fmla="*/ 42130 h 2997028"/>
                <a:gd name="connsiteX5" fmla="*/ 6300317 w 11837985"/>
                <a:gd name="connsiteY5" fmla="*/ 72275 h 2997028"/>
                <a:gd name="connsiteX6" fmla="*/ 7063991 w 11837985"/>
                <a:gd name="connsiteY6" fmla="*/ 42130 h 2997028"/>
                <a:gd name="connsiteX7" fmla="*/ 8098972 w 11837985"/>
                <a:gd name="connsiteY7" fmla="*/ 72275 h 2997028"/>
                <a:gd name="connsiteX8" fmla="*/ 9485644 w 11837985"/>
                <a:gd name="connsiteY8" fmla="*/ 72275 h 2997028"/>
                <a:gd name="connsiteX9" fmla="*/ 9827288 w 11837985"/>
                <a:gd name="connsiteY9" fmla="*/ 42130 h 2997028"/>
                <a:gd name="connsiteX10" fmla="*/ 10671350 w 11837985"/>
                <a:gd name="connsiteY10" fmla="*/ 11985 h 2997028"/>
                <a:gd name="connsiteX11" fmla="*/ 11745799 w 11837985"/>
                <a:gd name="connsiteY11" fmla="*/ 353631 h 2997028"/>
                <a:gd name="connsiteX12" fmla="*/ 11686233 w 11837985"/>
                <a:gd name="connsiteY12" fmla="*/ 2805427 h 2997028"/>
                <a:gd name="connsiteX13" fmla="*/ 10912510 w 11837985"/>
                <a:gd name="connsiteY13" fmla="*/ 2835572 h 2997028"/>
                <a:gd name="connsiteX14" fmla="*/ 10008159 w 11837985"/>
                <a:gd name="connsiteY14" fmla="*/ 2835572 h 2997028"/>
                <a:gd name="connsiteX15" fmla="*/ 9435402 w 11837985"/>
                <a:gd name="connsiteY15" fmla="*/ 2835572 h 2997028"/>
                <a:gd name="connsiteX16" fmla="*/ 7365442 w 11837985"/>
                <a:gd name="connsiteY16" fmla="*/ 2795379 h 2997028"/>
                <a:gd name="connsiteX17" fmla="*/ 6742444 w 11837985"/>
                <a:gd name="connsiteY17" fmla="*/ 2815475 h 2997028"/>
                <a:gd name="connsiteX18" fmla="*/ 6601767 w 11837985"/>
                <a:gd name="connsiteY18" fmla="*/ 2805427 h 2997028"/>
                <a:gd name="connsiteX19" fmla="*/ 4783016 w 11837985"/>
                <a:gd name="connsiteY19" fmla="*/ 2855669 h 2997028"/>
                <a:gd name="connsiteX20" fmla="*/ 3938954 w 11837985"/>
                <a:gd name="connsiteY20" fmla="*/ 2835572 h 2997028"/>
                <a:gd name="connsiteX21" fmla="*/ 2944167 w 11837985"/>
                <a:gd name="connsiteY21" fmla="*/ 2815475 h 2997028"/>
                <a:gd name="connsiteX22" fmla="*/ 1889090 w 11837985"/>
                <a:gd name="connsiteY22" fmla="*/ 2825524 h 2997028"/>
                <a:gd name="connsiteX23" fmla="*/ 12890 w 11837985"/>
                <a:gd name="connsiteY23" fmla="*/ 2805425 h 2997028"/>
                <a:gd name="connsiteX0" fmla="*/ 0 w 11890507"/>
                <a:gd name="connsiteY0" fmla="*/ 20097 h 2985043"/>
                <a:gd name="connsiteX1" fmla="*/ 552660 w 11890507"/>
                <a:gd name="connsiteY1" fmla="*/ 0 h 2985043"/>
                <a:gd name="connsiteX2" fmla="*/ 1637882 w 11890507"/>
                <a:gd name="connsiteY2" fmla="*/ 10048 h 2985043"/>
                <a:gd name="connsiteX3" fmla="*/ 2019719 w 11890507"/>
                <a:gd name="connsiteY3" fmla="*/ 10048 h 2985043"/>
                <a:gd name="connsiteX4" fmla="*/ 4531807 w 11890507"/>
                <a:gd name="connsiteY4" fmla="*/ 30145 h 2985043"/>
                <a:gd name="connsiteX5" fmla="*/ 6300317 w 11890507"/>
                <a:gd name="connsiteY5" fmla="*/ 60290 h 2985043"/>
                <a:gd name="connsiteX6" fmla="*/ 7063991 w 11890507"/>
                <a:gd name="connsiteY6" fmla="*/ 30145 h 2985043"/>
                <a:gd name="connsiteX7" fmla="*/ 8098972 w 11890507"/>
                <a:gd name="connsiteY7" fmla="*/ 60290 h 2985043"/>
                <a:gd name="connsiteX8" fmla="*/ 9485644 w 11890507"/>
                <a:gd name="connsiteY8" fmla="*/ 60290 h 2985043"/>
                <a:gd name="connsiteX9" fmla="*/ 9827288 w 11890507"/>
                <a:gd name="connsiteY9" fmla="*/ 30145 h 2985043"/>
                <a:gd name="connsiteX10" fmla="*/ 10671350 w 11890507"/>
                <a:gd name="connsiteY10" fmla="*/ 0 h 2985043"/>
                <a:gd name="connsiteX11" fmla="*/ 11745799 w 11890507"/>
                <a:gd name="connsiteY11" fmla="*/ 341646 h 2985043"/>
                <a:gd name="connsiteX12" fmla="*/ 11686233 w 11890507"/>
                <a:gd name="connsiteY12" fmla="*/ 2793442 h 2985043"/>
                <a:gd name="connsiteX13" fmla="*/ 10912510 w 11890507"/>
                <a:gd name="connsiteY13" fmla="*/ 2823587 h 2985043"/>
                <a:gd name="connsiteX14" fmla="*/ 10008159 w 11890507"/>
                <a:gd name="connsiteY14" fmla="*/ 2823587 h 2985043"/>
                <a:gd name="connsiteX15" fmla="*/ 9435402 w 11890507"/>
                <a:gd name="connsiteY15" fmla="*/ 2823587 h 2985043"/>
                <a:gd name="connsiteX16" fmla="*/ 7365442 w 11890507"/>
                <a:gd name="connsiteY16" fmla="*/ 2783394 h 2985043"/>
                <a:gd name="connsiteX17" fmla="*/ 6742444 w 11890507"/>
                <a:gd name="connsiteY17" fmla="*/ 2803490 h 2985043"/>
                <a:gd name="connsiteX18" fmla="*/ 6601767 w 11890507"/>
                <a:gd name="connsiteY18" fmla="*/ 2793442 h 2985043"/>
                <a:gd name="connsiteX19" fmla="*/ 4783016 w 11890507"/>
                <a:gd name="connsiteY19" fmla="*/ 2843684 h 2985043"/>
                <a:gd name="connsiteX20" fmla="*/ 3938954 w 11890507"/>
                <a:gd name="connsiteY20" fmla="*/ 2823587 h 2985043"/>
                <a:gd name="connsiteX21" fmla="*/ 2944167 w 11890507"/>
                <a:gd name="connsiteY21" fmla="*/ 2803490 h 2985043"/>
                <a:gd name="connsiteX22" fmla="*/ 1889090 w 11890507"/>
                <a:gd name="connsiteY22" fmla="*/ 2813539 h 2985043"/>
                <a:gd name="connsiteX23" fmla="*/ 12890 w 11890507"/>
                <a:gd name="connsiteY23" fmla="*/ 2793440 h 2985043"/>
                <a:gd name="connsiteX0" fmla="*/ 0 w 11888066"/>
                <a:gd name="connsiteY0" fmla="*/ 24726 h 2863208"/>
                <a:gd name="connsiteX1" fmla="*/ 552660 w 11888066"/>
                <a:gd name="connsiteY1" fmla="*/ 4629 h 2863208"/>
                <a:gd name="connsiteX2" fmla="*/ 1637882 w 11888066"/>
                <a:gd name="connsiteY2" fmla="*/ 14677 h 2863208"/>
                <a:gd name="connsiteX3" fmla="*/ 2019719 w 11888066"/>
                <a:gd name="connsiteY3" fmla="*/ 14677 h 2863208"/>
                <a:gd name="connsiteX4" fmla="*/ 4531807 w 11888066"/>
                <a:gd name="connsiteY4" fmla="*/ 34774 h 2863208"/>
                <a:gd name="connsiteX5" fmla="*/ 6300317 w 11888066"/>
                <a:gd name="connsiteY5" fmla="*/ 64919 h 2863208"/>
                <a:gd name="connsiteX6" fmla="*/ 7063991 w 11888066"/>
                <a:gd name="connsiteY6" fmla="*/ 34774 h 2863208"/>
                <a:gd name="connsiteX7" fmla="*/ 8098972 w 11888066"/>
                <a:gd name="connsiteY7" fmla="*/ 64919 h 2863208"/>
                <a:gd name="connsiteX8" fmla="*/ 9485644 w 11888066"/>
                <a:gd name="connsiteY8" fmla="*/ 64919 h 2863208"/>
                <a:gd name="connsiteX9" fmla="*/ 9827288 w 11888066"/>
                <a:gd name="connsiteY9" fmla="*/ 34774 h 2863208"/>
                <a:gd name="connsiteX10" fmla="*/ 10671350 w 11888066"/>
                <a:gd name="connsiteY10" fmla="*/ 4629 h 2863208"/>
                <a:gd name="connsiteX11" fmla="*/ 11745799 w 11888066"/>
                <a:gd name="connsiteY11" fmla="*/ 346275 h 2863208"/>
                <a:gd name="connsiteX12" fmla="*/ 11786160 w 11888066"/>
                <a:gd name="connsiteY12" fmla="*/ 2587055 h 2863208"/>
                <a:gd name="connsiteX13" fmla="*/ 10912510 w 11888066"/>
                <a:gd name="connsiteY13" fmla="*/ 2828216 h 2863208"/>
                <a:gd name="connsiteX14" fmla="*/ 10008159 w 11888066"/>
                <a:gd name="connsiteY14" fmla="*/ 2828216 h 2863208"/>
                <a:gd name="connsiteX15" fmla="*/ 9435402 w 11888066"/>
                <a:gd name="connsiteY15" fmla="*/ 2828216 h 2863208"/>
                <a:gd name="connsiteX16" fmla="*/ 7365442 w 11888066"/>
                <a:gd name="connsiteY16" fmla="*/ 2788023 h 2863208"/>
                <a:gd name="connsiteX17" fmla="*/ 6742444 w 11888066"/>
                <a:gd name="connsiteY17" fmla="*/ 2808119 h 2863208"/>
                <a:gd name="connsiteX18" fmla="*/ 6601767 w 11888066"/>
                <a:gd name="connsiteY18" fmla="*/ 2798071 h 2863208"/>
                <a:gd name="connsiteX19" fmla="*/ 4783016 w 11888066"/>
                <a:gd name="connsiteY19" fmla="*/ 2848313 h 2863208"/>
                <a:gd name="connsiteX20" fmla="*/ 3938954 w 11888066"/>
                <a:gd name="connsiteY20" fmla="*/ 2828216 h 2863208"/>
                <a:gd name="connsiteX21" fmla="*/ 2944167 w 11888066"/>
                <a:gd name="connsiteY21" fmla="*/ 2808119 h 2863208"/>
                <a:gd name="connsiteX22" fmla="*/ 1889090 w 11888066"/>
                <a:gd name="connsiteY22" fmla="*/ 2818168 h 2863208"/>
                <a:gd name="connsiteX23" fmla="*/ 12890 w 11888066"/>
                <a:gd name="connsiteY23" fmla="*/ 2798069 h 2863208"/>
                <a:gd name="connsiteX0" fmla="*/ 0 w 11848891"/>
                <a:gd name="connsiteY0" fmla="*/ 24726 h 2849235"/>
                <a:gd name="connsiteX1" fmla="*/ 552660 w 11848891"/>
                <a:gd name="connsiteY1" fmla="*/ 4629 h 2849235"/>
                <a:gd name="connsiteX2" fmla="*/ 1637882 w 11848891"/>
                <a:gd name="connsiteY2" fmla="*/ 14677 h 2849235"/>
                <a:gd name="connsiteX3" fmla="*/ 2019719 w 11848891"/>
                <a:gd name="connsiteY3" fmla="*/ 14677 h 2849235"/>
                <a:gd name="connsiteX4" fmla="*/ 4531807 w 11848891"/>
                <a:gd name="connsiteY4" fmla="*/ 34774 h 2849235"/>
                <a:gd name="connsiteX5" fmla="*/ 6300317 w 11848891"/>
                <a:gd name="connsiteY5" fmla="*/ 64919 h 2849235"/>
                <a:gd name="connsiteX6" fmla="*/ 7063991 w 11848891"/>
                <a:gd name="connsiteY6" fmla="*/ 34774 h 2849235"/>
                <a:gd name="connsiteX7" fmla="*/ 8098972 w 11848891"/>
                <a:gd name="connsiteY7" fmla="*/ 64919 h 2849235"/>
                <a:gd name="connsiteX8" fmla="*/ 9485644 w 11848891"/>
                <a:gd name="connsiteY8" fmla="*/ 64919 h 2849235"/>
                <a:gd name="connsiteX9" fmla="*/ 9827288 w 11848891"/>
                <a:gd name="connsiteY9" fmla="*/ 34774 h 2849235"/>
                <a:gd name="connsiteX10" fmla="*/ 10671350 w 11848891"/>
                <a:gd name="connsiteY10" fmla="*/ 4629 h 2849235"/>
                <a:gd name="connsiteX11" fmla="*/ 11745799 w 11848891"/>
                <a:gd name="connsiteY11" fmla="*/ 346275 h 2849235"/>
                <a:gd name="connsiteX12" fmla="*/ 11786160 w 11848891"/>
                <a:gd name="connsiteY12" fmla="*/ 2587055 h 2849235"/>
                <a:gd name="connsiteX13" fmla="*/ 10912510 w 11848891"/>
                <a:gd name="connsiteY13" fmla="*/ 2828216 h 2849235"/>
                <a:gd name="connsiteX14" fmla="*/ 10008159 w 11848891"/>
                <a:gd name="connsiteY14" fmla="*/ 2828216 h 2849235"/>
                <a:gd name="connsiteX15" fmla="*/ 9435402 w 11848891"/>
                <a:gd name="connsiteY15" fmla="*/ 2828216 h 2849235"/>
                <a:gd name="connsiteX16" fmla="*/ 7365442 w 11848891"/>
                <a:gd name="connsiteY16" fmla="*/ 2788023 h 2849235"/>
                <a:gd name="connsiteX17" fmla="*/ 6742444 w 11848891"/>
                <a:gd name="connsiteY17" fmla="*/ 2808119 h 2849235"/>
                <a:gd name="connsiteX18" fmla="*/ 6601767 w 11848891"/>
                <a:gd name="connsiteY18" fmla="*/ 2798071 h 2849235"/>
                <a:gd name="connsiteX19" fmla="*/ 4783016 w 11848891"/>
                <a:gd name="connsiteY19" fmla="*/ 2848313 h 2849235"/>
                <a:gd name="connsiteX20" fmla="*/ 3938954 w 11848891"/>
                <a:gd name="connsiteY20" fmla="*/ 2828216 h 2849235"/>
                <a:gd name="connsiteX21" fmla="*/ 2944167 w 11848891"/>
                <a:gd name="connsiteY21" fmla="*/ 2808119 h 2849235"/>
                <a:gd name="connsiteX22" fmla="*/ 1889090 w 11848891"/>
                <a:gd name="connsiteY22" fmla="*/ 2818168 h 2849235"/>
                <a:gd name="connsiteX23" fmla="*/ 12890 w 11848891"/>
                <a:gd name="connsiteY23" fmla="*/ 2798069 h 2849235"/>
                <a:gd name="connsiteX0" fmla="*/ 0 w 11916572"/>
                <a:gd name="connsiteY0" fmla="*/ 24726 h 2849235"/>
                <a:gd name="connsiteX1" fmla="*/ 552660 w 11916572"/>
                <a:gd name="connsiteY1" fmla="*/ 4629 h 2849235"/>
                <a:gd name="connsiteX2" fmla="*/ 1637882 w 11916572"/>
                <a:gd name="connsiteY2" fmla="*/ 14677 h 2849235"/>
                <a:gd name="connsiteX3" fmla="*/ 2019719 w 11916572"/>
                <a:gd name="connsiteY3" fmla="*/ 14677 h 2849235"/>
                <a:gd name="connsiteX4" fmla="*/ 4531807 w 11916572"/>
                <a:gd name="connsiteY4" fmla="*/ 34774 h 2849235"/>
                <a:gd name="connsiteX5" fmla="*/ 6300317 w 11916572"/>
                <a:gd name="connsiteY5" fmla="*/ 64919 h 2849235"/>
                <a:gd name="connsiteX6" fmla="*/ 7063991 w 11916572"/>
                <a:gd name="connsiteY6" fmla="*/ 34774 h 2849235"/>
                <a:gd name="connsiteX7" fmla="*/ 8098972 w 11916572"/>
                <a:gd name="connsiteY7" fmla="*/ 64919 h 2849235"/>
                <a:gd name="connsiteX8" fmla="*/ 9485644 w 11916572"/>
                <a:gd name="connsiteY8" fmla="*/ 64919 h 2849235"/>
                <a:gd name="connsiteX9" fmla="*/ 9827288 w 11916572"/>
                <a:gd name="connsiteY9" fmla="*/ 34774 h 2849235"/>
                <a:gd name="connsiteX10" fmla="*/ 10671350 w 11916572"/>
                <a:gd name="connsiteY10" fmla="*/ 4629 h 2849235"/>
                <a:gd name="connsiteX11" fmla="*/ 11745799 w 11916572"/>
                <a:gd name="connsiteY11" fmla="*/ 346275 h 2849235"/>
                <a:gd name="connsiteX12" fmla="*/ 11786160 w 11916572"/>
                <a:gd name="connsiteY12" fmla="*/ 2587055 h 2849235"/>
                <a:gd name="connsiteX13" fmla="*/ 10912510 w 11916572"/>
                <a:gd name="connsiteY13" fmla="*/ 2828216 h 2849235"/>
                <a:gd name="connsiteX14" fmla="*/ 10008159 w 11916572"/>
                <a:gd name="connsiteY14" fmla="*/ 2828216 h 2849235"/>
                <a:gd name="connsiteX15" fmla="*/ 9435402 w 11916572"/>
                <a:gd name="connsiteY15" fmla="*/ 2828216 h 2849235"/>
                <a:gd name="connsiteX16" fmla="*/ 7365442 w 11916572"/>
                <a:gd name="connsiteY16" fmla="*/ 2788023 h 2849235"/>
                <a:gd name="connsiteX17" fmla="*/ 6742444 w 11916572"/>
                <a:gd name="connsiteY17" fmla="*/ 2808119 h 2849235"/>
                <a:gd name="connsiteX18" fmla="*/ 6601767 w 11916572"/>
                <a:gd name="connsiteY18" fmla="*/ 2798071 h 2849235"/>
                <a:gd name="connsiteX19" fmla="*/ 4783016 w 11916572"/>
                <a:gd name="connsiteY19" fmla="*/ 2848313 h 2849235"/>
                <a:gd name="connsiteX20" fmla="*/ 3938954 w 11916572"/>
                <a:gd name="connsiteY20" fmla="*/ 2828216 h 2849235"/>
                <a:gd name="connsiteX21" fmla="*/ 2944167 w 11916572"/>
                <a:gd name="connsiteY21" fmla="*/ 2808119 h 2849235"/>
                <a:gd name="connsiteX22" fmla="*/ 1889090 w 11916572"/>
                <a:gd name="connsiteY22" fmla="*/ 2818168 h 2849235"/>
                <a:gd name="connsiteX23" fmla="*/ 12890 w 11916572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9827288 w 11936930"/>
                <a:gd name="connsiteY9" fmla="*/ 34774 h 2849235"/>
                <a:gd name="connsiteX10" fmla="*/ 10311615 w 11936930"/>
                <a:gd name="connsiteY10" fmla="*/ 4629 h 2849235"/>
                <a:gd name="connsiteX11" fmla="*/ 11745799 w 11936930"/>
                <a:gd name="connsiteY11" fmla="*/ 346275 h 2849235"/>
                <a:gd name="connsiteX12" fmla="*/ 11786160 w 11936930"/>
                <a:gd name="connsiteY12" fmla="*/ 2587055 h 2849235"/>
                <a:gd name="connsiteX13" fmla="*/ 10912510 w 11936930"/>
                <a:gd name="connsiteY13" fmla="*/ 2828216 h 2849235"/>
                <a:gd name="connsiteX14" fmla="*/ 10008159 w 11936930"/>
                <a:gd name="connsiteY14" fmla="*/ 2828216 h 2849235"/>
                <a:gd name="connsiteX15" fmla="*/ 9435402 w 11936930"/>
                <a:gd name="connsiteY15" fmla="*/ 2828216 h 2849235"/>
                <a:gd name="connsiteX16" fmla="*/ 7365442 w 11936930"/>
                <a:gd name="connsiteY16" fmla="*/ 2788023 h 2849235"/>
                <a:gd name="connsiteX17" fmla="*/ 6742444 w 11936930"/>
                <a:gd name="connsiteY17" fmla="*/ 2808119 h 2849235"/>
                <a:gd name="connsiteX18" fmla="*/ 6601767 w 11936930"/>
                <a:gd name="connsiteY18" fmla="*/ 2798071 h 2849235"/>
                <a:gd name="connsiteX19" fmla="*/ 4783016 w 11936930"/>
                <a:gd name="connsiteY19" fmla="*/ 2848313 h 2849235"/>
                <a:gd name="connsiteX20" fmla="*/ 3938954 w 11936930"/>
                <a:gd name="connsiteY20" fmla="*/ 2828216 h 2849235"/>
                <a:gd name="connsiteX21" fmla="*/ 2944167 w 11936930"/>
                <a:gd name="connsiteY21" fmla="*/ 2808119 h 2849235"/>
                <a:gd name="connsiteX22" fmla="*/ 1889090 w 11936930"/>
                <a:gd name="connsiteY22" fmla="*/ 2818168 h 2849235"/>
                <a:gd name="connsiteX23" fmla="*/ 12890 w 11936930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8956033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49661"/>
                <a:gd name="connsiteY0" fmla="*/ 24726 h 2849235"/>
                <a:gd name="connsiteX1" fmla="*/ 552660 w 11949661"/>
                <a:gd name="connsiteY1" fmla="*/ 4629 h 2849235"/>
                <a:gd name="connsiteX2" fmla="*/ 1637882 w 11949661"/>
                <a:gd name="connsiteY2" fmla="*/ 14677 h 2849235"/>
                <a:gd name="connsiteX3" fmla="*/ 2019719 w 11949661"/>
                <a:gd name="connsiteY3" fmla="*/ 14677 h 2849235"/>
                <a:gd name="connsiteX4" fmla="*/ 4531807 w 11949661"/>
                <a:gd name="connsiteY4" fmla="*/ 34774 h 2849235"/>
                <a:gd name="connsiteX5" fmla="*/ 6300317 w 11949661"/>
                <a:gd name="connsiteY5" fmla="*/ 64919 h 2849235"/>
                <a:gd name="connsiteX6" fmla="*/ 7063991 w 11949661"/>
                <a:gd name="connsiteY6" fmla="*/ 34774 h 2849235"/>
                <a:gd name="connsiteX7" fmla="*/ 8098972 w 11949661"/>
                <a:gd name="connsiteY7" fmla="*/ 64919 h 2849235"/>
                <a:gd name="connsiteX8" fmla="*/ 8956033 w 11949661"/>
                <a:gd name="connsiteY8" fmla="*/ 64919 h 2849235"/>
                <a:gd name="connsiteX9" fmla="*/ 10101769 w 11949661"/>
                <a:gd name="connsiteY9" fmla="*/ 4629 h 2849235"/>
                <a:gd name="connsiteX10" fmla="*/ 11745799 w 11949661"/>
                <a:gd name="connsiteY10" fmla="*/ 346275 h 2849235"/>
                <a:gd name="connsiteX11" fmla="*/ 11786160 w 11949661"/>
                <a:gd name="connsiteY11" fmla="*/ 2587055 h 2849235"/>
                <a:gd name="connsiteX12" fmla="*/ 10912510 w 11949661"/>
                <a:gd name="connsiteY12" fmla="*/ 2828216 h 2849235"/>
                <a:gd name="connsiteX13" fmla="*/ 10008159 w 11949661"/>
                <a:gd name="connsiteY13" fmla="*/ 2828216 h 2849235"/>
                <a:gd name="connsiteX14" fmla="*/ 9435402 w 11949661"/>
                <a:gd name="connsiteY14" fmla="*/ 2828216 h 2849235"/>
                <a:gd name="connsiteX15" fmla="*/ 7365442 w 11949661"/>
                <a:gd name="connsiteY15" fmla="*/ 2788023 h 2849235"/>
                <a:gd name="connsiteX16" fmla="*/ 6742444 w 11949661"/>
                <a:gd name="connsiteY16" fmla="*/ 2808119 h 2849235"/>
                <a:gd name="connsiteX17" fmla="*/ 6601767 w 11949661"/>
                <a:gd name="connsiteY17" fmla="*/ 2798071 h 2849235"/>
                <a:gd name="connsiteX18" fmla="*/ 4783016 w 11949661"/>
                <a:gd name="connsiteY18" fmla="*/ 2848313 h 2849235"/>
                <a:gd name="connsiteX19" fmla="*/ 3938954 w 11949661"/>
                <a:gd name="connsiteY19" fmla="*/ 2828216 h 2849235"/>
                <a:gd name="connsiteX20" fmla="*/ 2944167 w 11949661"/>
                <a:gd name="connsiteY20" fmla="*/ 2808119 h 2849235"/>
                <a:gd name="connsiteX21" fmla="*/ 1889090 w 11949661"/>
                <a:gd name="connsiteY21" fmla="*/ 2818168 h 2849235"/>
                <a:gd name="connsiteX22" fmla="*/ 12890 w 11949661"/>
                <a:gd name="connsiteY22" fmla="*/ 2798069 h 2849235"/>
                <a:gd name="connsiteX0" fmla="*/ 0 w 11981169"/>
                <a:gd name="connsiteY0" fmla="*/ 24726 h 2849235"/>
                <a:gd name="connsiteX1" fmla="*/ 552660 w 11981169"/>
                <a:gd name="connsiteY1" fmla="*/ 4629 h 2849235"/>
                <a:gd name="connsiteX2" fmla="*/ 1637882 w 11981169"/>
                <a:gd name="connsiteY2" fmla="*/ 14677 h 2849235"/>
                <a:gd name="connsiteX3" fmla="*/ 2019719 w 11981169"/>
                <a:gd name="connsiteY3" fmla="*/ 14677 h 2849235"/>
                <a:gd name="connsiteX4" fmla="*/ 4531807 w 11981169"/>
                <a:gd name="connsiteY4" fmla="*/ 34774 h 2849235"/>
                <a:gd name="connsiteX5" fmla="*/ 6300317 w 11981169"/>
                <a:gd name="connsiteY5" fmla="*/ 64919 h 2849235"/>
                <a:gd name="connsiteX6" fmla="*/ 7063991 w 11981169"/>
                <a:gd name="connsiteY6" fmla="*/ 34774 h 2849235"/>
                <a:gd name="connsiteX7" fmla="*/ 8098972 w 11981169"/>
                <a:gd name="connsiteY7" fmla="*/ 64919 h 2849235"/>
                <a:gd name="connsiteX8" fmla="*/ 8956033 w 11981169"/>
                <a:gd name="connsiteY8" fmla="*/ 64919 h 2849235"/>
                <a:gd name="connsiteX9" fmla="*/ 10101769 w 11981169"/>
                <a:gd name="connsiteY9" fmla="*/ 4629 h 2849235"/>
                <a:gd name="connsiteX10" fmla="*/ 11745799 w 11981169"/>
                <a:gd name="connsiteY10" fmla="*/ 346275 h 2849235"/>
                <a:gd name="connsiteX11" fmla="*/ 11786160 w 11981169"/>
                <a:gd name="connsiteY11" fmla="*/ 2587055 h 2849235"/>
                <a:gd name="connsiteX12" fmla="*/ 10008159 w 11981169"/>
                <a:gd name="connsiteY12" fmla="*/ 2828216 h 2849235"/>
                <a:gd name="connsiteX13" fmla="*/ 9435402 w 11981169"/>
                <a:gd name="connsiteY13" fmla="*/ 2828216 h 2849235"/>
                <a:gd name="connsiteX14" fmla="*/ 7365442 w 11981169"/>
                <a:gd name="connsiteY14" fmla="*/ 2788023 h 2849235"/>
                <a:gd name="connsiteX15" fmla="*/ 6742444 w 11981169"/>
                <a:gd name="connsiteY15" fmla="*/ 2808119 h 2849235"/>
                <a:gd name="connsiteX16" fmla="*/ 6601767 w 11981169"/>
                <a:gd name="connsiteY16" fmla="*/ 2798071 h 2849235"/>
                <a:gd name="connsiteX17" fmla="*/ 4783016 w 11981169"/>
                <a:gd name="connsiteY17" fmla="*/ 2848313 h 2849235"/>
                <a:gd name="connsiteX18" fmla="*/ 3938954 w 11981169"/>
                <a:gd name="connsiteY18" fmla="*/ 2828216 h 2849235"/>
                <a:gd name="connsiteX19" fmla="*/ 2944167 w 11981169"/>
                <a:gd name="connsiteY19" fmla="*/ 2808119 h 2849235"/>
                <a:gd name="connsiteX20" fmla="*/ 1889090 w 11981169"/>
                <a:gd name="connsiteY20" fmla="*/ 2818168 h 2849235"/>
                <a:gd name="connsiteX21" fmla="*/ 12890 w 11981169"/>
                <a:gd name="connsiteY21" fmla="*/ 2798069 h 2849235"/>
                <a:gd name="connsiteX0" fmla="*/ 0 w 11940760"/>
                <a:gd name="connsiteY0" fmla="*/ 24144 h 2848653"/>
                <a:gd name="connsiteX1" fmla="*/ 552660 w 11940760"/>
                <a:gd name="connsiteY1" fmla="*/ 4047 h 2848653"/>
                <a:gd name="connsiteX2" fmla="*/ 1637882 w 11940760"/>
                <a:gd name="connsiteY2" fmla="*/ 14095 h 2848653"/>
                <a:gd name="connsiteX3" fmla="*/ 2019719 w 11940760"/>
                <a:gd name="connsiteY3" fmla="*/ 14095 h 2848653"/>
                <a:gd name="connsiteX4" fmla="*/ 4531807 w 11940760"/>
                <a:gd name="connsiteY4" fmla="*/ 34192 h 2848653"/>
                <a:gd name="connsiteX5" fmla="*/ 6300317 w 11940760"/>
                <a:gd name="connsiteY5" fmla="*/ 64337 h 2848653"/>
                <a:gd name="connsiteX6" fmla="*/ 7063991 w 11940760"/>
                <a:gd name="connsiteY6" fmla="*/ 34192 h 2848653"/>
                <a:gd name="connsiteX7" fmla="*/ 8098972 w 11940760"/>
                <a:gd name="connsiteY7" fmla="*/ 64337 h 2848653"/>
                <a:gd name="connsiteX8" fmla="*/ 8956033 w 11940760"/>
                <a:gd name="connsiteY8" fmla="*/ 64337 h 2848653"/>
                <a:gd name="connsiteX9" fmla="*/ 10101769 w 11940760"/>
                <a:gd name="connsiteY9" fmla="*/ 4047 h 2848653"/>
                <a:gd name="connsiteX10" fmla="*/ 11745799 w 11940760"/>
                <a:gd name="connsiteY10" fmla="*/ 345693 h 2848653"/>
                <a:gd name="connsiteX11" fmla="*/ 11716211 w 11940760"/>
                <a:gd name="connsiteY11" fmla="*/ 2566377 h 2848653"/>
                <a:gd name="connsiteX12" fmla="*/ 10008159 w 11940760"/>
                <a:gd name="connsiteY12" fmla="*/ 2827634 h 2848653"/>
                <a:gd name="connsiteX13" fmla="*/ 9435402 w 11940760"/>
                <a:gd name="connsiteY13" fmla="*/ 2827634 h 2848653"/>
                <a:gd name="connsiteX14" fmla="*/ 7365442 w 11940760"/>
                <a:gd name="connsiteY14" fmla="*/ 2787441 h 2848653"/>
                <a:gd name="connsiteX15" fmla="*/ 6742444 w 11940760"/>
                <a:gd name="connsiteY15" fmla="*/ 2807537 h 2848653"/>
                <a:gd name="connsiteX16" fmla="*/ 6601767 w 11940760"/>
                <a:gd name="connsiteY16" fmla="*/ 2797489 h 2848653"/>
                <a:gd name="connsiteX17" fmla="*/ 4783016 w 11940760"/>
                <a:gd name="connsiteY17" fmla="*/ 2847731 h 2848653"/>
                <a:gd name="connsiteX18" fmla="*/ 3938954 w 11940760"/>
                <a:gd name="connsiteY18" fmla="*/ 2827634 h 2848653"/>
                <a:gd name="connsiteX19" fmla="*/ 2944167 w 11940760"/>
                <a:gd name="connsiteY19" fmla="*/ 2807537 h 2848653"/>
                <a:gd name="connsiteX20" fmla="*/ 1889090 w 11940760"/>
                <a:gd name="connsiteY20" fmla="*/ 2817586 h 2848653"/>
                <a:gd name="connsiteX21" fmla="*/ 12890 w 11940760"/>
                <a:gd name="connsiteY21" fmla="*/ 2797487 h 2848653"/>
                <a:gd name="connsiteX0" fmla="*/ 0 w 12001276"/>
                <a:gd name="connsiteY0" fmla="*/ 24144 h 2848653"/>
                <a:gd name="connsiteX1" fmla="*/ 552660 w 12001276"/>
                <a:gd name="connsiteY1" fmla="*/ 4047 h 2848653"/>
                <a:gd name="connsiteX2" fmla="*/ 1637882 w 12001276"/>
                <a:gd name="connsiteY2" fmla="*/ 14095 h 2848653"/>
                <a:gd name="connsiteX3" fmla="*/ 2019719 w 12001276"/>
                <a:gd name="connsiteY3" fmla="*/ 14095 h 2848653"/>
                <a:gd name="connsiteX4" fmla="*/ 4531807 w 12001276"/>
                <a:gd name="connsiteY4" fmla="*/ 34192 h 2848653"/>
                <a:gd name="connsiteX5" fmla="*/ 6300317 w 12001276"/>
                <a:gd name="connsiteY5" fmla="*/ 64337 h 2848653"/>
                <a:gd name="connsiteX6" fmla="*/ 7063991 w 12001276"/>
                <a:gd name="connsiteY6" fmla="*/ 34192 h 2848653"/>
                <a:gd name="connsiteX7" fmla="*/ 8098972 w 12001276"/>
                <a:gd name="connsiteY7" fmla="*/ 64337 h 2848653"/>
                <a:gd name="connsiteX8" fmla="*/ 8956033 w 12001276"/>
                <a:gd name="connsiteY8" fmla="*/ 64337 h 2848653"/>
                <a:gd name="connsiteX9" fmla="*/ 10101769 w 12001276"/>
                <a:gd name="connsiteY9" fmla="*/ 4047 h 2848653"/>
                <a:gd name="connsiteX10" fmla="*/ 11745799 w 12001276"/>
                <a:gd name="connsiteY10" fmla="*/ 345693 h 2848653"/>
                <a:gd name="connsiteX11" fmla="*/ 11716211 w 12001276"/>
                <a:gd name="connsiteY11" fmla="*/ 2566377 h 2848653"/>
                <a:gd name="connsiteX12" fmla="*/ 10008159 w 12001276"/>
                <a:gd name="connsiteY12" fmla="*/ 2827634 h 2848653"/>
                <a:gd name="connsiteX13" fmla="*/ 9435402 w 12001276"/>
                <a:gd name="connsiteY13" fmla="*/ 2827634 h 2848653"/>
                <a:gd name="connsiteX14" fmla="*/ 7365442 w 12001276"/>
                <a:gd name="connsiteY14" fmla="*/ 2787441 h 2848653"/>
                <a:gd name="connsiteX15" fmla="*/ 6742444 w 12001276"/>
                <a:gd name="connsiteY15" fmla="*/ 2807537 h 2848653"/>
                <a:gd name="connsiteX16" fmla="*/ 6601767 w 12001276"/>
                <a:gd name="connsiteY16" fmla="*/ 2797489 h 2848653"/>
                <a:gd name="connsiteX17" fmla="*/ 4783016 w 12001276"/>
                <a:gd name="connsiteY17" fmla="*/ 2847731 h 2848653"/>
                <a:gd name="connsiteX18" fmla="*/ 3938954 w 12001276"/>
                <a:gd name="connsiteY18" fmla="*/ 2827634 h 2848653"/>
                <a:gd name="connsiteX19" fmla="*/ 2944167 w 12001276"/>
                <a:gd name="connsiteY19" fmla="*/ 2807537 h 2848653"/>
                <a:gd name="connsiteX20" fmla="*/ 1889090 w 12001276"/>
                <a:gd name="connsiteY20" fmla="*/ 2817586 h 2848653"/>
                <a:gd name="connsiteX21" fmla="*/ 12890 w 12001276"/>
                <a:gd name="connsiteY21" fmla="*/ 2797487 h 2848653"/>
                <a:gd name="connsiteX0" fmla="*/ 0 w 11892644"/>
                <a:gd name="connsiteY0" fmla="*/ 20953 h 2845462"/>
                <a:gd name="connsiteX1" fmla="*/ 552660 w 11892644"/>
                <a:gd name="connsiteY1" fmla="*/ 856 h 2845462"/>
                <a:gd name="connsiteX2" fmla="*/ 1637882 w 11892644"/>
                <a:gd name="connsiteY2" fmla="*/ 10904 h 2845462"/>
                <a:gd name="connsiteX3" fmla="*/ 2019719 w 11892644"/>
                <a:gd name="connsiteY3" fmla="*/ 10904 h 2845462"/>
                <a:gd name="connsiteX4" fmla="*/ 4531807 w 11892644"/>
                <a:gd name="connsiteY4" fmla="*/ 31001 h 2845462"/>
                <a:gd name="connsiteX5" fmla="*/ 6300317 w 11892644"/>
                <a:gd name="connsiteY5" fmla="*/ 61146 h 2845462"/>
                <a:gd name="connsiteX6" fmla="*/ 7063991 w 11892644"/>
                <a:gd name="connsiteY6" fmla="*/ 31001 h 2845462"/>
                <a:gd name="connsiteX7" fmla="*/ 8098972 w 11892644"/>
                <a:gd name="connsiteY7" fmla="*/ 61146 h 2845462"/>
                <a:gd name="connsiteX8" fmla="*/ 8956033 w 11892644"/>
                <a:gd name="connsiteY8" fmla="*/ 61146 h 2845462"/>
                <a:gd name="connsiteX9" fmla="*/ 10101769 w 11892644"/>
                <a:gd name="connsiteY9" fmla="*/ 856 h 2845462"/>
                <a:gd name="connsiteX10" fmla="*/ 11655866 w 11892644"/>
                <a:gd name="connsiteY10" fmla="*/ 362598 h 2845462"/>
                <a:gd name="connsiteX11" fmla="*/ 11716211 w 11892644"/>
                <a:gd name="connsiteY11" fmla="*/ 2563186 h 2845462"/>
                <a:gd name="connsiteX12" fmla="*/ 10008159 w 11892644"/>
                <a:gd name="connsiteY12" fmla="*/ 2824443 h 2845462"/>
                <a:gd name="connsiteX13" fmla="*/ 9435402 w 11892644"/>
                <a:gd name="connsiteY13" fmla="*/ 2824443 h 2845462"/>
                <a:gd name="connsiteX14" fmla="*/ 7365442 w 11892644"/>
                <a:gd name="connsiteY14" fmla="*/ 2784250 h 2845462"/>
                <a:gd name="connsiteX15" fmla="*/ 6742444 w 11892644"/>
                <a:gd name="connsiteY15" fmla="*/ 2804346 h 2845462"/>
                <a:gd name="connsiteX16" fmla="*/ 6601767 w 11892644"/>
                <a:gd name="connsiteY16" fmla="*/ 2794298 h 2845462"/>
                <a:gd name="connsiteX17" fmla="*/ 4783016 w 11892644"/>
                <a:gd name="connsiteY17" fmla="*/ 2844540 h 2845462"/>
                <a:gd name="connsiteX18" fmla="*/ 3938954 w 11892644"/>
                <a:gd name="connsiteY18" fmla="*/ 2824443 h 2845462"/>
                <a:gd name="connsiteX19" fmla="*/ 2944167 w 11892644"/>
                <a:gd name="connsiteY19" fmla="*/ 2804346 h 2845462"/>
                <a:gd name="connsiteX20" fmla="*/ 1889090 w 11892644"/>
                <a:gd name="connsiteY20" fmla="*/ 2814395 h 2845462"/>
                <a:gd name="connsiteX21" fmla="*/ 12890 w 11892644"/>
                <a:gd name="connsiteY21" fmla="*/ 2794296 h 2845462"/>
                <a:gd name="connsiteX0" fmla="*/ 0 w 11834291"/>
                <a:gd name="connsiteY0" fmla="*/ 20767 h 2845276"/>
                <a:gd name="connsiteX1" fmla="*/ 552660 w 11834291"/>
                <a:gd name="connsiteY1" fmla="*/ 670 h 2845276"/>
                <a:gd name="connsiteX2" fmla="*/ 1637882 w 11834291"/>
                <a:gd name="connsiteY2" fmla="*/ 10718 h 2845276"/>
                <a:gd name="connsiteX3" fmla="*/ 2019719 w 11834291"/>
                <a:gd name="connsiteY3" fmla="*/ 10718 h 2845276"/>
                <a:gd name="connsiteX4" fmla="*/ 4531807 w 11834291"/>
                <a:gd name="connsiteY4" fmla="*/ 30815 h 2845276"/>
                <a:gd name="connsiteX5" fmla="*/ 6300317 w 11834291"/>
                <a:gd name="connsiteY5" fmla="*/ 60960 h 2845276"/>
                <a:gd name="connsiteX6" fmla="*/ 7063991 w 11834291"/>
                <a:gd name="connsiteY6" fmla="*/ 30815 h 2845276"/>
                <a:gd name="connsiteX7" fmla="*/ 8098972 w 11834291"/>
                <a:gd name="connsiteY7" fmla="*/ 60960 h 2845276"/>
                <a:gd name="connsiteX8" fmla="*/ 8956033 w 11834291"/>
                <a:gd name="connsiteY8" fmla="*/ 60960 h 2845276"/>
                <a:gd name="connsiteX9" fmla="*/ 10101769 w 11834291"/>
                <a:gd name="connsiteY9" fmla="*/ 670 h 2845276"/>
                <a:gd name="connsiteX10" fmla="*/ 11655866 w 11834291"/>
                <a:gd name="connsiteY10" fmla="*/ 362412 h 2845276"/>
                <a:gd name="connsiteX11" fmla="*/ 11616285 w 11834291"/>
                <a:gd name="connsiteY11" fmla="*/ 2552952 h 2845276"/>
                <a:gd name="connsiteX12" fmla="*/ 10008159 w 11834291"/>
                <a:gd name="connsiteY12" fmla="*/ 2824257 h 2845276"/>
                <a:gd name="connsiteX13" fmla="*/ 9435402 w 11834291"/>
                <a:gd name="connsiteY13" fmla="*/ 2824257 h 2845276"/>
                <a:gd name="connsiteX14" fmla="*/ 7365442 w 11834291"/>
                <a:gd name="connsiteY14" fmla="*/ 2784064 h 2845276"/>
                <a:gd name="connsiteX15" fmla="*/ 6742444 w 11834291"/>
                <a:gd name="connsiteY15" fmla="*/ 2804160 h 2845276"/>
                <a:gd name="connsiteX16" fmla="*/ 6601767 w 11834291"/>
                <a:gd name="connsiteY16" fmla="*/ 2794112 h 2845276"/>
                <a:gd name="connsiteX17" fmla="*/ 4783016 w 11834291"/>
                <a:gd name="connsiteY17" fmla="*/ 2844354 h 2845276"/>
                <a:gd name="connsiteX18" fmla="*/ 3938954 w 11834291"/>
                <a:gd name="connsiteY18" fmla="*/ 2824257 h 2845276"/>
                <a:gd name="connsiteX19" fmla="*/ 2944167 w 11834291"/>
                <a:gd name="connsiteY19" fmla="*/ 2804160 h 2845276"/>
                <a:gd name="connsiteX20" fmla="*/ 1889090 w 11834291"/>
                <a:gd name="connsiteY20" fmla="*/ 2814209 h 2845276"/>
                <a:gd name="connsiteX21" fmla="*/ 12890 w 11834291"/>
                <a:gd name="connsiteY21" fmla="*/ 2794110 h 2845276"/>
                <a:gd name="connsiteX0" fmla="*/ 0 w 11903126"/>
                <a:gd name="connsiteY0" fmla="*/ 20767 h 2845276"/>
                <a:gd name="connsiteX1" fmla="*/ 552660 w 11903126"/>
                <a:gd name="connsiteY1" fmla="*/ 670 h 2845276"/>
                <a:gd name="connsiteX2" fmla="*/ 1637882 w 11903126"/>
                <a:gd name="connsiteY2" fmla="*/ 10718 h 2845276"/>
                <a:gd name="connsiteX3" fmla="*/ 2019719 w 11903126"/>
                <a:gd name="connsiteY3" fmla="*/ 10718 h 2845276"/>
                <a:gd name="connsiteX4" fmla="*/ 4531807 w 11903126"/>
                <a:gd name="connsiteY4" fmla="*/ 30815 h 2845276"/>
                <a:gd name="connsiteX5" fmla="*/ 6300317 w 11903126"/>
                <a:gd name="connsiteY5" fmla="*/ 60960 h 2845276"/>
                <a:gd name="connsiteX6" fmla="*/ 7063991 w 11903126"/>
                <a:gd name="connsiteY6" fmla="*/ 30815 h 2845276"/>
                <a:gd name="connsiteX7" fmla="*/ 8098972 w 11903126"/>
                <a:gd name="connsiteY7" fmla="*/ 60960 h 2845276"/>
                <a:gd name="connsiteX8" fmla="*/ 8956033 w 11903126"/>
                <a:gd name="connsiteY8" fmla="*/ 60960 h 2845276"/>
                <a:gd name="connsiteX9" fmla="*/ 10101769 w 11903126"/>
                <a:gd name="connsiteY9" fmla="*/ 670 h 2845276"/>
                <a:gd name="connsiteX10" fmla="*/ 11655866 w 11903126"/>
                <a:gd name="connsiteY10" fmla="*/ 362412 h 2845276"/>
                <a:gd name="connsiteX11" fmla="*/ 11616285 w 11903126"/>
                <a:gd name="connsiteY11" fmla="*/ 2552952 h 2845276"/>
                <a:gd name="connsiteX12" fmla="*/ 10008159 w 11903126"/>
                <a:gd name="connsiteY12" fmla="*/ 2824257 h 2845276"/>
                <a:gd name="connsiteX13" fmla="*/ 9435402 w 11903126"/>
                <a:gd name="connsiteY13" fmla="*/ 2824257 h 2845276"/>
                <a:gd name="connsiteX14" fmla="*/ 7365442 w 11903126"/>
                <a:gd name="connsiteY14" fmla="*/ 2784064 h 2845276"/>
                <a:gd name="connsiteX15" fmla="*/ 6742444 w 11903126"/>
                <a:gd name="connsiteY15" fmla="*/ 2804160 h 2845276"/>
                <a:gd name="connsiteX16" fmla="*/ 6601767 w 11903126"/>
                <a:gd name="connsiteY16" fmla="*/ 2794112 h 2845276"/>
                <a:gd name="connsiteX17" fmla="*/ 4783016 w 11903126"/>
                <a:gd name="connsiteY17" fmla="*/ 2844354 h 2845276"/>
                <a:gd name="connsiteX18" fmla="*/ 3938954 w 11903126"/>
                <a:gd name="connsiteY18" fmla="*/ 2824257 h 2845276"/>
                <a:gd name="connsiteX19" fmla="*/ 2944167 w 11903126"/>
                <a:gd name="connsiteY19" fmla="*/ 2804160 h 2845276"/>
                <a:gd name="connsiteX20" fmla="*/ 1889090 w 11903126"/>
                <a:gd name="connsiteY20" fmla="*/ 2814209 h 2845276"/>
                <a:gd name="connsiteX21" fmla="*/ 12890 w 11903126"/>
                <a:gd name="connsiteY21" fmla="*/ 2794110 h 2845276"/>
                <a:gd name="connsiteX0" fmla="*/ 0 w 11949884"/>
                <a:gd name="connsiteY0" fmla="*/ 20097 h 2844606"/>
                <a:gd name="connsiteX1" fmla="*/ 552660 w 11949884"/>
                <a:gd name="connsiteY1" fmla="*/ 0 h 2844606"/>
                <a:gd name="connsiteX2" fmla="*/ 1637882 w 11949884"/>
                <a:gd name="connsiteY2" fmla="*/ 10048 h 2844606"/>
                <a:gd name="connsiteX3" fmla="*/ 2019719 w 11949884"/>
                <a:gd name="connsiteY3" fmla="*/ 10048 h 2844606"/>
                <a:gd name="connsiteX4" fmla="*/ 4531807 w 11949884"/>
                <a:gd name="connsiteY4" fmla="*/ 30145 h 2844606"/>
                <a:gd name="connsiteX5" fmla="*/ 6300317 w 11949884"/>
                <a:gd name="connsiteY5" fmla="*/ 60290 h 2844606"/>
                <a:gd name="connsiteX6" fmla="*/ 7063991 w 11949884"/>
                <a:gd name="connsiteY6" fmla="*/ 30145 h 2844606"/>
                <a:gd name="connsiteX7" fmla="*/ 8098972 w 11949884"/>
                <a:gd name="connsiteY7" fmla="*/ 60290 h 2844606"/>
                <a:gd name="connsiteX8" fmla="*/ 8956033 w 11949884"/>
                <a:gd name="connsiteY8" fmla="*/ 60290 h 2844606"/>
                <a:gd name="connsiteX9" fmla="*/ 10101769 w 11949884"/>
                <a:gd name="connsiteY9" fmla="*/ 0 h 2844606"/>
                <a:gd name="connsiteX10" fmla="*/ 11655866 w 11949884"/>
                <a:gd name="connsiteY10" fmla="*/ 361742 h 2844606"/>
                <a:gd name="connsiteX11" fmla="*/ 11616285 w 11949884"/>
                <a:gd name="connsiteY11" fmla="*/ 2552282 h 2844606"/>
                <a:gd name="connsiteX12" fmla="*/ 10008159 w 11949884"/>
                <a:gd name="connsiteY12" fmla="*/ 2823587 h 2844606"/>
                <a:gd name="connsiteX13" fmla="*/ 9435402 w 11949884"/>
                <a:gd name="connsiteY13" fmla="*/ 2823587 h 2844606"/>
                <a:gd name="connsiteX14" fmla="*/ 7365442 w 11949884"/>
                <a:gd name="connsiteY14" fmla="*/ 2783394 h 2844606"/>
                <a:gd name="connsiteX15" fmla="*/ 6742444 w 11949884"/>
                <a:gd name="connsiteY15" fmla="*/ 2803490 h 2844606"/>
                <a:gd name="connsiteX16" fmla="*/ 6601767 w 11949884"/>
                <a:gd name="connsiteY16" fmla="*/ 2793442 h 2844606"/>
                <a:gd name="connsiteX17" fmla="*/ 4783016 w 11949884"/>
                <a:gd name="connsiteY17" fmla="*/ 2843684 h 2844606"/>
                <a:gd name="connsiteX18" fmla="*/ 3938954 w 11949884"/>
                <a:gd name="connsiteY18" fmla="*/ 2823587 h 2844606"/>
                <a:gd name="connsiteX19" fmla="*/ 2944167 w 11949884"/>
                <a:gd name="connsiteY19" fmla="*/ 2803490 h 2844606"/>
                <a:gd name="connsiteX20" fmla="*/ 1889090 w 11949884"/>
                <a:gd name="connsiteY20" fmla="*/ 2813539 h 2844606"/>
                <a:gd name="connsiteX21" fmla="*/ 12890 w 11949884"/>
                <a:gd name="connsiteY21" fmla="*/ 2793440 h 2844606"/>
                <a:gd name="connsiteX0" fmla="*/ 0 w 11868023"/>
                <a:gd name="connsiteY0" fmla="*/ 20097 h 2844606"/>
                <a:gd name="connsiteX1" fmla="*/ 552660 w 11868023"/>
                <a:gd name="connsiteY1" fmla="*/ 0 h 2844606"/>
                <a:gd name="connsiteX2" fmla="*/ 1637882 w 11868023"/>
                <a:gd name="connsiteY2" fmla="*/ 10048 h 2844606"/>
                <a:gd name="connsiteX3" fmla="*/ 2019719 w 11868023"/>
                <a:gd name="connsiteY3" fmla="*/ 10048 h 2844606"/>
                <a:gd name="connsiteX4" fmla="*/ 4531807 w 11868023"/>
                <a:gd name="connsiteY4" fmla="*/ 30145 h 2844606"/>
                <a:gd name="connsiteX5" fmla="*/ 6300317 w 11868023"/>
                <a:gd name="connsiteY5" fmla="*/ 60290 h 2844606"/>
                <a:gd name="connsiteX6" fmla="*/ 7063991 w 11868023"/>
                <a:gd name="connsiteY6" fmla="*/ 30145 h 2844606"/>
                <a:gd name="connsiteX7" fmla="*/ 8098972 w 11868023"/>
                <a:gd name="connsiteY7" fmla="*/ 60290 h 2844606"/>
                <a:gd name="connsiteX8" fmla="*/ 8956033 w 11868023"/>
                <a:gd name="connsiteY8" fmla="*/ 60290 h 2844606"/>
                <a:gd name="connsiteX9" fmla="*/ 10101769 w 11868023"/>
                <a:gd name="connsiteY9" fmla="*/ 0 h 2844606"/>
                <a:gd name="connsiteX10" fmla="*/ 11625888 w 11868023"/>
                <a:gd name="connsiteY10" fmla="*/ 351694 h 2844606"/>
                <a:gd name="connsiteX11" fmla="*/ 11616285 w 11868023"/>
                <a:gd name="connsiteY11" fmla="*/ 2552282 h 2844606"/>
                <a:gd name="connsiteX12" fmla="*/ 10008159 w 11868023"/>
                <a:gd name="connsiteY12" fmla="*/ 2823587 h 2844606"/>
                <a:gd name="connsiteX13" fmla="*/ 9435402 w 11868023"/>
                <a:gd name="connsiteY13" fmla="*/ 2823587 h 2844606"/>
                <a:gd name="connsiteX14" fmla="*/ 7365442 w 11868023"/>
                <a:gd name="connsiteY14" fmla="*/ 2783394 h 2844606"/>
                <a:gd name="connsiteX15" fmla="*/ 6742444 w 11868023"/>
                <a:gd name="connsiteY15" fmla="*/ 2803490 h 2844606"/>
                <a:gd name="connsiteX16" fmla="*/ 6601767 w 11868023"/>
                <a:gd name="connsiteY16" fmla="*/ 2793442 h 2844606"/>
                <a:gd name="connsiteX17" fmla="*/ 4783016 w 11868023"/>
                <a:gd name="connsiteY17" fmla="*/ 2843684 h 2844606"/>
                <a:gd name="connsiteX18" fmla="*/ 3938954 w 11868023"/>
                <a:gd name="connsiteY18" fmla="*/ 2823587 h 2844606"/>
                <a:gd name="connsiteX19" fmla="*/ 2944167 w 11868023"/>
                <a:gd name="connsiteY19" fmla="*/ 2803490 h 2844606"/>
                <a:gd name="connsiteX20" fmla="*/ 1889090 w 11868023"/>
                <a:gd name="connsiteY20" fmla="*/ 2813539 h 2844606"/>
                <a:gd name="connsiteX21" fmla="*/ 12890 w 11868023"/>
                <a:gd name="connsiteY21" fmla="*/ 2793440 h 2844606"/>
                <a:gd name="connsiteX0" fmla="*/ 0 w 11911375"/>
                <a:gd name="connsiteY0" fmla="*/ 20097 h 2844606"/>
                <a:gd name="connsiteX1" fmla="*/ 552660 w 11911375"/>
                <a:gd name="connsiteY1" fmla="*/ 0 h 2844606"/>
                <a:gd name="connsiteX2" fmla="*/ 1637882 w 11911375"/>
                <a:gd name="connsiteY2" fmla="*/ 10048 h 2844606"/>
                <a:gd name="connsiteX3" fmla="*/ 2019719 w 11911375"/>
                <a:gd name="connsiteY3" fmla="*/ 10048 h 2844606"/>
                <a:gd name="connsiteX4" fmla="*/ 4531807 w 11911375"/>
                <a:gd name="connsiteY4" fmla="*/ 30145 h 2844606"/>
                <a:gd name="connsiteX5" fmla="*/ 6300317 w 11911375"/>
                <a:gd name="connsiteY5" fmla="*/ 60290 h 2844606"/>
                <a:gd name="connsiteX6" fmla="*/ 7063991 w 11911375"/>
                <a:gd name="connsiteY6" fmla="*/ 30145 h 2844606"/>
                <a:gd name="connsiteX7" fmla="*/ 8098972 w 11911375"/>
                <a:gd name="connsiteY7" fmla="*/ 60290 h 2844606"/>
                <a:gd name="connsiteX8" fmla="*/ 8956033 w 11911375"/>
                <a:gd name="connsiteY8" fmla="*/ 60290 h 2844606"/>
                <a:gd name="connsiteX9" fmla="*/ 10101769 w 11911375"/>
                <a:gd name="connsiteY9" fmla="*/ 0 h 2844606"/>
                <a:gd name="connsiteX10" fmla="*/ 11625888 w 11911375"/>
                <a:gd name="connsiteY10" fmla="*/ 351694 h 2844606"/>
                <a:gd name="connsiteX11" fmla="*/ 11616285 w 11911375"/>
                <a:gd name="connsiteY11" fmla="*/ 2552282 h 2844606"/>
                <a:gd name="connsiteX12" fmla="*/ 10008159 w 11911375"/>
                <a:gd name="connsiteY12" fmla="*/ 2823587 h 2844606"/>
                <a:gd name="connsiteX13" fmla="*/ 9435402 w 11911375"/>
                <a:gd name="connsiteY13" fmla="*/ 2823587 h 2844606"/>
                <a:gd name="connsiteX14" fmla="*/ 7365442 w 11911375"/>
                <a:gd name="connsiteY14" fmla="*/ 2783394 h 2844606"/>
                <a:gd name="connsiteX15" fmla="*/ 6742444 w 11911375"/>
                <a:gd name="connsiteY15" fmla="*/ 2803490 h 2844606"/>
                <a:gd name="connsiteX16" fmla="*/ 6601767 w 11911375"/>
                <a:gd name="connsiteY16" fmla="*/ 2793442 h 2844606"/>
                <a:gd name="connsiteX17" fmla="*/ 4783016 w 11911375"/>
                <a:gd name="connsiteY17" fmla="*/ 2843684 h 2844606"/>
                <a:gd name="connsiteX18" fmla="*/ 3938954 w 11911375"/>
                <a:gd name="connsiteY18" fmla="*/ 2823587 h 2844606"/>
                <a:gd name="connsiteX19" fmla="*/ 2944167 w 11911375"/>
                <a:gd name="connsiteY19" fmla="*/ 2803490 h 2844606"/>
                <a:gd name="connsiteX20" fmla="*/ 1889090 w 11911375"/>
                <a:gd name="connsiteY20" fmla="*/ 2813539 h 2844606"/>
                <a:gd name="connsiteX21" fmla="*/ 12890 w 11911375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7438490 w 11932818"/>
                <a:gd name="connsiteY15" fmla="*/ 2776911 h 2844606"/>
                <a:gd name="connsiteX16" fmla="*/ 6742444 w 11932818"/>
                <a:gd name="connsiteY16" fmla="*/ 2803490 h 2844606"/>
                <a:gd name="connsiteX17" fmla="*/ 6601767 w 11932818"/>
                <a:gd name="connsiteY17" fmla="*/ 2793442 h 2844606"/>
                <a:gd name="connsiteX18" fmla="*/ 4783016 w 11932818"/>
                <a:gd name="connsiteY18" fmla="*/ 2843684 h 2844606"/>
                <a:gd name="connsiteX19" fmla="*/ 3938954 w 11932818"/>
                <a:gd name="connsiteY19" fmla="*/ 2823587 h 2844606"/>
                <a:gd name="connsiteX20" fmla="*/ 2944167 w 11932818"/>
                <a:gd name="connsiteY20" fmla="*/ 2803490 h 2844606"/>
                <a:gd name="connsiteX21" fmla="*/ 1889090 w 11932818"/>
                <a:gd name="connsiteY21" fmla="*/ 2813539 h 2844606"/>
                <a:gd name="connsiteX22" fmla="*/ 12890 w 11932818"/>
                <a:gd name="connsiteY22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7365442 w 11932818"/>
                <a:gd name="connsiteY13" fmla="*/ 2783394 h 2844606"/>
                <a:gd name="connsiteX14" fmla="*/ 7438490 w 11932818"/>
                <a:gd name="connsiteY14" fmla="*/ 2776911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2056788"/>
                <a:gd name="connsiteY0" fmla="*/ 20097 h 2844606"/>
                <a:gd name="connsiteX1" fmla="*/ 552660 w 12056788"/>
                <a:gd name="connsiteY1" fmla="*/ 0 h 2844606"/>
                <a:gd name="connsiteX2" fmla="*/ 1637882 w 12056788"/>
                <a:gd name="connsiteY2" fmla="*/ 10048 h 2844606"/>
                <a:gd name="connsiteX3" fmla="*/ 2019719 w 12056788"/>
                <a:gd name="connsiteY3" fmla="*/ 10048 h 2844606"/>
                <a:gd name="connsiteX4" fmla="*/ 4531807 w 12056788"/>
                <a:gd name="connsiteY4" fmla="*/ 30145 h 2844606"/>
                <a:gd name="connsiteX5" fmla="*/ 6300317 w 12056788"/>
                <a:gd name="connsiteY5" fmla="*/ 60290 h 2844606"/>
                <a:gd name="connsiteX6" fmla="*/ 7063991 w 12056788"/>
                <a:gd name="connsiteY6" fmla="*/ 30145 h 2844606"/>
                <a:gd name="connsiteX7" fmla="*/ 8098972 w 12056788"/>
                <a:gd name="connsiteY7" fmla="*/ 60290 h 2844606"/>
                <a:gd name="connsiteX8" fmla="*/ 8956033 w 12056788"/>
                <a:gd name="connsiteY8" fmla="*/ 60290 h 2844606"/>
                <a:gd name="connsiteX9" fmla="*/ 10101769 w 12056788"/>
                <a:gd name="connsiteY9" fmla="*/ 0 h 2844606"/>
                <a:gd name="connsiteX10" fmla="*/ 11625888 w 12056788"/>
                <a:gd name="connsiteY10" fmla="*/ 351694 h 2844606"/>
                <a:gd name="connsiteX11" fmla="*/ 11616285 w 12056788"/>
                <a:gd name="connsiteY11" fmla="*/ 2552282 h 2844606"/>
                <a:gd name="connsiteX12" fmla="*/ 7365442 w 12056788"/>
                <a:gd name="connsiteY12" fmla="*/ 2783394 h 2844606"/>
                <a:gd name="connsiteX13" fmla="*/ 7438490 w 12056788"/>
                <a:gd name="connsiteY13" fmla="*/ 2776911 h 2844606"/>
                <a:gd name="connsiteX14" fmla="*/ 6742444 w 12056788"/>
                <a:gd name="connsiteY14" fmla="*/ 2803490 h 2844606"/>
                <a:gd name="connsiteX15" fmla="*/ 6601767 w 12056788"/>
                <a:gd name="connsiteY15" fmla="*/ 2793442 h 2844606"/>
                <a:gd name="connsiteX16" fmla="*/ 4783016 w 12056788"/>
                <a:gd name="connsiteY16" fmla="*/ 2843684 h 2844606"/>
                <a:gd name="connsiteX17" fmla="*/ 3938954 w 12056788"/>
                <a:gd name="connsiteY17" fmla="*/ 2823587 h 2844606"/>
                <a:gd name="connsiteX18" fmla="*/ 2944167 w 12056788"/>
                <a:gd name="connsiteY18" fmla="*/ 2803490 h 2844606"/>
                <a:gd name="connsiteX19" fmla="*/ 1889090 w 12056788"/>
                <a:gd name="connsiteY19" fmla="*/ 2813539 h 2844606"/>
                <a:gd name="connsiteX20" fmla="*/ 12890 w 12056788"/>
                <a:gd name="connsiteY20" fmla="*/ 2793440 h 2844606"/>
                <a:gd name="connsiteX0" fmla="*/ 0 w 11704427"/>
                <a:gd name="connsiteY0" fmla="*/ 29047 h 2853556"/>
                <a:gd name="connsiteX1" fmla="*/ 552660 w 11704427"/>
                <a:gd name="connsiteY1" fmla="*/ 8950 h 2853556"/>
                <a:gd name="connsiteX2" fmla="*/ 1637882 w 11704427"/>
                <a:gd name="connsiteY2" fmla="*/ 18998 h 2853556"/>
                <a:gd name="connsiteX3" fmla="*/ 2019719 w 11704427"/>
                <a:gd name="connsiteY3" fmla="*/ 18998 h 2853556"/>
                <a:gd name="connsiteX4" fmla="*/ 4531807 w 11704427"/>
                <a:gd name="connsiteY4" fmla="*/ 39095 h 2853556"/>
                <a:gd name="connsiteX5" fmla="*/ 6300317 w 11704427"/>
                <a:gd name="connsiteY5" fmla="*/ 69240 h 2853556"/>
                <a:gd name="connsiteX6" fmla="*/ 7063991 w 11704427"/>
                <a:gd name="connsiteY6" fmla="*/ 39095 h 2853556"/>
                <a:gd name="connsiteX7" fmla="*/ 8098972 w 11704427"/>
                <a:gd name="connsiteY7" fmla="*/ 69240 h 2853556"/>
                <a:gd name="connsiteX8" fmla="*/ 8956033 w 11704427"/>
                <a:gd name="connsiteY8" fmla="*/ 69240 h 2853556"/>
                <a:gd name="connsiteX9" fmla="*/ 10101769 w 11704427"/>
                <a:gd name="connsiteY9" fmla="*/ 8950 h 2853556"/>
                <a:gd name="connsiteX10" fmla="*/ 11625888 w 11704427"/>
                <a:gd name="connsiteY10" fmla="*/ 360644 h 2853556"/>
                <a:gd name="connsiteX11" fmla="*/ 7365442 w 11704427"/>
                <a:gd name="connsiteY11" fmla="*/ 2792344 h 2853556"/>
                <a:gd name="connsiteX12" fmla="*/ 7438490 w 11704427"/>
                <a:gd name="connsiteY12" fmla="*/ 2785861 h 2853556"/>
                <a:gd name="connsiteX13" fmla="*/ 6742444 w 11704427"/>
                <a:gd name="connsiteY13" fmla="*/ 2812440 h 2853556"/>
                <a:gd name="connsiteX14" fmla="*/ 6601767 w 11704427"/>
                <a:gd name="connsiteY14" fmla="*/ 2802392 h 2853556"/>
                <a:gd name="connsiteX15" fmla="*/ 4783016 w 11704427"/>
                <a:gd name="connsiteY15" fmla="*/ 2852634 h 2853556"/>
                <a:gd name="connsiteX16" fmla="*/ 3938954 w 11704427"/>
                <a:gd name="connsiteY16" fmla="*/ 2832537 h 2853556"/>
                <a:gd name="connsiteX17" fmla="*/ 2944167 w 11704427"/>
                <a:gd name="connsiteY17" fmla="*/ 2812440 h 2853556"/>
                <a:gd name="connsiteX18" fmla="*/ 1889090 w 11704427"/>
                <a:gd name="connsiteY18" fmla="*/ 2822489 h 2853556"/>
                <a:gd name="connsiteX19" fmla="*/ 12890 w 11704427"/>
                <a:gd name="connsiteY19" fmla="*/ 2802390 h 2853556"/>
                <a:gd name="connsiteX0" fmla="*/ 0 w 10101769"/>
                <a:gd name="connsiteY0" fmla="*/ 20097 h 2844606"/>
                <a:gd name="connsiteX1" fmla="*/ 552660 w 10101769"/>
                <a:gd name="connsiteY1" fmla="*/ 0 h 2844606"/>
                <a:gd name="connsiteX2" fmla="*/ 1637882 w 10101769"/>
                <a:gd name="connsiteY2" fmla="*/ 10048 h 2844606"/>
                <a:gd name="connsiteX3" fmla="*/ 2019719 w 10101769"/>
                <a:gd name="connsiteY3" fmla="*/ 10048 h 2844606"/>
                <a:gd name="connsiteX4" fmla="*/ 4531807 w 10101769"/>
                <a:gd name="connsiteY4" fmla="*/ 30145 h 2844606"/>
                <a:gd name="connsiteX5" fmla="*/ 6300317 w 10101769"/>
                <a:gd name="connsiteY5" fmla="*/ 60290 h 2844606"/>
                <a:gd name="connsiteX6" fmla="*/ 7063991 w 10101769"/>
                <a:gd name="connsiteY6" fmla="*/ 30145 h 2844606"/>
                <a:gd name="connsiteX7" fmla="*/ 8098972 w 10101769"/>
                <a:gd name="connsiteY7" fmla="*/ 60290 h 2844606"/>
                <a:gd name="connsiteX8" fmla="*/ 8956033 w 10101769"/>
                <a:gd name="connsiteY8" fmla="*/ 60290 h 2844606"/>
                <a:gd name="connsiteX9" fmla="*/ 10101769 w 10101769"/>
                <a:gd name="connsiteY9" fmla="*/ 0 h 2844606"/>
                <a:gd name="connsiteX10" fmla="*/ 7365442 w 10101769"/>
                <a:gd name="connsiteY10" fmla="*/ 2783394 h 2844606"/>
                <a:gd name="connsiteX11" fmla="*/ 7438490 w 10101769"/>
                <a:gd name="connsiteY11" fmla="*/ 2776911 h 2844606"/>
                <a:gd name="connsiteX12" fmla="*/ 6742444 w 10101769"/>
                <a:gd name="connsiteY12" fmla="*/ 2803490 h 2844606"/>
                <a:gd name="connsiteX13" fmla="*/ 6601767 w 10101769"/>
                <a:gd name="connsiteY13" fmla="*/ 2793442 h 2844606"/>
                <a:gd name="connsiteX14" fmla="*/ 4783016 w 10101769"/>
                <a:gd name="connsiteY14" fmla="*/ 2843684 h 2844606"/>
                <a:gd name="connsiteX15" fmla="*/ 3938954 w 10101769"/>
                <a:gd name="connsiteY15" fmla="*/ 2823587 h 2844606"/>
                <a:gd name="connsiteX16" fmla="*/ 2944167 w 10101769"/>
                <a:gd name="connsiteY16" fmla="*/ 2803490 h 2844606"/>
                <a:gd name="connsiteX17" fmla="*/ 1889090 w 10101769"/>
                <a:gd name="connsiteY17" fmla="*/ 2813539 h 2844606"/>
                <a:gd name="connsiteX18" fmla="*/ 12890 w 10101769"/>
                <a:gd name="connsiteY18" fmla="*/ 2793440 h 2844606"/>
                <a:gd name="connsiteX0" fmla="*/ 0 w 8956033"/>
                <a:gd name="connsiteY0" fmla="*/ 20097 h 2844606"/>
                <a:gd name="connsiteX1" fmla="*/ 552660 w 8956033"/>
                <a:gd name="connsiteY1" fmla="*/ 0 h 2844606"/>
                <a:gd name="connsiteX2" fmla="*/ 1637882 w 8956033"/>
                <a:gd name="connsiteY2" fmla="*/ 10048 h 2844606"/>
                <a:gd name="connsiteX3" fmla="*/ 2019719 w 8956033"/>
                <a:gd name="connsiteY3" fmla="*/ 10048 h 2844606"/>
                <a:gd name="connsiteX4" fmla="*/ 4531807 w 8956033"/>
                <a:gd name="connsiteY4" fmla="*/ 30145 h 2844606"/>
                <a:gd name="connsiteX5" fmla="*/ 6300317 w 8956033"/>
                <a:gd name="connsiteY5" fmla="*/ 60290 h 2844606"/>
                <a:gd name="connsiteX6" fmla="*/ 7063991 w 8956033"/>
                <a:gd name="connsiteY6" fmla="*/ 30145 h 2844606"/>
                <a:gd name="connsiteX7" fmla="*/ 8098972 w 8956033"/>
                <a:gd name="connsiteY7" fmla="*/ 60290 h 2844606"/>
                <a:gd name="connsiteX8" fmla="*/ 8956033 w 8956033"/>
                <a:gd name="connsiteY8" fmla="*/ 60290 h 2844606"/>
                <a:gd name="connsiteX9" fmla="*/ 7365442 w 8956033"/>
                <a:gd name="connsiteY9" fmla="*/ 2783394 h 2844606"/>
                <a:gd name="connsiteX10" fmla="*/ 7438490 w 8956033"/>
                <a:gd name="connsiteY10" fmla="*/ 2776911 h 2844606"/>
                <a:gd name="connsiteX11" fmla="*/ 6742444 w 8956033"/>
                <a:gd name="connsiteY11" fmla="*/ 2803490 h 2844606"/>
                <a:gd name="connsiteX12" fmla="*/ 6601767 w 8956033"/>
                <a:gd name="connsiteY12" fmla="*/ 2793442 h 2844606"/>
                <a:gd name="connsiteX13" fmla="*/ 4783016 w 8956033"/>
                <a:gd name="connsiteY13" fmla="*/ 2843684 h 2844606"/>
                <a:gd name="connsiteX14" fmla="*/ 3938954 w 8956033"/>
                <a:gd name="connsiteY14" fmla="*/ 2823587 h 2844606"/>
                <a:gd name="connsiteX15" fmla="*/ 2944167 w 8956033"/>
                <a:gd name="connsiteY15" fmla="*/ 2803490 h 2844606"/>
                <a:gd name="connsiteX16" fmla="*/ 1889090 w 8956033"/>
                <a:gd name="connsiteY16" fmla="*/ 2813539 h 2844606"/>
                <a:gd name="connsiteX17" fmla="*/ 12890 w 8956033"/>
                <a:gd name="connsiteY17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4518917 w 8943143"/>
                <a:gd name="connsiteY3" fmla="*/ 30145 h 2844606"/>
                <a:gd name="connsiteX4" fmla="*/ 6287427 w 8943143"/>
                <a:gd name="connsiteY4" fmla="*/ 60290 h 2844606"/>
                <a:gd name="connsiteX5" fmla="*/ 7051101 w 8943143"/>
                <a:gd name="connsiteY5" fmla="*/ 30145 h 2844606"/>
                <a:gd name="connsiteX6" fmla="*/ 8086082 w 8943143"/>
                <a:gd name="connsiteY6" fmla="*/ 60290 h 2844606"/>
                <a:gd name="connsiteX7" fmla="*/ 8943143 w 8943143"/>
                <a:gd name="connsiteY7" fmla="*/ 60290 h 2844606"/>
                <a:gd name="connsiteX8" fmla="*/ 7352552 w 8943143"/>
                <a:gd name="connsiteY8" fmla="*/ 2783394 h 2844606"/>
                <a:gd name="connsiteX9" fmla="*/ 7425600 w 8943143"/>
                <a:gd name="connsiteY9" fmla="*/ 2776911 h 2844606"/>
                <a:gd name="connsiteX10" fmla="*/ 6729554 w 8943143"/>
                <a:gd name="connsiteY10" fmla="*/ 2803490 h 2844606"/>
                <a:gd name="connsiteX11" fmla="*/ 6588877 w 8943143"/>
                <a:gd name="connsiteY11" fmla="*/ 2793442 h 2844606"/>
                <a:gd name="connsiteX12" fmla="*/ 4770126 w 8943143"/>
                <a:gd name="connsiteY12" fmla="*/ 2843684 h 2844606"/>
                <a:gd name="connsiteX13" fmla="*/ 3926064 w 8943143"/>
                <a:gd name="connsiteY13" fmla="*/ 2823587 h 2844606"/>
                <a:gd name="connsiteX14" fmla="*/ 2931277 w 8943143"/>
                <a:gd name="connsiteY14" fmla="*/ 2803490 h 2844606"/>
                <a:gd name="connsiteX15" fmla="*/ 1876200 w 8943143"/>
                <a:gd name="connsiteY15" fmla="*/ 2813539 h 2844606"/>
                <a:gd name="connsiteX16" fmla="*/ 0 w 8943143"/>
                <a:gd name="connsiteY16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7051101 w 8943143"/>
                <a:gd name="connsiteY4" fmla="*/ 30145 h 2844606"/>
                <a:gd name="connsiteX5" fmla="*/ 8086082 w 8943143"/>
                <a:gd name="connsiteY5" fmla="*/ 60290 h 2844606"/>
                <a:gd name="connsiteX6" fmla="*/ 8943143 w 8943143"/>
                <a:gd name="connsiteY6" fmla="*/ 60290 h 2844606"/>
                <a:gd name="connsiteX7" fmla="*/ 7352552 w 8943143"/>
                <a:gd name="connsiteY7" fmla="*/ 2783394 h 2844606"/>
                <a:gd name="connsiteX8" fmla="*/ 7425600 w 8943143"/>
                <a:gd name="connsiteY8" fmla="*/ 2776911 h 2844606"/>
                <a:gd name="connsiteX9" fmla="*/ 6729554 w 8943143"/>
                <a:gd name="connsiteY9" fmla="*/ 2803490 h 2844606"/>
                <a:gd name="connsiteX10" fmla="*/ 6588877 w 8943143"/>
                <a:gd name="connsiteY10" fmla="*/ 2793442 h 2844606"/>
                <a:gd name="connsiteX11" fmla="*/ 4770126 w 8943143"/>
                <a:gd name="connsiteY11" fmla="*/ 2843684 h 2844606"/>
                <a:gd name="connsiteX12" fmla="*/ 3926064 w 8943143"/>
                <a:gd name="connsiteY12" fmla="*/ 2823587 h 2844606"/>
                <a:gd name="connsiteX13" fmla="*/ 2931277 w 8943143"/>
                <a:gd name="connsiteY13" fmla="*/ 2803490 h 2844606"/>
                <a:gd name="connsiteX14" fmla="*/ 1876200 w 8943143"/>
                <a:gd name="connsiteY14" fmla="*/ 2813539 h 2844606"/>
                <a:gd name="connsiteX15" fmla="*/ 0 w 8943143"/>
                <a:gd name="connsiteY15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8086082 w 8943143"/>
                <a:gd name="connsiteY4" fmla="*/ 60290 h 2844606"/>
                <a:gd name="connsiteX5" fmla="*/ 8943143 w 8943143"/>
                <a:gd name="connsiteY5" fmla="*/ 60290 h 2844606"/>
                <a:gd name="connsiteX6" fmla="*/ 7352552 w 8943143"/>
                <a:gd name="connsiteY6" fmla="*/ 2783394 h 2844606"/>
                <a:gd name="connsiteX7" fmla="*/ 7425600 w 8943143"/>
                <a:gd name="connsiteY7" fmla="*/ 2776911 h 2844606"/>
                <a:gd name="connsiteX8" fmla="*/ 6729554 w 8943143"/>
                <a:gd name="connsiteY8" fmla="*/ 2803490 h 2844606"/>
                <a:gd name="connsiteX9" fmla="*/ 6588877 w 8943143"/>
                <a:gd name="connsiteY9" fmla="*/ 2793442 h 2844606"/>
                <a:gd name="connsiteX10" fmla="*/ 4770126 w 8943143"/>
                <a:gd name="connsiteY10" fmla="*/ 2843684 h 2844606"/>
                <a:gd name="connsiteX11" fmla="*/ 3926064 w 8943143"/>
                <a:gd name="connsiteY11" fmla="*/ 2823587 h 2844606"/>
                <a:gd name="connsiteX12" fmla="*/ 2931277 w 8943143"/>
                <a:gd name="connsiteY12" fmla="*/ 2803490 h 2844606"/>
                <a:gd name="connsiteX13" fmla="*/ 1876200 w 8943143"/>
                <a:gd name="connsiteY13" fmla="*/ 2813539 h 2844606"/>
                <a:gd name="connsiteX14" fmla="*/ 0 w 8943143"/>
                <a:gd name="connsiteY14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8086082 w 8943143"/>
                <a:gd name="connsiteY3" fmla="*/ 60290 h 2844606"/>
                <a:gd name="connsiteX4" fmla="*/ 8943143 w 8943143"/>
                <a:gd name="connsiteY4" fmla="*/ 60290 h 2844606"/>
                <a:gd name="connsiteX5" fmla="*/ 7352552 w 8943143"/>
                <a:gd name="connsiteY5" fmla="*/ 2783394 h 2844606"/>
                <a:gd name="connsiteX6" fmla="*/ 7425600 w 8943143"/>
                <a:gd name="connsiteY6" fmla="*/ 2776911 h 2844606"/>
                <a:gd name="connsiteX7" fmla="*/ 6729554 w 8943143"/>
                <a:gd name="connsiteY7" fmla="*/ 2803490 h 2844606"/>
                <a:gd name="connsiteX8" fmla="*/ 6588877 w 8943143"/>
                <a:gd name="connsiteY8" fmla="*/ 2793442 h 2844606"/>
                <a:gd name="connsiteX9" fmla="*/ 4770126 w 8943143"/>
                <a:gd name="connsiteY9" fmla="*/ 2843684 h 2844606"/>
                <a:gd name="connsiteX10" fmla="*/ 3926064 w 8943143"/>
                <a:gd name="connsiteY10" fmla="*/ 2823587 h 2844606"/>
                <a:gd name="connsiteX11" fmla="*/ 2931277 w 8943143"/>
                <a:gd name="connsiteY11" fmla="*/ 2803490 h 2844606"/>
                <a:gd name="connsiteX12" fmla="*/ 1876200 w 8943143"/>
                <a:gd name="connsiteY12" fmla="*/ 2813539 h 2844606"/>
                <a:gd name="connsiteX13" fmla="*/ 0 w 8943143"/>
                <a:gd name="connsiteY13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8086082 w 8943143"/>
                <a:gd name="connsiteY2" fmla="*/ 60290 h 2844606"/>
                <a:gd name="connsiteX3" fmla="*/ 8943143 w 8943143"/>
                <a:gd name="connsiteY3" fmla="*/ 60290 h 2844606"/>
                <a:gd name="connsiteX4" fmla="*/ 7352552 w 8943143"/>
                <a:gd name="connsiteY4" fmla="*/ 2783394 h 2844606"/>
                <a:gd name="connsiteX5" fmla="*/ 7425600 w 8943143"/>
                <a:gd name="connsiteY5" fmla="*/ 2776911 h 2844606"/>
                <a:gd name="connsiteX6" fmla="*/ 6729554 w 8943143"/>
                <a:gd name="connsiteY6" fmla="*/ 2803490 h 2844606"/>
                <a:gd name="connsiteX7" fmla="*/ 6588877 w 8943143"/>
                <a:gd name="connsiteY7" fmla="*/ 2793442 h 2844606"/>
                <a:gd name="connsiteX8" fmla="*/ 4770126 w 8943143"/>
                <a:gd name="connsiteY8" fmla="*/ 2843684 h 2844606"/>
                <a:gd name="connsiteX9" fmla="*/ 3926064 w 8943143"/>
                <a:gd name="connsiteY9" fmla="*/ 2823587 h 2844606"/>
                <a:gd name="connsiteX10" fmla="*/ 2931277 w 8943143"/>
                <a:gd name="connsiteY10" fmla="*/ 2803490 h 2844606"/>
                <a:gd name="connsiteX11" fmla="*/ 1876200 w 8943143"/>
                <a:gd name="connsiteY11" fmla="*/ 2813539 h 2844606"/>
                <a:gd name="connsiteX12" fmla="*/ 0 w 8943143"/>
                <a:gd name="connsiteY12" fmla="*/ 2793440 h 2844606"/>
                <a:gd name="connsiteX0" fmla="*/ 539770 w 8943143"/>
                <a:gd name="connsiteY0" fmla="*/ 0 h 2844606"/>
                <a:gd name="connsiteX1" fmla="*/ 8086082 w 8943143"/>
                <a:gd name="connsiteY1" fmla="*/ 60290 h 2844606"/>
                <a:gd name="connsiteX2" fmla="*/ 8943143 w 8943143"/>
                <a:gd name="connsiteY2" fmla="*/ 60290 h 2844606"/>
                <a:gd name="connsiteX3" fmla="*/ 7352552 w 8943143"/>
                <a:gd name="connsiteY3" fmla="*/ 2783394 h 2844606"/>
                <a:gd name="connsiteX4" fmla="*/ 7425600 w 8943143"/>
                <a:gd name="connsiteY4" fmla="*/ 2776911 h 2844606"/>
                <a:gd name="connsiteX5" fmla="*/ 6729554 w 8943143"/>
                <a:gd name="connsiteY5" fmla="*/ 2803490 h 2844606"/>
                <a:gd name="connsiteX6" fmla="*/ 6588877 w 8943143"/>
                <a:gd name="connsiteY6" fmla="*/ 2793442 h 2844606"/>
                <a:gd name="connsiteX7" fmla="*/ 4770126 w 8943143"/>
                <a:gd name="connsiteY7" fmla="*/ 2843684 h 2844606"/>
                <a:gd name="connsiteX8" fmla="*/ 3926064 w 8943143"/>
                <a:gd name="connsiteY8" fmla="*/ 2823587 h 2844606"/>
                <a:gd name="connsiteX9" fmla="*/ 2931277 w 8943143"/>
                <a:gd name="connsiteY9" fmla="*/ 2803490 h 2844606"/>
                <a:gd name="connsiteX10" fmla="*/ 1876200 w 8943143"/>
                <a:gd name="connsiteY10" fmla="*/ 2813539 h 2844606"/>
                <a:gd name="connsiteX11" fmla="*/ 0 w 8943143"/>
                <a:gd name="connsiteY11" fmla="*/ 2793440 h 2844606"/>
                <a:gd name="connsiteX0" fmla="*/ 8086082 w 8943143"/>
                <a:gd name="connsiteY0" fmla="*/ 0 h 2784316"/>
                <a:gd name="connsiteX1" fmla="*/ 8943143 w 8943143"/>
                <a:gd name="connsiteY1" fmla="*/ 0 h 2784316"/>
                <a:gd name="connsiteX2" fmla="*/ 7352552 w 8943143"/>
                <a:gd name="connsiteY2" fmla="*/ 2723104 h 2784316"/>
                <a:gd name="connsiteX3" fmla="*/ 7425600 w 8943143"/>
                <a:gd name="connsiteY3" fmla="*/ 2716621 h 2784316"/>
                <a:gd name="connsiteX4" fmla="*/ 6729554 w 8943143"/>
                <a:gd name="connsiteY4" fmla="*/ 2743200 h 2784316"/>
                <a:gd name="connsiteX5" fmla="*/ 6588877 w 8943143"/>
                <a:gd name="connsiteY5" fmla="*/ 2733152 h 2784316"/>
                <a:gd name="connsiteX6" fmla="*/ 4770126 w 8943143"/>
                <a:gd name="connsiteY6" fmla="*/ 2783394 h 2784316"/>
                <a:gd name="connsiteX7" fmla="*/ 3926064 w 8943143"/>
                <a:gd name="connsiteY7" fmla="*/ 2763297 h 2784316"/>
                <a:gd name="connsiteX8" fmla="*/ 2931277 w 8943143"/>
                <a:gd name="connsiteY8" fmla="*/ 2743200 h 2784316"/>
                <a:gd name="connsiteX9" fmla="*/ 1876200 w 8943143"/>
                <a:gd name="connsiteY9" fmla="*/ 2753249 h 2784316"/>
                <a:gd name="connsiteX10" fmla="*/ 0 w 8943143"/>
                <a:gd name="connsiteY10" fmla="*/ 2733150 h 2784316"/>
                <a:gd name="connsiteX0" fmla="*/ 8943143 w 8943143"/>
                <a:gd name="connsiteY0" fmla="*/ 0 h 2784316"/>
                <a:gd name="connsiteX1" fmla="*/ 7352552 w 8943143"/>
                <a:gd name="connsiteY1" fmla="*/ 2723104 h 2784316"/>
                <a:gd name="connsiteX2" fmla="*/ 7425600 w 8943143"/>
                <a:gd name="connsiteY2" fmla="*/ 2716621 h 2784316"/>
                <a:gd name="connsiteX3" fmla="*/ 6729554 w 8943143"/>
                <a:gd name="connsiteY3" fmla="*/ 2743200 h 2784316"/>
                <a:gd name="connsiteX4" fmla="*/ 6588877 w 8943143"/>
                <a:gd name="connsiteY4" fmla="*/ 2733152 h 2784316"/>
                <a:gd name="connsiteX5" fmla="*/ 4770126 w 8943143"/>
                <a:gd name="connsiteY5" fmla="*/ 2783394 h 2784316"/>
                <a:gd name="connsiteX6" fmla="*/ 3926064 w 8943143"/>
                <a:gd name="connsiteY6" fmla="*/ 2763297 h 2784316"/>
                <a:gd name="connsiteX7" fmla="*/ 2931277 w 8943143"/>
                <a:gd name="connsiteY7" fmla="*/ 2743200 h 2784316"/>
                <a:gd name="connsiteX8" fmla="*/ 1876200 w 8943143"/>
                <a:gd name="connsiteY8" fmla="*/ 2753249 h 2784316"/>
                <a:gd name="connsiteX9" fmla="*/ 0 w 8943143"/>
                <a:gd name="connsiteY9" fmla="*/ 2733150 h 2784316"/>
                <a:gd name="connsiteX0" fmla="*/ 7352552 w 7439829"/>
                <a:gd name="connsiteY0" fmla="*/ 8031 h 69243"/>
                <a:gd name="connsiteX1" fmla="*/ 7425600 w 7439829"/>
                <a:gd name="connsiteY1" fmla="*/ 1548 h 69243"/>
                <a:gd name="connsiteX2" fmla="*/ 6729554 w 7439829"/>
                <a:gd name="connsiteY2" fmla="*/ 28127 h 69243"/>
                <a:gd name="connsiteX3" fmla="*/ 6588877 w 7439829"/>
                <a:gd name="connsiteY3" fmla="*/ 18079 h 69243"/>
                <a:gd name="connsiteX4" fmla="*/ 4770126 w 7439829"/>
                <a:gd name="connsiteY4" fmla="*/ 68321 h 69243"/>
                <a:gd name="connsiteX5" fmla="*/ 3926064 w 7439829"/>
                <a:gd name="connsiteY5" fmla="*/ 48224 h 69243"/>
                <a:gd name="connsiteX6" fmla="*/ 2931277 w 7439829"/>
                <a:gd name="connsiteY6" fmla="*/ 28127 h 69243"/>
                <a:gd name="connsiteX7" fmla="*/ 1876200 w 7439829"/>
                <a:gd name="connsiteY7" fmla="*/ 38176 h 69243"/>
                <a:gd name="connsiteX8" fmla="*/ 0 w 7439829"/>
                <a:gd name="connsiteY8" fmla="*/ 18077 h 69243"/>
                <a:gd name="connsiteX0" fmla="*/ 7352552 w 7439829"/>
                <a:gd name="connsiteY0" fmla="*/ 8031 h 92339"/>
                <a:gd name="connsiteX1" fmla="*/ 7425600 w 7439829"/>
                <a:gd name="connsiteY1" fmla="*/ 1548 h 92339"/>
                <a:gd name="connsiteX2" fmla="*/ 6729554 w 7439829"/>
                <a:gd name="connsiteY2" fmla="*/ 28127 h 92339"/>
                <a:gd name="connsiteX3" fmla="*/ 6588877 w 7439829"/>
                <a:gd name="connsiteY3" fmla="*/ 18079 h 92339"/>
                <a:gd name="connsiteX4" fmla="*/ 4770126 w 7439829"/>
                <a:gd name="connsiteY4" fmla="*/ 68321 h 92339"/>
                <a:gd name="connsiteX5" fmla="*/ 4538615 w 7439829"/>
                <a:gd name="connsiteY5" fmla="*/ 91853 h 92339"/>
                <a:gd name="connsiteX6" fmla="*/ 3926064 w 7439829"/>
                <a:gd name="connsiteY6" fmla="*/ 48224 h 92339"/>
                <a:gd name="connsiteX7" fmla="*/ 2931277 w 7439829"/>
                <a:gd name="connsiteY7" fmla="*/ 28127 h 92339"/>
                <a:gd name="connsiteX8" fmla="*/ 1876200 w 7439829"/>
                <a:gd name="connsiteY8" fmla="*/ 38176 h 92339"/>
                <a:gd name="connsiteX9" fmla="*/ 0 w 7439829"/>
                <a:gd name="connsiteY9" fmla="*/ 18077 h 92339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6588877 w 7439829"/>
                <a:gd name="connsiteY3" fmla="*/ 18079 h 91853"/>
                <a:gd name="connsiteX4" fmla="*/ 4538615 w 7439829"/>
                <a:gd name="connsiteY4" fmla="*/ 91853 h 91853"/>
                <a:gd name="connsiteX5" fmla="*/ 3926064 w 7439829"/>
                <a:gd name="connsiteY5" fmla="*/ 48224 h 91853"/>
                <a:gd name="connsiteX6" fmla="*/ 2931277 w 7439829"/>
                <a:gd name="connsiteY6" fmla="*/ 28127 h 91853"/>
                <a:gd name="connsiteX7" fmla="*/ 1876200 w 7439829"/>
                <a:gd name="connsiteY7" fmla="*/ 38176 h 91853"/>
                <a:gd name="connsiteX8" fmla="*/ 0 w 7439829"/>
                <a:gd name="connsiteY8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4538615 w 7439829"/>
                <a:gd name="connsiteY3" fmla="*/ 91853 h 91853"/>
                <a:gd name="connsiteX4" fmla="*/ 3926064 w 7439829"/>
                <a:gd name="connsiteY4" fmla="*/ 48224 h 91853"/>
                <a:gd name="connsiteX5" fmla="*/ 2931277 w 7439829"/>
                <a:gd name="connsiteY5" fmla="*/ 28127 h 91853"/>
                <a:gd name="connsiteX6" fmla="*/ 1876200 w 7439829"/>
                <a:gd name="connsiteY6" fmla="*/ 38176 h 91853"/>
                <a:gd name="connsiteX7" fmla="*/ 0 w 7439829"/>
                <a:gd name="connsiteY7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4538615 w 7439829"/>
                <a:gd name="connsiteY2" fmla="*/ 91853 h 91853"/>
                <a:gd name="connsiteX3" fmla="*/ 3926064 w 7439829"/>
                <a:gd name="connsiteY3" fmla="*/ 48224 h 91853"/>
                <a:gd name="connsiteX4" fmla="*/ 2931277 w 7439829"/>
                <a:gd name="connsiteY4" fmla="*/ 28127 h 91853"/>
                <a:gd name="connsiteX5" fmla="*/ 1876200 w 7439829"/>
                <a:gd name="connsiteY5" fmla="*/ 38176 h 91853"/>
                <a:gd name="connsiteX6" fmla="*/ 0 w 7439829"/>
                <a:gd name="connsiteY6" fmla="*/ 18077 h 91853"/>
                <a:gd name="connsiteX0" fmla="*/ 7352552 w 7352552"/>
                <a:gd name="connsiteY0" fmla="*/ 0 h 83822"/>
                <a:gd name="connsiteX1" fmla="*/ 4538615 w 7352552"/>
                <a:gd name="connsiteY1" fmla="*/ 83822 h 83822"/>
                <a:gd name="connsiteX2" fmla="*/ 3926064 w 7352552"/>
                <a:gd name="connsiteY2" fmla="*/ 40193 h 83822"/>
                <a:gd name="connsiteX3" fmla="*/ 2931277 w 7352552"/>
                <a:gd name="connsiteY3" fmla="*/ 20096 h 83822"/>
                <a:gd name="connsiteX4" fmla="*/ 1876200 w 7352552"/>
                <a:gd name="connsiteY4" fmla="*/ 30145 h 83822"/>
                <a:gd name="connsiteX5" fmla="*/ 0 w 7352552"/>
                <a:gd name="connsiteY5" fmla="*/ 10046 h 83822"/>
                <a:gd name="connsiteX0" fmla="*/ 4538615 w 4538615"/>
                <a:gd name="connsiteY0" fmla="*/ 73776 h 73776"/>
                <a:gd name="connsiteX1" fmla="*/ 3926064 w 4538615"/>
                <a:gd name="connsiteY1" fmla="*/ 30147 h 73776"/>
                <a:gd name="connsiteX2" fmla="*/ 2931277 w 4538615"/>
                <a:gd name="connsiteY2" fmla="*/ 10050 h 73776"/>
                <a:gd name="connsiteX3" fmla="*/ 1876200 w 4538615"/>
                <a:gd name="connsiteY3" fmla="*/ 20099 h 73776"/>
                <a:gd name="connsiteX4" fmla="*/ 0 w 4538615"/>
                <a:gd name="connsiteY4" fmla="*/ 0 h 73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8615" h="73776">
                  <a:moveTo>
                    <a:pt x="4538615" y="73776"/>
                  </a:moveTo>
                  <a:cubicBezTo>
                    <a:pt x="4397938" y="70427"/>
                    <a:pt x="4193954" y="40768"/>
                    <a:pt x="3926064" y="30147"/>
                  </a:cubicBezTo>
                  <a:lnTo>
                    <a:pt x="2931277" y="10050"/>
                  </a:lnTo>
                  <a:lnTo>
                    <a:pt x="1876200" y="20099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35" name="Group 123">
              <a:extLst>
                <a:ext uri="{FF2B5EF4-FFF2-40B4-BE49-F238E27FC236}">
                  <a16:creationId xmlns:a16="http://schemas.microsoft.com/office/drawing/2014/main" id="{4D6D018A-17DA-0ADF-5EDB-C8C2DB3995FE}"/>
                </a:ext>
              </a:extLst>
            </p:cNvPr>
            <p:cNvGrpSpPr/>
            <p:nvPr/>
          </p:nvGrpSpPr>
          <p:grpSpPr>
            <a:xfrm rot="10800000">
              <a:off x="3158734" y="1464909"/>
              <a:ext cx="422234" cy="514737"/>
              <a:chOff x="352424" y="3433220"/>
              <a:chExt cx="1582577" cy="1918340"/>
            </a:xfrm>
          </p:grpSpPr>
          <p:sp>
            <p:nvSpPr>
              <p:cNvPr id="37" name="Freeform: Shape 124">
                <a:extLst>
                  <a:ext uri="{FF2B5EF4-FFF2-40B4-BE49-F238E27FC236}">
                    <a16:creationId xmlns:a16="http://schemas.microsoft.com/office/drawing/2014/main" id="{10D59D41-2851-88D3-5F14-E083D48F3C01}"/>
                  </a:ext>
                </a:extLst>
              </p:cNvPr>
              <p:cNvSpPr/>
              <p:nvPr/>
            </p:nvSpPr>
            <p:spPr>
              <a:xfrm rot="10800000">
                <a:off x="358139" y="3584574"/>
                <a:ext cx="1576862" cy="1766986"/>
              </a:xfrm>
              <a:custGeom>
                <a:avLst/>
                <a:gdLst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447675 w 3457575"/>
                  <a:gd name="connsiteY51" fmla="*/ 428625 h 3822033"/>
                  <a:gd name="connsiteX52" fmla="*/ 552450 w 3457575"/>
                  <a:gd name="connsiteY52" fmla="*/ 361950 h 3822033"/>
                  <a:gd name="connsiteX53" fmla="*/ 609600 w 3457575"/>
                  <a:gd name="connsiteY53" fmla="*/ 323850 h 3822033"/>
                  <a:gd name="connsiteX54" fmla="*/ 666750 w 3457575"/>
                  <a:gd name="connsiteY54" fmla="*/ 285750 h 3822033"/>
                  <a:gd name="connsiteX55" fmla="*/ 762000 w 3457575"/>
                  <a:gd name="connsiteY55" fmla="*/ 238125 h 3822033"/>
                  <a:gd name="connsiteX56" fmla="*/ 800100 w 3457575"/>
                  <a:gd name="connsiteY56" fmla="*/ 219075 h 3822033"/>
                  <a:gd name="connsiteX57" fmla="*/ 895350 w 3457575"/>
                  <a:gd name="connsiteY57" fmla="*/ 161925 h 3822033"/>
                  <a:gd name="connsiteX58" fmla="*/ 962025 w 3457575"/>
                  <a:gd name="connsiteY58" fmla="*/ 133350 h 3822033"/>
                  <a:gd name="connsiteX59" fmla="*/ 1123950 w 3457575"/>
                  <a:gd name="connsiteY59" fmla="*/ 76200 h 3822033"/>
                  <a:gd name="connsiteX60" fmla="*/ 1162050 w 3457575"/>
                  <a:gd name="connsiteY60" fmla="*/ 66675 h 3822033"/>
                  <a:gd name="connsiteX61" fmla="*/ 1438275 w 3457575"/>
                  <a:gd name="connsiteY61" fmla="*/ 0 h 3822033"/>
                  <a:gd name="connsiteX62" fmla="*/ 2038350 w 3457575"/>
                  <a:gd name="connsiteY62" fmla="*/ 9525 h 3822033"/>
                  <a:gd name="connsiteX63" fmla="*/ 2105025 w 3457575"/>
                  <a:gd name="connsiteY63" fmla="*/ 19050 h 3822033"/>
                  <a:gd name="connsiteX64" fmla="*/ 2162175 w 3457575"/>
                  <a:gd name="connsiteY64" fmla="*/ 47625 h 3822033"/>
                  <a:gd name="connsiteX65" fmla="*/ 2228850 w 3457575"/>
                  <a:gd name="connsiteY65" fmla="*/ 66675 h 3822033"/>
                  <a:gd name="connsiteX66" fmla="*/ 2343150 w 3457575"/>
                  <a:gd name="connsiteY66" fmla="*/ 133350 h 3822033"/>
                  <a:gd name="connsiteX67" fmla="*/ 2390775 w 3457575"/>
                  <a:gd name="connsiteY67" fmla="*/ 142875 h 3822033"/>
                  <a:gd name="connsiteX68" fmla="*/ 2457450 w 3457575"/>
                  <a:gd name="connsiteY68" fmla="*/ 171450 h 3822033"/>
                  <a:gd name="connsiteX69" fmla="*/ 2486025 w 3457575"/>
                  <a:gd name="connsiteY69" fmla="*/ 200025 h 3822033"/>
                  <a:gd name="connsiteX70" fmla="*/ 2571750 w 3457575"/>
                  <a:gd name="connsiteY70" fmla="*/ 228600 h 3822033"/>
                  <a:gd name="connsiteX71" fmla="*/ 2676525 w 3457575"/>
                  <a:gd name="connsiteY71" fmla="*/ 285750 h 3822033"/>
                  <a:gd name="connsiteX72" fmla="*/ 2705100 w 3457575"/>
                  <a:gd name="connsiteY72" fmla="*/ 304800 h 3822033"/>
                  <a:gd name="connsiteX73" fmla="*/ 2733675 w 3457575"/>
                  <a:gd name="connsiteY73" fmla="*/ 333375 h 3822033"/>
                  <a:gd name="connsiteX74" fmla="*/ 2771775 w 3457575"/>
                  <a:gd name="connsiteY74" fmla="*/ 361950 h 3822033"/>
                  <a:gd name="connsiteX75" fmla="*/ 2809875 w 3457575"/>
                  <a:gd name="connsiteY75" fmla="*/ 400050 h 3822033"/>
                  <a:gd name="connsiteX76" fmla="*/ 2867025 w 3457575"/>
                  <a:gd name="connsiteY76" fmla="*/ 438150 h 3822033"/>
                  <a:gd name="connsiteX77" fmla="*/ 2905125 w 3457575"/>
                  <a:gd name="connsiteY77" fmla="*/ 476250 h 3822033"/>
                  <a:gd name="connsiteX78" fmla="*/ 2971800 w 3457575"/>
                  <a:gd name="connsiteY78" fmla="*/ 523875 h 3822033"/>
                  <a:gd name="connsiteX79" fmla="*/ 2990850 w 3457575"/>
                  <a:gd name="connsiteY79" fmla="*/ 552450 h 3822033"/>
                  <a:gd name="connsiteX80" fmla="*/ 3028950 w 3457575"/>
                  <a:gd name="connsiteY80" fmla="*/ 590550 h 3822033"/>
                  <a:gd name="connsiteX81" fmla="*/ 3048000 w 3457575"/>
                  <a:gd name="connsiteY81" fmla="*/ 628650 h 3822033"/>
                  <a:gd name="connsiteX82" fmla="*/ 3086100 w 3457575"/>
                  <a:gd name="connsiteY82" fmla="*/ 666750 h 3822033"/>
                  <a:gd name="connsiteX83" fmla="*/ 3124200 w 3457575"/>
                  <a:gd name="connsiteY83" fmla="*/ 723900 h 3822033"/>
                  <a:gd name="connsiteX84" fmla="*/ 3219450 w 3457575"/>
                  <a:gd name="connsiteY84" fmla="*/ 838200 h 3822033"/>
                  <a:gd name="connsiteX85" fmla="*/ 3238500 w 3457575"/>
                  <a:gd name="connsiteY85" fmla="*/ 885825 h 3822033"/>
                  <a:gd name="connsiteX86" fmla="*/ 3276600 w 3457575"/>
                  <a:gd name="connsiteY86" fmla="*/ 942975 h 3822033"/>
                  <a:gd name="connsiteX87" fmla="*/ 3286125 w 3457575"/>
                  <a:gd name="connsiteY87" fmla="*/ 990600 h 3822033"/>
                  <a:gd name="connsiteX88" fmla="*/ 3324225 w 3457575"/>
                  <a:gd name="connsiteY88" fmla="*/ 1085850 h 3822033"/>
                  <a:gd name="connsiteX89" fmla="*/ 3362325 w 3457575"/>
                  <a:gd name="connsiteY89" fmla="*/ 1171575 h 3822033"/>
                  <a:gd name="connsiteX90" fmla="*/ 3390900 w 3457575"/>
                  <a:gd name="connsiteY90" fmla="*/ 1219200 h 3822033"/>
                  <a:gd name="connsiteX91" fmla="*/ 3419475 w 3457575"/>
                  <a:gd name="connsiteY91" fmla="*/ 1333500 h 3822033"/>
                  <a:gd name="connsiteX92" fmla="*/ 3429000 w 3457575"/>
                  <a:gd name="connsiteY92" fmla="*/ 1390650 h 3822033"/>
                  <a:gd name="connsiteX93" fmla="*/ 3457575 w 3457575"/>
                  <a:gd name="connsiteY93" fmla="*/ 1657350 h 3822033"/>
                  <a:gd name="connsiteX94" fmla="*/ 3448050 w 3457575"/>
                  <a:gd name="connsiteY94" fmla="*/ 2095500 h 3822033"/>
                  <a:gd name="connsiteX95" fmla="*/ 3381375 w 3457575"/>
                  <a:gd name="connsiteY95" fmla="*/ 2238375 h 3822033"/>
                  <a:gd name="connsiteX96" fmla="*/ 3343275 w 3457575"/>
                  <a:gd name="connsiteY96" fmla="*/ 2333625 h 3822033"/>
                  <a:gd name="connsiteX97" fmla="*/ 3276600 w 3457575"/>
                  <a:gd name="connsiteY97" fmla="*/ 2400300 h 3822033"/>
                  <a:gd name="connsiteX98" fmla="*/ 3190875 w 3457575"/>
                  <a:gd name="connsiteY98" fmla="*/ 2533650 h 3822033"/>
                  <a:gd name="connsiteX99" fmla="*/ 3105150 w 3457575"/>
                  <a:gd name="connsiteY99" fmla="*/ 2647950 h 3822033"/>
                  <a:gd name="connsiteX100" fmla="*/ 3019425 w 3457575"/>
                  <a:gd name="connsiteY100" fmla="*/ 2781300 h 3822033"/>
                  <a:gd name="connsiteX101" fmla="*/ 2981325 w 3457575"/>
                  <a:gd name="connsiteY101" fmla="*/ 2819400 h 3822033"/>
                  <a:gd name="connsiteX102" fmla="*/ 2943225 w 3457575"/>
                  <a:gd name="connsiteY102" fmla="*/ 2876550 h 3822033"/>
                  <a:gd name="connsiteX103" fmla="*/ 2857500 w 3457575"/>
                  <a:gd name="connsiteY103" fmla="*/ 2933700 h 3822033"/>
                  <a:gd name="connsiteX104" fmla="*/ 2809875 w 3457575"/>
                  <a:gd name="connsiteY104" fmla="*/ 2971800 h 3822033"/>
                  <a:gd name="connsiteX105" fmla="*/ 2705100 w 3457575"/>
                  <a:gd name="connsiteY105" fmla="*/ 3038475 h 3822033"/>
                  <a:gd name="connsiteX106" fmla="*/ 2609850 w 3457575"/>
                  <a:gd name="connsiteY106" fmla="*/ 3105150 h 3822033"/>
                  <a:gd name="connsiteX107" fmla="*/ 2562225 w 3457575"/>
                  <a:gd name="connsiteY107" fmla="*/ 3143250 h 3822033"/>
                  <a:gd name="connsiteX108" fmla="*/ 2495550 w 3457575"/>
                  <a:gd name="connsiteY108" fmla="*/ 3162300 h 3822033"/>
                  <a:gd name="connsiteX109" fmla="*/ 2362200 w 3457575"/>
                  <a:gd name="connsiteY109" fmla="*/ 3219450 h 3822033"/>
                  <a:gd name="connsiteX110" fmla="*/ 2257425 w 3457575"/>
                  <a:gd name="connsiteY110" fmla="*/ 3257550 h 3822033"/>
                  <a:gd name="connsiteX111" fmla="*/ 2181225 w 3457575"/>
                  <a:gd name="connsiteY111" fmla="*/ 3276600 h 3822033"/>
                  <a:gd name="connsiteX112" fmla="*/ 2057400 w 3457575"/>
                  <a:gd name="connsiteY112" fmla="*/ 3362325 h 3822033"/>
                  <a:gd name="connsiteX113" fmla="*/ 2009775 w 3457575"/>
                  <a:gd name="connsiteY113" fmla="*/ 3400425 h 3822033"/>
                  <a:gd name="connsiteX114" fmla="*/ 1962150 w 3457575"/>
                  <a:gd name="connsiteY114" fmla="*/ 3429000 h 3822033"/>
                  <a:gd name="connsiteX115" fmla="*/ 1905000 w 3457575"/>
                  <a:gd name="connsiteY115" fmla="*/ 3495675 h 3822033"/>
                  <a:gd name="connsiteX116" fmla="*/ 1819275 w 3457575"/>
                  <a:gd name="connsiteY116" fmla="*/ 3609975 h 3822033"/>
                  <a:gd name="connsiteX117" fmla="*/ 1800225 w 3457575"/>
                  <a:gd name="connsiteY117" fmla="*/ 3638550 h 3822033"/>
                  <a:gd name="connsiteX118" fmla="*/ 1790700 w 3457575"/>
                  <a:gd name="connsiteY118" fmla="*/ 3667125 h 3822033"/>
                  <a:gd name="connsiteX119" fmla="*/ 1771650 w 3457575"/>
                  <a:gd name="connsiteY119" fmla="*/ 3695700 h 3822033"/>
                  <a:gd name="connsiteX120" fmla="*/ 1752600 w 3457575"/>
                  <a:gd name="connsiteY120" fmla="*/ 3733800 h 3822033"/>
                  <a:gd name="connsiteX121" fmla="*/ 1714500 w 3457575"/>
                  <a:gd name="connsiteY121" fmla="*/ 3810000 h 3822033"/>
                  <a:gd name="connsiteX122" fmla="*/ 1704975 w 3457575"/>
                  <a:gd name="connsiteY12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552450 w 3457575"/>
                  <a:gd name="connsiteY51" fmla="*/ 361950 h 3822033"/>
                  <a:gd name="connsiteX52" fmla="*/ 609600 w 3457575"/>
                  <a:gd name="connsiteY52" fmla="*/ 323850 h 3822033"/>
                  <a:gd name="connsiteX53" fmla="*/ 666750 w 3457575"/>
                  <a:gd name="connsiteY53" fmla="*/ 285750 h 3822033"/>
                  <a:gd name="connsiteX54" fmla="*/ 762000 w 3457575"/>
                  <a:gd name="connsiteY54" fmla="*/ 238125 h 3822033"/>
                  <a:gd name="connsiteX55" fmla="*/ 800100 w 3457575"/>
                  <a:gd name="connsiteY55" fmla="*/ 219075 h 3822033"/>
                  <a:gd name="connsiteX56" fmla="*/ 895350 w 3457575"/>
                  <a:gd name="connsiteY56" fmla="*/ 161925 h 3822033"/>
                  <a:gd name="connsiteX57" fmla="*/ 962025 w 3457575"/>
                  <a:gd name="connsiteY57" fmla="*/ 133350 h 3822033"/>
                  <a:gd name="connsiteX58" fmla="*/ 1123950 w 3457575"/>
                  <a:gd name="connsiteY58" fmla="*/ 76200 h 3822033"/>
                  <a:gd name="connsiteX59" fmla="*/ 1162050 w 3457575"/>
                  <a:gd name="connsiteY59" fmla="*/ 66675 h 3822033"/>
                  <a:gd name="connsiteX60" fmla="*/ 1438275 w 3457575"/>
                  <a:gd name="connsiteY60" fmla="*/ 0 h 3822033"/>
                  <a:gd name="connsiteX61" fmla="*/ 2038350 w 3457575"/>
                  <a:gd name="connsiteY61" fmla="*/ 9525 h 3822033"/>
                  <a:gd name="connsiteX62" fmla="*/ 2105025 w 3457575"/>
                  <a:gd name="connsiteY62" fmla="*/ 19050 h 3822033"/>
                  <a:gd name="connsiteX63" fmla="*/ 2162175 w 3457575"/>
                  <a:gd name="connsiteY63" fmla="*/ 47625 h 3822033"/>
                  <a:gd name="connsiteX64" fmla="*/ 2228850 w 3457575"/>
                  <a:gd name="connsiteY64" fmla="*/ 66675 h 3822033"/>
                  <a:gd name="connsiteX65" fmla="*/ 2343150 w 3457575"/>
                  <a:gd name="connsiteY65" fmla="*/ 133350 h 3822033"/>
                  <a:gd name="connsiteX66" fmla="*/ 2390775 w 3457575"/>
                  <a:gd name="connsiteY66" fmla="*/ 142875 h 3822033"/>
                  <a:gd name="connsiteX67" fmla="*/ 2457450 w 3457575"/>
                  <a:gd name="connsiteY67" fmla="*/ 171450 h 3822033"/>
                  <a:gd name="connsiteX68" fmla="*/ 2486025 w 3457575"/>
                  <a:gd name="connsiteY68" fmla="*/ 200025 h 3822033"/>
                  <a:gd name="connsiteX69" fmla="*/ 2571750 w 3457575"/>
                  <a:gd name="connsiteY69" fmla="*/ 228600 h 3822033"/>
                  <a:gd name="connsiteX70" fmla="*/ 2676525 w 3457575"/>
                  <a:gd name="connsiteY70" fmla="*/ 285750 h 3822033"/>
                  <a:gd name="connsiteX71" fmla="*/ 2705100 w 3457575"/>
                  <a:gd name="connsiteY71" fmla="*/ 304800 h 3822033"/>
                  <a:gd name="connsiteX72" fmla="*/ 2733675 w 3457575"/>
                  <a:gd name="connsiteY72" fmla="*/ 333375 h 3822033"/>
                  <a:gd name="connsiteX73" fmla="*/ 2771775 w 3457575"/>
                  <a:gd name="connsiteY73" fmla="*/ 361950 h 3822033"/>
                  <a:gd name="connsiteX74" fmla="*/ 2809875 w 3457575"/>
                  <a:gd name="connsiteY74" fmla="*/ 400050 h 3822033"/>
                  <a:gd name="connsiteX75" fmla="*/ 2867025 w 3457575"/>
                  <a:gd name="connsiteY75" fmla="*/ 438150 h 3822033"/>
                  <a:gd name="connsiteX76" fmla="*/ 2905125 w 3457575"/>
                  <a:gd name="connsiteY76" fmla="*/ 476250 h 3822033"/>
                  <a:gd name="connsiteX77" fmla="*/ 2971800 w 3457575"/>
                  <a:gd name="connsiteY77" fmla="*/ 523875 h 3822033"/>
                  <a:gd name="connsiteX78" fmla="*/ 2990850 w 3457575"/>
                  <a:gd name="connsiteY78" fmla="*/ 552450 h 3822033"/>
                  <a:gd name="connsiteX79" fmla="*/ 3028950 w 3457575"/>
                  <a:gd name="connsiteY79" fmla="*/ 590550 h 3822033"/>
                  <a:gd name="connsiteX80" fmla="*/ 3048000 w 3457575"/>
                  <a:gd name="connsiteY80" fmla="*/ 628650 h 3822033"/>
                  <a:gd name="connsiteX81" fmla="*/ 3086100 w 3457575"/>
                  <a:gd name="connsiteY81" fmla="*/ 666750 h 3822033"/>
                  <a:gd name="connsiteX82" fmla="*/ 3124200 w 3457575"/>
                  <a:gd name="connsiteY82" fmla="*/ 723900 h 3822033"/>
                  <a:gd name="connsiteX83" fmla="*/ 3219450 w 3457575"/>
                  <a:gd name="connsiteY83" fmla="*/ 838200 h 3822033"/>
                  <a:gd name="connsiteX84" fmla="*/ 3238500 w 3457575"/>
                  <a:gd name="connsiteY84" fmla="*/ 885825 h 3822033"/>
                  <a:gd name="connsiteX85" fmla="*/ 3276600 w 3457575"/>
                  <a:gd name="connsiteY85" fmla="*/ 942975 h 3822033"/>
                  <a:gd name="connsiteX86" fmla="*/ 3286125 w 3457575"/>
                  <a:gd name="connsiteY86" fmla="*/ 990600 h 3822033"/>
                  <a:gd name="connsiteX87" fmla="*/ 3324225 w 3457575"/>
                  <a:gd name="connsiteY87" fmla="*/ 1085850 h 3822033"/>
                  <a:gd name="connsiteX88" fmla="*/ 3362325 w 3457575"/>
                  <a:gd name="connsiteY88" fmla="*/ 1171575 h 3822033"/>
                  <a:gd name="connsiteX89" fmla="*/ 3390900 w 3457575"/>
                  <a:gd name="connsiteY89" fmla="*/ 1219200 h 3822033"/>
                  <a:gd name="connsiteX90" fmla="*/ 3419475 w 3457575"/>
                  <a:gd name="connsiteY90" fmla="*/ 1333500 h 3822033"/>
                  <a:gd name="connsiteX91" fmla="*/ 3429000 w 3457575"/>
                  <a:gd name="connsiteY91" fmla="*/ 1390650 h 3822033"/>
                  <a:gd name="connsiteX92" fmla="*/ 3457575 w 3457575"/>
                  <a:gd name="connsiteY92" fmla="*/ 1657350 h 3822033"/>
                  <a:gd name="connsiteX93" fmla="*/ 3448050 w 3457575"/>
                  <a:gd name="connsiteY93" fmla="*/ 2095500 h 3822033"/>
                  <a:gd name="connsiteX94" fmla="*/ 3381375 w 3457575"/>
                  <a:gd name="connsiteY94" fmla="*/ 2238375 h 3822033"/>
                  <a:gd name="connsiteX95" fmla="*/ 3343275 w 3457575"/>
                  <a:gd name="connsiteY95" fmla="*/ 2333625 h 3822033"/>
                  <a:gd name="connsiteX96" fmla="*/ 3276600 w 3457575"/>
                  <a:gd name="connsiteY96" fmla="*/ 2400300 h 3822033"/>
                  <a:gd name="connsiteX97" fmla="*/ 3190875 w 3457575"/>
                  <a:gd name="connsiteY97" fmla="*/ 2533650 h 3822033"/>
                  <a:gd name="connsiteX98" fmla="*/ 3105150 w 3457575"/>
                  <a:gd name="connsiteY98" fmla="*/ 2647950 h 3822033"/>
                  <a:gd name="connsiteX99" fmla="*/ 3019425 w 3457575"/>
                  <a:gd name="connsiteY99" fmla="*/ 2781300 h 3822033"/>
                  <a:gd name="connsiteX100" fmla="*/ 2981325 w 3457575"/>
                  <a:gd name="connsiteY100" fmla="*/ 2819400 h 3822033"/>
                  <a:gd name="connsiteX101" fmla="*/ 2943225 w 3457575"/>
                  <a:gd name="connsiteY101" fmla="*/ 2876550 h 3822033"/>
                  <a:gd name="connsiteX102" fmla="*/ 2857500 w 3457575"/>
                  <a:gd name="connsiteY102" fmla="*/ 2933700 h 3822033"/>
                  <a:gd name="connsiteX103" fmla="*/ 2809875 w 3457575"/>
                  <a:gd name="connsiteY103" fmla="*/ 2971800 h 3822033"/>
                  <a:gd name="connsiteX104" fmla="*/ 2705100 w 3457575"/>
                  <a:gd name="connsiteY104" fmla="*/ 3038475 h 3822033"/>
                  <a:gd name="connsiteX105" fmla="*/ 2609850 w 3457575"/>
                  <a:gd name="connsiteY105" fmla="*/ 3105150 h 3822033"/>
                  <a:gd name="connsiteX106" fmla="*/ 2562225 w 3457575"/>
                  <a:gd name="connsiteY106" fmla="*/ 3143250 h 3822033"/>
                  <a:gd name="connsiteX107" fmla="*/ 2495550 w 3457575"/>
                  <a:gd name="connsiteY107" fmla="*/ 3162300 h 3822033"/>
                  <a:gd name="connsiteX108" fmla="*/ 2362200 w 3457575"/>
                  <a:gd name="connsiteY108" fmla="*/ 3219450 h 3822033"/>
                  <a:gd name="connsiteX109" fmla="*/ 2257425 w 3457575"/>
                  <a:gd name="connsiteY109" fmla="*/ 3257550 h 3822033"/>
                  <a:gd name="connsiteX110" fmla="*/ 2181225 w 3457575"/>
                  <a:gd name="connsiteY110" fmla="*/ 3276600 h 3822033"/>
                  <a:gd name="connsiteX111" fmla="*/ 2057400 w 3457575"/>
                  <a:gd name="connsiteY111" fmla="*/ 3362325 h 3822033"/>
                  <a:gd name="connsiteX112" fmla="*/ 2009775 w 3457575"/>
                  <a:gd name="connsiteY112" fmla="*/ 3400425 h 3822033"/>
                  <a:gd name="connsiteX113" fmla="*/ 1962150 w 3457575"/>
                  <a:gd name="connsiteY113" fmla="*/ 3429000 h 3822033"/>
                  <a:gd name="connsiteX114" fmla="*/ 1905000 w 3457575"/>
                  <a:gd name="connsiteY114" fmla="*/ 3495675 h 3822033"/>
                  <a:gd name="connsiteX115" fmla="*/ 1819275 w 3457575"/>
                  <a:gd name="connsiteY115" fmla="*/ 3609975 h 3822033"/>
                  <a:gd name="connsiteX116" fmla="*/ 1800225 w 3457575"/>
                  <a:gd name="connsiteY116" fmla="*/ 3638550 h 3822033"/>
                  <a:gd name="connsiteX117" fmla="*/ 1790700 w 3457575"/>
                  <a:gd name="connsiteY117" fmla="*/ 3667125 h 3822033"/>
                  <a:gd name="connsiteX118" fmla="*/ 1771650 w 3457575"/>
                  <a:gd name="connsiteY118" fmla="*/ 3695700 h 3822033"/>
                  <a:gd name="connsiteX119" fmla="*/ 1752600 w 3457575"/>
                  <a:gd name="connsiteY119" fmla="*/ 3733800 h 3822033"/>
                  <a:gd name="connsiteX120" fmla="*/ 1714500 w 3457575"/>
                  <a:gd name="connsiteY120" fmla="*/ 3810000 h 3822033"/>
                  <a:gd name="connsiteX121" fmla="*/ 1704975 w 3457575"/>
                  <a:gd name="connsiteY12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552450 w 3457575"/>
                  <a:gd name="connsiteY50" fmla="*/ 361950 h 3822033"/>
                  <a:gd name="connsiteX51" fmla="*/ 609600 w 3457575"/>
                  <a:gd name="connsiteY51" fmla="*/ 323850 h 3822033"/>
                  <a:gd name="connsiteX52" fmla="*/ 666750 w 3457575"/>
                  <a:gd name="connsiteY52" fmla="*/ 285750 h 3822033"/>
                  <a:gd name="connsiteX53" fmla="*/ 762000 w 3457575"/>
                  <a:gd name="connsiteY53" fmla="*/ 238125 h 3822033"/>
                  <a:gd name="connsiteX54" fmla="*/ 800100 w 3457575"/>
                  <a:gd name="connsiteY54" fmla="*/ 219075 h 3822033"/>
                  <a:gd name="connsiteX55" fmla="*/ 895350 w 3457575"/>
                  <a:gd name="connsiteY55" fmla="*/ 161925 h 3822033"/>
                  <a:gd name="connsiteX56" fmla="*/ 962025 w 3457575"/>
                  <a:gd name="connsiteY56" fmla="*/ 133350 h 3822033"/>
                  <a:gd name="connsiteX57" fmla="*/ 1123950 w 3457575"/>
                  <a:gd name="connsiteY57" fmla="*/ 76200 h 3822033"/>
                  <a:gd name="connsiteX58" fmla="*/ 1162050 w 3457575"/>
                  <a:gd name="connsiteY58" fmla="*/ 66675 h 3822033"/>
                  <a:gd name="connsiteX59" fmla="*/ 1438275 w 3457575"/>
                  <a:gd name="connsiteY59" fmla="*/ 0 h 3822033"/>
                  <a:gd name="connsiteX60" fmla="*/ 2038350 w 3457575"/>
                  <a:gd name="connsiteY60" fmla="*/ 9525 h 3822033"/>
                  <a:gd name="connsiteX61" fmla="*/ 2105025 w 3457575"/>
                  <a:gd name="connsiteY61" fmla="*/ 19050 h 3822033"/>
                  <a:gd name="connsiteX62" fmla="*/ 2162175 w 3457575"/>
                  <a:gd name="connsiteY62" fmla="*/ 47625 h 3822033"/>
                  <a:gd name="connsiteX63" fmla="*/ 2228850 w 3457575"/>
                  <a:gd name="connsiteY63" fmla="*/ 66675 h 3822033"/>
                  <a:gd name="connsiteX64" fmla="*/ 2343150 w 3457575"/>
                  <a:gd name="connsiteY64" fmla="*/ 133350 h 3822033"/>
                  <a:gd name="connsiteX65" fmla="*/ 2390775 w 3457575"/>
                  <a:gd name="connsiteY65" fmla="*/ 142875 h 3822033"/>
                  <a:gd name="connsiteX66" fmla="*/ 2457450 w 3457575"/>
                  <a:gd name="connsiteY66" fmla="*/ 171450 h 3822033"/>
                  <a:gd name="connsiteX67" fmla="*/ 2486025 w 3457575"/>
                  <a:gd name="connsiteY67" fmla="*/ 200025 h 3822033"/>
                  <a:gd name="connsiteX68" fmla="*/ 2571750 w 3457575"/>
                  <a:gd name="connsiteY68" fmla="*/ 228600 h 3822033"/>
                  <a:gd name="connsiteX69" fmla="*/ 2676525 w 3457575"/>
                  <a:gd name="connsiteY69" fmla="*/ 285750 h 3822033"/>
                  <a:gd name="connsiteX70" fmla="*/ 2705100 w 3457575"/>
                  <a:gd name="connsiteY70" fmla="*/ 304800 h 3822033"/>
                  <a:gd name="connsiteX71" fmla="*/ 2733675 w 3457575"/>
                  <a:gd name="connsiteY71" fmla="*/ 333375 h 3822033"/>
                  <a:gd name="connsiteX72" fmla="*/ 2771775 w 3457575"/>
                  <a:gd name="connsiteY72" fmla="*/ 361950 h 3822033"/>
                  <a:gd name="connsiteX73" fmla="*/ 2809875 w 3457575"/>
                  <a:gd name="connsiteY73" fmla="*/ 400050 h 3822033"/>
                  <a:gd name="connsiteX74" fmla="*/ 2867025 w 3457575"/>
                  <a:gd name="connsiteY74" fmla="*/ 438150 h 3822033"/>
                  <a:gd name="connsiteX75" fmla="*/ 2905125 w 3457575"/>
                  <a:gd name="connsiteY75" fmla="*/ 476250 h 3822033"/>
                  <a:gd name="connsiteX76" fmla="*/ 2971800 w 3457575"/>
                  <a:gd name="connsiteY76" fmla="*/ 523875 h 3822033"/>
                  <a:gd name="connsiteX77" fmla="*/ 2990850 w 3457575"/>
                  <a:gd name="connsiteY77" fmla="*/ 552450 h 3822033"/>
                  <a:gd name="connsiteX78" fmla="*/ 3028950 w 3457575"/>
                  <a:gd name="connsiteY78" fmla="*/ 590550 h 3822033"/>
                  <a:gd name="connsiteX79" fmla="*/ 3048000 w 3457575"/>
                  <a:gd name="connsiteY79" fmla="*/ 628650 h 3822033"/>
                  <a:gd name="connsiteX80" fmla="*/ 3086100 w 3457575"/>
                  <a:gd name="connsiteY80" fmla="*/ 666750 h 3822033"/>
                  <a:gd name="connsiteX81" fmla="*/ 3124200 w 3457575"/>
                  <a:gd name="connsiteY81" fmla="*/ 723900 h 3822033"/>
                  <a:gd name="connsiteX82" fmla="*/ 3219450 w 3457575"/>
                  <a:gd name="connsiteY82" fmla="*/ 838200 h 3822033"/>
                  <a:gd name="connsiteX83" fmla="*/ 3238500 w 3457575"/>
                  <a:gd name="connsiteY83" fmla="*/ 885825 h 3822033"/>
                  <a:gd name="connsiteX84" fmla="*/ 3276600 w 3457575"/>
                  <a:gd name="connsiteY84" fmla="*/ 942975 h 3822033"/>
                  <a:gd name="connsiteX85" fmla="*/ 3286125 w 3457575"/>
                  <a:gd name="connsiteY85" fmla="*/ 990600 h 3822033"/>
                  <a:gd name="connsiteX86" fmla="*/ 3324225 w 3457575"/>
                  <a:gd name="connsiteY86" fmla="*/ 1085850 h 3822033"/>
                  <a:gd name="connsiteX87" fmla="*/ 3362325 w 3457575"/>
                  <a:gd name="connsiteY87" fmla="*/ 1171575 h 3822033"/>
                  <a:gd name="connsiteX88" fmla="*/ 3390900 w 3457575"/>
                  <a:gd name="connsiteY88" fmla="*/ 1219200 h 3822033"/>
                  <a:gd name="connsiteX89" fmla="*/ 3419475 w 3457575"/>
                  <a:gd name="connsiteY89" fmla="*/ 1333500 h 3822033"/>
                  <a:gd name="connsiteX90" fmla="*/ 3429000 w 3457575"/>
                  <a:gd name="connsiteY90" fmla="*/ 1390650 h 3822033"/>
                  <a:gd name="connsiteX91" fmla="*/ 3457575 w 3457575"/>
                  <a:gd name="connsiteY91" fmla="*/ 1657350 h 3822033"/>
                  <a:gd name="connsiteX92" fmla="*/ 3448050 w 3457575"/>
                  <a:gd name="connsiteY92" fmla="*/ 2095500 h 3822033"/>
                  <a:gd name="connsiteX93" fmla="*/ 3381375 w 3457575"/>
                  <a:gd name="connsiteY93" fmla="*/ 2238375 h 3822033"/>
                  <a:gd name="connsiteX94" fmla="*/ 3343275 w 3457575"/>
                  <a:gd name="connsiteY94" fmla="*/ 2333625 h 3822033"/>
                  <a:gd name="connsiteX95" fmla="*/ 3276600 w 3457575"/>
                  <a:gd name="connsiteY95" fmla="*/ 2400300 h 3822033"/>
                  <a:gd name="connsiteX96" fmla="*/ 3190875 w 3457575"/>
                  <a:gd name="connsiteY96" fmla="*/ 2533650 h 3822033"/>
                  <a:gd name="connsiteX97" fmla="*/ 3105150 w 3457575"/>
                  <a:gd name="connsiteY97" fmla="*/ 2647950 h 3822033"/>
                  <a:gd name="connsiteX98" fmla="*/ 3019425 w 3457575"/>
                  <a:gd name="connsiteY98" fmla="*/ 2781300 h 3822033"/>
                  <a:gd name="connsiteX99" fmla="*/ 2981325 w 3457575"/>
                  <a:gd name="connsiteY99" fmla="*/ 2819400 h 3822033"/>
                  <a:gd name="connsiteX100" fmla="*/ 2943225 w 3457575"/>
                  <a:gd name="connsiteY100" fmla="*/ 2876550 h 3822033"/>
                  <a:gd name="connsiteX101" fmla="*/ 2857500 w 3457575"/>
                  <a:gd name="connsiteY101" fmla="*/ 2933700 h 3822033"/>
                  <a:gd name="connsiteX102" fmla="*/ 2809875 w 3457575"/>
                  <a:gd name="connsiteY102" fmla="*/ 2971800 h 3822033"/>
                  <a:gd name="connsiteX103" fmla="*/ 2705100 w 3457575"/>
                  <a:gd name="connsiteY103" fmla="*/ 3038475 h 3822033"/>
                  <a:gd name="connsiteX104" fmla="*/ 2609850 w 3457575"/>
                  <a:gd name="connsiteY104" fmla="*/ 3105150 h 3822033"/>
                  <a:gd name="connsiteX105" fmla="*/ 2562225 w 3457575"/>
                  <a:gd name="connsiteY105" fmla="*/ 3143250 h 3822033"/>
                  <a:gd name="connsiteX106" fmla="*/ 2495550 w 3457575"/>
                  <a:gd name="connsiteY106" fmla="*/ 3162300 h 3822033"/>
                  <a:gd name="connsiteX107" fmla="*/ 2362200 w 3457575"/>
                  <a:gd name="connsiteY107" fmla="*/ 3219450 h 3822033"/>
                  <a:gd name="connsiteX108" fmla="*/ 2257425 w 3457575"/>
                  <a:gd name="connsiteY108" fmla="*/ 3257550 h 3822033"/>
                  <a:gd name="connsiteX109" fmla="*/ 2181225 w 3457575"/>
                  <a:gd name="connsiteY109" fmla="*/ 3276600 h 3822033"/>
                  <a:gd name="connsiteX110" fmla="*/ 2057400 w 3457575"/>
                  <a:gd name="connsiteY110" fmla="*/ 3362325 h 3822033"/>
                  <a:gd name="connsiteX111" fmla="*/ 2009775 w 3457575"/>
                  <a:gd name="connsiteY111" fmla="*/ 3400425 h 3822033"/>
                  <a:gd name="connsiteX112" fmla="*/ 1962150 w 3457575"/>
                  <a:gd name="connsiteY112" fmla="*/ 3429000 h 3822033"/>
                  <a:gd name="connsiteX113" fmla="*/ 1905000 w 3457575"/>
                  <a:gd name="connsiteY113" fmla="*/ 3495675 h 3822033"/>
                  <a:gd name="connsiteX114" fmla="*/ 1819275 w 3457575"/>
                  <a:gd name="connsiteY114" fmla="*/ 3609975 h 3822033"/>
                  <a:gd name="connsiteX115" fmla="*/ 1800225 w 3457575"/>
                  <a:gd name="connsiteY115" fmla="*/ 3638550 h 3822033"/>
                  <a:gd name="connsiteX116" fmla="*/ 1790700 w 3457575"/>
                  <a:gd name="connsiteY116" fmla="*/ 3667125 h 3822033"/>
                  <a:gd name="connsiteX117" fmla="*/ 1771650 w 3457575"/>
                  <a:gd name="connsiteY117" fmla="*/ 3695700 h 3822033"/>
                  <a:gd name="connsiteX118" fmla="*/ 1752600 w 3457575"/>
                  <a:gd name="connsiteY118" fmla="*/ 3733800 h 3822033"/>
                  <a:gd name="connsiteX119" fmla="*/ 1714500 w 3457575"/>
                  <a:gd name="connsiteY119" fmla="*/ 3810000 h 3822033"/>
                  <a:gd name="connsiteX120" fmla="*/ 1704975 w 3457575"/>
                  <a:gd name="connsiteY12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552450 w 3457575"/>
                  <a:gd name="connsiteY49" fmla="*/ 361950 h 3822033"/>
                  <a:gd name="connsiteX50" fmla="*/ 609600 w 3457575"/>
                  <a:gd name="connsiteY50" fmla="*/ 323850 h 3822033"/>
                  <a:gd name="connsiteX51" fmla="*/ 666750 w 3457575"/>
                  <a:gd name="connsiteY51" fmla="*/ 285750 h 3822033"/>
                  <a:gd name="connsiteX52" fmla="*/ 762000 w 3457575"/>
                  <a:gd name="connsiteY52" fmla="*/ 238125 h 3822033"/>
                  <a:gd name="connsiteX53" fmla="*/ 800100 w 3457575"/>
                  <a:gd name="connsiteY53" fmla="*/ 219075 h 3822033"/>
                  <a:gd name="connsiteX54" fmla="*/ 895350 w 3457575"/>
                  <a:gd name="connsiteY54" fmla="*/ 161925 h 3822033"/>
                  <a:gd name="connsiteX55" fmla="*/ 962025 w 3457575"/>
                  <a:gd name="connsiteY55" fmla="*/ 133350 h 3822033"/>
                  <a:gd name="connsiteX56" fmla="*/ 1123950 w 3457575"/>
                  <a:gd name="connsiteY56" fmla="*/ 76200 h 3822033"/>
                  <a:gd name="connsiteX57" fmla="*/ 1162050 w 3457575"/>
                  <a:gd name="connsiteY57" fmla="*/ 66675 h 3822033"/>
                  <a:gd name="connsiteX58" fmla="*/ 1438275 w 3457575"/>
                  <a:gd name="connsiteY58" fmla="*/ 0 h 3822033"/>
                  <a:gd name="connsiteX59" fmla="*/ 2038350 w 3457575"/>
                  <a:gd name="connsiteY59" fmla="*/ 9525 h 3822033"/>
                  <a:gd name="connsiteX60" fmla="*/ 2105025 w 3457575"/>
                  <a:gd name="connsiteY60" fmla="*/ 19050 h 3822033"/>
                  <a:gd name="connsiteX61" fmla="*/ 2162175 w 3457575"/>
                  <a:gd name="connsiteY61" fmla="*/ 47625 h 3822033"/>
                  <a:gd name="connsiteX62" fmla="*/ 2228850 w 3457575"/>
                  <a:gd name="connsiteY62" fmla="*/ 66675 h 3822033"/>
                  <a:gd name="connsiteX63" fmla="*/ 2343150 w 3457575"/>
                  <a:gd name="connsiteY63" fmla="*/ 133350 h 3822033"/>
                  <a:gd name="connsiteX64" fmla="*/ 2390775 w 3457575"/>
                  <a:gd name="connsiteY64" fmla="*/ 142875 h 3822033"/>
                  <a:gd name="connsiteX65" fmla="*/ 2457450 w 3457575"/>
                  <a:gd name="connsiteY65" fmla="*/ 171450 h 3822033"/>
                  <a:gd name="connsiteX66" fmla="*/ 2486025 w 3457575"/>
                  <a:gd name="connsiteY66" fmla="*/ 200025 h 3822033"/>
                  <a:gd name="connsiteX67" fmla="*/ 2571750 w 3457575"/>
                  <a:gd name="connsiteY67" fmla="*/ 228600 h 3822033"/>
                  <a:gd name="connsiteX68" fmla="*/ 2676525 w 3457575"/>
                  <a:gd name="connsiteY68" fmla="*/ 285750 h 3822033"/>
                  <a:gd name="connsiteX69" fmla="*/ 2705100 w 3457575"/>
                  <a:gd name="connsiteY69" fmla="*/ 304800 h 3822033"/>
                  <a:gd name="connsiteX70" fmla="*/ 2733675 w 3457575"/>
                  <a:gd name="connsiteY70" fmla="*/ 333375 h 3822033"/>
                  <a:gd name="connsiteX71" fmla="*/ 2771775 w 3457575"/>
                  <a:gd name="connsiteY71" fmla="*/ 361950 h 3822033"/>
                  <a:gd name="connsiteX72" fmla="*/ 2809875 w 3457575"/>
                  <a:gd name="connsiteY72" fmla="*/ 400050 h 3822033"/>
                  <a:gd name="connsiteX73" fmla="*/ 2867025 w 3457575"/>
                  <a:gd name="connsiteY73" fmla="*/ 438150 h 3822033"/>
                  <a:gd name="connsiteX74" fmla="*/ 2905125 w 3457575"/>
                  <a:gd name="connsiteY74" fmla="*/ 476250 h 3822033"/>
                  <a:gd name="connsiteX75" fmla="*/ 2971800 w 3457575"/>
                  <a:gd name="connsiteY75" fmla="*/ 523875 h 3822033"/>
                  <a:gd name="connsiteX76" fmla="*/ 2990850 w 3457575"/>
                  <a:gd name="connsiteY76" fmla="*/ 552450 h 3822033"/>
                  <a:gd name="connsiteX77" fmla="*/ 3028950 w 3457575"/>
                  <a:gd name="connsiteY77" fmla="*/ 590550 h 3822033"/>
                  <a:gd name="connsiteX78" fmla="*/ 3048000 w 3457575"/>
                  <a:gd name="connsiteY78" fmla="*/ 628650 h 3822033"/>
                  <a:gd name="connsiteX79" fmla="*/ 3086100 w 3457575"/>
                  <a:gd name="connsiteY79" fmla="*/ 666750 h 3822033"/>
                  <a:gd name="connsiteX80" fmla="*/ 3124200 w 3457575"/>
                  <a:gd name="connsiteY80" fmla="*/ 723900 h 3822033"/>
                  <a:gd name="connsiteX81" fmla="*/ 3219450 w 3457575"/>
                  <a:gd name="connsiteY81" fmla="*/ 838200 h 3822033"/>
                  <a:gd name="connsiteX82" fmla="*/ 3238500 w 3457575"/>
                  <a:gd name="connsiteY82" fmla="*/ 885825 h 3822033"/>
                  <a:gd name="connsiteX83" fmla="*/ 3276600 w 3457575"/>
                  <a:gd name="connsiteY83" fmla="*/ 942975 h 3822033"/>
                  <a:gd name="connsiteX84" fmla="*/ 3286125 w 3457575"/>
                  <a:gd name="connsiteY84" fmla="*/ 990600 h 3822033"/>
                  <a:gd name="connsiteX85" fmla="*/ 3324225 w 3457575"/>
                  <a:gd name="connsiteY85" fmla="*/ 1085850 h 3822033"/>
                  <a:gd name="connsiteX86" fmla="*/ 3362325 w 3457575"/>
                  <a:gd name="connsiteY86" fmla="*/ 1171575 h 3822033"/>
                  <a:gd name="connsiteX87" fmla="*/ 3390900 w 3457575"/>
                  <a:gd name="connsiteY87" fmla="*/ 1219200 h 3822033"/>
                  <a:gd name="connsiteX88" fmla="*/ 3419475 w 3457575"/>
                  <a:gd name="connsiteY88" fmla="*/ 1333500 h 3822033"/>
                  <a:gd name="connsiteX89" fmla="*/ 3429000 w 3457575"/>
                  <a:gd name="connsiteY89" fmla="*/ 1390650 h 3822033"/>
                  <a:gd name="connsiteX90" fmla="*/ 3457575 w 3457575"/>
                  <a:gd name="connsiteY90" fmla="*/ 1657350 h 3822033"/>
                  <a:gd name="connsiteX91" fmla="*/ 3448050 w 3457575"/>
                  <a:gd name="connsiteY91" fmla="*/ 2095500 h 3822033"/>
                  <a:gd name="connsiteX92" fmla="*/ 3381375 w 3457575"/>
                  <a:gd name="connsiteY92" fmla="*/ 2238375 h 3822033"/>
                  <a:gd name="connsiteX93" fmla="*/ 3343275 w 3457575"/>
                  <a:gd name="connsiteY93" fmla="*/ 2333625 h 3822033"/>
                  <a:gd name="connsiteX94" fmla="*/ 3276600 w 3457575"/>
                  <a:gd name="connsiteY94" fmla="*/ 2400300 h 3822033"/>
                  <a:gd name="connsiteX95" fmla="*/ 3190875 w 3457575"/>
                  <a:gd name="connsiteY95" fmla="*/ 2533650 h 3822033"/>
                  <a:gd name="connsiteX96" fmla="*/ 3105150 w 3457575"/>
                  <a:gd name="connsiteY96" fmla="*/ 2647950 h 3822033"/>
                  <a:gd name="connsiteX97" fmla="*/ 3019425 w 3457575"/>
                  <a:gd name="connsiteY97" fmla="*/ 2781300 h 3822033"/>
                  <a:gd name="connsiteX98" fmla="*/ 2981325 w 3457575"/>
                  <a:gd name="connsiteY98" fmla="*/ 2819400 h 3822033"/>
                  <a:gd name="connsiteX99" fmla="*/ 2943225 w 3457575"/>
                  <a:gd name="connsiteY99" fmla="*/ 2876550 h 3822033"/>
                  <a:gd name="connsiteX100" fmla="*/ 2857500 w 3457575"/>
                  <a:gd name="connsiteY100" fmla="*/ 2933700 h 3822033"/>
                  <a:gd name="connsiteX101" fmla="*/ 2809875 w 3457575"/>
                  <a:gd name="connsiteY101" fmla="*/ 2971800 h 3822033"/>
                  <a:gd name="connsiteX102" fmla="*/ 2705100 w 3457575"/>
                  <a:gd name="connsiteY102" fmla="*/ 3038475 h 3822033"/>
                  <a:gd name="connsiteX103" fmla="*/ 2609850 w 3457575"/>
                  <a:gd name="connsiteY103" fmla="*/ 3105150 h 3822033"/>
                  <a:gd name="connsiteX104" fmla="*/ 2562225 w 3457575"/>
                  <a:gd name="connsiteY104" fmla="*/ 3143250 h 3822033"/>
                  <a:gd name="connsiteX105" fmla="*/ 2495550 w 3457575"/>
                  <a:gd name="connsiteY105" fmla="*/ 3162300 h 3822033"/>
                  <a:gd name="connsiteX106" fmla="*/ 2362200 w 3457575"/>
                  <a:gd name="connsiteY106" fmla="*/ 3219450 h 3822033"/>
                  <a:gd name="connsiteX107" fmla="*/ 2257425 w 3457575"/>
                  <a:gd name="connsiteY107" fmla="*/ 3257550 h 3822033"/>
                  <a:gd name="connsiteX108" fmla="*/ 2181225 w 3457575"/>
                  <a:gd name="connsiteY108" fmla="*/ 3276600 h 3822033"/>
                  <a:gd name="connsiteX109" fmla="*/ 2057400 w 3457575"/>
                  <a:gd name="connsiteY109" fmla="*/ 3362325 h 3822033"/>
                  <a:gd name="connsiteX110" fmla="*/ 2009775 w 3457575"/>
                  <a:gd name="connsiteY110" fmla="*/ 3400425 h 3822033"/>
                  <a:gd name="connsiteX111" fmla="*/ 1962150 w 3457575"/>
                  <a:gd name="connsiteY111" fmla="*/ 3429000 h 3822033"/>
                  <a:gd name="connsiteX112" fmla="*/ 1905000 w 3457575"/>
                  <a:gd name="connsiteY112" fmla="*/ 3495675 h 3822033"/>
                  <a:gd name="connsiteX113" fmla="*/ 1819275 w 3457575"/>
                  <a:gd name="connsiteY113" fmla="*/ 3609975 h 3822033"/>
                  <a:gd name="connsiteX114" fmla="*/ 1800225 w 3457575"/>
                  <a:gd name="connsiteY114" fmla="*/ 3638550 h 3822033"/>
                  <a:gd name="connsiteX115" fmla="*/ 1790700 w 3457575"/>
                  <a:gd name="connsiteY115" fmla="*/ 3667125 h 3822033"/>
                  <a:gd name="connsiteX116" fmla="*/ 1771650 w 3457575"/>
                  <a:gd name="connsiteY116" fmla="*/ 3695700 h 3822033"/>
                  <a:gd name="connsiteX117" fmla="*/ 1752600 w 3457575"/>
                  <a:gd name="connsiteY117" fmla="*/ 3733800 h 3822033"/>
                  <a:gd name="connsiteX118" fmla="*/ 1714500 w 3457575"/>
                  <a:gd name="connsiteY118" fmla="*/ 3810000 h 3822033"/>
                  <a:gd name="connsiteX119" fmla="*/ 1704975 w 3457575"/>
                  <a:gd name="connsiteY11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448050 w 3457575"/>
                  <a:gd name="connsiteY90" fmla="*/ 2095500 h 3822033"/>
                  <a:gd name="connsiteX91" fmla="*/ 3381375 w 3457575"/>
                  <a:gd name="connsiteY91" fmla="*/ 2238375 h 3822033"/>
                  <a:gd name="connsiteX92" fmla="*/ 3343275 w 3457575"/>
                  <a:gd name="connsiteY92" fmla="*/ 2333625 h 3822033"/>
                  <a:gd name="connsiteX93" fmla="*/ 3276600 w 3457575"/>
                  <a:gd name="connsiteY93" fmla="*/ 2400300 h 3822033"/>
                  <a:gd name="connsiteX94" fmla="*/ 3190875 w 3457575"/>
                  <a:gd name="connsiteY94" fmla="*/ 2533650 h 3822033"/>
                  <a:gd name="connsiteX95" fmla="*/ 3105150 w 3457575"/>
                  <a:gd name="connsiteY95" fmla="*/ 2647950 h 3822033"/>
                  <a:gd name="connsiteX96" fmla="*/ 3019425 w 3457575"/>
                  <a:gd name="connsiteY96" fmla="*/ 2781300 h 3822033"/>
                  <a:gd name="connsiteX97" fmla="*/ 2981325 w 3457575"/>
                  <a:gd name="connsiteY97" fmla="*/ 2819400 h 3822033"/>
                  <a:gd name="connsiteX98" fmla="*/ 2943225 w 3457575"/>
                  <a:gd name="connsiteY98" fmla="*/ 2876550 h 3822033"/>
                  <a:gd name="connsiteX99" fmla="*/ 2857500 w 3457575"/>
                  <a:gd name="connsiteY99" fmla="*/ 2933700 h 3822033"/>
                  <a:gd name="connsiteX100" fmla="*/ 2809875 w 3457575"/>
                  <a:gd name="connsiteY100" fmla="*/ 2971800 h 3822033"/>
                  <a:gd name="connsiteX101" fmla="*/ 2705100 w 3457575"/>
                  <a:gd name="connsiteY101" fmla="*/ 3038475 h 3822033"/>
                  <a:gd name="connsiteX102" fmla="*/ 2609850 w 3457575"/>
                  <a:gd name="connsiteY102" fmla="*/ 3105150 h 3822033"/>
                  <a:gd name="connsiteX103" fmla="*/ 2562225 w 3457575"/>
                  <a:gd name="connsiteY103" fmla="*/ 3143250 h 3822033"/>
                  <a:gd name="connsiteX104" fmla="*/ 2495550 w 3457575"/>
                  <a:gd name="connsiteY104" fmla="*/ 3162300 h 3822033"/>
                  <a:gd name="connsiteX105" fmla="*/ 2362200 w 3457575"/>
                  <a:gd name="connsiteY105" fmla="*/ 3219450 h 3822033"/>
                  <a:gd name="connsiteX106" fmla="*/ 2257425 w 3457575"/>
                  <a:gd name="connsiteY106" fmla="*/ 3257550 h 3822033"/>
                  <a:gd name="connsiteX107" fmla="*/ 2181225 w 3457575"/>
                  <a:gd name="connsiteY107" fmla="*/ 3276600 h 3822033"/>
                  <a:gd name="connsiteX108" fmla="*/ 2057400 w 3457575"/>
                  <a:gd name="connsiteY108" fmla="*/ 3362325 h 3822033"/>
                  <a:gd name="connsiteX109" fmla="*/ 2009775 w 3457575"/>
                  <a:gd name="connsiteY109" fmla="*/ 3400425 h 3822033"/>
                  <a:gd name="connsiteX110" fmla="*/ 1962150 w 3457575"/>
                  <a:gd name="connsiteY110" fmla="*/ 3429000 h 3822033"/>
                  <a:gd name="connsiteX111" fmla="*/ 1905000 w 3457575"/>
                  <a:gd name="connsiteY111" fmla="*/ 3495675 h 3822033"/>
                  <a:gd name="connsiteX112" fmla="*/ 1819275 w 3457575"/>
                  <a:gd name="connsiteY112" fmla="*/ 3609975 h 3822033"/>
                  <a:gd name="connsiteX113" fmla="*/ 1800225 w 3457575"/>
                  <a:gd name="connsiteY113" fmla="*/ 3638550 h 3822033"/>
                  <a:gd name="connsiteX114" fmla="*/ 1790700 w 3457575"/>
                  <a:gd name="connsiteY114" fmla="*/ 3667125 h 3822033"/>
                  <a:gd name="connsiteX115" fmla="*/ 1771650 w 3457575"/>
                  <a:gd name="connsiteY115" fmla="*/ 3695700 h 3822033"/>
                  <a:gd name="connsiteX116" fmla="*/ 1752600 w 3457575"/>
                  <a:gd name="connsiteY116" fmla="*/ 3733800 h 3822033"/>
                  <a:gd name="connsiteX117" fmla="*/ 1714500 w 3457575"/>
                  <a:gd name="connsiteY117" fmla="*/ 3810000 h 3822033"/>
                  <a:gd name="connsiteX118" fmla="*/ 1704975 w 3457575"/>
                  <a:gd name="connsiteY11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381375 w 3457575"/>
                  <a:gd name="connsiteY90" fmla="*/ 2238375 h 3822033"/>
                  <a:gd name="connsiteX91" fmla="*/ 3343275 w 3457575"/>
                  <a:gd name="connsiteY91" fmla="*/ 2333625 h 3822033"/>
                  <a:gd name="connsiteX92" fmla="*/ 3276600 w 3457575"/>
                  <a:gd name="connsiteY92" fmla="*/ 2400300 h 3822033"/>
                  <a:gd name="connsiteX93" fmla="*/ 3190875 w 3457575"/>
                  <a:gd name="connsiteY93" fmla="*/ 2533650 h 3822033"/>
                  <a:gd name="connsiteX94" fmla="*/ 3105150 w 3457575"/>
                  <a:gd name="connsiteY94" fmla="*/ 2647950 h 3822033"/>
                  <a:gd name="connsiteX95" fmla="*/ 3019425 w 3457575"/>
                  <a:gd name="connsiteY95" fmla="*/ 2781300 h 3822033"/>
                  <a:gd name="connsiteX96" fmla="*/ 2981325 w 3457575"/>
                  <a:gd name="connsiteY96" fmla="*/ 2819400 h 3822033"/>
                  <a:gd name="connsiteX97" fmla="*/ 2943225 w 3457575"/>
                  <a:gd name="connsiteY97" fmla="*/ 2876550 h 3822033"/>
                  <a:gd name="connsiteX98" fmla="*/ 2857500 w 3457575"/>
                  <a:gd name="connsiteY98" fmla="*/ 2933700 h 3822033"/>
                  <a:gd name="connsiteX99" fmla="*/ 2809875 w 3457575"/>
                  <a:gd name="connsiteY99" fmla="*/ 2971800 h 3822033"/>
                  <a:gd name="connsiteX100" fmla="*/ 2705100 w 3457575"/>
                  <a:gd name="connsiteY100" fmla="*/ 3038475 h 3822033"/>
                  <a:gd name="connsiteX101" fmla="*/ 2609850 w 3457575"/>
                  <a:gd name="connsiteY101" fmla="*/ 3105150 h 3822033"/>
                  <a:gd name="connsiteX102" fmla="*/ 2562225 w 3457575"/>
                  <a:gd name="connsiteY102" fmla="*/ 3143250 h 3822033"/>
                  <a:gd name="connsiteX103" fmla="*/ 2495550 w 3457575"/>
                  <a:gd name="connsiteY103" fmla="*/ 3162300 h 3822033"/>
                  <a:gd name="connsiteX104" fmla="*/ 2362200 w 3457575"/>
                  <a:gd name="connsiteY104" fmla="*/ 3219450 h 3822033"/>
                  <a:gd name="connsiteX105" fmla="*/ 2257425 w 3457575"/>
                  <a:gd name="connsiteY105" fmla="*/ 3257550 h 3822033"/>
                  <a:gd name="connsiteX106" fmla="*/ 2181225 w 3457575"/>
                  <a:gd name="connsiteY106" fmla="*/ 3276600 h 3822033"/>
                  <a:gd name="connsiteX107" fmla="*/ 2057400 w 3457575"/>
                  <a:gd name="connsiteY107" fmla="*/ 3362325 h 3822033"/>
                  <a:gd name="connsiteX108" fmla="*/ 2009775 w 3457575"/>
                  <a:gd name="connsiteY108" fmla="*/ 3400425 h 3822033"/>
                  <a:gd name="connsiteX109" fmla="*/ 1962150 w 3457575"/>
                  <a:gd name="connsiteY109" fmla="*/ 3429000 h 3822033"/>
                  <a:gd name="connsiteX110" fmla="*/ 1905000 w 3457575"/>
                  <a:gd name="connsiteY110" fmla="*/ 3495675 h 3822033"/>
                  <a:gd name="connsiteX111" fmla="*/ 1819275 w 3457575"/>
                  <a:gd name="connsiteY111" fmla="*/ 3609975 h 3822033"/>
                  <a:gd name="connsiteX112" fmla="*/ 1800225 w 3457575"/>
                  <a:gd name="connsiteY112" fmla="*/ 3638550 h 3822033"/>
                  <a:gd name="connsiteX113" fmla="*/ 1790700 w 3457575"/>
                  <a:gd name="connsiteY113" fmla="*/ 3667125 h 3822033"/>
                  <a:gd name="connsiteX114" fmla="*/ 1771650 w 3457575"/>
                  <a:gd name="connsiteY114" fmla="*/ 3695700 h 3822033"/>
                  <a:gd name="connsiteX115" fmla="*/ 1752600 w 3457575"/>
                  <a:gd name="connsiteY115" fmla="*/ 3733800 h 3822033"/>
                  <a:gd name="connsiteX116" fmla="*/ 1714500 w 3457575"/>
                  <a:gd name="connsiteY116" fmla="*/ 3810000 h 3822033"/>
                  <a:gd name="connsiteX117" fmla="*/ 1704975 w 3457575"/>
                  <a:gd name="connsiteY11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333375 w 3457575"/>
                  <a:gd name="connsiteY23" fmla="*/ 2676525 h 3822033"/>
                  <a:gd name="connsiteX24" fmla="*/ 295275 w 3457575"/>
                  <a:gd name="connsiteY24" fmla="*/ 2581275 h 3822033"/>
                  <a:gd name="connsiteX25" fmla="*/ 257175 w 3457575"/>
                  <a:gd name="connsiteY25" fmla="*/ 2495550 h 3822033"/>
                  <a:gd name="connsiteX26" fmla="*/ 228600 w 3457575"/>
                  <a:gd name="connsiteY26" fmla="*/ 2457450 h 3822033"/>
                  <a:gd name="connsiteX27" fmla="*/ 200025 w 3457575"/>
                  <a:gd name="connsiteY27" fmla="*/ 2371725 h 3822033"/>
                  <a:gd name="connsiteX28" fmla="*/ 180975 w 3457575"/>
                  <a:gd name="connsiteY28" fmla="*/ 2343150 h 3822033"/>
                  <a:gd name="connsiteX29" fmla="*/ 152400 w 3457575"/>
                  <a:gd name="connsiteY29" fmla="*/ 2219325 h 3822033"/>
                  <a:gd name="connsiteX30" fmla="*/ 142875 w 3457575"/>
                  <a:gd name="connsiteY30" fmla="*/ 2190750 h 3822033"/>
                  <a:gd name="connsiteX31" fmla="*/ 123825 w 3457575"/>
                  <a:gd name="connsiteY31" fmla="*/ 2143125 h 3822033"/>
                  <a:gd name="connsiteX32" fmla="*/ 95250 w 3457575"/>
                  <a:gd name="connsiteY32" fmla="*/ 2028825 h 3822033"/>
                  <a:gd name="connsiteX33" fmla="*/ 85725 w 3457575"/>
                  <a:gd name="connsiteY33" fmla="*/ 1990725 h 3822033"/>
                  <a:gd name="connsiteX34" fmla="*/ 57150 w 3457575"/>
                  <a:gd name="connsiteY34" fmla="*/ 1933575 h 3822033"/>
                  <a:gd name="connsiteX35" fmla="*/ 28575 w 3457575"/>
                  <a:gd name="connsiteY35" fmla="*/ 1819275 h 3822033"/>
                  <a:gd name="connsiteX36" fmla="*/ 9525 w 3457575"/>
                  <a:gd name="connsiteY36" fmla="*/ 1657350 h 3822033"/>
                  <a:gd name="connsiteX37" fmla="*/ 0 w 3457575"/>
                  <a:gd name="connsiteY37" fmla="*/ 1609725 h 3822033"/>
                  <a:gd name="connsiteX38" fmla="*/ 9525 w 3457575"/>
                  <a:gd name="connsiteY38" fmla="*/ 1428750 h 3822033"/>
                  <a:gd name="connsiteX39" fmla="*/ 28575 w 3457575"/>
                  <a:gd name="connsiteY39" fmla="*/ 1304925 h 3822033"/>
                  <a:gd name="connsiteX40" fmla="*/ 38100 w 3457575"/>
                  <a:gd name="connsiteY40" fmla="*/ 1247775 h 3822033"/>
                  <a:gd name="connsiteX41" fmla="*/ 76200 w 3457575"/>
                  <a:gd name="connsiteY41" fmla="*/ 1152525 h 3822033"/>
                  <a:gd name="connsiteX42" fmla="*/ 114300 w 3457575"/>
                  <a:gd name="connsiteY42" fmla="*/ 990600 h 3822033"/>
                  <a:gd name="connsiteX43" fmla="*/ 133350 w 3457575"/>
                  <a:gd name="connsiteY43" fmla="*/ 923925 h 3822033"/>
                  <a:gd name="connsiteX44" fmla="*/ 171450 w 3457575"/>
                  <a:gd name="connsiteY44" fmla="*/ 866775 h 3822033"/>
                  <a:gd name="connsiteX45" fmla="*/ 228600 w 3457575"/>
                  <a:gd name="connsiteY45" fmla="*/ 762000 h 3822033"/>
                  <a:gd name="connsiteX46" fmla="*/ 304800 w 3457575"/>
                  <a:gd name="connsiteY46" fmla="*/ 647700 h 3822033"/>
                  <a:gd name="connsiteX47" fmla="*/ 552450 w 3457575"/>
                  <a:gd name="connsiteY47" fmla="*/ 361950 h 3822033"/>
                  <a:gd name="connsiteX48" fmla="*/ 609600 w 3457575"/>
                  <a:gd name="connsiteY48" fmla="*/ 323850 h 3822033"/>
                  <a:gd name="connsiteX49" fmla="*/ 666750 w 3457575"/>
                  <a:gd name="connsiteY49" fmla="*/ 285750 h 3822033"/>
                  <a:gd name="connsiteX50" fmla="*/ 762000 w 3457575"/>
                  <a:gd name="connsiteY50" fmla="*/ 238125 h 3822033"/>
                  <a:gd name="connsiteX51" fmla="*/ 800100 w 3457575"/>
                  <a:gd name="connsiteY51" fmla="*/ 219075 h 3822033"/>
                  <a:gd name="connsiteX52" fmla="*/ 895350 w 3457575"/>
                  <a:gd name="connsiteY52" fmla="*/ 161925 h 3822033"/>
                  <a:gd name="connsiteX53" fmla="*/ 962025 w 3457575"/>
                  <a:gd name="connsiteY53" fmla="*/ 133350 h 3822033"/>
                  <a:gd name="connsiteX54" fmla="*/ 1123950 w 3457575"/>
                  <a:gd name="connsiteY54" fmla="*/ 76200 h 3822033"/>
                  <a:gd name="connsiteX55" fmla="*/ 1162050 w 3457575"/>
                  <a:gd name="connsiteY55" fmla="*/ 66675 h 3822033"/>
                  <a:gd name="connsiteX56" fmla="*/ 1438275 w 3457575"/>
                  <a:gd name="connsiteY56" fmla="*/ 0 h 3822033"/>
                  <a:gd name="connsiteX57" fmla="*/ 2038350 w 3457575"/>
                  <a:gd name="connsiteY57" fmla="*/ 9525 h 3822033"/>
                  <a:gd name="connsiteX58" fmla="*/ 2105025 w 3457575"/>
                  <a:gd name="connsiteY58" fmla="*/ 19050 h 3822033"/>
                  <a:gd name="connsiteX59" fmla="*/ 2162175 w 3457575"/>
                  <a:gd name="connsiteY59" fmla="*/ 47625 h 3822033"/>
                  <a:gd name="connsiteX60" fmla="*/ 2228850 w 3457575"/>
                  <a:gd name="connsiteY60" fmla="*/ 66675 h 3822033"/>
                  <a:gd name="connsiteX61" fmla="*/ 2343150 w 3457575"/>
                  <a:gd name="connsiteY61" fmla="*/ 133350 h 3822033"/>
                  <a:gd name="connsiteX62" fmla="*/ 2390775 w 3457575"/>
                  <a:gd name="connsiteY62" fmla="*/ 142875 h 3822033"/>
                  <a:gd name="connsiteX63" fmla="*/ 2457450 w 3457575"/>
                  <a:gd name="connsiteY63" fmla="*/ 171450 h 3822033"/>
                  <a:gd name="connsiteX64" fmla="*/ 2486025 w 3457575"/>
                  <a:gd name="connsiteY64" fmla="*/ 200025 h 3822033"/>
                  <a:gd name="connsiteX65" fmla="*/ 2571750 w 3457575"/>
                  <a:gd name="connsiteY65" fmla="*/ 228600 h 3822033"/>
                  <a:gd name="connsiteX66" fmla="*/ 2676525 w 3457575"/>
                  <a:gd name="connsiteY66" fmla="*/ 285750 h 3822033"/>
                  <a:gd name="connsiteX67" fmla="*/ 2705100 w 3457575"/>
                  <a:gd name="connsiteY67" fmla="*/ 304800 h 3822033"/>
                  <a:gd name="connsiteX68" fmla="*/ 2733675 w 3457575"/>
                  <a:gd name="connsiteY68" fmla="*/ 333375 h 3822033"/>
                  <a:gd name="connsiteX69" fmla="*/ 2771775 w 3457575"/>
                  <a:gd name="connsiteY69" fmla="*/ 361950 h 3822033"/>
                  <a:gd name="connsiteX70" fmla="*/ 2809875 w 3457575"/>
                  <a:gd name="connsiteY70" fmla="*/ 400050 h 3822033"/>
                  <a:gd name="connsiteX71" fmla="*/ 2867025 w 3457575"/>
                  <a:gd name="connsiteY71" fmla="*/ 438150 h 3822033"/>
                  <a:gd name="connsiteX72" fmla="*/ 2905125 w 3457575"/>
                  <a:gd name="connsiteY72" fmla="*/ 476250 h 3822033"/>
                  <a:gd name="connsiteX73" fmla="*/ 2971800 w 3457575"/>
                  <a:gd name="connsiteY73" fmla="*/ 523875 h 3822033"/>
                  <a:gd name="connsiteX74" fmla="*/ 2990850 w 3457575"/>
                  <a:gd name="connsiteY74" fmla="*/ 552450 h 3822033"/>
                  <a:gd name="connsiteX75" fmla="*/ 3028950 w 3457575"/>
                  <a:gd name="connsiteY75" fmla="*/ 590550 h 3822033"/>
                  <a:gd name="connsiteX76" fmla="*/ 3048000 w 3457575"/>
                  <a:gd name="connsiteY76" fmla="*/ 628650 h 3822033"/>
                  <a:gd name="connsiteX77" fmla="*/ 3086100 w 3457575"/>
                  <a:gd name="connsiteY77" fmla="*/ 666750 h 3822033"/>
                  <a:gd name="connsiteX78" fmla="*/ 3124200 w 3457575"/>
                  <a:gd name="connsiteY78" fmla="*/ 723900 h 3822033"/>
                  <a:gd name="connsiteX79" fmla="*/ 3219450 w 3457575"/>
                  <a:gd name="connsiteY79" fmla="*/ 838200 h 3822033"/>
                  <a:gd name="connsiteX80" fmla="*/ 3238500 w 3457575"/>
                  <a:gd name="connsiteY80" fmla="*/ 885825 h 3822033"/>
                  <a:gd name="connsiteX81" fmla="*/ 3276600 w 3457575"/>
                  <a:gd name="connsiteY81" fmla="*/ 942975 h 3822033"/>
                  <a:gd name="connsiteX82" fmla="*/ 3286125 w 3457575"/>
                  <a:gd name="connsiteY82" fmla="*/ 990600 h 3822033"/>
                  <a:gd name="connsiteX83" fmla="*/ 3324225 w 3457575"/>
                  <a:gd name="connsiteY83" fmla="*/ 1085850 h 3822033"/>
                  <a:gd name="connsiteX84" fmla="*/ 3362325 w 3457575"/>
                  <a:gd name="connsiteY84" fmla="*/ 1171575 h 3822033"/>
                  <a:gd name="connsiteX85" fmla="*/ 3390900 w 3457575"/>
                  <a:gd name="connsiteY85" fmla="*/ 1219200 h 3822033"/>
                  <a:gd name="connsiteX86" fmla="*/ 3419475 w 3457575"/>
                  <a:gd name="connsiteY86" fmla="*/ 1333500 h 3822033"/>
                  <a:gd name="connsiteX87" fmla="*/ 3429000 w 3457575"/>
                  <a:gd name="connsiteY87" fmla="*/ 1390650 h 3822033"/>
                  <a:gd name="connsiteX88" fmla="*/ 3457575 w 3457575"/>
                  <a:gd name="connsiteY88" fmla="*/ 1657350 h 3822033"/>
                  <a:gd name="connsiteX89" fmla="*/ 3381375 w 3457575"/>
                  <a:gd name="connsiteY89" fmla="*/ 2238375 h 3822033"/>
                  <a:gd name="connsiteX90" fmla="*/ 3343275 w 3457575"/>
                  <a:gd name="connsiteY90" fmla="*/ 2333625 h 3822033"/>
                  <a:gd name="connsiteX91" fmla="*/ 3276600 w 3457575"/>
                  <a:gd name="connsiteY91" fmla="*/ 2400300 h 3822033"/>
                  <a:gd name="connsiteX92" fmla="*/ 3190875 w 3457575"/>
                  <a:gd name="connsiteY92" fmla="*/ 2533650 h 3822033"/>
                  <a:gd name="connsiteX93" fmla="*/ 3105150 w 3457575"/>
                  <a:gd name="connsiteY93" fmla="*/ 2647950 h 3822033"/>
                  <a:gd name="connsiteX94" fmla="*/ 3019425 w 3457575"/>
                  <a:gd name="connsiteY94" fmla="*/ 2781300 h 3822033"/>
                  <a:gd name="connsiteX95" fmla="*/ 2981325 w 3457575"/>
                  <a:gd name="connsiteY95" fmla="*/ 2819400 h 3822033"/>
                  <a:gd name="connsiteX96" fmla="*/ 2943225 w 3457575"/>
                  <a:gd name="connsiteY96" fmla="*/ 2876550 h 3822033"/>
                  <a:gd name="connsiteX97" fmla="*/ 2857500 w 3457575"/>
                  <a:gd name="connsiteY97" fmla="*/ 2933700 h 3822033"/>
                  <a:gd name="connsiteX98" fmla="*/ 2809875 w 3457575"/>
                  <a:gd name="connsiteY98" fmla="*/ 2971800 h 3822033"/>
                  <a:gd name="connsiteX99" fmla="*/ 2705100 w 3457575"/>
                  <a:gd name="connsiteY99" fmla="*/ 3038475 h 3822033"/>
                  <a:gd name="connsiteX100" fmla="*/ 2609850 w 3457575"/>
                  <a:gd name="connsiteY100" fmla="*/ 3105150 h 3822033"/>
                  <a:gd name="connsiteX101" fmla="*/ 2562225 w 3457575"/>
                  <a:gd name="connsiteY101" fmla="*/ 3143250 h 3822033"/>
                  <a:gd name="connsiteX102" fmla="*/ 2495550 w 3457575"/>
                  <a:gd name="connsiteY102" fmla="*/ 3162300 h 3822033"/>
                  <a:gd name="connsiteX103" fmla="*/ 2362200 w 3457575"/>
                  <a:gd name="connsiteY103" fmla="*/ 3219450 h 3822033"/>
                  <a:gd name="connsiteX104" fmla="*/ 2257425 w 3457575"/>
                  <a:gd name="connsiteY104" fmla="*/ 3257550 h 3822033"/>
                  <a:gd name="connsiteX105" fmla="*/ 2181225 w 3457575"/>
                  <a:gd name="connsiteY105" fmla="*/ 3276600 h 3822033"/>
                  <a:gd name="connsiteX106" fmla="*/ 2057400 w 3457575"/>
                  <a:gd name="connsiteY106" fmla="*/ 3362325 h 3822033"/>
                  <a:gd name="connsiteX107" fmla="*/ 2009775 w 3457575"/>
                  <a:gd name="connsiteY107" fmla="*/ 3400425 h 3822033"/>
                  <a:gd name="connsiteX108" fmla="*/ 1962150 w 3457575"/>
                  <a:gd name="connsiteY108" fmla="*/ 3429000 h 3822033"/>
                  <a:gd name="connsiteX109" fmla="*/ 1905000 w 3457575"/>
                  <a:gd name="connsiteY109" fmla="*/ 3495675 h 3822033"/>
                  <a:gd name="connsiteX110" fmla="*/ 1819275 w 3457575"/>
                  <a:gd name="connsiteY110" fmla="*/ 3609975 h 3822033"/>
                  <a:gd name="connsiteX111" fmla="*/ 1800225 w 3457575"/>
                  <a:gd name="connsiteY111" fmla="*/ 3638550 h 3822033"/>
                  <a:gd name="connsiteX112" fmla="*/ 1790700 w 3457575"/>
                  <a:gd name="connsiteY112" fmla="*/ 3667125 h 3822033"/>
                  <a:gd name="connsiteX113" fmla="*/ 1771650 w 3457575"/>
                  <a:gd name="connsiteY113" fmla="*/ 3695700 h 3822033"/>
                  <a:gd name="connsiteX114" fmla="*/ 1752600 w 3457575"/>
                  <a:gd name="connsiteY114" fmla="*/ 3733800 h 3822033"/>
                  <a:gd name="connsiteX115" fmla="*/ 1714500 w 3457575"/>
                  <a:gd name="connsiteY115" fmla="*/ 3810000 h 3822033"/>
                  <a:gd name="connsiteX116" fmla="*/ 1704975 w 3457575"/>
                  <a:gd name="connsiteY11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333375 w 3457575"/>
                  <a:gd name="connsiteY22" fmla="*/ 2676525 h 3822033"/>
                  <a:gd name="connsiteX23" fmla="*/ 295275 w 3457575"/>
                  <a:gd name="connsiteY23" fmla="*/ 2581275 h 3822033"/>
                  <a:gd name="connsiteX24" fmla="*/ 257175 w 3457575"/>
                  <a:gd name="connsiteY24" fmla="*/ 2495550 h 3822033"/>
                  <a:gd name="connsiteX25" fmla="*/ 228600 w 3457575"/>
                  <a:gd name="connsiteY25" fmla="*/ 2457450 h 3822033"/>
                  <a:gd name="connsiteX26" fmla="*/ 200025 w 3457575"/>
                  <a:gd name="connsiteY26" fmla="*/ 2371725 h 3822033"/>
                  <a:gd name="connsiteX27" fmla="*/ 180975 w 3457575"/>
                  <a:gd name="connsiteY27" fmla="*/ 2343150 h 3822033"/>
                  <a:gd name="connsiteX28" fmla="*/ 152400 w 3457575"/>
                  <a:gd name="connsiteY28" fmla="*/ 2219325 h 3822033"/>
                  <a:gd name="connsiteX29" fmla="*/ 142875 w 3457575"/>
                  <a:gd name="connsiteY29" fmla="*/ 2190750 h 3822033"/>
                  <a:gd name="connsiteX30" fmla="*/ 123825 w 3457575"/>
                  <a:gd name="connsiteY30" fmla="*/ 2143125 h 3822033"/>
                  <a:gd name="connsiteX31" fmla="*/ 95250 w 3457575"/>
                  <a:gd name="connsiteY31" fmla="*/ 2028825 h 3822033"/>
                  <a:gd name="connsiteX32" fmla="*/ 85725 w 3457575"/>
                  <a:gd name="connsiteY32" fmla="*/ 1990725 h 3822033"/>
                  <a:gd name="connsiteX33" fmla="*/ 57150 w 3457575"/>
                  <a:gd name="connsiteY33" fmla="*/ 1933575 h 3822033"/>
                  <a:gd name="connsiteX34" fmla="*/ 28575 w 3457575"/>
                  <a:gd name="connsiteY34" fmla="*/ 1819275 h 3822033"/>
                  <a:gd name="connsiteX35" fmla="*/ 9525 w 3457575"/>
                  <a:gd name="connsiteY35" fmla="*/ 1657350 h 3822033"/>
                  <a:gd name="connsiteX36" fmla="*/ 0 w 3457575"/>
                  <a:gd name="connsiteY36" fmla="*/ 1609725 h 3822033"/>
                  <a:gd name="connsiteX37" fmla="*/ 9525 w 3457575"/>
                  <a:gd name="connsiteY37" fmla="*/ 1428750 h 3822033"/>
                  <a:gd name="connsiteX38" fmla="*/ 28575 w 3457575"/>
                  <a:gd name="connsiteY38" fmla="*/ 1304925 h 3822033"/>
                  <a:gd name="connsiteX39" fmla="*/ 38100 w 3457575"/>
                  <a:gd name="connsiteY39" fmla="*/ 1247775 h 3822033"/>
                  <a:gd name="connsiteX40" fmla="*/ 76200 w 3457575"/>
                  <a:gd name="connsiteY40" fmla="*/ 1152525 h 3822033"/>
                  <a:gd name="connsiteX41" fmla="*/ 114300 w 3457575"/>
                  <a:gd name="connsiteY41" fmla="*/ 990600 h 3822033"/>
                  <a:gd name="connsiteX42" fmla="*/ 133350 w 3457575"/>
                  <a:gd name="connsiteY42" fmla="*/ 923925 h 3822033"/>
                  <a:gd name="connsiteX43" fmla="*/ 171450 w 3457575"/>
                  <a:gd name="connsiteY43" fmla="*/ 866775 h 3822033"/>
                  <a:gd name="connsiteX44" fmla="*/ 228600 w 3457575"/>
                  <a:gd name="connsiteY44" fmla="*/ 762000 h 3822033"/>
                  <a:gd name="connsiteX45" fmla="*/ 304800 w 3457575"/>
                  <a:gd name="connsiteY45" fmla="*/ 647700 h 3822033"/>
                  <a:gd name="connsiteX46" fmla="*/ 552450 w 3457575"/>
                  <a:gd name="connsiteY46" fmla="*/ 361950 h 3822033"/>
                  <a:gd name="connsiteX47" fmla="*/ 609600 w 3457575"/>
                  <a:gd name="connsiteY47" fmla="*/ 323850 h 3822033"/>
                  <a:gd name="connsiteX48" fmla="*/ 666750 w 3457575"/>
                  <a:gd name="connsiteY48" fmla="*/ 285750 h 3822033"/>
                  <a:gd name="connsiteX49" fmla="*/ 762000 w 3457575"/>
                  <a:gd name="connsiteY49" fmla="*/ 238125 h 3822033"/>
                  <a:gd name="connsiteX50" fmla="*/ 800100 w 3457575"/>
                  <a:gd name="connsiteY50" fmla="*/ 219075 h 3822033"/>
                  <a:gd name="connsiteX51" fmla="*/ 895350 w 3457575"/>
                  <a:gd name="connsiteY51" fmla="*/ 161925 h 3822033"/>
                  <a:gd name="connsiteX52" fmla="*/ 962025 w 3457575"/>
                  <a:gd name="connsiteY52" fmla="*/ 133350 h 3822033"/>
                  <a:gd name="connsiteX53" fmla="*/ 1123950 w 3457575"/>
                  <a:gd name="connsiteY53" fmla="*/ 76200 h 3822033"/>
                  <a:gd name="connsiteX54" fmla="*/ 1162050 w 3457575"/>
                  <a:gd name="connsiteY54" fmla="*/ 66675 h 3822033"/>
                  <a:gd name="connsiteX55" fmla="*/ 1438275 w 3457575"/>
                  <a:gd name="connsiteY55" fmla="*/ 0 h 3822033"/>
                  <a:gd name="connsiteX56" fmla="*/ 2038350 w 3457575"/>
                  <a:gd name="connsiteY56" fmla="*/ 9525 h 3822033"/>
                  <a:gd name="connsiteX57" fmla="*/ 2105025 w 3457575"/>
                  <a:gd name="connsiteY57" fmla="*/ 19050 h 3822033"/>
                  <a:gd name="connsiteX58" fmla="*/ 2162175 w 3457575"/>
                  <a:gd name="connsiteY58" fmla="*/ 47625 h 3822033"/>
                  <a:gd name="connsiteX59" fmla="*/ 2228850 w 3457575"/>
                  <a:gd name="connsiteY59" fmla="*/ 66675 h 3822033"/>
                  <a:gd name="connsiteX60" fmla="*/ 2343150 w 3457575"/>
                  <a:gd name="connsiteY60" fmla="*/ 133350 h 3822033"/>
                  <a:gd name="connsiteX61" fmla="*/ 2390775 w 3457575"/>
                  <a:gd name="connsiteY61" fmla="*/ 142875 h 3822033"/>
                  <a:gd name="connsiteX62" fmla="*/ 2457450 w 3457575"/>
                  <a:gd name="connsiteY62" fmla="*/ 171450 h 3822033"/>
                  <a:gd name="connsiteX63" fmla="*/ 2486025 w 3457575"/>
                  <a:gd name="connsiteY63" fmla="*/ 200025 h 3822033"/>
                  <a:gd name="connsiteX64" fmla="*/ 2571750 w 3457575"/>
                  <a:gd name="connsiteY64" fmla="*/ 228600 h 3822033"/>
                  <a:gd name="connsiteX65" fmla="*/ 2676525 w 3457575"/>
                  <a:gd name="connsiteY65" fmla="*/ 285750 h 3822033"/>
                  <a:gd name="connsiteX66" fmla="*/ 2705100 w 3457575"/>
                  <a:gd name="connsiteY66" fmla="*/ 304800 h 3822033"/>
                  <a:gd name="connsiteX67" fmla="*/ 2733675 w 3457575"/>
                  <a:gd name="connsiteY67" fmla="*/ 333375 h 3822033"/>
                  <a:gd name="connsiteX68" fmla="*/ 2771775 w 3457575"/>
                  <a:gd name="connsiteY68" fmla="*/ 361950 h 3822033"/>
                  <a:gd name="connsiteX69" fmla="*/ 2809875 w 3457575"/>
                  <a:gd name="connsiteY69" fmla="*/ 400050 h 3822033"/>
                  <a:gd name="connsiteX70" fmla="*/ 2867025 w 3457575"/>
                  <a:gd name="connsiteY70" fmla="*/ 438150 h 3822033"/>
                  <a:gd name="connsiteX71" fmla="*/ 2905125 w 3457575"/>
                  <a:gd name="connsiteY71" fmla="*/ 476250 h 3822033"/>
                  <a:gd name="connsiteX72" fmla="*/ 2971800 w 3457575"/>
                  <a:gd name="connsiteY72" fmla="*/ 523875 h 3822033"/>
                  <a:gd name="connsiteX73" fmla="*/ 2990850 w 3457575"/>
                  <a:gd name="connsiteY73" fmla="*/ 552450 h 3822033"/>
                  <a:gd name="connsiteX74" fmla="*/ 3028950 w 3457575"/>
                  <a:gd name="connsiteY74" fmla="*/ 590550 h 3822033"/>
                  <a:gd name="connsiteX75" fmla="*/ 3048000 w 3457575"/>
                  <a:gd name="connsiteY75" fmla="*/ 628650 h 3822033"/>
                  <a:gd name="connsiteX76" fmla="*/ 3086100 w 3457575"/>
                  <a:gd name="connsiteY76" fmla="*/ 666750 h 3822033"/>
                  <a:gd name="connsiteX77" fmla="*/ 3124200 w 3457575"/>
                  <a:gd name="connsiteY77" fmla="*/ 723900 h 3822033"/>
                  <a:gd name="connsiteX78" fmla="*/ 3219450 w 3457575"/>
                  <a:gd name="connsiteY78" fmla="*/ 838200 h 3822033"/>
                  <a:gd name="connsiteX79" fmla="*/ 3238500 w 3457575"/>
                  <a:gd name="connsiteY79" fmla="*/ 885825 h 3822033"/>
                  <a:gd name="connsiteX80" fmla="*/ 3276600 w 3457575"/>
                  <a:gd name="connsiteY80" fmla="*/ 942975 h 3822033"/>
                  <a:gd name="connsiteX81" fmla="*/ 3286125 w 3457575"/>
                  <a:gd name="connsiteY81" fmla="*/ 990600 h 3822033"/>
                  <a:gd name="connsiteX82" fmla="*/ 3324225 w 3457575"/>
                  <a:gd name="connsiteY82" fmla="*/ 1085850 h 3822033"/>
                  <a:gd name="connsiteX83" fmla="*/ 3362325 w 3457575"/>
                  <a:gd name="connsiteY83" fmla="*/ 1171575 h 3822033"/>
                  <a:gd name="connsiteX84" fmla="*/ 3390900 w 3457575"/>
                  <a:gd name="connsiteY84" fmla="*/ 1219200 h 3822033"/>
                  <a:gd name="connsiteX85" fmla="*/ 3419475 w 3457575"/>
                  <a:gd name="connsiteY85" fmla="*/ 1333500 h 3822033"/>
                  <a:gd name="connsiteX86" fmla="*/ 3429000 w 3457575"/>
                  <a:gd name="connsiteY86" fmla="*/ 1390650 h 3822033"/>
                  <a:gd name="connsiteX87" fmla="*/ 3457575 w 3457575"/>
                  <a:gd name="connsiteY87" fmla="*/ 1657350 h 3822033"/>
                  <a:gd name="connsiteX88" fmla="*/ 3381375 w 3457575"/>
                  <a:gd name="connsiteY88" fmla="*/ 2238375 h 3822033"/>
                  <a:gd name="connsiteX89" fmla="*/ 3343275 w 3457575"/>
                  <a:gd name="connsiteY89" fmla="*/ 2333625 h 3822033"/>
                  <a:gd name="connsiteX90" fmla="*/ 3276600 w 3457575"/>
                  <a:gd name="connsiteY90" fmla="*/ 2400300 h 3822033"/>
                  <a:gd name="connsiteX91" fmla="*/ 3190875 w 3457575"/>
                  <a:gd name="connsiteY91" fmla="*/ 2533650 h 3822033"/>
                  <a:gd name="connsiteX92" fmla="*/ 3105150 w 3457575"/>
                  <a:gd name="connsiteY92" fmla="*/ 2647950 h 3822033"/>
                  <a:gd name="connsiteX93" fmla="*/ 3019425 w 3457575"/>
                  <a:gd name="connsiteY93" fmla="*/ 2781300 h 3822033"/>
                  <a:gd name="connsiteX94" fmla="*/ 2981325 w 3457575"/>
                  <a:gd name="connsiteY94" fmla="*/ 2819400 h 3822033"/>
                  <a:gd name="connsiteX95" fmla="*/ 2943225 w 3457575"/>
                  <a:gd name="connsiteY95" fmla="*/ 2876550 h 3822033"/>
                  <a:gd name="connsiteX96" fmla="*/ 2857500 w 3457575"/>
                  <a:gd name="connsiteY96" fmla="*/ 2933700 h 3822033"/>
                  <a:gd name="connsiteX97" fmla="*/ 2809875 w 3457575"/>
                  <a:gd name="connsiteY97" fmla="*/ 2971800 h 3822033"/>
                  <a:gd name="connsiteX98" fmla="*/ 2705100 w 3457575"/>
                  <a:gd name="connsiteY98" fmla="*/ 3038475 h 3822033"/>
                  <a:gd name="connsiteX99" fmla="*/ 2609850 w 3457575"/>
                  <a:gd name="connsiteY99" fmla="*/ 3105150 h 3822033"/>
                  <a:gd name="connsiteX100" fmla="*/ 2562225 w 3457575"/>
                  <a:gd name="connsiteY100" fmla="*/ 3143250 h 3822033"/>
                  <a:gd name="connsiteX101" fmla="*/ 2495550 w 3457575"/>
                  <a:gd name="connsiteY101" fmla="*/ 3162300 h 3822033"/>
                  <a:gd name="connsiteX102" fmla="*/ 2362200 w 3457575"/>
                  <a:gd name="connsiteY102" fmla="*/ 3219450 h 3822033"/>
                  <a:gd name="connsiteX103" fmla="*/ 2257425 w 3457575"/>
                  <a:gd name="connsiteY103" fmla="*/ 3257550 h 3822033"/>
                  <a:gd name="connsiteX104" fmla="*/ 2181225 w 3457575"/>
                  <a:gd name="connsiteY104" fmla="*/ 3276600 h 3822033"/>
                  <a:gd name="connsiteX105" fmla="*/ 2057400 w 3457575"/>
                  <a:gd name="connsiteY105" fmla="*/ 3362325 h 3822033"/>
                  <a:gd name="connsiteX106" fmla="*/ 2009775 w 3457575"/>
                  <a:gd name="connsiteY106" fmla="*/ 3400425 h 3822033"/>
                  <a:gd name="connsiteX107" fmla="*/ 1962150 w 3457575"/>
                  <a:gd name="connsiteY107" fmla="*/ 3429000 h 3822033"/>
                  <a:gd name="connsiteX108" fmla="*/ 1905000 w 3457575"/>
                  <a:gd name="connsiteY108" fmla="*/ 3495675 h 3822033"/>
                  <a:gd name="connsiteX109" fmla="*/ 1819275 w 3457575"/>
                  <a:gd name="connsiteY109" fmla="*/ 3609975 h 3822033"/>
                  <a:gd name="connsiteX110" fmla="*/ 1800225 w 3457575"/>
                  <a:gd name="connsiteY110" fmla="*/ 3638550 h 3822033"/>
                  <a:gd name="connsiteX111" fmla="*/ 1790700 w 3457575"/>
                  <a:gd name="connsiteY111" fmla="*/ 3667125 h 3822033"/>
                  <a:gd name="connsiteX112" fmla="*/ 1771650 w 3457575"/>
                  <a:gd name="connsiteY112" fmla="*/ 3695700 h 3822033"/>
                  <a:gd name="connsiteX113" fmla="*/ 1752600 w 3457575"/>
                  <a:gd name="connsiteY113" fmla="*/ 3733800 h 3822033"/>
                  <a:gd name="connsiteX114" fmla="*/ 1714500 w 3457575"/>
                  <a:gd name="connsiteY114" fmla="*/ 3810000 h 3822033"/>
                  <a:gd name="connsiteX115" fmla="*/ 1704975 w 3457575"/>
                  <a:gd name="connsiteY11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333375 w 3457575"/>
                  <a:gd name="connsiteY21" fmla="*/ 2676525 h 3822033"/>
                  <a:gd name="connsiteX22" fmla="*/ 295275 w 3457575"/>
                  <a:gd name="connsiteY22" fmla="*/ 2581275 h 3822033"/>
                  <a:gd name="connsiteX23" fmla="*/ 257175 w 3457575"/>
                  <a:gd name="connsiteY23" fmla="*/ 2495550 h 3822033"/>
                  <a:gd name="connsiteX24" fmla="*/ 228600 w 3457575"/>
                  <a:gd name="connsiteY24" fmla="*/ 2457450 h 3822033"/>
                  <a:gd name="connsiteX25" fmla="*/ 200025 w 3457575"/>
                  <a:gd name="connsiteY25" fmla="*/ 2371725 h 3822033"/>
                  <a:gd name="connsiteX26" fmla="*/ 180975 w 3457575"/>
                  <a:gd name="connsiteY26" fmla="*/ 2343150 h 3822033"/>
                  <a:gd name="connsiteX27" fmla="*/ 152400 w 3457575"/>
                  <a:gd name="connsiteY27" fmla="*/ 2219325 h 3822033"/>
                  <a:gd name="connsiteX28" fmla="*/ 142875 w 3457575"/>
                  <a:gd name="connsiteY28" fmla="*/ 2190750 h 3822033"/>
                  <a:gd name="connsiteX29" fmla="*/ 123825 w 3457575"/>
                  <a:gd name="connsiteY29" fmla="*/ 2143125 h 3822033"/>
                  <a:gd name="connsiteX30" fmla="*/ 95250 w 3457575"/>
                  <a:gd name="connsiteY30" fmla="*/ 2028825 h 3822033"/>
                  <a:gd name="connsiteX31" fmla="*/ 85725 w 3457575"/>
                  <a:gd name="connsiteY31" fmla="*/ 1990725 h 3822033"/>
                  <a:gd name="connsiteX32" fmla="*/ 57150 w 3457575"/>
                  <a:gd name="connsiteY32" fmla="*/ 1933575 h 3822033"/>
                  <a:gd name="connsiteX33" fmla="*/ 28575 w 3457575"/>
                  <a:gd name="connsiteY33" fmla="*/ 1819275 h 3822033"/>
                  <a:gd name="connsiteX34" fmla="*/ 9525 w 3457575"/>
                  <a:gd name="connsiteY34" fmla="*/ 1657350 h 3822033"/>
                  <a:gd name="connsiteX35" fmla="*/ 0 w 3457575"/>
                  <a:gd name="connsiteY35" fmla="*/ 1609725 h 3822033"/>
                  <a:gd name="connsiteX36" fmla="*/ 9525 w 3457575"/>
                  <a:gd name="connsiteY36" fmla="*/ 1428750 h 3822033"/>
                  <a:gd name="connsiteX37" fmla="*/ 28575 w 3457575"/>
                  <a:gd name="connsiteY37" fmla="*/ 1304925 h 3822033"/>
                  <a:gd name="connsiteX38" fmla="*/ 38100 w 3457575"/>
                  <a:gd name="connsiteY38" fmla="*/ 1247775 h 3822033"/>
                  <a:gd name="connsiteX39" fmla="*/ 76200 w 3457575"/>
                  <a:gd name="connsiteY39" fmla="*/ 1152525 h 3822033"/>
                  <a:gd name="connsiteX40" fmla="*/ 114300 w 3457575"/>
                  <a:gd name="connsiteY40" fmla="*/ 990600 h 3822033"/>
                  <a:gd name="connsiteX41" fmla="*/ 133350 w 3457575"/>
                  <a:gd name="connsiteY41" fmla="*/ 923925 h 3822033"/>
                  <a:gd name="connsiteX42" fmla="*/ 171450 w 3457575"/>
                  <a:gd name="connsiteY42" fmla="*/ 866775 h 3822033"/>
                  <a:gd name="connsiteX43" fmla="*/ 228600 w 3457575"/>
                  <a:gd name="connsiteY43" fmla="*/ 762000 h 3822033"/>
                  <a:gd name="connsiteX44" fmla="*/ 304800 w 3457575"/>
                  <a:gd name="connsiteY44" fmla="*/ 647700 h 3822033"/>
                  <a:gd name="connsiteX45" fmla="*/ 552450 w 3457575"/>
                  <a:gd name="connsiteY45" fmla="*/ 361950 h 3822033"/>
                  <a:gd name="connsiteX46" fmla="*/ 609600 w 3457575"/>
                  <a:gd name="connsiteY46" fmla="*/ 323850 h 3822033"/>
                  <a:gd name="connsiteX47" fmla="*/ 666750 w 3457575"/>
                  <a:gd name="connsiteY47" fmla="*/ 285750 h 3822033"/>
                  <a:gd name="connsiteX48" fmla="*/ 762000 w 3457575"/>
                  <a:gd name="connsiteY48" fmla="*/ 238125 h 3822033"/>
                  <a:gd name="connsiteX49" fmla="*/ 800100 w 3457575"/>
                  <a:gd name="connsiteY49" fmla="*/ 219075 h 3822033"/>
                  <a:gd name="connsiteX50" fmla="*/ 895350 w 3457575"/>
                  <a:gd name="connsiteY50" fmla="*/ 161925 h 3822033"/>
                  <a:gd name="connsiteX51" fmla="*/ 962025 w 3457575"/>
                  <a:gd name="connsiteY51" fmla="*/ 133350 h 3822033"/>
                  <a:gd name="connsiteX52" fmla="*/ 1123950 w 3457575"/>
                  <a:gd name="connsiteY52" fmla="*/ 76200 h 3822033"/>
                  <a:gd name="connsiteX53" fmla="*/ 1162050 w 3457575"/>
                  <a:gd name="connsiteY53" fmla="*/ 66675 h 3822033"/>
                  <a:gd name="connsiteX54" fmla="*/ 1438275 w 3457575"/>
                  <a:gd name="connsiteY54" fmla="*/ 0 h 3822033"/>
                  <a:gd name="connsiteX55" fmla="*/ 2038350 w 3457575"/>
                  <a:gd name="connsiteY55" fmla="*/ 9525 h 3822033"/>
                  <a:gd name="connsiteX56" fmla="*/ 2105025 w 3457575"/>
                  <a:gd name="connsiteY56" fmla="*/ 19050 h 3822033"/>
                  <a:gd name="connsiteX57" fmla="*/ 2162175 w 3457575"/>
                  <a:gd name="connsiteY57" fmla="*/ 47625 h 3822033"/>
                  <a:gd name="connsiteX58" fmla="*/ 2228850 w 3457575"/>
                  <a:gd name="connsiteY58" fmla="*/ 66675 h 3822033"/>
                  <a:gd name="connsiteX59" fmla="*/ 2343150 w 3457575"/>
                  <a:gd name="connsiteY59" fmla="*/ 133350 h 3822033"/>
                  <a:gd name="connsiteX60" fmla="*/ 2390775 w 3457575"/>
                  <a:gd name="connsiteY60" fmla="*/ 142875 h 3822033"/>
                  <a:gd name="connsiteX61" fmla="*/ 2457450 w 3457575"/>
                  <a:gd name="connsiteY61" fmla="*/ 171450 h 3822033"/>
                  <a:gd name="connsiteX62" fmla="*/ 2486025 w 3457575"/>
                  <a:gd name="connsiteY62" fmla="*/ 200025 h 3822033"/>
                  <a:gd name="connsiteX63" fmla="*/ 2571750 w 3457575"/>
                  <a:gd name="connsiteY63" fmla="*/ 228600 h 3822033"/>
                  <a:gd name="connsiteX64" fmla="*/ 2676525 w 3457575"/>
                  <a:gd name="connsiteY64" fmla="*/ 285750 h 3822033"/>
                  <a:gd name="connsiteX65" fmla="*/ 2705100 w 3457575"/>
                  <a:gd name="connsiteY65" fmla="*/ 304800 h 3822033"/>
                  <a:gd name="connsiteX66" fmla="*/ 2733675 w 3457575"/>
                  <a:gd name="connsiteY66" fmla="*/ 333375 h 3822033"/>
                  <a:gd name="connsiteX67" fmla="*/ 2771775 w 3457575"/>
                  <a:gd name="connsiteY67" fmla="*/ 361950 h 3822033"/>
                  <a:gd name="connsiteX68" fmla="*/ 2809875 w 3457575"/>
                  <a:gd name="connsiteY68" fmla="*/ 400050 h 3822033"/>
                  <a:gd name="connsiteX69" fmla="*/ 2867025 w 3457575"/>
                  <a:gd name="connsiteY69" fmla="*/ 438150 h 3822033"/>
                  <a:gd name="connsiteX70" fmla="*/ 2905125 w 3457575"/>
                  <a:gd name="connsiteY70" fmla="*/ 476250 h 3822033"/>
                  <a:gd name="connsiteX71" fmla="*/ 2971800 w 3457575"/>
                  <a:gd name="connsiteY71" fmla="*/ 523875 h 3822033"/>
                  <a:gd name="connsiteX72" fmla="*/ 2990850 w 3457575"/>
                  <a:gd name="connsiteY72" fmla="*/ 552450 h 3822033"/>
                  <a:gd name="connsiteX73" fmla="*/ 3028950 w 3457575"/>
                  <a:gd name="connsiteY73" fmla="*/ 590550 h 3822033"/>
                  <a:gd name="connsiteX74" fmla="*/ 3048000 w 3457575"/>
                  <a:gd name="connsiteY74" fmla="*/ 628650 h 3822033"/>
                  <a:gd name="connsiteX75" fmla="*/ 3086100 w 3457575"/>
                  <a:gd name="connsiteY75" fmla="*/ 666750 h 3822033"/>
                  <a:gd name="connsiteX76" fmla="*/ 3124200 w 3457575"/>
                  <a:gd name="connsiteY76" fmla="*/ 723900 h 3822033"/>
                  <a:gd name="connsiteX77" fmla="*/ 3219450 w 3457575"/>
                  <a:gd name="connsiteY77" fmla="*/ 838200 h 3822033"/>
                  <a:gd name="connsiteX78" fmla="*/ 3238500 w 3457575"/>
                  <a:gd name="connsiteY78" fmla="*/ 885825 h 3822033"/>
                  <a:gd name="connsiteX79" fmla="*/ 3276600 w 3457575"/>
                  <a:gd name="connsiteY79" fmla="*/ 942975 h 3822033"/>
                  <a:gd name="connsiteX80" fmla="*/ 3286125 w 3457575"/>
                  <a:gd name="connsiteY80" fmla="*/ 990600 h 3822033"/>
                  <a:gd name="connsiteX81" fmla="*/ 3324225 w 3457575"/>
                  <a:gd name="connsiteY81" fmla="*/ 1085850 h 3822033"/>
                  <a:gd name="connsiteX82" fmla="*/ 3362325 w 3457575"/>
                  <a:gd name="connsiteY82" fmla="*/ 1171575 h 3822033"/>
                  <a:gd name="connsiteX83" fmla="*/ 3390900 w 3457575"/>
                  <a:gd name="connsiteY83" fmla="*/ 1219200 h 3822033"/>
                  <a:gd name="connsiteX84" fmla="*/ 3419475 w 3457575"/>
                  <a:gd name="connsiteY84" fmla="*/ 1333500 h 3822033"/>
                  <a:gd name="connsiteX85" fmla="*/ 3429000 w 3457575"/>
                  <a:gd name="connsiteY85" fmla="*/ 1390650 h 3822033"/>
                  <a:gd name="connsiteX86" fmla="*/ 3457575 w 3457575"/>
                  <a:gd name="connsiteY86" fmla="*/ 1657350 h 3822033"/>
                  <a:gd name="connsiteX87" fmla="*/ 3381375 w 3457575"/>
                  <a:gd name="connsiteY87" fmla="*/ 2238375 h 3822033"/>
                  <a:gd name="connsiteX88" fmla="*/ 3343275 w 3457575"/>
                  <a:gd name="connsiteY88" fmla="*/ 2333625 h 3822033"/>
                  <a:gd name="connsiteX89" fmla="*/ 3276600 w 3457575"/>
                  <a:gd name="connsiteY89" fmla="*/ 2400300 h 3822033"/>
                  <a:gd name="connsiteX90" fmla="*/ 3190875 w 3457575"/>
                  <a:gd name="connsiteY90" fmla="*/ 2533650 h 3822033"/>
                  <a:gd name="connsiteX91" fmla="*/ 3105150 w 3457575"/>
                  <a:gd name="connsiteY91" fmla="*/ 2647950 h 3822033"/>
                  <a:gd name="connsiteX92" fmla="*/ 3019425 w 3457575"/>
                  <a:gd name="connsiteY92" fmla="*/ 2781300 h 3822033"/>
                  <a:gd name="connsiteX93" fmla="*/ 2981325 w 3457575"/>
                  <a:gd name="connsiteY93" fmla="*/ 2819400 h 3822033"/>
                  <a:gd name="connsiteX94" fmla="*/ 2943225 w 3457575"/>
                  <a:gd name="connsiteY94" fmla="*/ 2876550 h 3822033"/>
                  <a:gd name="connsiteX95" fmla="*/ 2857500 w 3457575"/>
                  <a:gd name="connsiteY95" fmla="*/ 2933700 h 3822033"/>
                  <a:gd name="connsiteX96" fmla="*/ 2809875 w 3457575"/>
                  <a:gd name="connsiteY96" fmla="*/ 2971800 h 3822033"/>
                  <a:gd name="connsiteX97" fmla="*/ 2705100 w 3457575"/>
                  <a:gd name="connsiteY97" fmla="*/ 3038475 h 3822033"/>
                  <a:gd name="connsiteX98" fmla="*/ 2609850 w 3457575"/>
                  <a:gd name="connsiteY98" fmla="*/ 3105150 h 3822033"/>
                  <a:gd name="connsiteX99" fmla="*/ 2562225 w 3457575"/>
                  <a:gd name="connsiteY99" fmla="*/ 3143250 h 3822033"/>
                  <a:gd name="connsiteX100" fmla="*/ 2495550 w 3457575"/>
                  <a:gd name="connsiteY100" fmla="*/ 3162300 h 3822033"/>
                  <a:gd name="connsiteX101" fmla="*/ 2362200 w 3457575"/>
                  <a:gd name="connsiteY101" fmla="*/ 3219450 h 3822033"/>
                  <a:gd name="connsiteX102" fmla="*/ 2257425 w 3457575"/>
                  <a:gd name="connsiteY102" fmla="*/ 3257550 h 3822033"/>
                  <a:gd name="connsiteX103" fmla="*/ 2181225 w 3457575"/>
                  <a:gd name="connsiteY103" fmla="*/ 3276600 h 3822033"/>
                  <a:gd name="connsiteX104" fmla="*/ 2057400 w 3457575"/>
                  <a:gd name="connsiteY104" fmla="*/ 3362325 h 3822033"/>
                  <a:gd name="connsiteX105" fmla="*/ 2009775 w 3457575"/>
                  <a:gd name="connsiteY105" fmla="*/ 3400425 h 3822033"/>
                  <a:gd name="connsiteX106" fmla="*/ 1962150 w 3457575"/>
                  <a:gd name="connsiteY106" fmla="*/ 3429000 h 3822033"/>
                  <a:gd name="connsiteX107" fmla="*/ 1905000 w 3457575"/>
                  <a:gd name="connsiteY107" fmla="*/ 3495675 h 3822033"/>
                  <a:gd name="connsiteX108" fmla="*/ 1819275 w 3457575"/>
                  <a:gd name="connsiteY108" fmla="*/ 3609975 h 3822033"/>
                  <a:gd name="connsiteX109" fmla="*/ 1800225 w 3457575"/>
                  <a:gd name="connsiteY109" fmla="*/ 3638550 h 3822033"/>
                  <a:gd name="connsiteX110" fmla="*/ 1790700 w 3457575"/>
                  <a:gd name="connsiteY110" fmla="*/ 3667125 h 3822033"/>
                  <a:gd name="connsiteX111" fmla="*/ 1771650 w 3457575"/>
                  <a:gd name="connsiteY111" fmla="*/ 3695700 h 3822033"/>
                  <a:gd name="connsiteX112" fmla="*/ 1752600 w 3457575"/>
                  <a:gd name="connsiteY112" fmla="*/ 3733800 h 3822033"/>
                  <a:gd name="connsiteX113" fmla="*/ 1714500 w 3457575"/>
                  <a:gd name="connsiteY113" fmla="*/ 3810000 h 3822033"/>
                  <a:gd name="connsiteX114" fmla="*/ 1704975 w 3457575"/>
                  <a:gd name="connsiteY11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704850 w 3457575"/>
                  <a:gd name="connsiteY16" fmla="*/ 3105150 h 3822033"/>
                  <a:gd name="connsiteX17" fmla="*/ 638175 w 3457575"/>
                  <a:gd name="connsiteY17" fmla="*/ 3048000 h 3822033"/>
                  <a:gd name="connsiteX18" fmla="*/ 619125 w 3457575"/>
                  <a:gd name="connsiteY18" fmla="*/ 3009900 h 3822033"/>
                  <a:gd name="connsiteX19" fmla="*/ 571500 w 3457575"/>
                  <a:gd name="connsiteY19" fmla="*/ 2943225 h 3822033"/>
                  <a:gd name="connsiteX20" fmla="*/ 333375 w 3457575"/>
                  <a:gd name="connsiteY20" fmla="*/ 2676525 h 3822033"/>
                  <a:gd name="connsiteX21" fmla="*/ 295275 w 3457575"/>
                  <a:gd name="connsiteY21" fmla="*/ 2581275 h 3822033"/>
                  <a:gd name="connsiteX22" fmla="*/ 257175 w 3457575"/>
                  <a:gd name="connsiteY22" fmla="*/ 2495550 h 3822033"/>
                  <a:gd name="connsiteX23" fmla="*/ 228600 w 3457575"/>
                  <a:gd name="connsiteY23" fmla="*/ 2457450 h 3822033"/>
                  <a:gd name="connsiteX24" fmla="*/ 200025 w 3457575"/>
                  <a:gd name="connsiteY24" fmla="*/ 2371725 h 3822033"/>
                  <a:gd name="connsiteX25" fmla="*/ 180975 w 3457575"/>
                  <a:gd name="connsiteY25" fmla="*/ 2343150 h 3822033"/>
                  <a:gd name="connsiteX26" fmla="*/ 152400 w 3457575"/>
                  <a:gd name="connsiteY26" fmla="*/ 2219325 h 3822033"/>
                  <a:gd name="connsiteX27" fmla="*/ 142875 w 3457575"/>
                  <a:gd name="connsiteY27" fmla="*/ 2190750 h 3822033"/>
                  <a:gd name="connsiteX28" fmla="*/ 123825 w 3457575"/>
                  <a:gd name="connsiteY28" fmla="*/ 2143125 h 3822033"/>
                  <a:gd name="connsiteX29" fmla="*/ 95250 w 3457575"/>
                  <a:gd name="connsiteY29" fmla="*/ 2028825 h 3822033"/>
                  <a:gd name="connsiteX30" fmla="*/ 85725 w 3457575"/>
                  <a:gd name="connsiteY30" fmla="*/ 1990725 h 3822033"/>
                  <a:gd name="connsiteX31" fmla="*/ 57150 w 3457575"/>
                  <a:gd name="connsiteY31" fmla="*/ 1933575 h 3822033"/>
                  <a:gd name="connsiteX32" fmla="*/ 28575 w 3457575"/>
                  <a:gd name="connsiteY32" fmla="*/ 1819275 h 3822033"/>
                  <a:gd name="connsiteX33" fmla="*/ 9525 w 3457575"/>
                  <a:gd name="connsiteY33" fmla="*/ 1657350 h 3822033"/>
                  <a:gd name="connsiteX34" fmla="*/ 0 w 3457575"/>
                  <a:gd name="connsiteY34" fmla="*/ 1609725 h 3822033"/>
                  <a:gd name="connsiteX35" fmla="*/ 9525 w 3457575"/>
                  <a:gd name="connsiteY35" fmla="*/ 1428750 h 3822033"/>
                  <a:gd name="connsiteX36" fmla="*/ 28575 w 3457575"/>
                  <a:gd name="connsiteY36" fmla="*/ 1304925 h 3822033"/>
                  <a:gd name="connsiteX37" fmla="*/ 38100 w 3457575"/>
                  <a:gd name="connsiteY37" fmla="*/ 1247775 h 3822033"/>
                  <a:gd name="connsiteX38" fmla="*/ 76200 w 3457575"/>
                  <a:gd name="connsiteY38" fmla="*/ 1152525 h 3822033"/>
                  <a:gd name="connsiteX39" fmla="*/ 114300 w 3457575"/>
                  <a:gd name="connsiteY39" fmla="*/ 990600 h 3822033"/>
                  <a:gd name="connsiteX40" fmla="*/ 133350 w 3457575"/>
                  <a:gd name="connsiteY40" fmla="*/ 923925 h 3822033"/>
                  <a:gd name="connsiteX41" fmla="*/ 171450 w 3457575"/>
                  <a:gd name="connsiteY41" fmla="*/ 866775 h 3822033"/>
                  <a:gd name="connsiteX42" fmla="*/ 228600 w 3457575"/>
                  <a:gd name="connsiteY42" fmla="*/ 762000 h 3822033"/>
                  <a:gd name="connsiteX43" fmla="*/ 304800 w 3457575"/>
                  <a:gd name="connsiteY43" fmla="*/ 647700 h 3822033"/>
                  <a:gd name="connsiteX44" fmla="*/ 552450 w 3457575"/>
                  <a:gd name="connsiteY44" fmla="*/ 361950 h 3822033"/>
                  <a:gd name="connsiteX45" fmla="*/ 609600 w 3457575"/>
                  <a:gd name="connsiteY45" fmla="*/ 323850 h 3822033"/>
                  <a:gd name="connsiteX46" fmla="*/ 666750 w 3457575"/>
                  <a:gd name="connsiteY46" fmla="*/ 285750 h 3822033"/>
                  <a:gd name="connsiteX47" fmla="*/ 762000 w 3457575"/>
                  <a:gd name="connsiteY47" fmla="*/ 238125 h 3822033"/>
                  <a:gd name="connsiteX48" fmla="*/ 800100 w 3457575"/>
                  <a:gd name="connsiteY48" fmla="*/ 219075 h 3822033"/>
                  <a:gd name="connsiteX49" fmla="*/ 895350 w 3457575"/>
                  <a:gd name="connsiteY49" fmla="*/ 161925 h 3822033"/>
                  <a:gd name="connsiteX50" fmla="*/ 962025 w 3457575"/>
                  <a:gd name="connsiteY50" fmla="*/ 133350 h 3822033"/>
                  <a:gd name="connsiteX51" fmla="*/ 1123950 w 3457575"/>
                  <a:gd name="connsiteY51" fmla="*/ 76200 h 3822033"/>
                  <a:gd name="connsiteX52" fmla="*/ 1162050 w 3457575"/>
                  <a:gd name="connsiteY52" fmla="*/ 66675 h 3822033"/>
                  <a:gd name="connsiteX53" fmla="*/ 1438275 w 3457575"/>
                  <a:gd name="connsiteY53" fmla="*/ 0 h 3822033"/>
                  <a:gd name="connsiteX54" fmla="*/ 2038350 w 3457575"/>
                  <a:gd name="connsiteY54" fmla="*/ 9525 h 3822033"/>
                  <a:gd name="connsiteX55" fmla="*/ 2105025 w 3457575"/>
                  <a:gd name="connsiteY55" fmla="*/ 19050 h 3822033"/>
                  <a:gd name="connsiteX56" fmla="*/ 2162175 w 3457575"/>
                  <a:gd name="connsiteY56" fmla="*/ 47625 h 3822033"/>
                  <a:gd name="connsiteX57" fmla="*/ 2228850 w 3457575"/>
                  <a:gd name="connsiteY57" fmla="*/ 66675 h 3822033"/>
                  <a:gd name="connsiteX58" fmla="*/ 2343150 w 3457575"/>
                  <a:gd name="connsiteY58" fmla="*/ 133350 h 3822033"/>
                  <a:gd name="connsiteX59" fmla="*/ 2390775 w 3457575"/>
                  <a:gd name="connsiteY59" fmla="*/ 142875 h 3822033"/>
                  <a:gd name="connsiteX60" fmla="*/ 2457450 w 3457575"/>
                  <a:gd name="connsiteY60" fmla="*/ 171450 h 3822033"/>
                  <a:gd name="connsiteX61" fmla="*/ 2486025 w 3457575"/>
                  <a:gd name="connsiteY61" fmla="*/ 200025 h 3822033"/>
                  <a:gd name="connsiteX62" fmla="*/ 2571750 w 3457575"/>
                  <a:gd name="connsiteY62" fmla="*/ 228600 h 3822033"/>
                  <a:gd name="connsiteX63" fmla="*/ 2676525 w 3457575"/>
                  <a:gd name="connsiteY63" fmla="*/ 285750 h 3822033"/>
                  <a:gd name="connsiteX64" fmla="*/ 2705100 w 3457575"/>
                  <a:gd name="connsiteY64" fmla="*/ 304800 h 3822033"/>
                  <a:gd name="connsiteX65" fmla="*/ 2733675 w 3457575"/>
                  <a:gd name="connsiteY65" fmla="*/ 333375 h 3822033"/>
                  <a:gd name="connsiteX66" fmla="*/ 2771775 w 3457575"/>
                  <a:gd name="connsiteY66" fmla="*/ 361950 h 3822033"/>
                  <a:gd name="connsiteX67" fmla="*/ 2809875 w 3457575"/>
                  <a:gd name="connsiteY67" fmla="*/ 400050 h 3822033"/>
                  <a:gd name="connsiteX68" fmla="*/ 2867025 w 3457575"/>
                  <a:gd name="connsiteY68" fmla="*/ 438150 h 3822033"/>
                  <a:gd name="connsiteX69" fmla="*/ 2905125 w 3457575"/>
                  <a:gd name="connsiteY69" fmla="*/ 476250 h 3822033"/>
                  <a:gd name="connsiteX70" fmla="*/ 2971800 w 3457575"/>
                  <a:gd name="connsiteY70" fmla="*/ 523875 h 3822033"/>
                  <a:gd name="connsiteX71" fmla="*/ 2990850 w 3457575"/>
                  <a:gd name="connsiteY71" fmla="*/ 552450 h 3822033"/>
                  <a:gd name="connsiteX72" fmla="*/ 3028950 w 3457575"/>
                  <a:gd name="connsiteY72" fmla="*/ 590550 h 3822033"/>
                  <a:gd name="connsiteX73" fmla="*/ 3048000 w 3457575"/>
                  <a:gd name="connsiteY73" fmla="*/ 628650 h 3822033"/>
                  <a:gd name="connsiteX74" fmla="*/ 3086100 w 3457575"/>
                  <a:gd name="connsiteY74" fmla="*/ 666750 h 3822033"/>
                  <a:gd name="connsiteX75" fmla="*/ 3124200 w 3457575"/>
                  <a:gd name="connsiteY75" fmla="*/ 723900 h 3822033"/>
                  <a:gd name="connsiteX76" fmla="*/ 3219450 w 3457575"/>
                  <a:gd name="connsiteY76" fmla="*/ 838200 h 3822033"/>
                  <a:gd name="connsiteX77" fmla="*/ 3238500 w 3457575"/>
                  <a:gd name="connsiteY77" fmla="*/ 885825 h 3822033"/>
                  <a:gd name="connsiteX78" fmla="*/ 3276600 w 3457575"/>
                  <a:gd name="connsiteY78" fmla="*/ 942975 h 3822033"/>
                  <a:gd name="connsiteX79" fmla="*/ 3286125 w 3457575"/>
                  <a:gd name="connsiteY79" fmla="*/ 990600 h 3822033"/>
                  <a:gd name="connsiteX80" fmla="*/ 3324225 w 3457575"/>
                  <a:gd name="connsiteY80" fmla="*/ 1085850 h 3822033"/>
                  <a:gd name="connsiteX81" fmla="*/ 3362325 w 3457575"/>
                  <a:gd name="connsiteY81" fmla="*/ 1171575 h 3822033"/>
                  <a:gd name="connsiteX82" fmla="*/ 3390900 w 3457575"/>
                  <a:gd name="connsiteY82" fmla="*/ 1219200 h 3822033"/>
                  <a:gd name="connsiteX83" fmla="*/ 3419475 w 3457575"/>
                  <a:gd name="connsiteY83" fmla="*/ 1333500 h 3822033"/>
                  <a:gd name="connsiteX84" fmla="*/ 3429000 w 3457575"/>
                  <a:gd name="connsiteY84" fmla="*/ 1390650 h 3822033"/>
                  <a:gd name="connsiteX85" fmla="*/ 3457575 w 3457575"/>
                  <a:gd name="connsiteY85" fmla="*/ 1657350 h 3822033"/>
                  <a:gd name="connsiteX86" fmla="*/ 3381375 w 3457575"/>
                  <a:gd name="connsiteY86" fmla="*/ 2238375 h 3822033"/>
                  <a:gd name="connsiteX87" fmla="*/ 3343275 w 3457575"/>
                  <a:gd name="connsiteY87" fmla="*/ 2333625 h 3822033"/>
                  <a:gd name="connsiteX88" fmla="*/ 3276600 w 3457575"/>
                  <a:gd name="connsiteY88" fmla="*/ 2400300 h 3822033"/>
                  <a:gd name="connsiteX89" fmla="*/ 3190875 w 3457575"/>
                  <a:gd name="connsiteY89" fmla="*/ 2533650 h 3822033"/>
                  <a:gd name="connsiteX90" fmla="*/ 3105150 w 3457575"/>
                  <a:gd name="connsiteY90" fmla="*/ 2647950 h 3822033"/>
                  <a:gd name="connsiteX91" fmla="*/ 3019425 w 3457575"/>
                  <a:gd name="connsiteY91" fmla="*/ 2781300 h 3822033"/>
                  <a:gd name="connsiteX92" fmla="*/ 2981325 w 3457575"/>
                  <a:gd name="connsiteY92" fmla="*/ 2819400 h 3822033"/>
                  <a:gd name="connsiteX93" fmla="*/ 2943225 w 3457575"/>
                  <a:gd name="connsiteY93" fmla="*/ 2876550 h 3822033"/>
                  <a:gd name="connsiteX94" fmla="*/ 2857500 w 3457575"/>
                  <a:gd name="connsiteY94" fmla="*/ 2933700 h 3822033"/>
                  <a:gd name="connsiteX95" fmla="*/ 2809875 w 3457575"/>
                  <a:gd name="connsiteY95" fmla="*/ 2971800 h 3822033"/>
                  <a:gd name="connsiteX96" fmla="*/ 2705100 w 3457575"/>
                  <a:gd name="connsiteY96" fmla="*/ 3038475 h 3822033"/>
                  <a:gd name="connsiteX97" fmla="*/ 2609850 w 3457575"/>
                  <a:gd name="connsiteY97" fmla="*/ 3105150 h 3822033"/>
                  <a:gd name="connsiteX98" fmla="*/ 2562225 w 3457575"/>
                  <a:gd name="connsiteY98" fmla="*/ 3143250 h 3822033"/>
                  <a:gd name="connsiteX99" fmla="*/ 2495550 w 3457575"/>
                  <a:gd name="connsiteY99" fmla="*/ 3162300 h 3822033"/>
                  <a:gd name="connsiteX100" fmla="*/ 2362200 w 3457575"/>
                  <a:gd name="connsiteY100" fmla="*/ 3219450 h 3822033"/>
                  <a:gd name="connsiteX101" fmla="*/ 2257425 w 3457575"/>
                  <a:gd name="connsiteY101" fmla="*/ 3257550 h 3822033"/>
                  <a:gd name="connsiteX102" fmla="*/ 2181225 w 3457575"/>
                  <a:gd name="connsiteY102" fmla="*/ 3276600 h 3822033"/>
                  <a:gd name="connsiteX103" fmla="*/ 2057400 w 3457575"/>
                  <a:gd name="connsiteY103" fmla="*/ 3362325 h 3822033"/>
                  <a:gd name="connsiteX104" fmla="*/ 2009775 w 3457575"/>
                  <a:gd name="connsiteY104" fmla="*/ 3400425 h 3822033"/>
                  <a:gd name="connsiteX105" fmla="*/ 1962150 w 3457575"/>
                  <a:gd name="connsiteY105" fmla="*/ 3429000 h 3822033"/>
                  <a:gd name="connsiteX106" fmla="*/ 1905000 w 3457575"/>
                  <a:gd name="connsiteY106" fmla="*/ 3495675 h 3822033"/>
                  <a:gd name="connsiteX107" fmla="*/ 1819275 w 3457575"/>
                  <a:gd name="connsiteY107" fmla="*/ 3609975 h 3822033"/>
                  <a:gd name="connsiteX108" fmla="*/ 1800225 w 3457575"/>
                  <a:gd name="connsiteY108" fmla="*/ 3638550 h 3822033"/>
                  <a:gd name="connsiteX109" fmla="*/ 1790700 w 3457575"/>
                  <a:gd name="connsiteY109" fmla="*/ 3667125 h 3822033"/>
                  <a:gd name="connsiteX110" fmla="*/ 1771650 w 3457575"/>
                  <a:gd name="connsiteY110" fmla="*/ 3695700 h 3822033"/>
                  <a:gd name="connsiteX111" fmla="*/ 1752600 w 3457575"/>
                  <a:gd name="connsiteY111" fmla="*/ 3733800 h 3822033"/>
                  <a:gd name="connsiteX112" fmla="*/ 1714500 w 3457575"/>
                  <a:gd name="connsiteY112" fmla="*/ 3810000 h 3822033"/>
                  <a:gd name="connsiteX113" fmla="*/ 1704975 w 3457575"/>
                  <a:gd name="connsiteY11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638175 w 3457575"/>
                  <a:gd name="connsiteY16" fmla="*/ 3048000 h 3822033"/>
                  <a:gd name="connsiteX17" fmla="*/ 619125 w 3457575"/>
                  <a:gd name="connsiteY17" fmla="*/ 3009900 h 3822033"/>
                  <a:gd name="connsiteX18" fmla="*/ 571500 w 3457575"/>
                  <a:gd name="connsiteY18" fmla="*/ 2943225 h 3822033"/>
                  <a:gd name="connsiteX19" fmla="*/ 333375 w 3457575"/>
                  <a:gd name="connsiteY19" fmla="*/ 2676525 h 3822033"/>
                  <a:gd name="connsiteX20" fmla="*/ 295275 w 3457575"/>
                  <a:gd name="connsiteY20" fmla="*/ 2581275 h 3822033"/>
                  <a:gd name="connsiteX21" fmla="*/ 257175 w 3457575"/>
                  <a:gd name="connsiteY21" fmla="*/ 2495550 h 3822033"/>
                  <a:gd name="connsiteX22" fmla="*/ 228600 w 3457575"/>
                  <a:gd name="connsiteY22" fmla="*/ 2457450 h 3822033"/>
                  <a:gd name="connsiteX23" fmla="*/ 200025 w 3457575"/>
                  <a:gd name="connsiteY23" fmla="*/ 2371725 h 3822033"/>
                  <a:gd name="connsiteX24" fmla="*/ 180975 w 3457575"/>
                  <a:gd name="connsiteY24" fmla="*/ 2343150 h 3822033"/>
                  <a:gd name="connsiteX25" fmla="*/ 152400 w 3457575"/>
                  <a:gd name="connsiteY25" fmla="*/ 2219325 h 3822033"/>
                  <a:gd name="connsiteX26" fmla="*/ 142875 w 3457575"/>
                  <a:gd name="connsiteY26" fmla="*/ 2190750 h 3822033"/>
                  <a:gd name="connsiteX27" fmla="*/ 123825 w 3457575"/>
                  <a:gd name="connsiteY27" fmla="*/ 2143125 h 3822033"/>
                  <a:gd name="connsiteX28" fmla="*/ 95250 w 3457575"/>
                  <a:gd name="connsiteY28" fmla="*/ 2028825 h 3822033"/>
                  <a:gd name="connsiteX29" fmla="*/ 85725 w 3457575"/>
                  <a:gd name="connsiteY29" fmla="*/ 1990725 h 3822033"/>
                  <a:gd name="connsiteX30" fmla="*/ 57150 w 3457575"/>
                  <a:gd name="connsiteY30" fmla="*/ 1933575 h 3822033"/>
                  <a:gd name="connsiteX31" fmla="*/ 28575 w 3457575"/>
                  <a:gd name="connsiteY31" fmla="*/ 1819275 h 3822033"/>
                  <a:gd name="connsiteX32" fmla="*/ 9525 w 3457575"/>
                  <a:gd name="connsiteY32" fmla="*/ 1657350 h 3822033"/>
                  <a:gd name="connsiteX33" fmla="*/ 0 w 3457575"/>
                  <a:gd name="connsiteY33" fmla="*/ 1609725 h 3822033"/>
                  <a:gd name="connsiteX34" fmla="*/ 9525 w 3457575"/>
                  <a:gd name="connsiteY34" fmla="*/ 1428750 h 3822033"/>
                  <a:gd name="connsiteX35" fmla="*/ 28575 w 3457575"/>
                  <a:gd name="connsiteY35" fmla="*/ 1304925 h 3822033"/>
                  <a:gd name="connsiteX36" fmla="*/ 38100 w 3457575"/>
                  <a:gd name="connsiteY36" fmla="*/ 1247775 h 3822033"/>
                  <a:gd name="connsiteX37" fmla="*/ 76200 w 3457575"/>
                  <a:gd name="connsiteY37" fmla="*/ 1152525 h 3822033"/>
                  <a:gd name="connsiteX38" fmla="*/ 114300 w 3457575"/>
                  <a:gd name="connsiteY38" fmla="*/ 990600 h 3822033"/>
                  <a:gd name="connsiteX39" fmla="*/ 133350 w 3457575"/>
                  <a:gd name="connsiteY39" fmla="*/ 923925 h 3822033"/>
                  <a:gd name="connsiteX40" fmla="*/ 171450 w 3457575"/>
                  <a:gd name="connsiteY40" fmla="*/ 866775 h 3822033"/>
                  <a:gd name="connsiteX41" fmla="*/ 228600 w 3457575"/>
                  <a:gd name="connsiteY41" fmla="*/ 762000 h 3822033"/>
                  <a:gd name="connsiteX42" fmla="*/ 304800 w 3457575"/>
                  <a:gd name="connsiteY42" fmla="*/ 647700 h 3822033"/>
                  <a:gd name="connsiteX43" fmla="*/ 552450 w 3457575"/>
                  <a:gd name="connsiteY43" fmla="*/ 361950 h 3822033"/>
                  <a:gd name="connsiteX44" fmla="*/ 609600 w 3457575"/>
                  <a:gd name="connsiteY44" fmla="*/ 323850 h 3822033"/>
                  <a:gd name="connsiteX45" fmla="*/ 666750 w 3457575"/>
                  <a:gd name="connsiteY45" fmla="*/ 285750 h 3822033"/>
                  <a:gd name="connsiteX46" fmla="*/ 762000 w 3457575"/>
                  <a:gd name="connsiteY46" fmla="*/ 238125 h 3822033"/>
                  <a:gd name="connsiteX47" fmla="*/ 800100 w 3457575"/>
                  <a:gd name="connsiteY47" fmla="*/ 219075 h 3822033"/>
                  <a:gd name="connsiteX48" fmla="*/ 895350 w 3457575"/>
                  <a:gd name="connsiteY48" fmla="*/ 161925 h 3822033"/>
                  <a:gd name="connsiteX49" fmla="*/ 962025 w 3457575"/>
                  <a:gd name="connsiteY49" fmla="*/ 133350 h 3822033"/>
                  <a:gd name="connsiteX50" fmla="*/ 1123950 w 3457575"/>
                  <a:gd name="connsiteY50" fmla="*/ 76200 h 3822033"/>
                  <a:gd name="connsiteX51" fmla="*/ 1162050 w 3457575"/>
                  <a:gd name="connsiteY51" fmla="*/ 66675 h 3822033"/>
                  <a:gd name="connsiteX52" fmla="*/ 1438275 w 3457575"/>
                  <a:gd name="connsiteY52" fmla="*/ 0 h 3822033"/>
                  <a:gd name="connsiteX53" fmla="*/ 2038350 w 3457575"/>
                  <a:gd name="connsiteY53" fmla="*/ 9525 h 3822033"/>
                  <a:gd name="connsiteX54" fmla="*/ 2105025 w 3457575"/>
                  <a:gd name="connsiteY54" fmla="*/ 19050 h 3822033"/>
                  <a:gd name="connsiteX55" fmla="*/ 2162175 w 3457575"/>
                  <a:gd name="connsiteY55" fmla="*/ 47625 h 3822033"/>
                  <a:gd name="connsiteX56" fmla="*/ 2228850 w 3457575"/>
                  <a:gd name="connsiteY56" fmla="*/ 66675 h 3822033"/>
                  <a:gd name="connsiteX57" fmla="*/ 2343150 w 3457575"/>
                  <a:gd name="connsiteY57" fmla="*/ 133350 h 3822033"/>
                  <a:gd name="connsiteX58" fmla="*/ 2390775 w 3457575"/>
                  <a:gd name="connsiteY58" fmla="*/ 142875 h 3822033"/>
                  <a:gd name="connsiteX59" fmla="*/ 2457450 w 3457575"/>
                  <a:gd name="connsiteY59" fmla="*/ 171450 h 3822033"/>
                  <a:gd name="connsiteX60" fmla="*/ 2486025 w 3457575"/>
                  <a:gd name="connsiteY60" fmla="*/ 200025 h 3822033"/>
                  <a:gd name="connsiteX61" fmla="*/ 2571750 w 3457575"/>
                  <a:gd name="connsiteY61" fmla="*/ 228600 h 3822033"/>
                  <a:gd name="connsiteX62" fmla="*/ 2676525 w 3457575"/>
                  <a:gd name="connsiteY62" fmla="*/ 285750 h 3822033"/>
                  <a:gd name="connsiteX63" fmla="*/ 2705100 w 3457575"/>
                  <a:gd name="connsiteY63" fmla="*/ 304800 h 3822033"/>
                  <a:gd name="connsiteX64" fmla="*/ 2733675 w 3457575"/>
                  <a:gd name="connsiteY64" fmla="*/ 333375 h 3822033"/>
                  <a:gd name="connsiteX65" fmla="*/ 2771775 w 3457575"/>
                  <a:gd name="connsiteY65" fmla="*/ 361950 h 3822033"/>
                  <a:gd name="connsiteX66" fmla="*/ 2809875 w 3457575"/>
                  <a:gd name="connsiteY66" fmla="*/ 400050 h 3822033"/>
                  <a:gd name="connsiteX67" fmla="*/ 2867025 w 3457575"/>
                  <a:gd name="connsiteY67" fmla="*/ 438150 h 3822033"/>
                  <a:gd name="connsiteX68" fmla="*/ 2905125 w 3457575"/>
                  <a:gd name="connsiteY68" fmla="*/ 476250 h 3822033"/>
                  <a:gd name="connsiteX69" fmla="*/ 2971800 w 3457575"/>
                  <a:gd name="connsiteY69" fmla="*/ 523875 h 3822033"/>
                  <a:gd name="connsiteX70" fmla="*/ 2990850 w 3457575"/>
                  <a:gd name="connsiteY70" fmla="*/ 552450 h 3822033"/>
                  <a:gd name="connsiteX71" fmla="*/ 3028950 w 3457575"/>
                  <a:gd name="connsiteY71" fmla="*/ 590550 h 3822033"/>
                  <a:gd name="connsiteX72" fmla="*/ 3048000 w 3457575"/>
                  <a:gd name="connsiteY72" fmla="*/ 628650 h 3822033"/>
                  <a:gd name="connsiteX73" fmla="*/ 3086100 w 3457575"/>
                  <a:gd name="connsiteY73" fmla="*/ 666750 h 3822033"/>
                  <a:gd name="connsiteX74" fmla="*/ 3124200 w 3457575"/>
                  <a:gd name="connsiteY74" fmla="*/ 723900 h 3822033"/>
                  <a:gd name="connsiteX75" fmla="*/ 3219450 w 3457575"/>
                  <a:gd name="connsiteY75" fmla="*/ 838200 h 3822033"/>
                  <a:gd name="connsiteX76" fmla="*/ 3238500 w 3457575"/>
                  <a:gd name="connsiteY76" fmla="*/ 885825 h 3822033"/>
                  <a:gd name="connsiteX77" fmla="*/ 3276600 w 3457575"/>
                  <a:gd name="connsiteY77" fmla="*/ 942975 h 3822033"/>
                  <a:gd name="connsiteX78" fmla="*/ 3286125 w 3457575"/>
                  <a:gd name="connsiteY78" fmla="*/ 990600 h 3822033"/>
                  <a:gd name="connsiteX79" fmla="*/ 3324225 w 3457575"/>
                  <a:gd name="connsiteY79" fmla="*/ 1085850 h 3822033"/>
                  <a:gd name="connsiteX80" fmla="*/ 3362325 w 3457575"/>
                  <a:gd name="connsiteY80" fmla="*/ 1171575 h 3822033"/>
                  <a:gd name="connsiteX81" fmla="*/ 3390900 w 3457575"/>
                  <a:gd name="connsiteY81" fmla="*/ 1219200 h 3822033"/>
                  <a:gd name="connsiteX82" fmla="*/ 3419475 w 3457575"/>
                  <a:gd name="connsiteY82" fmla="*/ 1333500 h 3822033"/>
                  <a:gd name="connsiteX83" fmla="*/ 3429000 w 3457575"/>
                  <a:gd name="connsiteY83" fmla="*/ 1390650 h 3822033"/>
                  <a:gd name="connsiteX84" fmla="*/ 3457575 w 3457575"/>
                  <a:gd name="connsiteY84" fmla="*/ 1657350 h 3822033"/>
                  <a:gd name="connsiteX85" fmla="*/ 3381375 w 3457575"/>
                  <a:gd name="connsiteY85" fmla="*/ 2238375 h 3822033"/>
                  <a:gd name="connsiteX86" fmla="*/ 3343275 w 3457575"/>
                  <a:gd name="connsiteY86" fmla="*/ 2333625 h 3822033"/>
                  <a:gd name="connsiteX87" fmla="*/ 3276600 w 3457575"/>
                  <a:gd name="connsiteY87" fmla="*/ 2400300 h 3822033"/>
                  <a:gd name="connsiteX88" fmla="*/ 3190875 w 3457575"/>
                  <a:gd name="connsiteY88" fmla="*/ 2533650 h 3822033"/>
                  <a:gd name="connsiteX89" fmla="*/ 3105150 w 3457575"/>
                  <a:gd name="connsiteY89" fmla="*/ 2647950 h 3822033"/>
                  <a:gd name="connsiteX90" fmla="*/ 3019425 w 3457575"/>
                  <a:gd name="connsiteY90" fmla="*/ 2781300 h 3822033"/>
                  <a:gd name="connsiteX91" fmla="*/ 2981325 w 3457575"/>
                  <a:gd name="connsiteY91" fmla="*/ 2819400 h 3822033"/>
                  <a:gd name="connsiteX92" fmla="*/ 2943225 w 3457575"/>
                  <a:gd name="connsiteY92" fmla="*/ 2876550 h 3822033"/>
                  <a:gd name="connsiteX93" fmla="*/ 2857500 w 3457575"/>
                  <a:gd name="connsiteY93" fmla="*/ 2933700 h 3822033"/>
                  <a:gd name="connsiteX94" fmla="*/ 2809875 w 3457575"/>
                  <a:gd name="connsiteY94" fmla="*/ 2971800 h 3822033"/>
                  <a:gd name="connsiteX95" fmla="*/ 2705100 w 3457575"/>
                  <a:gd name="connsiteY95" fmla="*/ 3038475 h 3822033"/>
                  <a:gd name="connsiteX96" fmla="*/ 2609850 w 3457575"/>
                  <a:gd name="connsiteY96" fmla="*/ 3105150 h 3822033"/>
                  <a:gd name="connsiteX97" fmla="*/ 2562225 w 3457575"/>
                  <a:gd name="connsiteY97" fmla="*/ 3143250 h 3822033"/>
                  <a:gd name="connsiteX98" fmla="*/ 2495550 w 3457575"/>
                  <a:gd name="connsiteY98" fmla="*/ 3162300 h 3822033"/>
                  <a:gd name="connsiteX99" fmla="*/ 2362200 w 3457575"/>
                  <a:gd name="connsiteY99" fmla="*/ 3219450 h 3822033"/>
                  <a:gd name="connsiteX100" fmla="*/ 2257425 w 3457575"/>
                  <a:gd name="connsiteY100" fmla="*/ 3257550 h 3822033"/>
                  <a:gd name="connsiteX101" fmla="*/ 2181225 w 3457575"/>
                  <a:gd name="connsiteY101" fmla="*/ 3276600 h 3822033"/>
                  <a:gd name="connsiteX102" fmla="*/ 2057400 w 3457575"/>
                  <a:gd name="connsiteY102" fmla="*/ 3362325 h 3822033"/>
                  <a:gd name="connsiteX103" fmla="*/ 2009775 w 3457575"/>
                  <a:gd name="connsiteY103" fmla="*/ 3400425 h 3822033"/>
                  <a:gd name="connsiteX104" fmla="*/ 1962150 w 3457575"/>
                  <a:gd name="connsiteY104" fmla="*/ 3429000 h 3822033"/>
                  <a:gd name="connsiteX105" fmla="*/ 1905000 w 3457575"/>
                  <a:gd name="connsiteY105" fmla="*/ 3495675 h 3822033"/>
                  <a:gd name="connsiteX106" fmla="*/ 1819275 w 3457575"/>
                  <a:gd name="connsiteY106" fmla="*/ 3609975 h 3822033"/>
                  <a:gd name="connsiteX107" fmla="*/ 1800225 w 3457575"/>
                  <a:gd name="connsiteY107" fmla="*/ 3638550 h 3822033"/>
                  <a:gd name="connsiteX108" fmla="*/ 1790700 w 3457575"/>
                  <a:gd name="connsiteY108" fmla="*/ 3667125 h 3822033"/>
                  <a:gd name="connsiteX109" fmla="*/ 1771650 w 3457575"/>
                  <a:gd name="connsiteY109" fmla="*/ 3695700 h 3822033"/>
                  <a:gd name="connsiteX110" fmla="*/ 1752600 w 3457575"/>
                  <a:gd name="connsiteY110" fmla="*/ 3733800 h 3822033"/>
                  <a:gd name="connsiteX111" fmla="*/ 1714500 w 3457575"/>
                  <a:gd name="connsiteY111" fmla="*/ 3810000 h 3822033"/>
                  <a:gd name="connsiteX112" fmla="*/ 1704975 w 3457575"/>
                  <a:gd name="connsiteY11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638175 w 3457575"/>
                  <a:gd name="connsiteY15" fmla="*/ 3048000 h 3822033"/>
                  <a:gd name="connsiteX16" fmla="*/ 619125 w 3457575"/>
                  <a:gd name="connsiteY16" fmla="*/ 3009900 h 3822033"/>
                  <a:gd name="connsiteX17" fmla="*/ 571500 w 3457575"/>
                  <a:gd name="connsiteY17" fmla="*/ 2943225 h 3822033"/>
                  <a:gd name="connsiteX18" fmla="*/ 333375 w 3457575"/>
                  <a:gd name="connsiteY18" fmla="*/ 2676525 h 3822033"/>
                  <a:gd name="connsiteX19" fmla="*/ 295275 w 3457575"/>
                  <a:gd name="connsiteY19" fmla="*/ 2581275 h 3822033"/>
                  <a:gd name="connsiteX20" fmla="*/ 257175 w 3457575"/>
                  <a:gd name="connsiteY20" fmla="*/ 2495550 h 3822033"/>
                  <a:gd name="connsiteX21" fmla="*/ 228600 w 3457575"/>
                  <a:gd name="connsiteY21" fmla="*/ 2457450 h 3822033"/>
                  <a:gd name="connsiteX22" fmla="*/ 200025 w 3457575"/>
                  <a:gd name="connsiteY22" fmla="*/ 2371725 h 3822033"/>
                  <a:gd name="connsiteX23" fmla="*/ 180975 w 3457575"/>
                  <a:gd name="connsiteY23" fmla="*/ 2343150 h 3822033"/>
                  <a:gd name="connsiteX24" fmla="*/ 152400 w 3457575"/>
                  <a:gd name="connsiteY24" fmla="*/ 2219325 h 3822033"/>
                  <a:gd name="connsiteX25" fmla="*/ 142875 w 3457575"/>
                  <a:gd name="connsiteY25" fmla="*/ 2190750 h 3822033"/>
                  <a:gd name="connsiteX26" fmla="*/ 123825 w 3457575"/>
                  <a:gd name="connsiteY26" fmla="*/ 2143125 h 3822033"/>
                  <a:gd name="connsiteX27" fmla="*/ 95250 w 3457575"/>
                  <a:gd name="connsiteY27" fmla="*/ 2028825 h 3822033"/>
                  <a:gd name="connsiteX28" fmla="*/ 85725 w 3457575"/>
                  <a:gd name="connsiteY28" fmla="*/ 1990725 h 3822033"/>
                  <a:gd name="connsiteX29" fmla="*/ 57150 w 3457575"/>
                  <a:gd name="connsiteY29" fmla="*/ 1933575 h 3822033"/>
                  <a:gd name="connsiteX30" fmla="*/ 28575 w 3457575"/>
                  <a:gd name="connsiteY30" fmla="*/ 1819275 h 3822033"/>
                  <a:gd name="connsiteX31" fmla="*/ 9525 w 3457575"/>
                  <a:gd name="connsiteY31" fmla="*/ 1657350 h 3822033"/>
                  <a:gd name="connsiteX32" fmla="*/ 0 w 3457575"/>
                  <a:gd name="connsiteY32" fmla="*/ 1609725 h 3822033"/>
                  <a:gd name="connsiteX33" fmla="*/ 9525 w 3457575"/>
                  <a:gd name="connsiteY33" fmla="*/ 1428750 h 3822033"/>
                  <a:gd name="connsiteX34" fmla="*/ 28575 w 3457575"/>
                  <a:gd name="connsiteY34" fmla="*/ 1304925 h 3822033"/>
                  <a:gd name="connsiteX35" fmla="*/ 38100 w 3457575"/>
                  <a:gd name="connsiteY35" fmla="*/ 1247775 h 3822033"/>
                  <a:gd name="connsiteX36" fmla="*/ 76200 w 3457575"/>
                  <a:gd name="connsiteY36" fmla="*/ 1152525 h 3822033"/>
                  <a:gd name="connsiteX37" fmla="*/ 114300 w 3457575"/>
                  <a:gd name="connsiteY37" fmla="*/ 990600 h 3822033"/>
                  <a:gd name="connsiteX38" fmla="*/ 133350 w 3457575"/>
                  <a:gd name="connsiteY38" fmla="*/ 923925 h 3822033"/>
                  <a:gd name="connsiteX39" fmla="*/ 171450 w 3457575"/>
                  <a:gd name="connsiteY39" fmla="*/ 866775 h 3822033"/>
                  <a:gd name="connsiteX40" fmla="*/ 228600 w 3457575"/>
                  <a:gd name="connsiteY40" fmla="*/ 762000 h 3822033"/>
                  <a:gd name="connsiteX41" fmla="*/ 304800 w 3457575"/>
                  <a:gd name="connsiteY41" fmla="*/ 647700 h 3822033"/>
                  <a:gd name="connsiteX42" fmla="*/ 552450 w 3457575"/>
                  <a:gd name="connsiteY42" fmla="*/ 361950 h 3822033"/>
                  <a:gd name="connsiteX43" fmla="*/ 609600 w 3457575"/>
                  <a:gd name="connsiteY43" fmla="*/ 323850 h 3822033"/>
                  <a:gd name="connsiteX44" fmla="*/ 666750 w 3457575"/>
                  <a:gd name="connsiteY44" fmla="*/ 285750 h 3822033"/>
                  <a:gd name="connsiteX45" fmla="*/ 762000 w 3457575"/>
                  <a:gd name="connsiteY45" fmla="*/ 238125 h 3822033"/>
                  <a:gd name="connsiteX46" fmla="*/ 800100 w 3457575"/>
                  <a:gd name="connsiteY46" fmla="*/ 219075 h 3822033"/>
                  <a:gd name="connsiteX47" fmla="*/ 895350 w 3457575"/>
                  <a:gd name="connsiteY47" fmla="*/ 161925 h 3822033"/>
                  <a:gd name="connsiteX48" fmla="*/ 962025 w 3457575"/>
                  <a:gd name="connsiteY48" fmla="*/ 133350 h 3822033"/>
                  <a:gd name="connsiteX49" fmla="*/ 1123950 w 3457575"/>
                  <a:gd name="connsiteY49" fmla="*/ 76200 h 3822033"/>
                  <a:gd name="connsiteX50" fmla="*/ 1162050 w 3457575"/>
                  <a:gd name="connsiteY50" fmla="*/ 66675 h 3822033"/>
                  <a:gd name="connsiteX51" fmla="*/ 1438275 w 3457575"/>
                  <a:gd name="connsiteY51" fmla="*/ 0 h 3822033"/>
                  <a:gd name="connsiteX52" fmla="*/ 2038350 w 3457575"/>
                  <a:gd name="connsiteY52" fmla="*/ 9525 h 3822033"/>
                  <a:gd name="connsiteX53" fmla="*/ 2105025 w 3457575"/>
                  <a:gd name="connsiteY53" fmla="*/ 19050 h 3822033"/>
                  <a:gd name="connsiteX54" fmla="*/ 2162175 w 3457575"/>
                  <a:gd name="connsiteY54" fmla="*/ 47625 h 3822033"/>
                  <a:gd name="connsiteX55" fmla="*/ 2228850 w 3457575"/>
                  <a:gd name="connsiteY55" fmla="*/ 66675 h 3822033"/>
                  <a:gd name="connsiteX56" fmla="*/ 2343150 w 3457575"/>
                  <a:gd name="connsiteY56" fmla="*/ 133350 h 3822033"/>
                  <a:gd name="connsiteX57" fmla="*/ 2390775 w 3457575"/>
                  <a:gd name="connsiteY57" fmla="*/ 142875 h 3822033"/>
                  <a:gd name="connsiteX58" fmla="*/ 2457450 w 3457575"/>
                  <a:gd name="connsiteY58" fmla="*/ 171450 h 3822033"/>
                  <a:gd name="connsiteX59" fmla="*/ 2486025 w 3457575"/>
                  <a:gd name="connsiteY59" fmla="*/ 200025 h 3822033"/>
                  <a:gd name="connsiteX60" fmla="*/ 2571750 w 3457575"/>
                  <a:gd name="connsiteY60" fmla="*/ 228600 h 3822033"/>
                  <a:gd name="connsiteX61" fmla="*/ 2676525 w 3457575"/>
                  <a:gd name="connsiteY61" fmla="*/ 285750 h 3822033"/>
                  <a:gd name="connsiteX62" fmla="*/ 2705100 w 3457575"/>
                  <a:gd name="connsiteY62" fmla="*/ 304800 h 3822033"/>
                  <a:gd name="connsiteX63" fmla="*/ 2733675 w 3457575"/>
                  <a:gd name="connsiteY63" fmla="*/ 333375 h 3822033"/>
                  <a:gd name="connsiteX64" fmla="*/ 2771775 w 3457575"/>
                  <a:gd name="connsiteY64" fmla="*/ 361950 h 3822033"/>
                  <a:gd name="connsiteX65" fmla="*/ 2809875 w 3457575"/>
                  <a:gd name="connsiteY65" fmla="*/ 400050 h 3822033"/>
                  <a:gd name="connsiteX66" fmla="*/ 2867025 w 3457575"/>
                  <a:gd name="connsiteY66" fmla="*/ 438150 h 3822033"/>
                  <a:gd name="connsiteX67" fmla="*/ 2905125 w 3457575"/>
                  <a:gd name="connsiteY67" fmla="*/ 476250 h 3822033"/>
                  <a:gd name="connsiteX68" fmla="*/ 2971800 w 3457575"/>
                  <a:gd name="connsiteY68" fmla="*/ 523875 h 3822033"/>
                  <a:gd name="connsiteX69" fmla="*/ 2990850 w 3457575"/>
                  <a:gd name="connsiteY69" fmla="*/ 552450 h 3822033"/>
                  <a:gd name="connsiteX70" fmla="*/ 3028950 w 3457575"/>
                  <a:gd name="connsiteY70" fmla="*/ 590550 h 3822033"/>
                  <a:gd name="connsiteX71" fmla="*/ 3048000 w 3457575"/>
                  <a:gd name="connsiteY71" fmla="*/ 628650 h 3822033"/>
                  <a:gd name="connsiteX72" fmla="*/ 3086100 w 3457575"/>
                  <a:gd name="connsiteY72" fmla="*/ 666750 h 3822033"/>
                  <a:gd name="connsiteX73" fmla="*/ 3124200 w 3457575"/>
                  <a:gd name="connsiteY73" fmla="*/ 723900 h 3822033"/>
                  <a:gd name="connsiteX74" fmla="*/ 3219450 w 3457575"/>
                  <a:gd name="connsiteY74" fmla="*/ 838200 h 3822033"/>
                  <a:gd name="connsiteX75" fmla="*/ 3238500 w 3457575"/>
                  <a:gd name="connsiteY75" fmla="*/ 885825 h 3822033"/>
                  <a:gd name="connsiteX76" fmla="*/ 3276600 w 3457575"/>
                  <a:gd name="connsiteY76" fmla="*/ 942975 h 3822033"/>
                  <a:gd name="connsiteX77" fmla="*/ 3286125 w 3457575"/>
                  <a:gd name="connsiteY77" fmla="*/ 990600 h 3822033"/>
                  <a:gd name="connsiteX78" fmla="*/ 3324225 w 3457575"/>
                  <a:gd name="connsiteY78" fmla="*/ 1085850 h 3822033"/>
                  <a:gd name="connsiteX79" fmla="*/ 3362325 w 3457575"/>
                  <a:gd name="connsiteY79" fmla="*/ 1171575 h 3822033"/>
                  <a:gd name="connsiteX80" fmla="*/ 3390900 w 3457575"/>
                  <a:gd name="connsiteY80" fmla="*/ 1219200 h 3822033"/>
                  <a:gd name="connsiteX81" fmla="*/ 3419475 w 3457575"/>
                  <a:gd name="connsiteY81" fmla="*/ 1333500 h 3822033"/>
                  <a:gd name="connsiteX82" fmla="*/ 3429000 w 3457575"/>
                  <a:gd name="connsiteY82" fmla="*/ 1390650 h 3822033"/>
                  <a:gd name="connsiteX83" fmla="*/ 3457575 w 3457575"/>
                  <a:gd name="connsiteY83" fmla="*/ 1657350 h 3822033"/>
                  <a:gd name="connsiteX84" fmla="*/ 3381375 w 3457575"/>
                  <a:gd name="connsiteY84" fmla="*/ 2238375 h 3822033"/>
                  <a:gd name="connsiteX85" fmla="*/ 3343275 w 3457575"/>
                  <a:gd name="connsiteY85" fmla="*/ 2333625 h 3822033"/>
                  <a:gd name="connsiteX86" fmla="*/ 3276600 w 3457575"/>
                  <a:gd name="connsiteY86" fmla="*/ 2400300 h 3822033"/>
                  <a:gd name="connsiteX87" fmla="*/ 3190875 w 3457575"/>
                  <a:gd name="connsiteY87" fmla="*/ 2533650 h 3822033"/>
                  <a:gd name="connsiteX88" fmla="*/ 3105150 w 3457575"/>
                  <a:gd name="connsiteY88" fmla="*/ 2647950 h 3822033"/>
                  <a:gd name="connsiteX89" fmla="*/ 3019425 w 3457575"/>
                  <a:gd name="connsiteY89" fmla="*/ 2781300 h 3822033"/>
                  <a:gd name="connsiteX90" fmla="*/ 2981325 w 3457575"/>
                  <a:gd name="connsiteY90" fmla="*/ 2819400 h 3822033"/>
                  <a:gd name="connsiteX91" fmla="*/ 2943225 w 3457575"/>
                  <a:gd name="connsiteY91" fmla="*/ 2876550 h 3822033"/>
                  <a:gd name="connsiteX92" fmla="*/ 2857500 w 3457575"/>
                  <a:gd name="connsiteY92" fmla="*/ 2933700 h 3822033"/>
                  <a:gd name="connsiteX93" fmla="*/ 2809875 w 3457575"/>
                  <a:gd name="connsiteY93" fmla="*/ 2971800 h 3822033"/>
                  <a:gd name="connsiteX94" fmla="*/ 2705100 w 3457575"/>
                  <a:gd name="connsiteY94" fmla="*/ 3038475 h 3822033"/>
                  <a:gd name="connsiteX95" fmla="*/ 2609850 w 3457575"/>
                  <a:gd name="connsiteY95" fmla="*/ 3105150 h 3822033"/>
                  <a:gd name="connsiteX96" fmla="*/ 2562225 w 3457575"/>
                  <a:gd name="connsiteY96" fmla="*/ 3143250 h 3822033"/>
                  <a:gd name="connsiteX97" fmla="*/ 2495550 w 3457575"/>
                  <a:gd name="connsiteY97" fmla="*/ 3162300 h 3822033"/>
                  <a:gd name="connsiteX98" fmla="*/ 2362200 w 3457575"/>
                  <a:gd name="connsiteY98" fmla="*/ 3219450 h 3822033"/>
                  <a:gd name="connsiteX99" fmla="*/ 2257425 w 3457575"/>
                  <a:gd name="connsiteY99" fmla="*/ 3257550 h 3822033"/>
                  <a:gd name="connsiteX100" fmla="*/ 2181225 w 3457575"/>
                  <a:gd name="connsiteY100" fmla="*/ 3276600 h 3822033"/>
                  <a:gd name="connsiteX101" fmla="*/ 2057400 w 3457575"/>
                  <a:gd name="connsiteY101" fmla="*/ 3362325 h 3822033"/>
                  <a:gd name="connsiteX102" fmla="*/ 2009775 w 3457575"/>
                  <a:gd name="connsiteY102" fmla="*/ 3400425 h 3822033"/>
                  <a:gd name="connsiteX103" fmla="*/ 1962150 w 3457575"/>
                  <a:gd name="connsiteY103" fmla="*/ 3429000 h 3822033"/>
                  <a:gd name="connsiteX104" fmla="*/ 1905000 w 3457575"/>
                  <a:gd name="connsiteY104" fmla="*/ 3495675 h 3822033"/>
                  <a:gd name="connsiteX105" fmla="*/ 1819275 w 3457575"/>
                  <a:gd name="connsiteY105" fmla="*/ 3609975 h 3822033"/>
                  <a:gd name="connsiteX106" fmla="*/ 1800225 w 3457575"/>
                  <a:gd name="connsiteY106" fmla="*/ 3638550 h 3822033"/>
                  <a:gd name="connsiteX107" fmla="*/ 1790700 w 3457575"/>
                  <a:gd name="connsiteY107" fmla="*/ 3667125 h 3822033"/>
                  <a:gd name="connsiteX108" fmla="*/ 1771650 w 3457575"/>
                  <a:gd name="connsiteY108" fmla="*/ 3695700 h 3822033"/>
                  <a:gd name="connsiteX109" fmla="*/ 1752600 w 3457575"/>
                  <a:gd name="connsiteY109" fmla="*/ 3733800 h 3822033"/>
                  <a:gd name="connsiteX110" fmla="*/ 1714500 w 3457575"/>
                  <a:gd name="connsiteY110" fmla="*/ 3810000 h 3822033"/>
                  <a:gd name="connsiteX111" fmla="*/ 1704975 w 3457575"/>
                  <a:gd name="connsiteY11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533525 w 3457575"/>
                  <a:gd name="connsiteY4" fmla="*/ 3543300 h 3822033"/>
                  <a:gd name="connsiteX5" fmla="*/ 1409700 w 3457575"/>
                  <a:gd name="connsiteY5" fmla="*/ 3438525 h 3822033"/>
                  <a:gd name="connsiteX6" fmla="*/ 1371600 w 3457575"/>
                  <a:gd name="connsiteY6" fmla="*/ 3419475 h 3822033"/>
                  <a:gd name="connsiteX7" fmla="*/ 1343025 w 3457575"/>
                  <a:gd name="connsiteY7" fmla="*/ 3400425 h 3822033"/>
                  <a:gd name="connsiteX8" fmla="*/ 1247775 w 3457575"/>
                  <a:gd name="connsiteY8" fmla="*/ 3381375 h 3822033"/>
                  <a:gd name="connsiteX9" fmla="*/ 1133475 w 3457575"/>
                  <a:gd name="connsiteY9" fmla="*/ 3324225 h 3822033"/>
                  <a:gd name="connsiteX10" fmla="*/ 1009650 w 3457575"/>
                  <a:gd name="connsiteY10" fmla="*/ 3276600 h 3822033"/>
                  <a:gd name="connsiteX11" fmla="*/ 962025 w 3457575"/>
                  <a:gd name="connsiteY11" fmla="*/ 3238500 h 3822033"/>
                  <a:gd name="connsiteX12" fmla="*/ 923925 w 3457575"/>
                  <a:gd name="connsiteY12" fmla="*/ 3219450 h 3822033"/>
                  <a:gd name="connsiteX13" fmla="*/ 790575 w 3457575"/>
                  <a:gd name="connsiteY13" fmla="*/ 3162300 h 3822033"/>
                  <a:gd name="connsiteX14" fmla="*/ 638175 w 3457575"/>
                  <a:gd name="connsiteY14" fmla="*/ 3048000 h 3822033"/>
                  <a:gd name="connsiteX15" fmla="*/ 619125 w 3457575"/>
                  <a:gd name="connsiteY15" fmla="*/ 3009900 h 3822033"/>
                  <a:gd name="connsiteX16" fmla="*/ 571500 w 3457575"/>
                  <a:gd name="connsiteY16" fmla="*/ 2943225 h 3822033"/>
                  <a:gd name="connsiteX17" fmla="*/ 333375 w 3457575"/>
                  <a:gd name="connsiteY17" fmla="*/ 2676525 h 3822033"/>
                  <a:gd name="connsiteX18" fmla="*/ 295275 w 3457575"/>
                  <a:gd name="connsiteY18" fmla="*/ 2581275 h 3822033"/>
                  <a:gd name="connsiteX19" fmla="*/ 257175 w 3457575"/>
                  <a:gd name="connsiteY19" fmla="*/ 2495550 h 3822033"/>
                  <a:gd name="connsiteX20" fmla="*/ 228600 w 3457575"/>
                  <a:gd name="connsiteY20" fmla="*/ 2457450 h 3822033"/>
                  <a:gd name="connsiteX21" fmla="*/ 200025 w 3457575"/>
                  <a:gd name="connsiteY21" fmla="*/ 2371725 h 3822033"/>
                  <a:gd name="connsiteX22" fmla="*/ 180975 w 3457575"/>
                  <a:gd name="connsiteY22" fmla="*/ 2343150 h 3822033"/>
                  <a:gd name="connsiteX23" fmla="*/ 152400 w 3457575"/>
                  <a:gd name="connsiteY23" fmla="*/ 2219325 h 3822033"/>
                  <a:gd name="connsiteX24" fmla="*/ 142875 w 3457575"/>
                  <a:gd name="connsiteY24" fmla="*/ 2190750 h 3822033"/>
                  <a:gd name="connsiteX25" fmla="*/ 123825 w 3457575"/>
                  <a:gd name="connsiteY25" fmla="*/ 2143125 h 3822033"/>
                  <a:gd name="connsiteX26" fmla="*/ 95250 w 3457575"/>
                  <a:gd name="connsiteY26" fmla="*/ 2028825 h 3822033"/>
                  <a:gd name="connsiteX27" fmla="*/ 85725 w 3457575"/>
                  <a:gd name="connsiteY27" fmla="*/ 1990725 h 3822033"/>
                  <a:gd name="connsiteX28" fmla="*/ 57150 w 3457575"/>
                  <a:gd name="connsiteY28" fmla="*/ 1933575 h 3822033"/>
                  <a:gd name="connsiteX29" fmla="*/ 28575 w 3457575"/>
                  <a:gd name="connsiteY29" fmla="*/ 1819275 h 3822033"/>
                  <a:gd name="connsiteX30" fmla="*/ 9525 w 3457575"/>
                  <a:gd name="connsiteY30" fmla="*/ 1657350 h 3822033"/>
                  <a:gd name="connsiteX31" fmla="*/ 0 w 3457575"/>
                  <a:gd name="connsiteY31" fmla="*/ 1609725 h 3822033"/>
                  <a:gd name="connsiteX32" fmla="*/ 9525 w 3457575"/>
                  <a:gd name="connsiteY32" fmla="*/ 1428750 h 3822033"/>
                  <a:gd name="connsiteX33" fmla="*/ 28575 w 3457575"/>
                  <a:gd name="connsiteY33" fmla="*/ 1304925 h 3822033"/>
                  <a:gd name="connsiteX34" fmla="*/ 38100 w 3457575"/>
                  <a:gd name="connsiteY34" fmla="*/ 1247775 h 3822033"/>
                  <a:gd name="connsiteX35" fmla="*/ 76200 w 3457575"/>
                  <a:gd name="connsiteY35" fmla="*/ 1152525 h 3822033"/>
                  <a:gd name="connsiteX36" fmla="*/ 114300 w 3457575"/>
                  <a:gd name="connsiteY36" fmla="*/ 990600 h 3822033"/>
                  <a:gd name="connsiteX37" fmla="*/ 133350 w 3457575"/>
                  <a:gd name="connsiteY37" fmla="*/ 923925 h 3822033"/>
                  <a:gd name="connsiteX38" fmla="*/ 171450 w 3457575"/>
                  <a:gd name="connsiteY38" fmla="*/ 866775 h 3822033"/>
                  <a:gd name="connsiteX39" fmla="*/ 228600 w 3457575"/>
                  <a:gd name="connsiteY39" fmla="*/ 762000 h 3822033"/>
                  <a:gd name="connsiteX40" fmla="*/ 304800 w 3457575"/>
                  <a:gd name="connsiteY40" fmla="*/ 647700 h 3822033"/>
                  <a:gd name="connsiteX41" fmla="*/ 552450 w 3457575"/>
                  <a:gd name="connsiteY41" fmla="*/ 361950 h 3822033"/>
                  <a:gd name="connsiteX42" fmla="*/ 609600 w 3457575"/>
                  <a:gd name="connsiteY42" fmla="*/ 323850 h 3822033"/>
                  <a:gd name="connsiteX43" fmla="*/ 666750 w 3457575"/>
                  <a:gd name="connsiteY43" fmla="*/ 285750 h 3822033"/>
                  <a:gd name="connsiteX44" fmla="*/ 762000 w 3457575"/>
                  <a:gd name="connsiteY44" fmla="*/ 238125 h 3822033"/>
                  <a:gd name="connsiteX45" fmla="*/ 800100 w 3457575"/>
                  <a:gd name="connsiteY45" fmla="*/ 219075 h 3822033"/>
                  <a:gd name="connsiteX46" fmla="*/ 895350 w 3457575"/>
                  <a:gd name="connsiteY46" fmla="*/ 161925 h 3822033"/>
                  <a:gd name="connsiteX47" fmla="*/ 962025 w 3457575"/>
                  <a:gd name="connsiteY47" fmla="*/ 133350 h 3822033"/>
                  <a:gd name="connsiteX48" fmla="*/ 1123950 w 3457575"/>
                  <a:gd name="connsiteY48" fmla="*/ 76200 h 3822033"/>
                  <a:gd name="connsiteX49" fmla="*/ 1162050 w 3457575"/>
                  <a:gd name="connsiteY49" fmla="*/ 66675 h 3822033"/>
                  <a:gd name="connsiteX50" fmla="*/ 1438275 w 3457575"/>
                  <a:gd name="connsiteY50" fmla="*/ 0 h 3822033"/>
                  <a:gd name="connsiteX51" fmla="*/ 2038350 w 3457575"/>
                  <a:gd name="connsiteY51" fmla="*/ 9525 h 3822033"/>
                  <a:gd name="connsiteX52" fmla="*/ 2105025 w 3457575"/>
                  <a:gd name="connsiteY52" fmla="*/ 19050 h 3822033"/>
                  <a:gd name="connsiteX53" fmla="*/ 2162175 w 3457575"/>
                  <a:gd name="connsiteY53" fmla="*/ 47625 h 3822033"/>
                  <a:gd name="connsiteX54" fmla="*/ 2228850 w 3457575"/>
                  <a:gd name="connsiteY54" fmla="*/ 66675 h 3822033"/>
                  <a:gd name="connsiteX55" fmla="*/ 2343150 w 3457575"/>
                  <a:gd name="connsiteY55" fmla="*/ 133350 h 3822033"/>
                  <a:gd name="connsiteX56" fmla="*/ 2390775 w 3457575"/>
                  <a:gd name="connsiteY56" fmla="*/ 142875 h 3822033"/>
                  <a:gd name="connsiteX57" fmla="*/ 2457450 w 3457575"/>
                  <a:gd name="connsiteY57" fmla="*/ 171450 h 3822033"/>
                  <a:gd name="connsiteX58" fmla="*/ 2486025 w 3457575"/>
                  <a:gd name="connsiteY58" fmla="*/ 200025 h 3822033"/>
                  <a:gd name="connsiteX59" fmla="*/ 2571750 w 3457575"/>
                  <a:gd name="connsiteY59" fmla="*/ 228600 h 3822033"/>
                  <a:gd name="connsiteX60" fmla="*/ 2676525 w 3457575"/>
                  <a:gd name="connsiteY60" fmla="*/ 285750 h 3822033"/>
                  <a:gd name="connsiteX61" fmla="*/ 2705100 w 3457575"/>
                  <a:gd name="connsiteY61" fmla="*/ 304800 h 3822033"/>
                  <a:gd name="connsiteX62" fmla="*/ 2733675 w 3457575"/>
                  <a:gd name="connsiteY62" fmla="*/ 333375 h 3822033"/>
                  <a:gd name="connsiteX63" fmla="*/ 2771775 w 3457575"/>
                  <a:gd name="connsiteY63" fmla="*/ 361950 h 3822033"/>
                  <a:gd name="connsiteX64" fmla="*/ 2809875 w 3457575"/>
                  <a:gd name="connsiteY64" fmla="*/ 400050 h 3822033"/>
                  <a:gd name="connsiteX65" fmla="*/ 2867025 w 3457575"/>
                  <a:gd name="connsiteY65" fmla="*/ 438150 h 3822033"/>
                  <a:gd name="connsiteX66" fmla="*/ 2905125 w 3457575"/>
                  <a:gd name="connsiteY66" fmla="*/ 476250 h 3822033"/>
                  <a:gd name="connsiteX67" fmla="*/ 2971800 w 3457575"/>
                  <a:gd name="connsiteY67" fmla="*/ 523875 h 3822033"/>
                  <a:gd name="connsiteX68" fmla="*/ 2990850 w 3457575"/>
                  <a:gd name="connsiteY68" fmla="*/ 552450 h 3822033"/>
                  <a:gd name="connsiteX69" fmla="*/ 3028950 w 3457575"/>
                  <a:gd name="connsiteY69" fmla="*/ 590550 h 3822033"/>
                  <a:gd name="connsiteX70" fmla="*/ 3048000 w 3457575"/>
                  <a:gd name="connsiteY70" fmla="*/ 628650 h 3822033"/>
                  <a:gd name="connsiteX71" fmla="*/ 3086100 w 3457575"/>
                  <a:gd name="connsiteY71" fmla="*/ 666750 h 3822033"/>
                  <a:gd name="connsiteX72" fmla="*/ 3124200 w 3457575"/>
                  <a:gd name="connsiteY72" fmla="*/ 723900 h 3822033"/>
                  <a:gd name="connsiteX73" fmla="*/ 3219450 w 3457575"/>
                  <a:gd name="connsiteY73" fmla="*/ 838200 h 3822033"/>
                  <a:gd name="connsiteX74" fmla="*/ 3238500 w 3457575"/>
                  <a:gd name="connsiteY74" fmla="*/ 885825 h 3822033"/>
                  <a:gd name="connsiteX75" fmla="*/ 3276600 w 3457575"/>
                  <a:gd name="connsiteY75" fmla="*/ 942975 h 3822033"/>
                  <a:gd name="connsiteX76" fmla="*/ 3286125 w 3457575"/>
                  <a:gd name="connsiteY76" fmla="*/ 990600 h 3822033"/>
                  <a:gd name="connsiteX77" fmla="*/ 3324225 w 3457575"/>
                  <a:gd name="connsiteY77" fmla="*/ 1085850 h 3822033"/>
                  <a:gd name="connsiteX78" fmla="*/ 3362325 w 3457575"/>
                  <a:gd name="connsiteY78" fmla="*/ 1171575 h 3822033"/>
                  <a:gd name="connsiteX79" fmla="*/ 3390900 w 3457575"/>
                  <a:gd name="connsiteY79" fmla="*/ 1219200 h 3822033"/>
                  <a:gd name="connsiteX80" fmla="*/ 3419475 w 3457575"/>
                  <a:gd name="connsiteY80" fmla="*/ 1333500 h 3822033"/>
                  <a:gd name="connsiteX81" fmla="*/ 3429000 w 3457575"/>
                  <a:gd name="connsiteY81" fmla="*/ 1390650 h 3822033"/>
                  <a:gd name="connsiteX82" fmla="*/ 3457575 w 3457575"/>
                  <a:gd name="connsiteY82" fmla="*/ 1657350 h 3822033"/>
                  <a:gd name="connsiteX83" fmla="*/ 3381375 w 3457575"/>
                  <a:gd name="connsiteY83" fmla="*/ 2238375 h 3822033"/>
                  <a:gd name="connsiteX84" fmla="*/ 3343275 w 3457575"/>
                  <a:gd name="connsiteY84" fmla="*/ 2333625 h 3822033"/>
                  <a:gd name="connsiteX85" fmla="*/ 3276600 w 3457575"/>
                  <a:gd name="connsiteY85" fmla="*/ 2400300 h 3822033"/>
                  <a:gd name="connsiteX86" fmla="*/ 3190875 w 3457575"/>
                  <a:gd name="connsiteY86" fmla="*/ 2533650 h 3822033"/>
                  <a:gd name="connsiteX87" fmla="*/ 3105150 w 3457575"/>
                  <a:gd name="connsiteY87" fmla="*/ 2647950 h 3822033"/>
                  <a:gd name="connsiteX88" fmla="*/ 3019425 w 3457575"/>
                  <a:gd name="connsiteY88" fmla="*/ 2781300 h 3822033"/>
                  <a:gd name="connsiteX89" fmla="*/ 2981325 w 3457575"/>
                  <a:gd name="connsiteY89" fmla="*/ 2819400 h 3822033"/>
                  <a:gd name="connsiteX90" fmla="*/ 2943225 w 3457575"/>
                  <a:gd name="connsiteY90" fmla="*/ 2876550 h 3822033"/>
                  <a:gd name="connsiteX91" fmla="*/ 2857500 w 3457575"/>
                  <a:gd name="connsiteY91" fmla="*/ 2933700 h 3822033"/>
                  <a:gd name="connsiteX92" fmla="*/ 2809875 w 3457575"/>
                  <a:gd name="connsiteY92" fmla="*/ 2971800 h 3822033"/>
                  <a:gd name="connsiteX93" fmla="*/ 2705100 w 3457575"/>
                  <a:gd name="connsiteY93" fmla="*/ 3038475 h 3822033"/>
                  <a:gd name="connsiteX94" fmla="*/ 2609850 w 3457575"/>
                  <a:gd name="connsiteY94" fmla="*/ 3105150 h 3822033"/>
                  <a:gd name="connsiteX95" fmla="*/ 2562225 w 3457575"/>
                  <a:gd name="connsiteY95" fmla="*/ 3143250 h 3822033"/>
                  <a:gd name="connsiteX96" fmla="*/ 2495550 w 3457575"/>
                  <a:gd name="connsiteY96" fmla="*/ 3162300 h 3822033"/>
                  <a:gd name="connsiteX97" fmla="*/ 2362200 w 3457575"/>
                  <a:gd name="connsiteY97" fmla="*/ 3219450 h 3822033"/>
                  <a:gd name="connsiteX98" fmla="*/ 2257425 w 3457575"/>
                  <a:gd name="connsiteY98" fmla="*/ 3257550 h 3822033"/>
                  <a:gd name="connsiteX99" fmla="*/ 2181225 w 3457575"/>
                  <a:gd name="connsiteY99" fmla="*/ 3276600 h 3822033"/>
                  <a:gd name="connsiteX100" fmla="*/ 2057400 w 3457575"/>
                  <a:gd name="connsiteY100" fmla="*/ 3362325 h 3822033"/>
                  <a:gd name="connsiteX101" fmla="*/ 2009775 w 3457575"/>
                  <a:gd name="connsiteY101" fmla="*/ 3400425 h 3822033"/>
                  <a:gd name="connsiteX102" fmla="*/ 1962150 w 3457575"/>
                  <a:gd name="connsiteY102" fmla="*/ 3429000 h 3822033"/>
                  <a:gd name="connsiteX103" fmla="*/ 1905000 w 3457575"/>
                  <a:gd name="connsiteY103" fmla="*/ 3495675 h 3822033"/>
                  <a:gd name="connsiteX104" fmla="*/ 1819275 w 3457575"/>
                  <a:gd name="connsiteY104" fmla="*/ 3609975 h 3822033"/>
                  <a:gd name="connsiteX105" fmla="*/ 1800225 w 3457575"/>
                  <a:gd name="connsiteY105" fmla="*/ 3638550 h 3822033"/>
                  <a:gd name="connsiteX106" fmla="*/ 1790700 w 3457575"/>
                  <a:gd name="connsiteY106" fmla="*/ 3667125 h 3822033"/>
                  <a:gd name="connsiteX107" fmla="*/ 1771650 w 3457575"/>
                  <a:gd name="connsiteY107" fmla="*/ 3695700 h 3822033"/>
                  <a:gd name="connsiteX108" fmla="*/ 1752600 w 3457575"/>
                  <a:gd name="connsiteY108" fmla="*/ 3733800 h 3822033"/>
                  <a:gd name="connsiteX109" fmla="*/ 1714500 w 3457575"/>
                  <a:gd name="connsiteY109" fmla="*/ 3810000 h 3822033"/>
                  <a:gd name="connsiteX110" fmla="*/ 1704975 w 3457575"/>
                  <a:gd name="connsiteY11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533525 w 3457575"/>
                  <a:gd name="connsiteY3" fmla="*/ 3543300 h 3822033"/>
                  <a:gd name="connsiteX4" fmla="*/ 1409700 w 3457575"/>
                  <a:gd name="connsiteY4" fmla="*/ 3438525 h 3822033"/>
                  <a:gd name="connsiteX5" fmla="*/ 1371600 w 3457575"/>
                  <a:gd name="connsiteY5" fmla="*/ 3419475 h 3822033"/>
                  <a:gd name="connsiteX6" fmla="*/ 1343025 w 3457575"/>
                  <a:gd name="connsiteY6" fmla="*/ 3400425 h 3822033"/>
                  <a:gd name="connsiteX7" fmla="*/ 1247775 w 3457575"/>
                  <a:gd name="connsiteY7" fmla="*/ 3381375 h 3822033"/>
                  <a:gd name="connsiteX8" fmla="*/ 1133475 w 3457575"/>
                  <a:gd name="connsiteY8" fmla="*/ 3324225 h 3822033"/>
                  <a:gd name="connsiteX9" fmla="*/ 1009650 w 3457575"/>
                  <a:gd name="connsiteY9" fmla="*/ 3276600 h 3822033"/>
                  <a:gd name="connsiteX10" fmla="*/ 962025 w 3457575"/>
                  <a:gd name="connsiteY10" fmla="*/ 3238500 h 3822033"/>
                  <a:gd name="connsiteX11" fmla="*/ 923925 w 3457575"/>
                  <a:gd name="connsiteY11" fmla="*/ 3219450 h 3822033"/>
                  <a:gd name="connsiteX12" fmla="*/ 790575 w 3457575"/>
                  <a:gd name="connsiteY12" fmla="*/ 3162300 h 3822033"/>
                  <a:gd name="connsiteX13" fmla="*/ 638175 w 3457575"/>
                  <a:gd name="connsiteY13" fmla="*/ 3048000 h 3822033"/>
                  <a:gd name="connsiteX14" fmla="*/ 619125 w 3457575"/>
                  <a:gd name="connsiteY14" fmla="*/ 3009900 h 3822033"/>
                  <a:gd name="connsiteX15" fmla="*/ 571500 w 3457575"/>
                  <a:gd name="connsiteY15" fmla="*/ 2943225 h 3822033"/>
                  <a:gd name="connsiteX16" fmla="*/ 333375 w 3457575"/>
                  <a:gd name="connsiteY16" fmla="*/ 2676525 h 3822033"/>
                  <a:gd name="connsiteX17" fmla="*/ 295275 w 3457575"/>
                  <a:gd name="connsiteY17" fmla="*/ 2581275 h 3822033"/>
                  <a:gd name="connsiteX18" fmla="*/ 257175 w 3457575"/>
                  <a:gd name="connsiteY18" fmla="*/ 2495550 h 3822033"/>
                  <a:gd name="connsiteX19" fmla="*/ 228600 w 3457575"/>
                  <a:gd name="connsiteY19" fmla="*/ 2457450 h 3822033"/>
                  <a:gd name="connsiteX20" fmla="*/ 200025 w 3457575"/>
                  <a:gd name="connsiteY20" fmla="*/ 2371725 h 3822033"/>
                  <a:gd name="connsiteX21" fmla="*/ 180975 w 3457575"/>
                  <a:gd name="connsiteY21" fmla="*/ 2343150 h 3822033"/>
                  <a:gd name="connsiteX22" fmla="*/ 152400 w 3457575"/>
                  <a:gd name="connsiteY22" fmla="*/ 2219325 h 3822033"/>
                  <a:gd name="connsiteX23" fmla="*/ 142875 w 3457575"/>
                  <a:gd name="connsiteY23" fmla="*/ 2190750 h 3822033"/>
                  <a:gd name="connsiteX24" fmla="*/ 123825 w 3457575"/>
                  <a:gd name="connsiteY24" fmla="*/ 2143125 h 3822033"/>
                  <a:gd name="connsiteX25" fmla="*/ 95250 w 3457575"/>
                  <a:gd name="connsiteY25" fmla="*/ 2028825 h 3822033"/>
                  <a:gd name="connsiteX26" fmla="*/ 85725 w 3457575"/>
                  <a:gd name="connsiteY26" fmla="*/ 1990725 h 3822033"/>
                  <a:gd name="connsiteX27" fmla="*/ 57150 w 3457575"/>
                  <a:gd name="connsiteY27" fmla="*/ 1933575 h 3822033"/>
                  <a:gd name="connsiteX28" fmla="*/ 28575 w 3457575"/>
                  <a:gd name="connsiteY28" fmla="*/ 1819275 h 3822033"/>
                  <a:gd name="connsiteX29" fmla="*/ 9525 w 3457575"/>
                  <a:gd name="connsiteY29" fmla="*/ 1657350 h 3822033"/>
                  <a:gd name="connsiteX30" fmla="*/ 0 w 3457575"/>
                  <a:gd name="connsiteY30" fmla="*/ 1609725 h 3822033"/>
                  <a:gd name="connsiteX31" fmla="*/ 9525 w 3457575"/>
                  <a:gd name="connsiteY31" fmla="*/ 1428750 h 3822033"/>
                  <a:gd name="connsiteX32" fmla="*/ 28575 w 3457575"/>
                  <a:gd name="connsiteY32" fmla="*/ 1304925 h 3822033"/>
                  <a:gd name="connsiteX33" fmla="*/ 38100 w 3457575"/>
                  <a:gd name="connsiteY33" fmla="*/ 1247775 h 3822033"/>
                  <a:gd name="connsiteX34" fmla="*/ 76200 w 3457575"/>
                  <a:gd name="connsiteY34" fmla="*/ 1152525 h 3822033"/>
                  <a:gd name="connsiteX35" fmla="*/ 114300 w 3457575"/>
                  <a:gd name="connsiteY35" fmla="*/ 990600 h 3822033"/>
                  <a:gd name="connsiteX36" fmla="*/ 133350 w 3457575"/>
                  <a:gd name="connsiteY36" fmla="*/ 923925 h 3822033"/>
                  <a:gd name="connsiteX37" fmla="*/ 171450 w 3457575"/>
                  <a:gd name="connsiteY37" fmla="*/ 866775 h 3822033"/>
                  <a:gd name="connsiteX38" fmla="*/ 228600 w 3457575"/>
                  <a:gd name="connsiteY38" fmla="*/ 762000 h 3822033"/>
                  <a:gd name="connsiteX39" fmla="*/ 304800 w 3457575"/>
                  <a:gd name="connsiteY39" fmla="*/ 647700 h 3822033"/>
                  <a:gd name="connsiteX40" fmla="*/ 552450 w 3457575"/>
                  <a:gd name="connsiteY40" fmla="*/ 361950 h 3822033"/>
                  <a:gd name="connsiteX41" fmla="*/ 609600 w 3457575"/>
                  <a:gd name="connsiteY41" fmla="*/ 323850 h 3822033"/>
                  <a:gd name="connsiteX42" fmla="*/ 666750 w 3457575"/>
                  <a:gd name="connsiteY42" fmla="*/ 285750 h 3822033"/>
                  <a:gd name="connsiteX43" fmla="*/ 762000 w 3457575"/>
                  <a:gd name="connsiteY43" fmla="*/ 238125 h 3822033"/>
                  <a:gd name="connsiteX44" fmla="*/ 800100 w 3457575"/>
                  <a:gd name="connsiteY44" fmla="*/ 219075 h 3822033"/>
                  <a:gd name="connsiteX45" fmla="*/ 895350 w 3457575"/>
                  <a:gd name="connsiteY45" fmla="*/ 161925 h 3822033"/>
                  <a:gd name="connsiteX46" fmla="*/ 962025 w 3457575"/>
                  <a:gd name="connsiteY46" fmla="*/ 133350 h 3822033"/>
                  <a:gd name="connsiteX47" fmla="*/ 1123950 w 3457575"/>
                  <a:gd name="connsiteY47" fmla="*/ 76200 h 3822033"/>
                  <a:gd name="connsiteX48" fmla="*/ 1162050 w 3457575"/>
                  <a:gd name="connsiteY48" fmla="*/ 66675 h 3822033"/>
                  <a:gd name="connsiteX49" fmla="*/ 1438275 w 3457575"/>
                  <a:gd name="connsiteY49" fmla="*/ 0 h 3822033"/>
                  <a:gd name="connsiteX50" fmla="*/ 2038350 w 3457575"/>
                  <a:gd name="connsiteY50" fmla="*/ 9525 h 3822033"/>
                  <a:gd name="connsiteX51" fmla="*/ 2105025 w 3457575"/>
                  <a:gd name="connsiteY51" fmla="*/ 19050 h 3822033"/>
                  <a:gd name="connsiteX52" fmla="*/ 2162175 w 3457575"/>
                  <a:gd name="connsiteY52" fmla="*/ 47625 h 3822033"/>
                  <a:gd name="connsiteX53" fmla="*/ 2228850 w 3457575"/>
                  <a:gd name="connsiteY53" fmla="*/ 66675 h 3822033"/>
                  <a:gd name="connsiteX54" fmla="*/ 2343150 w 3457575"/>
                  <a:gd name="connsiteY54" fmla="*/ 133350 h 3822033"/>
                  <a:gd name="connsiteX55" fmla="*/ 2390775 w 3457575"/>
                  <a:gd name="connsiteY55" fmla="*/ 142875 h 3822033"/>
                  <a:gd name="connsiteX56" fmla="*/ 2457450 w 3457575"/>
                  <a:gd name="connsiteY56" fmla="*/ 171450 h 3822033"/>
                  <a:gd name="connsiteX57" fmla="*/ 2486025 w 3457575"/>
                  <a:gd name="connsiteY57" fmla="*/ 200025 h 3822033"/>
                  <a:gd name="connsiteX58" fmla="*/ 2571750 w 3457575"/>
                  <a:gd name="connsiteY58" fmla="*/ 228600 h 3822033"/>
                  <a:gd name="connsiteX59" fmla="*/ 2676525 w 3457575"/>
                  <a:gd name="connsiteY59" fmla="*/ 285750 h 3822033"/>
                  <a:gd name="connsiteX60" fmla="*/ 2705100 w 3457575"/>
                  <a:gd name="connsiteY60" fmla="*/ 304800 h 3822033"/>
                  <a:gd name="connsiteX61" fmla="*/ 2733675 w 3457575"/>
                  <a:gd name="connsiteY61" fmla="*/ 333375 h 3822033"/>
                  <a:gd name="connsiteX62" fmla="*/ 2771775 w 3457575"/>
                  <a:gd name="connsiteY62" fmla="*/ 361950 h 3822033"/>
                  <a:gd name="connsiteX63" fmla="*/ 2809875 w 3457575"/>
                  <a:gd name="connsiteY63" fmla="*/ 400050 h 3822033"/>
                  <a:gd name="connsiteX64" fmla="*/ 2867025 w 3457575"/>
                  <a:gd name="connsiteY64" fmla="*/ 438150 h 3822033"/>
                  <a:gd name="connsiteX65" fmla="*/ 2905125 w 3457575"/>
                  <a:gd name="connsiteY65" fmla="*/ 476250 h 3822033"/>
                  <a:gd name="connsiteX66" fmla="*/ 2971800 w 3457575"/>
                  <a:gd name="connsiteY66" fmla="*/ 523875 h 3822033"/>
                  <a:gd name="connsiteX67" fmla="*/ 2990850 w 3457575"/>
                  <a:gd name="connsiteY67" fmla="*/ 552450 h 3822033"/>
                  <a:gd name="connsiteX68" fmla="*/ 3028950 w 3457575"/>
                  <a:gd name="connsiteY68" fmla="*/ 590550 h 3822033"/>
                  <a:gd name="connsiteX69" fmla="*/ 3048000 w 3457575"/>
                  <a:gd name="connsiteY69" fmla="*/ 628650 h 3822033"/>
                  <a:gd name="connsiteX70" fmla="*/ 3086100 w 3457575"/>
                  <a:gd name="connsiteY70" fmla="*/ 666750 h 3822033"/>
                  <a:gd name="connsiteX71" fmla="*/ 3124200 w 3457575"/>
                  <a:gd name="connsiteY71" fmla="*/ 723900 h 3822033"/>
                  <a:gd name="connsiteX72" fmla="*/ 3219450 w 3457575"/>
                  <a:gd name="connsiteY72" fmla="*/ 838200 h 3822033"/>
                  <a:gd name="connsiteX73" fmla="*/ 3238500 w 3457575"/>
                  <a:gd name="connsiteY73" fmla="*/ 885825 h 3822033"/>
                  <a:gd name="connsiteX74" fmla="*/ 3276600 w 3457575"/>
                  <a:gd name="connsiteY74" fmla="*/ 942975 h 3822033"/>
                  <a:gd name="connsiteX75" fmla="*/ 3286125 w 3457575"/>
                  <a:gd name="connsiteY75" fmla="*/ 990600 h 3822033"/>
                  <a:gd name="connsiteX76" fmla="*/ 3324225 w 3457575"/>
                  <a:gd name="connsiteY76" fmla="*/ 1085850 h 3822033"/>
                  <a:gd name="connsiteX77" fmla="*/ 3362325 w 3457575"/>
                  <a:gd name="connsiteY77" fmla="*/ 1171575 h 3822033"/>
                  <a:gd name="connsiteX78" fmla="*/ 3390900 w 3457575"/>
                  <a:gd name="connsiteY78" fmla="*/ 1219200 h 3822033"/>
                  <a:gd name="connsiteX79" fmla="*/ 3419475 w 3457575"/>
                  <a:gd name="connsiteY79" fmla="*/ 1333500 h 3822033"/>
                  <a:gd name="connsiteX80" fmla="*/ 3429000 w 3457575"/>
                  <a:gd name="connsiteY80" fmla="*/ 1390650 h 3822033"/>
                  <a:gd name="connsiteX81" fmla="*/ 3457575 w 3457575"/>
                  <a:gd name="connsiteY81" fmla="*/ 1657350 h 3822033"/>
                  <a:gd name="connsiteX82" fmla="*/ 3381375 w 3457575"/>
                  <a:gd name="connsiteY82" fmla="*/ 2238375 h 3822033"/>
                  <a:gd name="connsiteX83" fmla="*/ 3343275 w 3457575"/>
                  <a:gd name="connsiteY83" fmla="*/ 2333625 h 3822033"/>
                  <a:gd name="connsiteX84" fmla="*/ 3276600 w 3457575"/>
                  <a:gd name="connsiteY84" fmla="*/ 2400300 h 3822033"/>
                  <a:gd name="connsiteX85" fmla="*/ 3190875 w 3457575"/>
                  <a:gd name="connsiteY85" fmla="*/ 2533650 h 3822033"/>
                  <a:gd name="connsiteX86" fmla="*/ 3105150 w 3457575"/>
                  <a:gd name="connsiteY86" fmla="*/ 2647950 h 3822033"/>
                  <a:gd name="connsiteX87" fmla="*/ 3019425 w 3457575"/>
                  <a:gd name="connsiteY87" fmla="*/ 2781300 h 3822033"/>
                  <a:gd name="connsiteX88" fmla="*/ 2981325 w 3457575"/>
                  <a:gd name="connsiteY88" fmla="*/ 2819400 h 3822033"/>
                  <a:gd name="connsiteX89" fmla="*/ 2943225 w 3457575"/>
                  <a:gd name="connsiteY89" fmla="*/ 2876550 h 3822033"/>
                  <a:gd name="connsiteX90" fmla="*/ 2857500 w 3457575"/>
                  <a:gd name="connsiteY90" fmla="*/ 2933700 h 3822033"/>
                  <a:gd name="connsiteX91" fmla="*/ 2809875 w 3457575"/>
                  <a:gd name="connsiteY91" fmla="*/ 2971800 h 3822033"/>
                  <a:gd name="connsiteX92" fmla="*/ 2705100 w 3457575"/>
                  <a:gd name="connsiteY92" fmla="*/ 3038475 h 3822033"/>
                  <a:gd name="connsiteX93" fmla="*/ 2609850 w 3457575"/>
                  <a:gd name="connsiteY93" fmla="*/ 3105150 h 3822033"/>
                  <a:gd name="connsiteX94" fmla="*/ 2562225 w 3457575"/>
                  <a:gd name="connsiteY94" fmla="*/ 3143250 h 3822033"/>
                  <a:gd name="connsiteX95" fmla="*/ 2495550 w 3457575"/>
                  <a:gd name="connsiteY95" fmla="*/ 3162300 h 3822033"/>
                  <a:gd name="connsiteX96" fmla="*/ 2362200 w 3457575"/>
                  <a:gd name="connsiteY96" fmla="*/ 3219450 h 3822033"/>
                  <a:gd name="connsiteX97" fmla="*/ 2257425 w 3457575"/>
                  <a:gd name="connsiteY97" fmla="*/ 3257550 h 3822033"/>
                  <a:gd name="connsiteX98" fmla="*/ 2181225 w 3457575"/>
                  <a:gd name="connsiteY98" fmla="*/ 3276600 h 3822033"/>
                  <a:gd name="connsiteX99" fmla="*/ 2057400 w 3457575"/>
                  <a:gd name="connsiteY99" fmla="*/ 3362325 h 3822033"/>
                  <a:gd name="connsiteX100" fmla="*/ 2009775 w 3457575"/>
                  <a:gd name="connsiteY100" fmla="*/ 3400425 h 3822033"/>
                  <a:gd name="connsiteX101" fmla="*/ 1962150 w 3457575"/>
                  <a:gd name="connsiteY101" fmla="*/ 3429000 h 3822033"/>
                  <a:gd name="connsiteX102" fmla="*/ 1905000 w 3457575"/>
                  <a:gd name="connsiteY102" fmla="*/ 3495675 h 3822033"/>
                  <a:gd name="connsiteX103" fmla="*/ 1819275 w 3457575"/>
                  <a:gd name="connsiteY103" fmla="*/ 3609975 h 3822033"/>
                  <a:gd name="connsiteX104" fmla="*/ 1800225 w 3457575"/>
                  <a:gd name="connsiteY104" fmla="*/ 3638550 h 3822033"/>
                  <a:gd name="connsiteX105" fmla="*/ 1790700 w 3457575"/>
                  <a:gd name="connsiteY105" fmla="*/ 3667125 h 3822033"/>
                  <a:gd name="connsiteX106" fmla="*/ 1771650 w 3457575"/>
                  <a:gd name="connsiteY106" fmla="*/ 3695700 h 3822033"/>
                  <a:gd name="connsiteX107" fmla="*/ 1752600 w 3457575"/>
                  <a:gd name="connsiteY107" fmla="*/ 3733800 h 3822033"/>
                  <a:gd name="connsiteX108" fmla="*/ 1714500 w 3457575"/>
                  <a:gd name="connsiteY108" fmla="*/ 3810000 h 3822033"/>
                  <a:gd name="connsiteX109" fmla="*/ 1704975 w 3457575"/>
                  <a:gd name="connsiteY10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343275 w 3457575"/>
                  <a:gd name="connsiteY82" fmla="*/ 2333625 h 3822033"/>
                  <a:gd name="connsiteX83" fmla="*/ 3276600 w 3457575"/>
                  <a:gd name="connsiteY83" fmla="*/ 2400300 h 3822033"/>
                  <a:gd name="connsiteX84" fmla="*/ 3190875 w 3457575"/>
                  <a:gd name="connsiteY84" fmla="*/ 2533650 h 3822033"/>
                  <a:gd name="connsiteX85" fmla="*/ 3105150 w 3457575"/>
                  <a:gd name="connsiteY85" fmla="*/ 2647950 h 3822033"/>
                  <a:gd name="connsiteX86" fmla="*/ 3019425 w 3457575"/>
                  <a:gd name="connsiteY86" fmla="*/ 2781300 h 3822033"/>
                  <a:gd name="connsiteX87" fmla="*/ 2981325 w 3457575"/>
                  <a:gd name="connsiteY87" fmla="*/ 2819400 h 3822033"/>
                  <a:gd name="connsiteX88" fmla="*/ 2943225 w 3457575"/>
                  <a:gd name="connsiteY88" fmla="*/ 2876550 h 3822033"/>
                  <a:gd name="connsiteX89" fmla="*/ 2857500 w 3457575"/>
                  <a:gd name="connsiteY89" fmla="*/ 2933700 h 3822033"/>
                  <a:gd name="connsiteX90" fmla="*/ 2809875 w 3457575"/>
                  <a:gd name="connsiteY90" fmla="*/ 2971800 h 3822033"/>
                  <a:gd name="connsiteX91" fmla="*/ 2705100 w 3457575"/>
                  <a:gd name="connsiteY91" fmla="*/ 3038475 h 3822033"/>
                  <a:gd name="connsiteX92" fmla="*/ 2609850 w 3457575"/>
                  <a:gd name="connsiteY92" fmla="*/ 3105150 h 3822033"/>
                  <a:gd name="connsiteX93" fmla="*/ 2562225 w 3457575"/>
                  <a:gd name="connsiteY93" fmla="*/ 3143250 h 3822033"/>
                  <a:gd name="connsiteX94" fmla="*/ 2495550 w 3457575"/>
                  <a:gd name="connsiteY94" fmla="*/ 3162300 h 3822033"/>
                  <a:gd name="connsiteX95" fmla="*/ 2362200 w 3457575"/>
                  <a:gd name="connsiteY95" fmla="*/ 3219450 h 3822033"/>
                  <a:gd name="connsiteX96" fmla="*/ 2257425 w 3457575"/>
                  <a:gd name="connsiteY96" fmla="*/ 3257550 h 3822033"/>
                  <a:gd name="connsiteX97" fmla="*/ 2181225 w 3457575"/>
                  <a:gd name="connsiteY97" fmla="*/ 3276600 h 3822033"/>
                  <a:gd name="connsiteX98" fmla="*/ 2057400 w 3457575"/>
                  <a:gd name="connsiteY98" fmla="*/ 3362325 h 3822033"/>
                  <a:gd name="connsiteX99" fmla="*/ 2009775 w 3457575"/>
                  <a:gd name="connsiteY99" fmla="*/ 3400425 h 3822033"/>
                  <a:gd name="connsiteX100" fmla="*/ 1962150 w 3457575"/>
                  <a:gd name="connsiteY100" fmla="*/ 3429000 h 3822033"/>
                  <a:gd name="connsiteX101" fmla="*/ 1905000 w 3457575"/>
                  <a:gd name="connsiteY101" fmla="*/ 3495675 h 3822033"/>
                  <a:gd name="connsiteX102" fmla="*/ 1819275 w 3457575"/>
                  <a:gd name="connsiteY102" fmla="*/ 3609975 h 3822033"/>
                  <a:gd name="connsiteX103" fmla="*/ 1800225 w 3457575"/>
                  <a:gd name="connsiteY103" fmla="*/ 3638550 h 3822033"/>
                  <a:gd name="connsiteX104" fmla="*/ 1790700 w 3457575"/>
                  <a:gd name="connsiteY104" fmla="*/ 3667125 h 3822033"/>
                  <a:gd name="connsiteX105" fmla="*/ 1771650 w 3457575"/>
                  <a:gd name="connsiteY105" fmla="*/ 3695700 h 3822033"/>
                  <a:gd name="connsiteX106" fmla="*/ 1752600 w 3457575"/>
                  <a:gd name="connsiteY106" fmla="*/ 3733800 h 3822033"/>
                  <a:gd name="connsiteX107" fmla="*/ 1714500 w 3457575"/>
                  <a:gd name="connsiteY107" fmla="*/ 3810000 h 3822033"/>
                  <a:gd name="connsiteX108" fmla="*/ 1704975 w 3457575"/>
                  <a:gd name="connsiteY10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62325 w 3457575"/>
                  <a:gd name="connsiteY81" fmla="*/ 21875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57150 w 3457575"/>
                  <a:gd name="connsiteY25" fmla="*/ 1933575 h 3822033"/>
                  <a:gd name="connsiteX26" fmla="*/ 28575 w 3457575"/>
                  <a:gd name="connsiteY26" fmla="*/ 1819275 h 3822033"/>
                  <a:gd name="connsiteX27" fmla="*/ 9525 w 3457575"/>
                  <a:gd name="connsiteY27" fmla="*/ 1657350 h 3822033"/>
                  <a:gd name="connsiteX28" fmla="*/ 0 w 3457575"/>
                  <a:gd name="connsiteY28" fmla="*/ 1609725 h 3822033"/>
                  <a:gd name="connsiteX29" fmla="*/ 9525 w 3457575"/>
                  <a:gd name="connsiteY29" fmla="*/ 1428750 h 3822033"/>
                  <a:gd name="connsiteX30" fmla="*/ 28575 w 3457575"/>
                  <a:gd name="connsiteY30" fmla="*/ 1304925 h 3822033"/>
                  <a:gd name="connsiteX31" fmla="*/ 38100 w 3457575"/>
                  <a:gd name="connsiteY31" fmla="*/ 1247775 h 3822033"/>
                  <a:gd name="connsiteX32" fmla="*/ 76200 w 3457575"/>
                  <a:gd name="connsiteY32" fmla="*/ 1152525 h 3822033"/>
                  <a:gd name="connsiteX33" fmla="*/ 114300 w 3457575"/>
                  <a:gd name="connsiteY33" fmla="*/ 990600 h 3822033"/>
                  <a:gd name="connsiteX34" fmla="*/ 133350 w 3457575"/>
                  <a:gd name="connsiteY34" fmla="*/ 923925 h 3822033"/>
                  <a:gd name="connsiteX35" fmla="*/ 171450 w 3457575"/>
                  <a:gd name="connsiteY35" fmla="*/ 866775 h 3822033"/>
                  <a:gd name="connsiteX36" fmla="*/ 228600 w 3457575"/>
                  <a:gd name="connsiteY36" fmla="*/ 762000 h 3822033"/>
                  <a:gd name="connsiteX37" fmla="*/ 304800 w 3457575"/>
                  <a:gd name="connsiteY37" fmla="*/ 647700 h 3822033"/>
                  <a:gd name="connsiteX38" fmla="*/ 552450 w 3457575"/>
                  <a:gd name="connsiteY38" fmla="*/ 361950 h 3822033"/>
                  <a:gd name="connsiteX39" fmla="*/ 609600 w 3457575"/>
                  <a:gd name="connsiteY39" fmla="*/ 323850 h 3822033"/>
                  <a:gd name="connsiteX40" fmla="*/ 666750 w 3457575"/>
                  <a:gd name="connsiteY40" fmla="*/ 285750 h 3822033"/>
                  <a:gd name="connsiteX41" fmla="*/ 762000 w 3457575"/>
                  <a:gd name="connsiteY41" fmla="*/ 238125 h 3822033"/>
                  <a:gd name="connsiteX42" fmla="*/ 800100 w 3457575"/>
                  <a:gd name="connsiteY42" fmla="*/ 219075 h 3822033"/>
                  <a:gd name="connsiteX43" fmla="*/ 895350 w 3457575"/>
                  <a:gd name="connsiteY43" fmla="*/ 161925 h 3822033"/>
                  <a:gd name="connsiteX44" fmla="*/ 962025 w 3457575"/>
                  <a:gd name="connsiteY44" fmla="*/ 133350 h 3822033"/>
                  <a:gd name="connsiteX45" fmla="*/ 1123950 w 3457575"/>
                  <a:gd name="connsiteY45" fmla="*/ 76200 h 3822033"/>
                  <a:gd name="connsiteX46" fmla="*/ 1162050 w 3457575"/>
                  <a:gd name="connsiteY46" fmla="*/ 66675 h 3822033"/>
                  <a:gd name="connsiteX47" fmla="*/ 1438275 w 3457575"/>
                  <a:gd name="connsiteY47" fmla="*/ 0 h 3822033"/>
                  <a:gd name="connsiteX48" fmla="*/ 2038350 w 3457575"/>
                  <a:gd name="connsiteY48" fmla="*/ 9525 h 3822033"/>
                  <a:gd name="connsiteX49" fmla="*/ 2105025 w 3457575"/>
                  <a:gd name="connsiteY49" fmla="*/ 19050 h 3822033"/>
                  <a:gd name="connsiteX50" fmla="*/ 2162175 w 3457575"/>
                  <a:gd name="connsiteY50" fmla="*/ 47625 h 3822033"/>
                  <a:gd name="connsiteX51" fmla="*/ 2228850 w 3457575"/>
                  <a:gd name="connsiteY51" fmla="*/ 66675 h 3822033"/>
                  <a:gd name="connsiteX52" fmla="*/ 2343150 w 3457575"/>
                  <a:gd name="connsiteY52" fmla="*/ 133350 h 3822033"/>
                  <a:gd name="connsiteX53" fmla="*/ 2390775 w 3457575"/>
                  <a:gd name="connsiteY53" fmla="*/ 142875 h 3822033"/>
                  <a:gd name="connsiteX54" fmla="*/ 2457450 w 3457575"/>
                  <a:gd name="connsiteY54" fmla="*/ 171450 h 3822033"/>
                  <a:gd name="connsiteX55" fmla="*/ 2486025 w 3457575"/>
                  <a:gd name="connsiteY55" fmla="*/ 200025 h 3822033"/>
                  <a:gd name="connsiteX56" fmla="*/ 2571750 w 3457575"/>
                  <a:gd name="connsiteY56" fmla="*/ 228600 h 3822033"/>
                  <a:gd name="connsiteX57" fmla="*/ 2676525 w 3457575"/>
                  <a:gd name="connsiteY57" fmla="*/ 285750 h 3822033"/>
                  <a:gd name="connsiteX58" fmla="*/ 2705100 w 3457575"/>
                  <a:gd name="connsiteY58" fmla="*/ 304800 h 3822033"/>
                  <a:gd name="connsiteX59" fmla="*/ 2733675 w 3457575"/>
                  <a:gd name="connsiteY59" fmla="*/ 333375 h 3822033"/>
                  <a:gd name="connsiteX60" fmla="*/ 2771775 w 3457575"/>
                  <a:gd name="connsiteY60" fmla="*/ 361950 h 3822033"/>
                  <a:gd name="connsiteX61" fmla="*/ 2809875 w 3457575"/>
                  <a:gd name="connsiteY61" fmla="*/ 400050 h 3822033"/>
                  <a:gd name="connsiteX62" fmla="*/ 2867025 w 3457575"/>
                  <a:gd name="connsiteY62" fmla="*/ 438150 h 3822033"/>
                  <a:gd name="connsiteX63" fmla="*/ 2905125 w 3457575"/>
                  <a:gd name="connsiteY63" fmla="*/ 476250 h 3822033"/>
                  <a:gd name="connsiteX64" fmla="*/ 2971800 w 3457575"/>
                  <a:gd name="connsiteY64" fmla="*/ 523875 h 3822033"/>
                  <a:gd name="connsiteX65" fmla="*/ 2990850 w 3457575"/>
                  <a:gd name="connsiteY65" fmla="*/ 552450 h 3822033"/>
                  <a:gd name="connsiteX66" fmla="*/ 3028950 w 3457575"/>
                  <a:gd name="connsiteY66" fmla="*/ 590550 h 3822033"/>
                  <a:gd name="connsiteX67" fmla="*/ 3048000 w 3457575"/>
                  <a:gd name="connsiteY67" fmla="*/ 628650 h 3822033"/>
                  <a:gd name="connsiteX68" fmla="*/ 3086100 w 3457575"/>
                  <a:gd name="connsiteY68" fmla="*/ 666750 h 3822033"/>
                  <a:gd name="connsiteX69" fmla="*/ 3124200 w 3457575"/>
                  <a:gd name="connsiteY69" fmla="*/ 723900 h 3822033"/>
                  <a:gd name="connsiteX70" fmla="*/ 3219450 w 3457575"/>
                  <a:gd name="connsiteY70" fmla="*/ 838200 h 3822033"/>
                  <a:gd name="connsiteX71" fmla="*/ 3238500 w 3457575"/>
                  <a:gd name="connsiteY71" fmla="*/ 885825 h 3822033"/>
                  <a:gd name="connsiteX72" fmla="*/ 3276600 w 3457575"/>
                  <a:gd name="connsiteY72" fmla="*/ 942975 h 3822033"/>
                  <a:gd name="connsiteX73" fmla="*/ 3286125 w 3457575"/>
                  <a:gd name="connsiteY73" fmla="*/ 990600 h 3822033"/>
                  <a:gd name="connsiteX74" fmla="*/ 3324225 w 3457575"/>
                  <a:gd name="connsiteY74" fmla="*/ 1085850 h 3822033"/>
                  <a:gd name="connsiteX75" fmla="*/ 3362325 w 3457575"/>
                  <a:gd name="connsiteY75" fmla="*/ 1171575 h 3822033"/>
                  <a:gd name="connsiteX76" fmla="*/ 3390900 w 3457575"/>
                  <a:gd name="connsiteY76" fmla="*/ 1219200 h 3822033"/>
                  <a:gd name="connsiteX77" fmla="*/ 3419475 w 3457575"/>
                  <a:gd name="connsiteY77" fmla="*/ 1333500 h 3822033"/>
                  <a:gd name="connsiteX78" fmla="*/ 3429000 w 3457575"/>
                  <a:gd name="connsiteY78" fmla="*/ 1390650 h 3822033"/>
                  <a:gd name="connsiteX79" fmla="*/ 3457575 w 3457575"/>
                  <a:gd name="connsiteY79" fmla="*/ 1657350 h 3822033"/>
                  <a:gd name="connsiteX80" fmla="*/ 3362325 w 3457575"/>
                  <a:gd name="connsiteY80" fmla="*/ 2187575 h 3822033"/>
                  <a:gd name="connsiteX81" fmla="*/ 3276600 w 3457575"/>
                  <a:gd name="connsiteY81" fmla="*/ 2400300 h 3822033"/>
                  <a:gd name="connsiteX82" fmla="*/ 3190875 w 3457575"/>
                  <a:gd name="connsiteY82" fmla="*/ 2533650 h 3822033"/>
                  <a:gd name="connsiteX83" fmla="*/ 3105150 w 3457575"/>
                  <a:gd name="connsiteY83" fmla="*/ 2647950 h 3822033"/>
                  <a:gd name="connsiteX84" fmla="*/ 3019425 w 3457575"/>
                  <a:gd name="connsiteY84" fmla="*/ 2781300 h 3822033"/>
                  <a:gd name="connsiteX85" fmla="*/ 2981325 w 3457575"/>
                  <a:gd name="connsiteY85" fmla="*/ 2819400 h 3822033"/>
                  <a:gd name="connsiteX86" fmla="*/ 2943225 w 3457575"/>
                  <a:gd name="connsiteY86" fmla="*/ 2876550 h 3822033"/>
                  <a:gd name="connsiteX87" fmla="*/ 2857500 w 3457575"/>
                  <a:gd name="connsiteY87" fmla="*/ 2933700 h 3822033"/>
                  <a:gd name="connsiteX88" fmla="*/ 2809875 w 3457575"/>
                  <a:gd name="connsiteY88" fmla="*/ 2971800 h 3822033"/>
                  <a:gd name="connsiteX89" fmla="*/ 2705100 w 3457575"/>
                  <a:gd name="connsiteY89" fmla="*/ 3038475 h 3822033"/>
                  <a:gd name="connsiteX90" fmla="*/ 2609850 w 3457575"/>
                  <a:gd name="connsiteY90" fmla="*/ 3105150 h 3822033"/>
                  <a:gd name="connsiteX91" fmla="*/ 2562225 w 3457575"/>
                  <a:gd name="connsiteY91" fmla="*/ 3143250 h 3822033"/>
                  <a:gd name="connsiteX92" fmla="*/ 2495550 w 3457575"/>
                  <a:gd name="connsiteY92" fmla="*/ 3162300 h 3822033"/>
                  <a:gd name="connsiteX93" fmla="*/ 2362200 w 3457575"/>
                  <a:gd name="connsiteY93" fmla="*/ 3219450 h 3822033"/>
                  <a:gd name="connsiteX94" fmla="*/ 2257425 w 3457575"/>
                  <a:gd name="connsiteY94" fmla="*/ 3257550 h 3822033"/>
                  <a:gd name="connsiteX95" fmla="*/ 2181225 w 3457575"/>
                  <a:gd name="connsiteY95" fmla="*/ 3276600 h 3822033"/>
                  <a:gd name="connsiteX96" fmla="*/ 2057400 w 3457575"/>
                  <a:gd name="connsiteY96" fmla="*/ 3362325 h 3822033"/>
                  <a:gd name="connsiteX97" fmla="*/ 2009775 w 3457575"/>
                  <a:gd name="connsiteY97" fmla="*/ 3400425 h 3822033"/>
                  <a:gd name="connsiteX98" fmla="*/ 1962150 w 3457575"/>
                  <a:gd name="connsiteY98" fmla="*/ 3429000 h 3822033"/>
                  <a:gd name="connsiteX99" fmla="*/ 1905000 w 3457575"/>
                  <a:gd name="connsiteY99" fmla="*/ 3495675 h 3822033"/>
                  <a:gd name="connsiteX100" fmla="*/ 1819275 w 3457575"/>
                  <a:gd name="connsiteY100" fmla="*/ 3609975 h 3822033"/>
                  <a:gd name="connsiteX101" fmla="*/ 1800225 w 3457575"/>
                  <a:gd name="connsiteY101" fmla="*/ 3638550 h 3822033"/>
                  <a:gd name="connsiteX102" fmla="*/ 1790700 w 3457575"/>
                  <a:gd name="connsiteY102" fmla="*/ 3667125 h 3822033"/>
                  <a:gd name="connsiteX103" fmla="*/ 1771650 w 3457575"/>
                  <a:gd name="connsiteY103" fmla="*/ 3695700 h 3822033"/>
                  <a:gd name="connsiteX104" fmla="*/ 1752600 w 3457575"/>
                  <a:gd name="connsiteY104" fmla="*/ 3733800 h 3822033"/>
                  <a:gd name="connsiteX105" fmla="*/ 1714500 w 3457575"/>
                  <a:gd name="connsiteY105" fmla="*/ 3810000 h 3822033"/>
                  <a:gd name="connsiteX106" fmla="*/ 1704975 w 3457575"/>
                  <a:gd name="connsiteY10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57150 w 3457575"/>
                  <a:gd name="connsiteY24" fmla="*/ 19335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38100 w 3457575"/>
                  <a:gd name="connsiteY24" fmla="*/ 19589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23825 w 3457575"/>
                  <a:gd name="connsiteY22" fmla="*/ 2143125 h 3822033"/>
                  <a:gd name="connsiteX23" fmla="*/ 38100 w 3457575"/>
                  <a:gd name="connsiteY23" fmla="*/ 1958975 h 3822033"/>
                  <a:gd name="connsiteX24" fmla="*/ 28575 w 3457575"/>
                  <a:gd name="connsiteY24" fmla="*/ 1819275 h 3822033"/>
                  <a:gd name="connsiteX25" fmla="*/ 9525 w 3457575"/>
                  <a:gd name="connsiteY25" fmla="*/ 1657350 h 3822033"/>
                  <a:gd name="connsiteX26" fmla="*/ 0 w 3457575"/>
                  <a:gd name="connsiteY26" fmla="*/ 1609725 h 3822033"/>
                  <a:gd name="connsiteX27" fmla="*/ 9525 w 3457575"/>
                  <a:gd name="connsiteY27" fmla="*/ 1428750 h 3822033"/>
                  <a:gd name="connsiteX28" fmla="*/ 28575 w 3457575"/>
                  <a:gd name="connsiteY28" fmla="*/ 1304925 h 3822033"/>
                  <a:gd name="connsiteX29" fmla="*/ 38100 w 3457575"/>
                  <a:gd name="connsiteY29" fmla="*/ 1247775 h 3822033"/>
                  <a:gd name="connsiteX30" fmla="*/ 76200 w 3457575"/>
                  <a:gd name="connsiteY30" fmla="*/ 1152525 h 3822033"/>
                  <a:gd name="connsiteX31" fmla="*/ 114300 w 3457575"/>
                  <a:gd name="connsiteY31" fmla="*/ 990600 h 3822033"/>
                  <a:gd name="connsiteX32" fmla="*/ 133350 w 3457575"/>
                  <a:gd name="connsiteY32" fmla="*/ 923925 h 3822033"/>
                  <a:gd name="connsiteX33" fmla="*/ 171450 w 3457575"/>
                  <a:gd name="connsiteY33" fmla="*/ 866775 h 3822033"/>
                  <a:gd name="connsiteX34" fmla="*/ 228600 w 3457575"/>
                  <a:gd name="connsiteY34" fmla="*/ 762000 h 3822033"/>
                  <a:gd name="connsiteX35" fmla="*/ 304800 w 3457575"/>
                  <a:gd name="connsiteY35" fmla="*/ 647700 h 3822033"/>
                  <a:gd name="connsiteX36" fmla="*/ 552450 w 3457575"/>
                  <a:gd name="connsiteY36" fmla="*/ 361950 h 3822033"/>
                  <a:gd name="connsiteX37" fmla="*/ 609600 w 3457575"/>
                  <a:gd name="connsiteY37" fmla="*/ 323850 h 3822033"/>
                  <a:gd name="connsiteX38" fmla="*/ 666750 w 3457575"/>
                  <a:gd name="connsiteY38" fmla="*/ 285750 h 3822033"/>
                  <a:gd name="connsiteX39" fmla="*/ 762000 w 3457575"/>
                  <a:gd name="connsiteY39" fmla="*/ 238125 h 3822033"/>
                  <a:gd name="connsiteX40" fmla="*/ 800100 w 3457575"/>
                  <a:gd name="connsiteY40" fmla="*/ 219075 h 3822033"/>
                  <a:gd name="connsiteX41" fmla="*/ 895350 w 3457575"/>
                  <a:gd name="connsiteY41" fmla="*/ 161925 h 3822033"/>
                  <a:gd name="connsiteX42" fmla="*/ 962025 w 3457575"/>
                  <a:gd name="connsiteY42" fmla="*/ 133350 h 3822033"/>
                  <a:gd name="connsiteX43" fmla="*/ 1123950 w 3457575"/>
                  <a:gd name="connsiteY43" fmla="*/ 76200 h 3822033"/>
                  <a:gd name="connsiteX44" fmla="*/ 1162050 w 3457575"/>
                  <a:gd name="connsiteY44" fmla="*/ 66675 h 3822033"/>
                  <a:gd name="connsiteX45" fmla="*/ 1438275 w 3457575"/>
                  <a:gd name="connsiteY45" fmla="*/ 0 h 3822033"/>
                  <a:gd name="connsiteX46" fmla="*/ 2038350 w 3457575"/>
                  <a:gd name="connsiteY46" fmla="*/ 9525 h 3822033"/>
                  <a:gd name="connsiteX47" fmla="*/ 2105025 w 3457575"/>
                  <a:gd name="connsiteY47" fmla="*/ 19050 h 3822033"/>
                  <a:gd name="connsiteX48" fmla="*/ 2162175 w 3457575"/>
                  <a:gd name="connsiteY48" fmla="*/ 47625 h 3822033"/>
                  <a:gd name="connsiteX49" fmla="*/ 2228850 w 3457575"/>
                  <a:gd name="connsiteY49" fmla="*/ 66675 h 3822033"/>
                  <a:gd name="connsiteX50" fmla="*/ 2343150 w 3457575"/>
                  <a:gd name="connsiteY50" fmla="*/ 133350 h 3822033"/>
                  <a:gd name="connsiteX51" fmla="*/ 2390775 w 3457575"/>
                  <a:gd name="connsiteY51" fmla="*/ 142875 h 3822033"/>
                  <a:gd name="connsiteX52" fmla="*/ 2457450 w 3457575"/>
                  <a:gd name="connsiteY52" fmla="*/ 171450 h 3822033"/>
                  <a:gd name="connsiteX53" fmla="*/ 2486025 w 3457575"/>
                  <a:gd name="connsiteY53" fmla="*/ 200025 h 3822033"/>
                  <a:gd name="connsiteX54" fmla="*/ 2571750 w 3457575"/>
                  <a:gd name="connsiteY54" fmla="*/ 228600 h 3822033"/>
                  <a:gd name="connsiteX55" fmla="*/ 2676525 w 3457575"/>
                  <a:gd name="connsiteY55" fmla="*/ 285750 h 3822033"/>
                  <a:gd name="connsiteX56" fmla="*/ 2705100 w 3457575"/>
                  <a:gd name="connsiteY56" fmla="*/ 304800 h 3822033"/>
                  <a:gd name="connsiteX57" fmla="*/ 2733675 w 3457575"/>
                  <a:gd name="connsiteY57" fmla="*/ 333375 h 3822033"/>
                  <a:gd name="connsiteX58" fmla="*/ 2771775 w 3457575"/>
                  <a:gd name="connsiteY58" fmla="*/ 361950 h 3822033"/>
                  <a:gd name="connsiteX59" fmla="*/ 2809875 w 3457575"/>
                  <a:gd name="connsiteY59" fmla="*/ 400050 h 3822033"/>
                  <a:gd name="connsiteX60" fmla="*/ 2867025 w 3457575"/>
                  <a:gd name="connsiteY60" fmla="*/ 438150 h 3822033"/>
                  <a:gd name="connsiteX61" fmla="*/ 2905125 w 3457575"/>
                  <a:gd name="connsiteY61" fmla="*/ 476250 h 3822033"/>
                  <a:gd name="connsiteX62" fmla="*/ 2971800 w 3457575"/>
                  <a:gd name="connsiteY62" fmla="*/ 523875 h 3822033"/>
                  <a:gd name="connsiteX63" fmla="*/ 2990850 w 3457575"/>
                  <a:gd name="connsiteY63" fmla="*/ 552450 h 3822033"/>
                  <a:gd name="connsiteX64" fmla="*/ 3028950 w 3457575"/>
                  <a:gd name="connsiteY64" fmla="*/ 590550 h 3822033"/>
                  <a:gd name="connsiteX65" fmla="*/ 3048000 w 3457575"/>
                  <a:gd name="connsiteY65" fmla="*/ 628650 h 3822033"/>
                  <a:gd name="connsiteX66" fmla="*/ 3086100 w 3457575"/>
                  <a:gd name="connsiteY66" fmla="*/ 666750 h 3822033"/>
                  <a:gd name="connsiteX67" fmla="*/ 3124200 w 3457575"/>
                  <a:gd name="connsiteY67" fmla="*/ 723900 h 3822033"/>
                  <a:gd name="connsiteX68" fmla="*/ 3219450 w 3457575"/>
                  <a:gd name="connsiteY68" fmla="*/ 838200 h 3822033"/>
                  <a:gd name="connsiteX69" fmla="*/ 3238500 w 3457575"/>
                  <a:gd name="connsiteY69" fmla="*/ 885825 h 3822033"/>
                  <a:gd name="connsiteX70" fmla="*/ 3276600 w 3457575"/>
                  <a:gd name="connsiteY70" fmla="*/ 942975 h 3822033"/>
                  <a:gd name="connsiteX71" fmla="*/ 3286125 w 3457575"/>
                  <a:gd name="connsiteY71" fmla="*/ 990600 h 3822033"/>
                  <a:gd name="connsiteX72" fmla="*/ 3324225 w 3457575"/>
                  <a:gd name="connsiteY72" fmla="*/ 1085850 h 3822033"/>
                  <a:gd name="connsiteX73" fmla="*/ 3362325 w 3457575"/>
                  <a:gd name="connsiteY73" fmla="*/ 1171575 h 3822033"/>
                  <a:gd name="connsiteX74" fmla="*/ 3390900 w 3457575"/>
                  <a:gd name="connsiteY74" fmla="*/ 1219200 h 3822033"/>
                  <a:gd name="connsiteX75" fmla="*/ 3419475 w 3457575"/>
                  <a:gd name="connsiteY75" fmla="*/ 1333500 h 3822033"/>
                  <a:gd name="connsiteX76" fmla="*/ 3429000 w 3457575"/>
                  <a:gd name="connsiteY76" fmla="*/ 1390650 h 3822033"/>
                  <a:gd name="connsiteX77" fmla="*/ 3457575 w 3457575"/>
                  <a:gd name="connsiteY77" fmla="*/ 1657350 h 3822033"/>
                  <a:gd name="connsiteX78" fmla="*/ 3362325 w 3457575"/>
                  <a:gd name="connsiteY78" fmla="*/ 2187575 h 3822033"/>
                  <a:gd name="connsiteX79" fmla="*/ 3276600 w 3457575"/>
                  <a:gd name="connsiteY79" fmla="*/ 2400300 h 3822033"/>
                  <a:gd name="connsiteX80" fmla="*/ 3190875 w 3457575"/>
                  <a:gd name="connsiteY80" fmla="*/ 2533650 h 3822033"/>
                  <a:gd name="connsiteX81" fmla="*/ 3105150 w 3457575"/>
                  <a:gd name="connsiteY81" fmla="*/ 2647950 h 3822033"/>
                  <a:gd name="connsiteX82" fmla="*/ 3019425 w 3457575"/>
                  <a:gd name="connsiteY82" fmla="*/ 2781300 h 3822033"/>
                  <a:gd name="connsiteX83" fmla="*/ 2981325 w 3457575"/>
                  <a:gd name="connsiteY83" fmla="*/ 2819400 h 3822033"/>
                  <a:gd name="connsiteX84" fmla="*/ 2943225 w 3457575"/>
                  <a:gd name="connsiteY84" fmla="*/ 2876550 h 3822033"/>
                  <a:gd name="connsiteX85" fmla="*/ 2857500 w 3457575"/>
                  <a:gd name="connsiteY85" fmla="*/ 2933700 h 3822033"/>
                  <a:gd name="connsiteX86" fmla="*/ 2809875 w 3457575"/>
                  <a:gd name="connsiteY86" fmla="*/ 2971800 h 3822033"/>
                  <a:gd name="connsiteX87" fmla="*/ 2705100 w 3457575"/>
                  <a:gd name="connsiteY87" fmla="*/ 3038475 h 3822033"/>
                  <a:gd name="connsiteX88" fmla="*/ 2609850 w 3457575"/>
                  <a:gd name="connsiteY88" fmla="*/ 3105150 h 3822033"/>
                  <a:gd name="connsiteX89" fmla="*/ 2562225 w 3457575"/>
                  <a:gd name="connsiteY89" fmla="*/ 3143250 h 3822033"/>
                  <a:gd name="connsiteX90" fmla="*/ 2495550 w 3457575"/>
                  <a:gd name="connsiteY90" fmla="*/ 3162300 h 3822033"/>
                  <a:gd name="connsiteX91" fmla="*/ 2362200 w 3457575"/>
                  <a:gd name="connsiteY91" fmla="*/ 3219450 h 3822033"/>
                  <a:gd name="connsiteX92" fmla="*/ 2257425 w 3457575"/>
                  <a:gd name="connsiteY92" fmla="*/ 3257550 h 3822033"/>
                  <a:gd name="connsiteX93" fmla="*/ 2181225 w 3457575"/>
                  <a:gd name="connsiteY93" fmla="*/ 3276600 h 3822033"/>
                  <a:gd name="connsiteX94" fmla="*/ 2057400 w 3457575"/>
                  <a:gd name="connsiteY94" fmla="*/ 3362325 h 3822033"/>
                  <a:gd name="connsiteX95" fmla="*/ 2009775 w 3457575"/>
                  <a:gd name="connsiteY95" fmla="*/ 3400425 h 3822033"/>
                  <a:gd name="connsiteX96" fmla="*/ 1962150 w 3457575"/>
                  <a:gd name="connsiteY96" fmla="*/ 3429000 h 3822033"/>
                  <a:gd name="connsiteX97" fmla="*/ 1905000 w 3457575"/>
                  <a:gd name="connsiteY97" fmla="*/ 3495675 h 3822033"/>
                  <a:gd name="connsiteX98" fmla="*/ 1819275 w 3457575"/>
                  <a:gd name="connsiteY98" fmla="*/ 3609975 h 3822033"/>
                  <a:gd name="connsiteX99" fmla="*/ 1800225 w 3457575"/>
                  <a:gd name="connsiteY99" fmla="*/ 3638550 h 3822033"/>
                  <a:gd name="connsiteX100" fmla="*/ 1790700 w 3457575"/>
                  <a:gd name="connsiteY100" fmla="*/ 3667125 h 3822033"/>
                  <a:gd name="connsiteX101" fmla="*/ 1771650 w 3457575"/>
                  <a:gd name="connsiteY101" fmla="*/ 3695700 h 3822033"/>
                  <a:gd name="connsiteX102" fmla="*/ 1752600 w 3457575"/>
                  <a:gd name="connsiteY102" fmla="*/ 3733800 h 3822033"/>
                  <a:gd name="connsiteX103" fmla="*/ 1714500 w 3457575"/>
                  <a:gd name="connsiteY103" fmla="*/ 3810000 h 3822033"/>
                  <a:gd name="connsiteX104" fmla="*/ 1704975 w 3457575"/>
                  <a:gd name="connsiteY10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270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6192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09550 w 3457575"/>
                  <a:gd name="connsiteY18" fmla="*/ 245110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7622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49225 w 3457575"/>
                  <a:gd name="connsiteY17" fmla="*/ 236220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697832 w 3450432"/>
                  <a:gd name="connsiteY0" fmla="*/ 3819525 h 3822033"/>
                  <a:gd name="connsiteX1" fmla="*/ 1669257 w 3450432"/>
                  <a:gd name="connsiteY1" fmla="*/ 3771900 h 3822033"/>
                  <a:gd name="connsiteX2" fmla="*/ 1526382 w 3450432"/>
                  <a:gd name="connsiteY2" fmla="*/ 3543300 h 3822033"/>
                  <a:gd name="connsiteX3" fmla="*/ 1402557 w 3450432"/>
                  <a:gd name="connsiteY3" fmla="*/ 3438525 h 3822033"/>
                  <a:gd name="connsiteX4" fmla="*/ 1364457 w 3450432"/>
                  <a:gd name="connsiteY4" fmla="*/ 3419475 h 3822033"/>
                  <a:gd name="connsiteX5" fmla="*/ 1335882 w 3450432"/>
                  <a:gd name="connsiteY5" fmla="*/ 3400425 h 3822033"/>
                  <a:gd name="connsiteX6" fmla="*/ 1240632 w 3450432"/>
                  <a:gd name="connsiteY6" fmla="*/ 3381375 h 3822033"/>
                  <a:gd name="connsiteX7" fmla="*/ 1126332 w 3450432"/>
                  <a:gd name="connsiteY7" fmla="*/ 3324225 h 3822033"/>
                  <a:gd name="connsiteX8" fmla="*/ 1002507 w 3450432"/>
                  <a:gd name="connsiteY8" fmla="*/ 3276600 h 3822033"/>
                  <a:gd name="connsiteX9" fmla="*/ 954882 w 3450432"/>
                  <a:gd name="connsiteY9" fmla="*/ 3238500 h 3822033"/>
                  <a:gd name="connsiteX10" fmla="*/ 916782 w 3450432"/>
                  <a:gd name="connsiteY10" fmla="*/ 3219450 h 3822033"/>
                  <a:gd name="connsiteX11" fmla="*/ 821532 w 3450432"/>
                  <a:gd name="connsiteY11" fmla="*/ 3143250 h 3822033"/>
                  <a:gd name="connsiteX12" fmla="*/ 650082 w 3450432"/>
                  <a:gd name="connsiteY12" fmla="*/ 3035300 h 3822033"/>
                  <a:gd name="connsiteX13" fmla="*/ 564357 w 3450432"/>
                  <a:gd name="connsiteY13" fmla="*/ 2943225 h 3822033"/>
                  <a:gd name="connsiteX14" fmla="*/ 326232 w 3450432"/>
                  <a:gd name="connsiteY14" fmla="*/ 2676525 h 3822033"/>
                  <a:gd name="connsiteX15" fmla="*/ 269082 w 3450432"/>
                  <a:gd name="connsiteY15" fmla="*/ 2581275 h 3822033"/>
                  <a:gd name="connsiteX16" fmla="*/ 202407 w 3450432"/>
                  <a:gd name="connsiteY16" fmla="*/ 2451100 h 3822033"/>
                  <a:gd name="connsiteX17" fmla="*/ 142082 w 3450432"/>
                  <a:gd name="connsiteY17" fmla="*/ 2362200 h 3822033"/>
                  <a:gd name="connsiteX18" fmla="*/ 100807 w 3450432"/>
                  <a:gd name="connsiteY18" fmla="*/ 2238375 h 3822033"/>
                  <a:gd name="connsiteX19" fmla="*/ 30957 w 3450432"/>
                  <a:gd name="connsiteY19" fmla="*/ 1958975 h 3822033"/>
                  <a:gd name="connsiteX20" fmla="*/ 21432 w 3450432"/>
                  <a:gd name="connsiteY20" fmla="*/ 1819275 h 3822033"/>
                  <a:gd name="connsiteX21" fmla="*/ 2382 w 3450432"/>
                  <a:gd name="connsiteY21" fmla="*/ 1657350 h 3822033"/>
                  <a:gd name="connsiteX22" fmla="*/ 2382 w 3450432"/>
                  <a:gd name="connsiteY22" fmla="*/ 1428750 h 3822033"/>
                  <a:gd name="connsiteX23" fmla="*/ 21432 w 3450432"/>
                  <a:gd name="connsiteY23" fmla="*/ 1304925 h 3822033"/>
                  <a:gd name="connsiteX24" fmla="*/ 30957 w 3450432"/>
                  <a:gd name="connsiteY24" fmla="*/ 1247775 h 3822033"/>
                  <a:gd name="connsiteX25" fmla="*/ 69057 w 3450432"/>
                  <a:gd name="connsiteY25" fmla="*/ 1152525 h 3822033"/>
                  <a:gd name="connsiteX26" fmla="*/ 107157 w 3450432"/>
                  <a:gd name="connsiteY26" fmla="*/ 990600 h 3822033"/>
                  <a:gd name="connsiteX27" fmla="*/ 126207 w 3450432"/>
                  <a:gd name="connsiteY27" fmla="*/ 923925 h 3822033"/>
                  <a:gd name="connsiteX28" fmla="*/ 164307 w 3450432"/>
                  <a:gd name="connsiteY28" fmla="*/ 866775 h 3822033"/>
                  <a:gd name="connsiteX29" fmla="*/ 221457 w 3450432"/>
                  <a:gd name="connsiteY29" fmla="*/ 762000 h 3822033"/>
                  <a:gd name="connsiteX30" fmla="*/ 297657 w 3450432"/>
                  <a:gd name="connsiteY30" fmla="*/ 647700 h 3822033"/>
                  <a:gd name="connsiteX31" fmla="*/ 545307 w 3450432"/>
                  <a:gd name="connsiteY31" fmla="*/ 361950 h 3822033"/>
                  <a:gd name="connsiteX32" fmla="*/ 602457 w 3450432"/>
                  <a:gd name="connsiteY32" fmla="*/ 323850 h 3822033"/>
                  <a:gd name="connsiteX33" fmla="*/ 659607 w 3450432"/>
                  <a:gd name="connsiteY33" fmla="*/ 285750 h 3822033"/>
                  <a:gd name="connsiteX34" fmla="*/ 754857 w 3450432"/>
                  <a:gd name="connsiteY34" fmla="*/ 238125 h 3822033"/>
                  <a:gd name="connsiteX35" fmla="*/ 792957 w 3450432"/>
                  <a:gd name="connsiteY35" fmla="*/ 219075 h 3822033"/>
                  <a:gd name="connsiteX36" fmla="*/ 888207 w 3450432"/>
                  <a:gd name="connsiteY36" fmla="*/ 161925 h 3822033"/>
                  <a:gd name="connsiteX37" fmla="*/ 954882 w 3450432"/>
                  <a:gd name="connsiteY37" fmla="*/ 133350 h 3822033"/>
                  <a:gd name="connsiteX38" fmla="*/ 1116807 w 3450432"/>
                  <a:gd name="connsiteY38" fmla="*/ 76200 h 3822033"/>
                  <a:gd name="connsiteX39" fmla="*/ 1154907 w 3450432"/>
                  <a:gd name="connsiteY39" fmla="*/ 66675 h 3822033"/>
                  <a:gd name="connsiteX40" fmla="*/ 1431132 w 3450432"/>
                  <a:gd name="connsiteY40" fmla="*/ 0 h 3822033"/>
                  <a:gd name="connsiteX41" fmla="*/ 2031207 w 3450432"/>
                  <a:gd name="connsiteY41" fmla="*/ 9525 h 3822033"/>
                  <a:gd name="connsiteX42" fmla="*/ 2097882 w 3450432"/>
                  <a:gd name="connsiteY42" fmla="*/ 19050 h 3822033"/>
                  <a:gd name="connsiteX43" fmla="*/ 2155032 w 3450432"/>
                  <a:gd name="connsiteY43" fmla="*/ 47625 h 3822033"/>
                  <a:gd name="connsiteX44" fmla="*/ 2221707 w 3450432"/>
                  <a:gd name="connsiteY44" fmla="*/ 66675 h 3822033"/>
                  <a:gd name="connsiteX45" fmla="*/ 2336007 w 3450432"/>
                  <a:gd name="connsiteY45" fmla="*/ 133350 h 3822033"/>
                  <a:gd name="connsiteX46" fmla="*/ 2383632 w 3450432"/>
                  <a:gd name="connsiteY46" fmla="*/ 142875 h 3822033"/>
                  <a:gd name="connsiteX47" fmla="*/ 2450307 w 3450432"/>
                  <a:gd name="connsiteY47" fmla="*/ 171450 h 3822033"/>
                  <a:gd name="connsiteX48" fmla="*/ 2478882 w 3450432"/>
                  <a:gd name="connsiteY48" fmla="*/ 200025 h 3822033"/>
                  <a:gd name="connsiteX49" fmla="*/ 2564607 w 3450432"/>
                  <a:gd name="connsiteY49" fmla="*/ 228600 h 3822033"/>
                  <a:gd name="connsiteX50" fmla="*/ 2669382 w 3450432"/>
                  <a:gd name="connsiteY50" fmla="*/ 285750 h 3822033"/>
                  <a:gd name="connsiteX51" fmla="*/ 2697957 w 3450432"/>
                  <a:gd name="connsiteY51" fmla="*/ 304800 h 3822033"/>
                  <a:gd name="connsiteX52" fmla="*/ 2726532 w 3450432"/>
                  <a:gd name="connsiteY52" fmla="*/ 333375 h 3822033"/>
                  <a:gd name="connsiteX53" fmla="*/ 2764632 w 3450432"/>
                  <a:gd name="connsiteY53" fmla="*/ 361950 h 3822033"/>
                  <a:gd name="connsiteX54" fmla="*/ 2802732 w 3450432"/>
                  <a:gd name="connsiteY54" fmla="*/ 400050 h 3822033"/>
                  <a:gd name="connsiteX55" fmla="*/ 2859882 w 3450432"/>
                  <a:gd name="connsiteY55" fmla="*/ 438150 h 3822033"/>
                  <a:gd name="connsiteX56" fmla="*/ 2897982 w 3450432"/>
                  <a:gd name="connsiteY56" fmla="*/ 476250 h 3822033"/>
                  <a:gd name="connsiteX57" fmla="*/ 2964657 w 3450432"/>
                  <a:gd name="connsiteY57" fmla="*/ 523875 h 3822033"/>
                  <a:gd name="connsiteX58" fmla="*/ 2983707 w 3450432"/>
                  <a:gd name="connsiteY58" fmla="*/ 552450 h 3822033"/>
                  <a:gd name="connsiteX59" fmla="*/ 3021807 w 3450432"/>
                  <a:gd name="connsiteY59" fmla="*/ 590550 h 3822033"/>
                  <a:gd name="connsiteX60" fmla="*/ 3040857 w 3450432"/>
                  <a:gd name="connsiteY60" fmla="*/ 628650 h 3822033"/>
                  <a:gd name="connsiteX61" fmla="*/ 3078957 w 3450432"/>
                  <a:gd name="connsiteY61" fmla="*/ 666750 h 3822033"/>
                  <a:gd name="connsiteX62" fmla="*/ 3117057 w 3450432"/>
                  <a:gd name="connsiteY62" fmla="*/ 723900 h 3822033"/>
                  <a:gd name="connsiteX63" fmla="*/ 3212307 w 3450432"/>
                  <a:gd name="connsiteY63" fmla="*/ 838200 h 3822033"/>
                  <a:gd name="connsiteX64" fmla="*/ 3231357 w 3450432"/>
                  <a:gd name="connsiteY64" fmla="*/ 885825 h 3822033"/>
                  <a:gd name="connsiteX65" fmla="*/ 3269457 w 3450432"/>
                  <a:gd name="connsiteY65" fmla="*/ 942975 h 3822033"/>
                  <a:gd name="connsiteX66" fmla="*/ 3278982 w 3450432"/>
                  <a:gd name="connsiteY66" fmla="*/ 990600 h 3822033"/>
                  <a:gd name="connsiteX67" fmla="*/ 3317082 w 3450432"/>
                  <a:gd name="connsiteY67" fmla="*/ 1085850 h 3822033"/>
                  <a:gd name="connsiteX68" fmla="*/ 3355182 w 3450432"/>
                  <a:gd name="connsiteY68" fmla="*/ 1171575 h 3822033"/>
                  <a:gd name="connsiteX69" fmla="*/ 3383757 w 3450432"/>
                  <a:gd name="connsiteY69" fmla="*/ 1219200 h 3822033"/>
                  <a:gd name="connsiteX70" fmla="*/ 3412332 w 3450432"/>
                  <a:gd name="connsiteY70" fmla="*/ 1333500 h 3822033"/>
                  <a:gd name="connsiteX71" fmla="*/ 3421857 w 3450432"/>
                  <a:gd name="connsiteY71" fmla="*/ 1390650 h 3822033"/>
                  <a:gd name="connsiteX72" fmla="*/ 3450432 w 3450432"/>
                  <a:gd name="connsiteY72" fmla="*/ 1657350 h 3822033"/>
                  <a:gd name="connsiteX73" fmla="*/ 3355182 w 3450432"/>
                  <a:gd name="connsiteY73" fmla="*/ 2187575 h 3822033"/>
                  <a:gd name="connsiteX74" fmla="*/ 3269457 w 3450432"/>
                  <a:gd name="connsiteY74" fmla="*/ 2400300 h 3822033"/>
                  <a:gd name="connsiteX75" fmla="*/ 3183732 w 3450432"/>
                  <a:gd name="connsiteY75" fmla="*/ 2533650 h 3822033"/>
                  <a:gd name="connsiteX76" fmla="*/ 3098007 w 3450432"/>
                  <a:gd name="connsiteY76" fmla="*/ 2647950 h 3822033"/>
                  <a:gd name="connsiteX77" fmla="*/ 3012282 w 3450432"/>
                  <a:gd name="connsiteY77" fmla="*/ 2781300 h 3822033"/>
                  <a:gd name="connsiteX78" fmla="*/ 2974182 w 3450432"/>
                  <a:gd name="connsiteY78" fmla="*/ 2819400 h 3822033"/>
                  <a:gd name="connsiteX79" fmla="*/ 2936082 w 3450432"/>
                  <a:gd name="connsiteY79" fmla="*/ 2876550 h 3822033"/>
                  <a:gd name="connsiteX80" fmla="*/ 2850357 w 3450432"/>
                  <a:gd name="connsiteY80" fmla="*/ 2933700 h 3822033"/>
                  <a:gd name="connsiteX81" fmla="*/ 2802732 w 3450432"/>
                  <a:gd name="connsiteY81" fmla="*/ 2971800 h 3822033"/>
                  <a:gd name="connsiteX82" fmla="*/ 2697957 w 3450432"/>
                  <a:gd name="connsiteY82" fmla="*/ 3038475 h 3822033"/>
                  <a:gd name="connsiteX83" fmla="*/ 2602707 w 3450432"/>
                  <a:gd name="connsiteY83" fmla="*/ 3105150 h 3822033"/>
                  <a:gd name="connsiteX84" fmla="*/ 2555082 w 3450432"/>
                  <a:gd name="connsiteY84" fmla="*/ 3143250 h 3822033"/>
                  <a:gd name="connsiteX85" fmla="*/ 2488407 w 3450432"/>
                  <a:gd name="connsiteY85" fmla="*/ 3162300 h 3822033"/>
                  <a:gd name="connsiteX86" fmla="*/ 2355057 w 3450432"/>
                  <a:gd name="connsiteY86" fmla="*/ 3219450 h 3822033"/>
                  <a:gd name="connsiteX87" fmla="*/ 2250282 w 3450432"/>
                  <a:gd name="connsiteY87" fmla="*/ 3257550 h 3822033"/>
                  <a:gd name="connsiteX88" fmla="*/ 2174082 w 3450432"/>
                  <a:gd name="connsiteY88" fmla="*/ 3276600 h 3822033"/>
                  <a:gd name="connsiteX89" fmla="*/ 2050257 w 3450432"/>
                  <a:gd name="connsiteY89" fmla="*/ 3362325 h 3822033"/>
                  <a:gd name="connsiteX90" fmla="*/ 2002632 w 3450432"/>
                  <a:gd name="connsiteY90" fmla="*/ 3400425 h 3822033"/>
                  <a:gd name="connsiteX91" fmla="*/ 1955007 w 3450432"/>
                  <a:gd name="connsiteY91" fmla="*/ 3429000 h 3822033"/>
                  <a:gd name="connsiteX92" fmla="*/ 1897857 w 3450432"/>
                  <a:gd name="connsiteY92" fmla="*/ 3495675 h 3822033"/>
                  <a:gd name="connsiteX93" fmla="*/ 1812132 w 3450432"/>
                  <a:gd name="connsiteY93" fmla="*/ 3609975 h 3822033"/>
                  <a:gd name="connsiteX94" fmla="*/ 1793082 w 3450432"/>
                  <a:gd name="connsiteY94" fmla="*/ 3638550 h 3822033"/>
                  <a:gd name="connsiteX95" fmla="*/ 1783557 w 3450432"/>
                  <a:gd name="connsiteY95" fmla="*/ 3667125 h 3822033"/>
                  <a:gd name="connsiteX96" fmla="*/ 1764507 w 3450432"/>
                  <a:gd name="connsiteY96" fmla="*/ 3695700 h 3822033"/>
                  <a:gd name="connsiteX97" fmla="*/ 1745457 w 3450432"/>
                  <a:gd name="connsiteY97" fmla="*/ 3733800 h 3822033"/>
                  <a:gd name="connsiteX98" fmla="*/ 1707357 w 3450432"/>
                  <a:gd name="connsiteY98" fmla="*/ 3810000 h 3822033"/>
                  <a:gd name="connsiteX99" fmla="*/ 1697832 w 3450432"/>
                  <a:gd name="connsiteY99" fmla="*/ 3819525 h 3822033"/>
                  <a:gd name="connsiteX0" fmla="*/ 1702768 w 3455368"/>
                  <a:gd name="connsiteY0" fmla="*/ 3819525 h 3822033"/>
                  <a:gd name="connsiteX1" fmla="*/ 1674193 w 3455368"/>
                  <a:gd name="connsiteY1" fmla="*/ 3771900 h 3822033"/>
                  <a:gd name="connsiteX2" fmla="*/ 1531318 w 3455368"/>
                  <a:gd name="connsiteY2" fmla="*/ 3543300 h 3822033"/>
                  <a:gd name="connsiteX3" fmla="*/ 1407493 w 3455368"/>
                  <a:gd name="connsiteY3" fmla="*/ 3438525 h 3822033"/>
                  <a:gd name="connsiteX4" fmla="*/ 1369393 w 3455368"/>
                  <a:gd name="connsiteY4" fmla="*/ 3419475 h 3822033"/>
                  <a:gd name="connsiteX5" fmla="*/ 1340818 w 3455368"/>
                  <a:gd name="connsiteY5" fmla="*/ 3400425 h 3822033"/>
                  <a:gd name="connsiteX6" fmla="*/ 1245568 w 3455368"/>
                  <a:gd name="connsiteY6" fmla="*/ 3381375 h 3822033"/>
                  <a:gd name="connsiteX7" fmla="*/ 1131268 w 3455368"/>
                  <a:gd name="connsiteY7" fmla="*/ 3324225 h 3822033"/>
                  <a:gd name="connsiteX8" fmla="*/ 1007443 w 3455368"/>
                  <a:gd name="connsiteY8" fmla="*/ 3276600 h 3822033"/>
                  <a:gd name="connsiteX9" fmla="*/ 959818 w 3455368"/>
                  <a:gd name="connsiteY9" fmla="*/ 3238500 h 3822033"/>
                  <a:gd name="connsiteX10" fmla="*/ 921718 w 3455368"/>
                  <a:gd name="connsiteY10" fmla="*/ 3219450 h 3822033"/>
                  <a:gd name="connsiteX11" fmla="*/ 826468 w 3455368"/>
                  <a:gd name="connsiteY11" fmla="*/ 3143250 h 3822033"/>
                  <a:gd name="connsiteX12" fmla="*/ 655018 w 3455368"/>
                  <a:gd name="connsiteY12" fmla="*/ 3035300 h 3822033"/>
                  <a:gd name="connsiteX13" fmla="*/ 569293 w 3455368"/>
                  <a:gd name="connsiteY13" fmla="*/ 2943225 h 3822033"/>
                  <a:gd name="connsiteX14" fmla="*/ 331168 w 3455368"/>
                  <a:gd name="connsiteY14" fmla="*/ 2676525 h 3822033"/>
                  <a:gd name="connsiteX15" fmla="*/ 274018 w 3455368"/>
                  <a:gd name="connsiteY15" fmla="*/ 2581275 h 3822033"/>
                  <a:gd name="connsiteX16" fmla="*/ 207343 w 3455368"/>
                  <a:gd name="connsiteY16" fmla="*/ 2451100 h 3822033"/>
                  <a:gd name="connsiteX17" fmla="*/ 147018 w 3455368"/>
                  <a:gd name="connsiteY17" fmla="*/ 2362200 h 3822033"/>
                  <a:gd name="connsiteX18" fmla="*/ 105743 w 3455368"/>
                  <a:gd name="connsiteY18" fmla="*/ 2238375 h 3822033"/>
                  <a:gd name="connsiteX19" fmla="*/ 35893 w 3455368"/>
                  <a:gd name="connsiteY19" fmla="*/ 1958975 h 3822033"/>
                  <a:gd name="connsiteX20" fmla="*/ 26368 w 3455368"/>
                  <a:gd name="connsiteY20" fmla="*/ 1819275 h 3822033"/>
                  <a:gd name="connsiteX21" fmla="*/ 968 w 3455368"/>
                  <a:gd name="connsiteY21" fmla="*/ 1682750 h 3822033"/>
                  <a:gd name="connsiteX22" fmla="*/ 7318 w 3455368"/>
                  <a:gd name="connsiteY22" fmla="*/ 1428750 h 3822033"/>
                  <a:gd name="connsiteX23" fmla="*/ 26368 w 3455368"/>
                  <a:gd name="connsiteY23" fmla="*/ 1304925 h 3822033"/>
                  <a:gd name="connsiteX24" fmla="*/ 35893 w 3455368"/>
                  <a:gd name="connsiteY24" fmla="*/ 1247775 h 3822033"/>
                  <a:gd name="connsiteX25" fmla="*/ 73993 w 3455368"/>
                  <a:gd name="connsiteY25" fmla="*/ 1152525 h 3822033"/>
                  <a:gd name="connsiteX26" fmla="*/ 112093 w 3455368"/>
                  <a:gd name="connsiteY26" fmla="*/ 990600 h 3822033"/>
                  <a:gd name="connsiteX27" fmla="*/ 131143 w 3455368"/>
                  <a:gd name="connsiteY27" fmla="*/ 923925 h 3822033"/>
                  <a:gd name="connsiteX28" fmla="*/ 169243 w 3455368"/>
                  <a:gd name="connsiteY28" fmla="*/ 866775 h 3822033"/>
                  <a:gd name="connsiteX29" fmla="*/ 226393 w 3455368"/>
                  <a:gd name="connsiteY29" fmla="*/ 762000 h 3822033"/>
                  <a:gd name="connsiteX30" fmla="*/ 302593 w 3455368"/>
                  <a:gd name="connsiteY30" fmla="*/ 647700 h 3822033"/>
                  <a:gd name="connsiteX31" fmla="*/ 550243 w 3455368"/>
                  <a:gd name="connsiteY31" fmla="*/ 361950 h 3822033"/>
                  <a:gd name="connsiteX32" fmla="*/ 607393 w 3455368"/>
                  <a:gd name="connsiteY32" fmla="*/ 323850 h 3822033"/>
                  <a:gd name="connsiteX33" fmla="*/ 664543 w 3455368"/>
                  <a:gd name="connsiteY33" fmla="*/ 285750 h 3822033"/>
                  <a:gd name="connsiteX34" fmla="*/ 759793 w 3455368"/>
                  <a:gd name="connsiteY34" fmla="*/ 238125 h 3822033"/>
                  <a:gd name="connsiteX35" fmla="*/ 797893 w 3455368"/>
                  <a:gd name="connsiteY35" fmla="*/ 219075 h 3822033"/>
                  <a:gd name="connsiteX36" fmla="*/ 893143 w 3455368"/>
                  <a:gd name="connsiteY36" fmla="*/ 161925 h 3822033"/>
                  <a:gd name="connsiteX37" fmla="*/ 959818 w 3455368"/>
                  <a:gd name="connsiteY37" fmla="*/ 133350 h 3822033"/>
                  <a:gd name="connsiteX38" fmla="*/ 1121743 w 3455368"/>
                  <a:gd name="connsiteY38" fmla="*/ 76200 h 3822033"/>
                  <a:gd name="connsiteX39" fmla="*/ 1159843 w 3455368"/>
                  <a:gd name="connsiteY39" fmla="*/ 66675 h 3822033"/>
                  <a:gd name="connsiteX40" fmla="*/ 1436068 w 3455368"/>
                  <a:gd name="connsiteY40" fmla="*/ 0 h 3822033"/>
                  <a:gd name="connsiteX41" fmla="*/ 2036143 w 3455368"/>
                  <a:gd name="connsiteY41" fmla="*/ 9525 h 3822033"/>
                  <a:gd name="connsiteX42" fmla="*/ 2102818 w 3455368"/>
                  <a:gd name="connsiteY42" fmla="*/ 19050 h 3822033"/>
                  <a:gd name="connsiteX43" fmla="*/ 2159968 w 3455368"/>
                  <a:gd name="connsiteY43" fmla="*/ 47625 h 3822033"/>
                  <a:gd name="connsiteX44" fmla="*/ 2226643 w 3455368"/>
                  <a:gd name="connsiteY44" fmla="*/ 66675 h 3822033"/>
                  <a:gd name="connsiteX45" fmla="*/ 2340943 w 3455368"/>
                  <a:gd name="connsiteY45" fmla="*/ 133350 h 3822033"/>
                  <a:gd name="connsiteX46" fmla="*/ 2388568 w 3455368"/>
                  <a:gd name="connsiteY46" fmla="*/ 142875 h 3822033"/>
                  <a:gd name="connsiteX47" fmla="*/ 2455243 w 3455368"/>
                  <a:gd name="connsiteY47" fmla="*/ 171450 h 3822033"/>
                  <a:gd name="connsiteX48" fmla="*/ 2483818 w 3455368"/>
                  <a:gd name="connsiteY48" fmla="*/ 200025 h 3822033"/>
                  <a:gd name="connsiteX49" fmla="*/ 2569543 w 3455368"/>
                  <a:gd name="connsiteY49" fmla="*/ 228600 h 3822033"/>
                  <a:gd name="connsiteX50" fmla="*/ 2674318 w 3455368"/>
                  <a:gd name="connsiteY50" fmla="*/ 285750 h 3822033"/>
                  <a:gd name="connsiteX51" fmla="*/ 2702893 w 3455368"/>
                  <a:gd name="connsiteY51" fmla="*/ 304800 h 3822033"/>
                  <a:gd name="connsiteX52" fmla="*/ 2731468 w 3455368"/>
                  <a:gd name="connsiteY52" fmla="*/ 333375 h 3822033"/>
                  <a:gd name="connsiteX53" fmla="*/ 2769568 w 3455368"/>
                  <a:gd name="connsiteY53" fmla="*/ 361950 h 3822033"/>
                  <a:gd name="connsiteX54" fmla="*/ 2807668 w 3455368"/>
                  <a:gd name="connsiteY54" fmla="*/ 400050 h 3822033"/>
                  <a:gd name="connsiteX55" fmla="*/ 2864818 w 3455368"/>
                  <a:gd name="connsiteY55" fmla="*/ 438150 h 3822033"/>
                  <a:gd name="connsiteX56" fmla="*/ 2902918 w 3455368"/>
                  <a:gd name="connsiteY56" fmla="*/ 476250 h 3822033"/>
                  <a:gd name="connsiteX57" fmla="*/ 2969593 w 3455368"/>
                  <a:gd name="connsiteY57" fmla="*/ 523875 h 3822033"/>
                  <a:gd name="connsiteX58" fmla="*/ 2988643 w 3455368"/>
                  <a:gd name="connsiteY58" fmla="*/ 552450 h 3822033"/>
                  <a:gd name="connsiteX59" fmla="*/ 3026743 w 3455368"/>
                  <a:gd name="connsiteY59" fmla="*/ 590550 h 3822033"/>
                  <a:gd name="connsiteX60" fmla="*/ 3045793 w 3455368"/>
                  <a:gd name="connsiteY60" fmla="*/ 628650 h 3822033"/>
                  <a:gd name="connsiteX61" fmla="*/ 3083893 w 3455368"/>
                  <a:gd name="connsiteY61" fmla="*/ 666750 h 3822033"/>
                  <a:gd name="connsiteX62" fmla="*/ 3121993 w 3455368"/>
                  <a:gd name="connsiteY62" fmla="*/ 723900 h 3822033"/>
                  <a:gd name="connsiteX63" fmla="*/ 3217243 w 3455368"/>
                  <a:gd name="connsiteY63" fmla="*/ 838200 h 3822033"/>
                  <a:gd name="connsiteX64" fmla="*/ 3236293 w 3455368"/>
                  <a:gd name="connsiteY64" fmla="*/ 885825 h 3822033"/>
                  <a:gd name="connsiteX65" fmla="*/ 3274393 w 3455368"/>
                  <a:gd name="connsiteY65" fmla="*/ 942975 h 3822033"/>
                  <a:gd name="connsiteX66" fmla="*/ 3283918 w 3455368"/>
                  <a:gd name="connsiteY66" fmla="*/ 990600 h 3822033"/>
                  <a:gd name="connsiteX67" fmla="*/ 3322018 w 3455368"/>
                  <a:gd name="connsiteY67" fmla="*/ 1085850 h 3822033"/>
                  <a:gd name="connsiteX68" fmla="*/ 3360118 w 3455368"/>
                  <a:gd name="connsiteY68" fmla="*/ 1171575 h 3822033"/>
                  <a:gd name="connsiteX69" fmla="*/ 3388693 w 3455368"/>
                  <a:gd name="connsiteY69" fmla="*/ 1219200 h 3822033"/>
                  <a:gd name="connsiteX70" fmla="*/ 3417268 w 3455368"/>
                  <a:gd name="connsiteY70" fmla="*/ 1333500 h 3822033"/>
                  <a:gd name="connsiteX71" fmla="*/ 3426793 w 3455368"/>
                  <a:gd name="connsiteY71" fmla="*/ 1390650 h 3822033"/>
                  <a:gd name="connsiteX72" fmla="*/ 3455368 w 3455368"/>
                  <a:gd name="connsiteY72" fmla="*/ 1657350 h 3822033"/>
                  <a:gd name="connsiteX73" fmla="*/ 3360118 w 3455368"/>
                  <a:gd name="connsiteY73" fmla="*/ 2187575 h 3822033"/>
                  <a:gd name="connsiteX74" fmla="*/ 3274393 w 3455368"/>
                  <a:gd name="connsiteY74" fmla="*/ 2400300 h 3822033"/>
                  <a:gd name="connsiteX75" fmla="*/ 3188668 w 3455368"/>
                  <a:gd name="connsiteY75" fmla="*/ 2533650 h 3822033"/>
                  <a:gd name="connsiteX76" fmla="*/ 3102943 w 3455368"/>
                  <a:gd name="connsiteY76" fmla="*/ 2647950 h 3822033"/>
                  <a:gd name="connsiteX77" fmla="*/ 3017218 w 3455368"/>
                  <a:gd name="connsiteY77" fmla="*/ 2781300 h 3822033"/>
                  <a:gd name="connsiteX78" fmla="*/ 2979118 w 3455368"/>
                  <a:gd name="connsiteY78" fmla="*/ 2819400 h 3822033"/>
                  <a:gd name="connsiteX79" fmla="*/ 2941018 w 3455368"/>
                  <a:gd name="connsiteY79" fmla="*/ 2876550 h 3822033"/>
                  <a:gd name="connsiteX80" fmla="*/ 2855293 w 3455368"/>
                  <a:gd name="connsiteY80" fmla="*/ 2933700 h 3822033"/>
                  <a:gd name="connsiteX81" fmla="*/ 2807668 w 3455368"/>
                  <a:gd name="connsiteY81" fmla="*/ 2971800 h 3822033"/>
                  <a:gd name="connsiteX82" fmla="*/ 2702893 w 3455368"/>
                  <a:gd name="connsiteY82" fmla="*/ 3038475 h 3822033"/>
                  <a:gd name="connsiteX83" fmla="*/ 2607643 w 3455368"/>
                  <a:gd name="connsiteY83" fmla="*/ 3105150 h 3822033"/>
                  <a:gd name="connsiteX84" fmla="*/ 2560018 w 3455368"/>
                  <a:gd name="connsiteY84" fmla="*/ 3143250 h 3822033"/>
                  <a:gd name="connsiteX85" fmla="*/ 2493343 w 3455368"/>
                  <a:gd name="connsiteY85" fmla="*/ 3162300 h 3822033"/>
                  <a:gd name="connsiteX86" fmla="*/ 2359993 w 3455368"/>
                  <a:gd name="connsiteY86" fmla="*/ 3219450 h 3822033"/>
                  <a:gd name="connsiteX87" fmla="*/ 2255218 w 3455368"/>
                  <a:gd name="connsiteY87" fmla="*/ 3257550 h 3822033"/>
                  <a:gd name="connsiteX88" fmla="*/ 2179018 w 3455368"/>
                  <a:gd name="connsiteY88" fmla="*/ 3276600 h 3822033"/>
                  <a:gd name="connsiteX89" fmla="*/ 2055193 w 3455368"/>
                  <a:gd name="connsiteY89" fmla="*/ 3362325 h 3822033"/>
                  <a:gd name="connsiteX90" fmla="*/ 2007568 w 3455368"/>
                  <a:gd name="connsiteY90" fmla="*/ 3400425 h 3822033"/>
                  <a:gd name="connsiteX91" fmla="*/ 1959943 w 3455368"/>
                  <a:gd name="connsiteY91" fmla="*/ 3429000 h 3822033"/>
                  <a:gd name="connsiteX92" fmla="*/ 1902793 w 3455368"/>
                  <a:gd name="connsiteY92" fmla="*/ 3495675 h 3822033"/>
                  <a:gd name="connsiteX93" fmla="*/ 1817068 w 3455368"/>
                  <a:gd name="connsiteY93" fmla="*/ 3609975 h 3822033"/>
                  <a:gd name="connsiteX94" fmla="*/ 1798018 w 3455368"/>
                  <a:gd name="connsiteY94" fmla="*/ 3638550 h 3822033"/>
                  <a:gd name="connsiteX95" fmla="*/ 1788493 w 3455368"/>
                  <a:gd name="connsiteY95" fmla="*/ 3667125 h 3822033"/>
                  <a:gd name="connsiteX96" fmla="*/ 1769443 w 3455368"/>
                  <a:gd name="connsiteY96" fmla="*/ 3695700 h 3822033"/>
                  <a:gd name="connsiteX97" fmla="*/ 1750393 w 3455368"/>
                  <a:gd name="connsiteY97" fmla="*/ 3733800 h 3822033"/>
                  <a:gd name="connsiteX98" fmla="*/ 1712293 w 3455368"/>
                  <a:gd name="connsiteY98" fmla="*/ 3810000 h 3822033"/>
                  <a:gd name="connsiteX99" fmla="*/ 1702768 w 3455368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34976 w 3454451"/>
                  <a:gd name="connsiteY24" fmla="*/ 1247775 h 3822033"/>
                  <a:gd name="connsiteX25" fmla="*/ 73076 w 3454451"/>
                  <a:gd name="connsiteY25" fmla="*/ 1152525 h 3822033"/>
                  <a:gd name="connsiteX26" fmla="*/ 111176 w 3454451"/>
                  <a:gd name="connsiteY26" fmla="*/ 990600 h 3822033"/>
                  <a:gd name="connsiteX27" fmla="*/ 130226 w 3454451"/>
                  <a:gd name="connsiteY27" fmla="*/ 923925 h 3822033"/>
                  <a:gd name="connsiteX28" fmla="*/ 168326 w 3454451"/>
                  <a:gd name="connsiteY28" fmla="*/ 866775 h 3822033"/>
                  <a:gd name="connsiteX29" fmla="*/ 225476 w 3454451"/>
                  <a:gd name="connsiteY29" fmla="*/ 762000 h 3822033"/>
                  <a:gd name="connsiteX30" fmla="*/ 301676 w 3454451"/>
                  <a:gd name="connsiteY30" fmla="*/ 647700 h 3822033"/>
                  <a:gd name="connsiteX31" fmla="*/ 549326 w 3454451"/>
                  <a:gd name="connsiteY31" fmla="*/ 361950 h 3822033"/>
                  <a:gd name="connsiteX32" fmla="*/ 606476 w 3454451"/>
                  <a:gd name="connsiteY32" fmla="*/ 323850 h 3822033"/>
                  <a:gd name="connsiteX33" fmla="*/ 663626 w 3454451"/>
                  <a:gd name="connsiteY33" fmla="*/ 285750 h 3822033"/>
                  <a:gd name="connsiteX34" fmla="*/ 758876 w 3454451"/>
                  <a:gd name="connsiteY34" fmla="*/ 238125 h 3822033"/>
                  <a:gd name="connsiteX35" fmla="*/ 796976 w 3454451"/>
                  <a:gd name="connsiteY35" fmla="*/ 219075 h 3822033"/>
                  <a:gd name="connsiteX36" fmla="*/ 892226 w 3454451"/>
                  <a:gd name="connsiteY36" fmla="*/ 161925 h 3822033"/>
                  <a:gd name="connsiteX37" fmla="*/ 958901 w 3454451"/>
                  <a:gd name="connsiteY37" fmla="*/ 133350 h 3822033"/>
                  <a:gd name="connsiteX38" fmla="*/ 1120826 w 3454451"/>
                  <a:gd name="connsiteY38" fmla="*/ 76200 h 3822033"/>
                  <a:gd name="connsiteX39" fmla="*/ 1158926 w 3454451"/>
                  <a:gd name="connsiteY39" fmla="*/ 66675 h 3822033"/>
                  <a:gd name="connsiteX40" fmla="*/ 1435151 w 3454451"/>
                  <a:gd name="connsiteY40" fmla="*/ 0 h 3822033"/>
                  <a:gd name="connsiteX41" fmla="*/ 2035226 w 3454451"/>
                  <a:gd name="connsiteY41" fmla="*/ 9525 h 3822033"/>
                  <a:gd name="connsiteX42" fmla="*/ 2101901 w 3454451"/>
                  <a:gd name="connsiteY42" fmla="*/ 19050 h 3822033"/>
                  <a:gd name="connsiteX43" fmla="*/ 2159051 w 3454451"/>
                  <a:gd name="connsiteY43" fmla="*/ 47625 h 3822033"/>
                  <a:gd name="connsiteX44" fmla="*/ 2225726 w 3454451"/>
                  <a:gd name="connsiteY44" fmla="*/ 66675 h 3822033"/>
                  <a:gd name="connsiteX45" fmla="*/ 2340026 w 3454451"/>
                  <a:gd name="connsiteY45" fmla="*/ 133350 h 3822033"/>
                  <a:gd name="connsiteX46" fmla="*/ 2387651 w 3454451"/>
                  <a:gd name="connsiteY46" fmla="*/ 142875 h 3822033"/>
                  <a:gd name="connsiteX47" fmla="*/ 2454326 w 3454451"/>
                  <a:gd name="connsiteY47" fmla="*/ 171450 h 3822033"/>
                  <a:gd name="connsiteX48" fmla="*/ 2482901 w 3454451"/>
                  <a:gd name="connsiteY48" fmla="*/ 200025 h 3822033"/>
                  <a:gd name="connsiteX49" fmla="*/ 2568626 w 3454451"/>
                  <a:gd name="connsiteY49" fmla="*/ 228600 h 3822033"/>
                  <a:gd name="connsiteX50" fmla="*/ 2673401 w 3454451"/>
                  <a:gd name="connsiteY50" fmla="*/ 285750 h 3822033"/>
                  <a:gd name="connsiteX51" fmla="*/ 2701976 w 3454451"/>
                  <a:gd name="connsiteY51" fmla="*/ 304800 h 3822033"/>
                  <a:gd name="connsiteX52" fmla="*/ 2730551 w 3454451"/>
                  <a:gd name="connsiteY52" fmla="*/ 333375 h 3822033"/>
                  <a:gd name="connsiteX53" fmla="*/ 2768651 w 3454451"/>
                  <a:gd name="connsiteY53" fmla="*/ 361950 h 3822033"/>
                  <a:gd name="connsiteX54" fmla="*/ 2806751 w 3454451"/>
                  <a:gd name="connsiteY54" fmla="*/ 400050 h 3822033"/>
                  <a:gd name="connsiteX55" fmla="*/ 2863901 w 3454451"/>
                  <a:gd name="connsiteY55" fmla="*/ 438150 h 3822033"/>
                  <a:gd name="connsiteX56" fmla="*/ 2902001 w 3454451"/>
                  <a:gd name="connsiteY56" fmla="*/ 476250 h 3822033"/>
                  <a:gd name="connsiteX57" fmla="*/ 2968676 w 3454451"/>
                  <a:gd name="connsiteY57" fmla="*/ 523875 h 3822033"/>
                  <a:gd name="connsiteX58" fmla="*/ 2987726 w 3454451"/>
                  <a:gd name="connsiteY58" fmla="*/ 552450 h 3822033"/>
                  <a:gd name="connsiteX59" fmla="*/ 3025826 w 3454451"/>
                  <a:gd name="connsiteY59" fmla="*/ 590550 h 3822033"/>
                  <a:gd name="connsiteX60" fmla="*/ 3044876 w 3454451"/>
                  <a:gd name="connsiteY60" fmla="*/ 628650 h 3822033"/>
                  <a:gd name="connsiteX61" fmla="*/ 3082976 w 3454451"/>
                  <a:gd name="connsiteY61" fmla="*/ 666750 h 3822033"/>
                  <a:gd name="connsiteX62" fmla="*/ 3121076 w 3454451"/>
                  <a:gd name="connsiteY62" fmla="*/ 723900 h 3822033"/>
                  <a:gd name="connsiteX63" fmla="*/ 3216326 w 3454451"/>
                  <a:gd name="connsiteY63" fmla="*/ 838200 h 3822033"/>
                  <a:gd name="connsiteX64" fmla="*/ 3235376 w 3454451"/>
                  <a:gd name="connsiteY64" fmla="*/ 885825 h 3822033"/>
                  <a:gd name="connsiteX65" fmla="*/ 3273476 w 3454451"/>
                  <a:gd name="connsiteY65" fmla="*/ 942975 h 3822033"/>
                  <a:gd name="connsiteX66" fmla="*/ 3283001 w 3454451"/>
                  <a:gd name="connsiteY66" fmla="*/ 990600 h 3822033"/>
                  <a:gd name="connsiteX67" fmla="*/ 3321101 w 3454451"/>
                  <a:gd name="connsiteY67" fmla="*/ 1085850 h 3822033"/>
                  <a:gd name="connsiteX68" fmla="*/ 3359201 w 3454451"/>
                  <a:gd name="connsiteY68" fmla="*/ 1171575 h 3822033"/>
                  <a:gd name="connsiteX69" fmla="*/ 3387776 w 3454451"/>
                  <a:gd name="connsiteY69" fmla="*/ 1219200 h 3822033"/>
                  <a:gd name="connsiteX70" fmla="*/ 3416351 w 3454451"/>
                  <a:gd name="connsiteY70" fmla="*/ 1333500 h 3822033"/>
                  <a:gd name="connsiteX71" fmla="*/ 3425876 w 3454451"/>
                  <a:gd name="connsiteY71" fmla="*/ 1390650 h 3822033"/>
                  <a:gd name="connsiteX72" fmla="*/ 3454451 w 3454451"/>
                  <a:gd name="connsiteY72" fmla="*/ 1657350 h 3822033"/>
                  <a:gd name="connsiteX73" fmla="*/ 3359201 w 3454451"/>
                  <a:gd name="connsiteY73" fmla="*/ 2187575 h 3822033"/>
                  <a:gd name="connsiteX74" fmla="*/ 3273476 w 3454451"/>
                  <a:gd name="connsiteY74" fmla="*/ 2400300 h 3822033"/>
                  <a:gd name="connsiteX75" fmla="*/ 3187751 w 3454451"/>
                  <a:gd name="connsiteY75" fmla="*/ 2533650 h 3822033"/>
                  <a:gd name="connsiteX76" fmla="*/ 3102026 w 3454451"/>
                  <a:gd name="connsiteY76" fmla="*/ 2647950 h 3822033"/>
                  <a:gd name="connsiteX77" fmla="*/ 3016301 w 3454451"/>
                  <a:gd name="connsiteY77" fmla="*/ 2781300 h 3822033"/>
                  <a:gd name="connsiteX78" fmla="*/ 2978201 w 3454451"/>
                  <a:gd name="connsiteY78" fmla="*/ 2819400 h 3822033"/>
                  <a:gd name="connsiteX79" fmla="*/ 2940101 w 3454451"/>
                  <a:gd name="connsiteY79" fmla="*/ 2876550 h 3822033"/>
                  <a:gd name="connsiteX80" fmla="*/ 2854376 w 3454451"/>
                  <a:gd name="connsiteY80" fmla="*/ 2933700 h 3822033"/>
                  <a:gd name="connsiteX81" fmla="*/ 2806751 w 3454451"/>
                  <a:gd name="connsiteY81" fmla="*/ 2971800 h 3822033"/>
                  <a:gd name="connsiteX82" fmla="*/ 2701976 w 3454451"/>
                  <a:gd name="connsiteY82" fmla="*/ 3038475 h 3822033"/>
                  <a:gd name="connsiteX83" fmla="*/ 2606726 w 3454451"/>
                  <a:gd name="connsiteY83" fmla="*/ 3105150 h 3822033"/>
                  <a:gd name="connsiteX84" fmla="*/ 2559101 w 3454451"/>
                  <a:gd name="connsiteY84" fmla="*/ 3143250 h 3822033"/>
                  <a:gd name="connsiteX85" fmla="*/ 2492426 w 3454451"/>
                  <a:gd name="connsiteY85" fmla="*/ 3162300 h 3822033"/>
                  <a:gd name="connsiteX86" fmla="*/ 2359076 w 3454451"/>
                  <a:gd name="connsiteY86" fmla="*/ 3219450 h 3822033"/>
                  <a:gd name="connsiteX87" fmla="*/ 2254301 w 3454451"/>
                  <a:gd name="connsiteY87" fmla="*/ 3257550 h 3822033"/>
                  <a:gd name="connsiteX88" fmla="*/ 2178101 w 3454451"/>
                  <a:gd name="connsiteY88" fmla="*/ 3276600 h 3822033"/>
                  <a:gd name="connsiteX89" fmla="*/ 2054276 w 3454451"/>
                  <a:gd name="connsiteY89" fmla="*/ 3362325 h 3822033"/>
                  <a:gd name="connsiteX90" fmla="*/ 2006651 w 3454451"/>
                  <a:gd name="connsiteY90" fmla="*/ 3400425 h 3822033"/>
                  <a:gd name="connsiteX91" fmla="*/ 1959026 w 3454451"/>
                  <a:gd name="connsiteY91" fmla="*/ 3429000 h 3822033"/>
                  <a:gd name="connsiteX92" fmla="*/ 1901876 w 3454451"/>
                  <a:gd name="connsiteY92" fmla="*/ 3495675 h 3822033"/>
                  <a:gd name="connsiteX93" fmla="*/ 1816151 w 3454451"/>
                  <a:gd name="connsiteY93" fmla="*/ 3609975 h 3822033"/>
                  <a:gd name="connsiteX94" fmla="*/ 1797101 w 3454451"/>
                  <a:gd name="connsiteY94" fmla="*/ 3638550 h 3822033"/>
                  <a:gd name="connsiteX95" fmla="*/ 1787576 w 3454451"/>
                  <a:gd name="connsiteY95" fmla="*/ 3667125 h 3822033"/>
                  <a:gd name="connsiteX96" fmla="*/ 1768526 w 3454451"/>
                  <a:gd name="connsiteY96" fmla="*/ 3695700 h 3822033"/>
                  <a:gd name="connsiteX97" fmla="*/ 1749476 w 3454451"/>
                  <a:gd name="connsiteY97" fmla="*/ 3733800 h 3822033"/>
                  <a:gd name="connsiteX98" fmla="*/ 1711376 w 3454451"/>
                  <a:gd name="connsiteY98" fmla="*/ 3810000 h 3822033"/>
                  <a:gd name="connsiteX99" fmla="*/ 1701851 w 3454451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33349 w 3457574"/>
                  <a:gd name="connsiteY26" fmla="*/ 923925 h 3822033"/>
                  <a:gd name="connsiteX27" fmla="*/ 171449 w 3457574"/>
                  <a:gd name="connsiteY27" fmla="*/ 866775 h 3822033"/>
                  <a:gd name="connsiteX28" fmla="*/ 228599 w 3457574"/>
                  <a:gd name="connsiteY28" fmla="*/ 762000 h 3822033"/>
                  <a:gd name="connsiteX29" fmla="*/ 304799 w 3457574"/>
                  <a:gd name="connsiteY29" fmla="*/ 647700 h 3822033"/>
                  <a:gd name="connsiteX30" fmla="*/ 552449 w 3457574"/>
                  <a:gd name="connsiteY30" fmla="*/ 361950 h 3822033"/>
                  <a:gd name="connsiteX31" fmla="*/ 609599 w 3457574"/>
                  <a:gd name="connsiteY31" fmla="*/ 323850 h 3822033"/>
                  <a:gd name="connsiteX32" fmla="*/ 666749 w 3457574"/>
                  <a:gd name="connsiteY32" fmla="*/ 285750 h 3822033"/>
                  <a:gd name="connsiteX33" fmla="*/ 761999 w 3457574"/>
                  <a:gd name="connsiteY33" fmla="*/ 238125 h 3822033"/>
                  <a:gd name="connsiteX34" fmla="*/ 800099 w 3457574"/>
                  <a:gd name="connsiteY34" fmla="*/ 219075 h 3822033"/>
                  <a:gd name="connsiteX35" fmla="*/ 895349 w 3457574"/>
                  <a:gd name="connsiteY35" fmla="*/ 161925 h 3822033"/>
                  <a:gd name="connsiteX36" fmla="*/ 962024 w 3457574"/>
                  <a:gd name="connsiteY36" fmla="*/ 133350 h 3822033"/>
                  <a:gd name="connsiteX37" fmla="*/ 1123949 w 3457574"/>
                  <a:gd name="connsiteY37" fmla="*/ 76200 h 3822033"/>
                  <a:gd name="connsiteX38" fmla="*/ 1162049 w 3457574"/>
                  <a:gd name="connsiteY38" fmla="*/ 66675 h 3822033"/>
                  <a:gd name="connsiteX39" fmla="*/ 1438274 w 3457574"/>
                  <a:gd name="connsiteY39" fmla="*/ 0 h 3822033"/>
                  <a:gd name="connsiteX40" fmla="*/ 2038349 w 3457574"/>
                  <a:gd name="connsiteY40" fmla="*/ 9525 h 3822033"/>
                  <a:gd name="connsiteX41" fmla="*/ 2105024 w 3457574"/>
                  <a:gd name="connsiteY41" fmla="*/ 19050 h 3822033"/>
                  <a:gd name="connsiteX42" fmla="*/ 2162174 w 3457574"/>
                  <a:gd name="connsiteY42" fmla="*/ 47625 h 3822033"/>
                  <a:gd name="connsiteX43" fmla="*/ 2228849 w 3457574"/>
                  <a:gd name="connsiteY43" fmla="*/ 66675 h 3822033"/>
                  <a:gd name="connsiteX44" fmla="*/ 2343149 w 3457574"/>
                  <a:gd name="connsiteY44" fmla="*/ 133350 h 3822033"/>
                  <a:gd name="connsiteX45" fmla="*/ 2390774 w 3457574"/>
                  <a:gd name="connsiteY45" fmla="*/ 142875 h 3822033"/>
                  <a:gd name="connsiteX46" fmla="*/ 2457449 w 3457574"/>
                  <a:gd name="connsiteY46" fmla="*/ 171450 h 3822033"/>
                  <a:gd name="connsiteX47" fmla="*/ 2486024 w 3457574"/>
                  <a:gd name="connsiteY47" fmla="*/ 200025 h 3822033"/>
                  <a:gd name="connsiteX48" fmla="*/ 2571749 w 3457574"/>
                  <a:gd name="connsiteY48" fmla="*/ 228600 h 3822033"/>
                  <a:gd name="connsiteX49" fmla="*/ 2676524 w 3457574"/>
                  <a:gd name="connsiteY49" fmla="*/ 285750 h 3822033"/>
                  <a:gd name="connsiteX50" fmla="*/ 2705099 w 3457574"/>
                  <a:gd name="connsiteY50" fmla="*/ 304800 h 3822033"/>
                  <a:gd name="connsiteX51" fmla="*/ 2733674 w 3457574"/>
                  <a:gd name="connsiteY51" fmla="*/ 333375 h 3822033"/>
                  <a:gd name="connsiteX52" fmla="*/ 2771774 w 3457574"/>
                  <a:gd name="connsiteY52" fmla="*/ 361950 h 3822033"/>
                  <a:gd name="connsiteX53" fmla="*/ 2809874 w 3457574"/>
                  <a:gd name="connsiteY53" fmla="*/ 400050 h 3822033"/>
                  <a:gd name="connsiteX54" fmla="*/ 2867024 w 3457574"/>
                  <a:gd name="connsiteY54" fmla="*/ 438150 h 3822033"/>
                  <a:gd name="connsiteX55" fmla="*/ 2905124 w 3457574"/>
                  <a:gd name="connsiteY55" fmla="*/ 476250 h 3822033"/>
                  <a:gd name="connsiteX56" fmla="*/ 2971799 w 3457574"/>
                  <a:gd name="connsiteY56" fmla="*/ 523875 h 3822033"/>
                  <a:gd name="connsiteX57" fmla="*/ 2990849 w 3457574"/>
                  <a:gd name="connsiteY57" fmla="*/ 552450 h 3822033"/>
                  <a:gd name="connsiteX58" fmla="*/ 3028949 w 3457574"/>
                  <a:gd name="connsiteY58" fmla="*/ 590550 h 3822033"/>
                  <a:gd name="connsiteX59" fmla="*/ 3047999 w 3457574"/>
                  <a:gd name="connsiteY59" fmla="*/ 628650 h 3822033"/>
                  <a:gd name="connsiteX60" fmla="*/ 3086099 w 3457574"/>
                  <a:gd name="connsiteY60" fmla="*/ 666750 h 3822033"/>
                  <a:gd name="connsiteX61" fmla="*/ 3124199 w 3457574"/>
                  <a:gd name="connsiteY61" fmla="*/ 723900 h 3822033"/>
                  <a:gd name="connsiteX62" fmla="*/ 3219449 w 3457574"/>
                  <a:gd name="connsiteY62" fmla="*/ 838200 h 3822033"/>
                  <a:gd name="connsiteX63" fmla="*/ 3238499 w 3457574"/>
                  <a:gd name="connsiteY63" fmla="*/ 885825 h 3822033"/>
                  <a:gd name="connsiteX64" fmla="*/ 3276599 w 3457574"/>
                  <a:gd name="connsiteY64" fmla="*/ 942975 h 3822033"/>
                  <a:gd name="connsiteX65" fmla="*/ 3286124 w 3457574"/>
                  <a:gd name="connsiteY65" fmla="*/ 990600 h 3822033"/>
                  <a:gd name="connsiteX66" fmla="*/ 3324224 w 3457574"/>
                  <a:gd name="connsiteY66" fmla="*/ 1085850 h 3822033"/>
                  <a:gd name="connsiteX67" fmla="*/ 3362324 w 3457574"/>
                  <a:gd name="connsiteY67" fmla="*/ 1171575 h 3822033"/>
                  <a:gd name="connsiteX68" fmla="*/ 3390899 w 3457574"/>
                  <a:gd name="connsiteY68" fmla="*/ 1219200 h 3822033"/>
                  <a:gd name="connsiteX69" fmla="*/ 3419474 w 3457574"/>
                  <a:gd name="connsiteY69" fmla="*/ 1333500 h 3822033"/>
                  <a:gd name="connsiteX70" fmla="*/ 3428999 w 3457574"/>
                  <a:gd name="connsiteY70" fmla="*/ 1390650 h 3822033"/>
                  <a:gd name="connsiteX71" fmla="*/ 3457574 w 3457574"/>
                  <a:gd name="connsiteY71" fmla="*/ 1657350 h 3822033"/>
                  <a:gd name="connsiteX72" fmla="*/ 3362324 w 3457574"/>
                  <a:gd name="connsiteY72" fmla="*/ 2187575 h 3822033"/>
                  <a:gd name="connsiteX73" fmla="*/ 3276599 w 3457574"/>
                  <a:gd name="connsiteY73" fmla="*/ 2400300 h 3822033"/>
                  <a:gd name="connsiteX74" fmla="*/ 3190874 w 3457574"/>
                  <a:gd name="connsiteY74" fmla="*/ 2533650 h 3822033"/>
                  <a:gd name="connsiteX75" fmla="*/ 3105149 w 3457574"/>
                  <a:gd name="connsiteY75" fmla="*/ 2647950 h 3822033"/>
                  <a:gd name="connsiteX76" fmla="*/ 3019424 w 3457574"/>
                  <a:gd name="connsiteY76" fmla="*/ 2781300 h 3822033"/>
                  <a:gd name="connsiteX77" fmla="*/ 2981324 w 3457574"/>
                  <a:gd name="connsiteY77" fmla="*/ 2819400 h 3822033"/>
                  <a:gd name="connsiteX78" fmla="*/ 2943224 w 3457574"/>
                  <a:gd name="connsiteY78" fmla="*/ 2876550 h 3822033"/>
                  <a:gd name="connsiteX79" fmla="*/ 2857499 w 3457574"/>
                  <a:gd name="connsiteY79" fmla="*/ 2933700 h 3822033"/>
                  <a:gd name="connsiteX80" fmla="*/ 2809874 w 3457574"/>
                  <a:gd name="connsiteY80" fmla="*/ 2971800 h 3822033"/>
                  <a:gd name="connsiteX81" fmla="*/ 2705099 w 3457574"/>
                  <a:gd name="connsiteY81" fmla="*/ 3038475 h 3822033"/>
                  <a:gd name="connsiteX82" fmla="*/ 2609849 w 3457574"/>
                  <a:gd name="connsiteY82" fmla="*/ 3105150 h 3822033"/>
                  <a:gd name="connsiteX83" fmla="*/ 2562224 w 3457574"/>
                  <a:gd name="connsiteY83" fmla="*/ 3143250 h 3822033"/>
                  <a:gd name="connsiteX84" fmla="*/ 2495549 w 3457574"/>
                  <a:gd name="connsiteY84" fmla="*/ 3162300 h 3822033"/>
                  <a:gd name="connsiteX85" fmla="*/ 2362199 w 3457574"/>
                  <a:gd name="connsiteY85" fmla="*/ 3219450 h 3822033"/>
                  <a:gd name="connsiteX86" fmla="*/ 2257424 w 3457574"/>
                  <a:gd name="connsiteY86" fmla="*/ 3257550 h 3822033"/>
                  <a:gd name="connsiteX87" fmla="*/ 2181224 w 3457574"/>
                  <a:gd name="connsiteY87" fmla="*/ 3276600 h 3822033"/>
                  <a:gd name="connsiteX88" fmla="*/ 2057399 w 3457574"/>
                  <a:gd name="connsiteY88" fmla="*/ 3362325 h 3822033"/>
                  <a:gd name="connsiteX89" fmla="*/ 2009774 w 3457574"/>
                  <a:gd name="connsiteY89" fmla="*/ 3400425 h 3822033"/>
                  <a:gd name="connsiteX90" fmla="*/ 1962149 w 3457574"/>
                  <a:gd name="connsiteY90" fmla="*/ 3429000 h 3822033"/>
                  <a:gd name="connsiteX91" fmla="*/ 1904999 w 3457574"/>
                  <a:gd name="connsiteY91" fmla="*/ 3495675 h 3822033"/>
                  <a:gd name="connsiteX92" fmla="*/ 1819274 w 3457574"/>
                  <a:gd name="connsiteY92" fmla="*/ 3609975 h 3822033"/>
                  <a:gd name="connsiteX93" fmla="*/ 1800224 w 3457574"/>
                  <a:gd name="connsiteY93" fmla="*/ 3638550 h 3822033"/>
                  <a:gd name="connsiteX94" fmla="*/ 1790699 w 3457574"/>
                  <a:gd name="connsiteY94" fmla="*/ 3667125 h 3822033"/>
                  <a:gd name="connsiteX95" fmla="*/ 1771649 w 3457574"/>
                  <a:gd name="connsiteY95" fmla="*/ 3695700 h 3822033"/>
                  <a:gd name="connsiteX96" fmla="*/ 1752599 w 3457574"/>
                  <a:gd name="connsiteY96" fmla="*/ 3733800 h 3822033"/>
                  <a:gd name="connsiteX97" fmla="*/ 1714499 w 3457574"/>
                  <a:gd name="connsiteY97" fmla="*/ 3810000 h 3822033"/>
                  <a:gd name="connsiteX98" fmla="*/ 1704974 w 3457574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457574" h="3822033">
                    <a:moveTo>
                      <a:pt x="1704974" y="3819525"/>
                    </a:moveTo>
                    <a:cubicBezTo>
                      <a:pt x="1698624" y="3813175"/>
                      <a:pt x="1704974" y="3817938"/>
                      <a:pt x="1676399" y="3771900"/>
                    </a:cubicBezTo>
                    <a:cubicBezTo>
                      <a:pt x="1647824" y="3725862"/>
                      <a:pt x="1577974" y="3598862"/>
                      <a:pt x="1533524" y="3543300"/>
                    </a:cubicBezTo>
                    <a:cubicBezTo>
                      <a:pt x="1489074" y="3487738"/>
                      <a:pt x="1424613" y="3445982"/>
                      <a:pt x="1409699" y="3438525"/>
                    </a:cubicBezTo>
                    <a:cubicBezTo>
                      <a:pt x="1396999" y="3432175"/>
                      <a:pt x="1383927" y="3426520"/>
                      <a:pt x="1371599" y="3419475"/>
                    </a:cubicBezTo>
                    <a:cubicBezTo>
                      <a:pt x="1361660" y="3413795"/>
                      <a:pt x="1353965" y="3403792"/>
                      <a:pt x="1343024" y="3400425"/>
                    </a:cubicBezTo>
                    <a:cubicBezTo>
                      <a:pt x="1312077" y="3390903"/>
                      <a:pt x="1279524" y="3387725"/>
                      <a:pt x="1247774" y="3381375"/>
                    </a:cubicBezTo>
                    <a:cubicBezTo>
                      <a:pt x="1212849" y="3368675"/>
                      <a:pt x="1173162" y="3341688"/>
                      <a:pt x="1133474" y="3324225"/>
                    </a:cubicBezTo>
                    <a:cubicBezTo>
                      <a:pt x="1093787" y="3306763"/>
                      <a:pt x="1044181" y="3304226"/>
                      <a:pt x="1009649" y="3276600"/>
                    </a:cubicBezTo>
                    <a:cubicBezTo>
                      <a:pt x="993774" y="3263900"/>
                      <a:pt x="978940" y="3249777"/>
                      <a:pt x="962024" y="3238500"/>
                    </a:cubicBezTo>
                    <a:cubicBezTo>
                      <a:pt x="950210" y="3230624"/>
                      <a:pt x="946149" y="3235325"/>
                      <a:pt x="923924" y="3219450"/>
                    </a:cubicBezTo>
                    <a:cubicBezTo>
                      <a:pt x="901699" y="3203575"/>
                      <a:pt x="873124" y="3173942"/>
                      <a:pt x="828674" y="3143250"/>
                    </a:cubicBezTo>
                    <a:cubicBezTo>
                      <a:pt x="784224" y="3112558"/>
                      <a:pt x="700086" y="3068637"/>
                      <a:pt x="657224" y="3035300"/>
                    </a:cubicBezTo>
                    <a:cubicBezTo>
                      <a:pt x="614362" y="3001963"/>
                      <a:pt x="622299" y="3005138"/>
                      <a:pt x="571499" y="2943225"/>
                    </a:cubicBezTo>
                    <a:cubicBezTo>
                      <a:pt x="523874" y="2887663"/>
                      <a:pt x="379411" y="2736850"/>
                      <a:pt x="333374" y="2676525"/>
                    </a:cubicBezTo>
                    <a:lnTo>
                      <a:pt x="276224" y="2581275"/>
                    </a:lnTo>
                    <a:cubicBezTo>
                      <a:pt x="255587" y="2543704"/>
                      <a:pt x="230716" y="2487612"/>
                      <a:pt x="209549" y="2451100"/>
                    </a:cubicBezTo>
                    <a:cubicBezTo>
                      <a:pt x="188382" y="2414588"/>
                      <a:pt x="169332" y="2398713"/>
                      <a:pt x="149224" y="2362200"/>
                    </a:cubicBezTo>
                    <a:cubicBezTo>
                      <a:pt x="129116" y="2325687"/>
                      <a:pt x="126470" y="2305579"/>
                      <a:pt x="107949" y="2238375"/>
                    </a:cubicBezTo>
                    <a:cubicBezTo>
                      <a:pt x="89428" y="2171171"/>
                      <a:pt x="51328" y="2028825"/>
                      <a:pt x="38099" y="1958975"/>
                    </a:cubicBezTo>
                    <a:cubicBezTo>
                      <a:pt x="24870" y="1889125"/>
                      <a:pt x="34395" y="1865312"/>
                      <a:pt x="28574" y="1819275"/>
                    </a:cubicBezTo>
                    <a:cubicBezTo>
                      <a:pt x="22753" y="1773238"/>
                      <a:pt x="7407" y="1733021"/>
                      <a:pt x="3174" y="1682750"/>
                    </a:cubicBezTo>
                    <a:cubicBezTo>
                      <a:pt x="-1059" y="1632479"/>
                      <a:pt x="-1059" y="1580621"/>
                      <a:pt x="3174" y="1517650"/>
                    </a:cubicBezTo>
                    <a:cubicBezTo>
                      <a:pt x="7407" y="1454679"/>
                      <a:pt x="17461" y="1370013"/>
                      <a:pt x="28574" y="1304925"/>
                    </a:cubicBezTo>
                    <a:cubicBezTo>
                      <a:pt x="39687" y="1239837"/>
                      <a:pt x="55562" y="1179512"/>
                      <a:pt x="69849" y="1127125"/>
                    </a:cubicBezTo>
                    <a:cubicBezTo>
                      <a:pt x="84833" y="1059696"/>
                      <a:pt x="97366" y="1033992"/>
                      <a:pt x="114299" y="990600"/>
                    </a:cubicBezTo>
                    <a:cubicBezTo>
                      <a:pt x="131232" y="947208"/>
                      <a:pt x="152399" y="904875"/>
                      <a:pt x="171449" y="866775"/>
                    </a:cubicBezTo>
                    <a:cubicBezTo>
                      <a:pt x="190499" y="828675"/>
                      <a:pt x="163236" y="863016"/>
                      <a:pt x="228599" y="762000"/>
                    </a:cubicBezTo>
                    <a:cubicBezTo>
                      <a:pt x="253475" y="723556"/>
                      <a:pt x="252973" y="729425"/>
                      <a:pt x="304799" y="647700"/>
                    </a:cubicBezTo>
                    <a:cubicBezTo>
                      <a:pt x="387349" y="517525"/>
                      <a:pt x="549274" y="384175"/>
                      <a:pt x="609599" y="323850"/>
                    </a:cubicBezTo>
                    <a:cubicBezTo>
                      <a:pt x="628649" y="311150"/>
                      <a:pt x="646271" y="295989"/>
                      <a:pt x="666749" y="285750"/>
                    </a:cubicBezTo>
                    <a:lnTo>
                      <a:pt x="761999" y="238125"/>
                    </a:lnTo>
                    <a:cubicBezTo>
                      <a:pt x="774699" y="231775"/>
                      <a:pt x="787923" y="226380"/>
                      <a:pt x="800099" y="219075"/>
                    </a:cubicBezTo>
                    <a:cubicBezTo>
                      <a:pt x="831849" y="200025"/>
                      <a:pt x="861316" y="176510"/>
                      <a:pt x="895349" y="161925"/>
                    </a:cubicBezTo>
                    <a:cubicBezTo>
                      <a:pt x="917574" y="152400"/>
                      <a:pt x="939573" y="142330"/>
                      <a:pt x="962024" y="133350"/>
                    </a:cubicBezTo>
                    <a:cubicBezTo>
                      <a:pt x="1010267" y="114053"/>
                      <a:pt x="1074846" y="91309"/>
                      <a:pt x="1123949" y="76200"/>
                    </a:cubicBezTo>
                    <a:cubicBezTo>
                      <a:pt x="1136461" y="72350"/>
                      <a:pt x="1149574" y="70644"/>
                      <a:pt x="1162049" y="66675"/>
                    </a:cubicBezTo>
                    <a:cubicBezTo>
                      <a:pt x="1380416" y="-2806"/>
                      <a:pt x="1265560" y="15701"/>
                      <a:pt x="1438274" y="0"/>
                    </a:cubicBezTo>
                    <a:lnTo>
                      <a:pt x="2038349" y="9525"/>
                    </a:lnTo>
                    <a:cubicBezTo>
                      <a:pt x="2060790" y="10166"/>
                      <a:pt x="2083566" y="12448"/>
                      <a:pt x="2105024" y="19050"/>
                    </a:cubicBezTo>
                    <a:cubicBezTo>
                      <a:pt x="2125381" y="25314"/>
                      <a:pt x="2142295" y="39979"/>
                      <a:pt x="2162174" y="47625"/>
                    </a:cubicBezTo>
                    <a:cubicBezTo>
                      <a:pt x="2183748" y="55923"/>
                      <a:pt x="2206624" y="60325"/>
                      <a:pt x="2228849" y="66675"/>
                    </a:cubicBezTo>
                    <a:cubicBezTo>
                      <a:pt x="2238869" y="72937"/>
                      <a:pt x="2315339" y="124080"/>
                      <a:pt x="2343149" y="133350"/>
                    </a:cubicBezTo>
                    <a:cubicBezTo>
                      <a:pt x="2358508" y="138470"/>
                      <a:pt x="2374899" y="139700"/>
                      <a:pt x="2390774" y="142875"/>
                    </a:cubicBezTo>
                    <a:cubicBezTo>
                      <a:pt x="2412999" y="152400"/>
                      <a:pt x="2436715" y="159009"/>
                      <a:pt x="2457449" y="171450"/>
                    </a:cubicBezTo>
                    <a:cubicBezTo>
                      <a:pt x="2469000" y="178380"/>
                      <a:pt x="2473976" y="194001"/>
                      <a:pt x="2486024" y="200025"/>
                    </a:cubicBezTo>
                    <a:cubicBezTo>
                      <a:pt x="2512965" y="213495"/>
                      <a:pt x="2543783" y="217413"/>
                      <a:pt x="2571749" y="228600"/>
                    </a:cubicBezTo>
                    <a:cubicBezTo>
                      <a:pt x="2604276" y="241611"/>
                      <a:pt x="2646432" y="266942"/>
                      <a:pt x="2676524" y="285750"/>
                    </a:cubicBezTo>
                    <a:cubicBezTo>
                      <a:pt x="2686232" y="291817"/>
                      <a:pt x="2696305" y="297471"/>
                      <a:pt x="2705099" y="304800"/>
                    </a:cubicBezTo>
                    <a:cubicBezTo>
                      <a:pt x="2715447" y="313424"/>
                      <a:pt x="2723447" y="324609"/>
                      <a:pt x="2733674" y="333375"/>
                    </a:cubicBezTo>
                    <a:cubicBezTo>
                      <a:pt x="2745727" y="343706"/>
                      <a:pt x="2759827" y="351496"/>
                      <a:pt x="2771774" y="361950"/>
                    </a:cubicBezTo>
                    <a:cubicBezTo>
                      <a:pt x="2785291" y="373777"/>
                      <a:pt x="2795849" y="388830"/>
                      <a:pt x="2809874" y="400050"/>
                    </a:cubicBezTo>
                    <a:cubicBezTo>
                      <a:pt x="2827752" y="414353"/>
                      <a:pt x="2849146" y="423847"/>
                      <a:pt x="2867024" y="438150"/>
                    </a:cubicBezTo>
                    <a:cubicBezTo>
                      <a:pt x="2881049" y="449370"/>
                      <a:pt x="2891607" y="464423"/>
                      <a:pt x="2905124" y="476250"/>
                    </a:cubicBezTo>
                    <a:cubicBezTo>
                      <a:pt x="2924027" y="492790"/>
                      <a:pt x="2950462" y="509650"/>
                      <a:pt x="2971799" y="523875"/>
                    </a:cubicBezTo>
                    <a:cubicBezTo>
                      <a:pt x="2978149" y="533400"/>
                      <a:pt x="2983399" y="543758"/>
                      <a:pt x="2990849" y="552450"/>
                    </a:cubicBezTo>
                    <a:cubicBezTo>
                      <a:pt x="3002538" y="566087"/>
                      <a:pt x="3018173" y="576182"/>
                      <a:pt x="3028949" y="590550"/>
                    </a:cubicBezTo>
                    <a:cubicBezTo>
                      <a:pt x="3037468" y="601909"/>
                      <a:pt x="3039480" y="617291"/>
                      <a:pt x="3047999" y="628650"/>
                    </a:cubicBezTo>
                    <a:cubicBezTo>
                      <a:pt x="3058775" y="643018"/>
                      <a:pt x="3074879" y="652725"/>
                      <a:pt x="3086099" y="666750"/>
                    </a:cubicBezTo>
                    <a:cubicBezTo>
                      <a:pt x="3100402" y="684628"/>
                      <a:pt x="3110660" y="705437"/>
                      <a:pt x="3124199" y="723900"/>
                    </a:cubicBezTo>
                    <a:cubicBezTo>
                      <a:pt x="3183084" y="804198"/>
                      <a:pt x="3171252" y="790003"/>
                      <a:pt x="3219449" y="838200"/>
                    </a:cubicBezTo>
                    <a:cubicBezTo>
                      <a:pt x="3225799" y="854075"/>
                      <a:pt x="3230312" y="870815"/>
                      <a:pt x="3238499" y="885825"/>
                    </a:cubicBezTo>
                    <a:cubicBezTo>
                      <a:pt x="3249462" y="905925"/>
                      <a:pt x="3267125" y="922132"/>
                      <a:pt x="3276599" y="942975"/>
                    </a:cubicBezTo>
                    <a:cubicBezTo>
                      <a:pt x="3283298" y="957713"/>
                      <a:pt x="3281004" y="975241"/>
                      <a:pt x="3286124" y="990600"/>
                    </a:cubicBezTo>
                    <a:cubicBezTo>
                      <a:pt x="3296938" y="1023041"/>
                      <a:pt x="3311524" y="1054100"/>
                      <a:pt x="3324224" y="1085850"/>
                    </a:cubicBezTo>
                    <a:cubicBezTo>
                      <a:pt x="3339363" y="1123697"/>
                      <a:pt x="3343255" y="1137251"/>
                      <a:pt x="3362324" y="1171575"/>
                    </a:cubicBezTo>
                    <a:cubicBezTo>
                      <a:pt x="3371315" y="1187759"/>
                      <a:pt x="3381374" y="1203325"/>
                      <a:pt x="3390899" y="1219200"/>
                    </a:cubicBezTo>
                    <a:cubicBezTo>
                      <a:pt x="3417894" y="1435159"/>
                      <a:pt x="3380263" y="1202796"/>
                      <a:pt x="3419474" y="1333500"/>
                    </a:cubicBezTo>
                    <a:cubicBezTo>
                      <a:pt x="3425023" y="1351998"/>
                      <a:pt x="3426134" y="1371551"/>
                      <a:pt x="3428999" y="1390650"/>
                    </a:cubicBezTo>
                    <a:cubicBezTo>
                      <a:pt x="3453199" y="1551982"/>
                      <a:pt x="3445994" y="1495225"/>
                      <a:pt x="3457574" y="1657350"/>
                    </a:cubicBezTo>
                    <a:cubicBezTo>
                      <a:pt x="3449637" y="1798638"/>
                      <a:pt x="3392486" y="2063750"/>
                      <a:pt x="3362324" y="2187575"/>
                    </a:cubicBezTo>
                    <a:cubicBezTo>
                      <a:pt x="3332162" y="2311400"/>
                      <a:pt x="3305174" y="2342621"/>
                      <a:pt x="3276599" y="2400300"/>
                    </a:cubicBezTo>
                    <a:cubicBezTo>
                      <a:pt x="3248024" y="2457979"/>
                      <a:pt x="3223316" y="2491939"/>
                      <a:pt x="3190874" y="2533650"/>
                    </a:cubicBezTo>
                    <a:cubicBezTo>
                      <a:pt x="3183801" y="2542744"/>
                      <a:pt x="3123209" y="2616345"/>
                      <a:pt x="3105149" y="2647950"/>
                    </a:cubicBezTo>
                    <a:cubicBezTo>
                      <a:pt x="3072303" y="2705431"/>
                      <a:pt x="3084590" y="2716134"/>
                      <a:pt x="3019424" y="2781300"/>
                    </a:cubicBezTo>
                    <a:cubicBezTo>
                      <a:pt x="3006724" y="2794000"/>
                      <a:pt x="2992544" y="2805375"/>
                      <a:pt x="2981324" y="2819400"/>
                    </a:cubicBezTo>
                    <a:cubicBezTo>
                      <a:pt x="2967021" y="2837278"/>
                      <a:pt x="2962274" y="2863850"/>
                      <a:pt x="2943224" y="2876550"/>
                    </a:cubicBezTo>
                    <a:cubicBezTo>
                      <a:pt x="2914649" y="2895600"/>
                      <a:pt x="2885445" y="2913739"/>
                      <a:pt x="2857499" y="2933700"/>
                    </a:cubicBezTo>
                    <a:cubicBezTo>
                      <a:pt x="2840956" y="2945517"/>
                      <a:pt x="2826627" y="2960283"/>
                      <a:pt x="2809874" y="2971800"/>
                    </a:cubicBezTo>
                    <a:cubicBezTo>
                      <a:pt x="2775761" y="2995253"/>
                      <a:pt x="2736901" y="3011973"/>
                      <a:pt x="2705099" y="3038475"/>
                    </a:cubicBezTo>
                    <a:cubicBezTo>
                      <a:pt x="2531767" y="3182918"/>
                      <a:pt x="2730408" y="3024777"/>
                      <a:pt x="2609849" y="3105150"/>
                    </a:cubicBezTo>
                    <a:cubicBezTo>
                      <a:pt x="2592933" y="3116427"/>
                      <a:pt x="2580408" y="3134158"/>
                      <a:pt x="2562224" y="3143250"/>
                    </a:cubicBezTo>
                    <a:cubicBezTo>
                      <a:pt x="2541550" y="3153587"/>
                      <a:pt x="2517774" y="3155950"/>
                      <a:pt x="2495549" y="3162300"/>
                    </a:cubicBezTo>
                    <a:cubicBezTo>
                      <a:pt x="2434666" y="3202888"/>
                      <a:pt x="2482234" y="3174437"/>
                      <a:pt x="2362199" y="3219450"/>
                    </a:cubicBezTo>
                    <a:cubicBezTo>
                      <a:pt x="2310693" y="3238765"/>
                      <a:pt x="2313456" y="3241541"/>
                      <a:pt x="2257424" y="3257550"/>
                    </a:cubicBezTo>
                    <a:cubicBezTo>
                      <a:pt x="2232250" y="3264743"/>
                      <a:pt x="2206624" y="3270250"/>
                      <a:pt x="2181224" y="3276600"/>
                    </a:cubicBezTo>
                    <a:cubicBezTo>
                      <a:pt x="2118696" y="3339128"/>
                      <a:pt x="2185560" y="3276884"/>
                      <a:pt x="2057399" y="3362325"/>
                    </a:cubicBezTo>
                    <a:cubicBezTo>
                      <a:pt x="2040483" y="3373602"/>
                      <a:pt x="2026429" y="3388767"/>
                      <a:pt x="2009774" y="3400425"/>
                    </a:cubicBezTo>
                    <a:cubicBezTo>
                      <a:pt x="1994607" y="3411042"/>
                      <a:pt x="1976762" y="3417634"/>
                      <a:pt x="1962149" y="3429000"/>
                    </a:cubicBezTo>
                    <a:cubicBezTo>
                      <a:pt x="1922882" y="3459541"/>
                      <a:pt x="1929596" y="3462133"/>
                      <a:pt x="1904999" y="3495675"/>
                    </a:cubicBezTo>
                    <a:cubicBezTo>
                      <a:pt x="1876835" y="3534080"/>
                      <a:pt x="1845692" y="3570349"/>
                      <a:pt x="1819274" y="3609975"/>
                    </a:cubicBezTo>
                    <a:cubicBezTo>
                      <a:pt x="1812924" y="3619500"/>
                      <a:pt x="1805344" y="3628311"/>
                      <a:pt x="1800224" y="3638550"/>
                    </a:cubicBezTo>
                    <a:cubicBezTo>
                      <a:pt x="1795734" y="3647530"/>
                      <a:pt x="1795189" y="3658145"/>
                      <a:pt x="1790699" y="3667125"/>
                    </a:cubicBezTo>
                    <a:cubicBezTo>
                      <a:pt x="1785579" y="3677364"/>
                      <a:pt x="1777329" y="3685761"/>
                      <a:pt x="1771649" y="3695700"/>
                    </a:cubicBezTo>
                    <a:cubicBezTo>
                      <a:pt x="1764604" y="3708028"/>
                      <a:pt x="1759644" y="3721472"/>
                      <a:pt x="1752599" y="3733800"/>
                    </a:cubicBezTo>
                    <a:cubicBezTo>
                      <a:pt x="1731295" y="3771082"/>
                      <a:pt x="1727002" y="3759990"/>
                      <a:pt x="1714499" y="3810000"/>
                    </a:cubicBezTo>
                    <a:cubicBezTo>
                      <a:pt x="1712189" y="3819241"/>
                      <a:pt x="1711324" y="3825875"/>
                      <a:pt x="1704974" y="3819525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8" name="Freeform: Shape 125">
                <a:extLst>
                  <a:ext uri="{FF2B5EF4-FFF2-40B4-BE49-F238E27FC236}">
                    <a16:creationId xmlns:a16="http://schemas.microsoft.com/office/drawing/2014/main" id="{24D0C58C-B098-BEDF-272E-8BECB01309D1}"/>
                  </a:ext>
                </a:extLst>
              </p:cNvPr>
              <p:cNvSpPr/>
              <p:nvPr/>
            </p:nvSpPr>
            <p:spPr>
              <a:xfrm rot="10800000">
                <a:off x="352424" y="3433220"/>
                <a:ext cx="1576861" cy="1743076"/>
              </a:xfrm>
              <a:custGeom>
                <a:avLst/>
                <a:gdLst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447675 w 3457575"/>
                  <a:gd name="connsiteY51" fmla="*/ 428625 h 3822033"/>
                  <a:gd name="connsiteX52" fmla="*/ 552450 w 3457575"/>
                  <a:gd name="connsiteY52" fmla="*/ 361950 h 3822033"/>
                  <a:gd name="connsiteX53" fmla="*/ 609600 w 3457575"/>
                  <a:gd name="connsiteY53" fmla="*/ 323850 h 3822033"/>
                  <a:gd name="connsiteX54" fmla="*/ 666750 w 3457575"/>
                  <a:gd name="connsiteY54" fmla="*/ 285750 h 3822033"/>
                  <a:gd name="connsiteX55" fmla="*/ 762000 w 3457575"/>
                  <a:gd name="connsiteY55" fmla="*/ 238125 h 3822033"/>
                  <a:gd name="connsiteX56" fmla="*/ 800100 w 3457575"/>
                  <a:gd name="connsiteY56" fmla="*/ 219075 h 3822033"/>
                  <a:gd name="connsiteX57" fmla="*/ 895350 w 3457575"/>
                  <a:gd name="connsiteY57" fmla="*/ 161925 h 3822033"/>
                  <a:gd name="connsiteX58" fmla="*/ 962025 w 3457575"/>
                  <a:gd name="connsiteY58" fmla="*/ 133350 h 3822033"/>
                  <a:gd name="connsiteX59" fmla="*/ 1123950 w 3457575"/>
                  <a:gd name="connsiteY59" fmla="*/ 76200 h 3822033"/>
                  <a:gd name="connsiteX60" fmla="*/ 1162050 w 3457575"/>
                  <a:gd name="connsiteY60" fmla="*/ 66675 h 3822033"/>
                  <a:gd name="connsiteX61" fmla="*/ 1438275 w 3457575"/>
                  <a:gd name="connsiteY61" fmla="*/ 0 h 3822033"/>
                  <a:gd name="connsiteX62" fmla="*/ 2038350 w 3457575"/>
                  <a:gd name="connsiteY62" fmla="*/ 9525 h 3822033"/>
                  <a:gd name="connsiteX63" fmla="*/ 2105025 w 3457575"/>
                  <a:gd name="connsiteY63" fmla="*/ 19050 h 3822033"/>
                  <a:gd name="connsiteX64" fmla="*/ 2162175 w 3457575"/>
                  <a:gd name="connsiteY64" fmla="*/ 47625 h 3822033"/>
                  <a:gd name="connsiteX65" fmla="*/ 2228850 w 3457575"/>
                  <a:gd name="connsiteY65" fmla="*/ 66675 h 3822033"/>
                  <a:gd name="connsiteX66" fmla="*/ 2343150 w 3457575"/>
                  <a:gd name="connsiteY66" fmla="*/ 133350 h 3822033"/>
                  <a:gd name="connsiteX67" fmla="*/ 2390775 w 3457575"/>
                  <a:gd name="connsiteY67" fmla="*/ 142875 h 3822033"/>
                  <a:gd name="connsiteX68" fmla="*/ 2457450 w 3457575"/>
                  <a:gd name="connsiteY68" fmla="*/ 171450 h 3822033"/>
                  <a:gd name="connsiteX69" fmla="*/ 2486025 w 3457575"/>
                  <a:gd name="connsiteY69" fmla="*/ 200025 h 3822033"/>
                  <a:gd name="connsiteX70" fmla="*/ 2571750 w 3457575"/>
                  <a:gd name="connsiteY70" fmla="*/ 228600 h 3822033"/>
                  <a:gd name="connsiteX71" fmla="*/ 2676525 w 3457575"/>
                  <a:gd name="connsiteY71" fmla="*/ 285750 h 3822033"/>
                  <a:gd name="connsiteX72" fmla="*/ 2705100 w 3457575"/>
                  <a:gd name="connsiteY72" fmla="*/ 304800 h 3822033"/>
                  <a:gd name="connsiteX73" fmla="*/ 2733675 w 3457575"/>
                  <a:gd name="connsiteY73" fmla="*/ 333375 h 3822033"/>
                  <a:gd name="connsiteX74" fmla="*/ 2771775 w 3457575"/>
                  <a:gd name="connsiteY74" fmla="*/ 361950 h 3822033"/>
                  <a:gd name="connsiteX75" fmla="*/ 2809875 w 3457575"/>
                  <a:gd name="connsiteY75" fmla="*/ 400050 h 3822033"/>
                  <a:gd name="connsiteX76" fmla="*/ 2867025 w 3457575"/>
                  <a:gd name="connsiteY76" fmla="*/ 438150 h 3822033"/>
                  <a:gd name="connsiteX77" fmla="*/ 2905125 w 3457575"/>
                  <a:gd name="connsiteY77" fmla="*/ 476250 h 3822033"/>
                  <a:gd name="connsiteX78" fmla="*/ 2971800 w 3457575"/>
                  <a:gd name="connsiteY78" fmla="*/ 523875 h 3822033"/>
                  <a:gd name="connsiteX79" fmla="*/ 2990850 w 3457575"/>
                  <a:gd name="connsiteY79" fmla="*/ 552450 h 3822033"/>
                  <a:gd name="connsiteX80" fmla="*/ 3028950 w 3457575"/>
                  <a:gd name="connsiteY80" fmla="*/ 590550 h 3822033"/>
                  <a:gd name="connsiteX81" fmla="*/ 3048000 w 3457575"/>
                  <a:gd name="connsiteY81" fmla="*/ 628650 h 3822033"/>
                  <a:gd name="connsiteX82" fmla="*/ 3086100 w 3457575"/>
                  <a:gd name="connsiteY82" fmla="*/ 666750 h 3822033"/>
                  <a:gd name="connsiteX83" fmla="*/ 3124200 w 3457575"/>
                  <a:gd name="connsiteY83" fmla="*/ 723900 h 3822033"/>
                  <a:gd name="connsiteX84" fmla="*/ 3219450 w 3457575"/>
                  <a:gd name="connsiteY84" fmla="*/ 838200 h 3822033"/>
                  <a:gd name="connsiteX85" fmla="*/ 3238500 w 3457575"/>
                  <a:gd name="connsiteY85" fmla="*/ 885825 h 3822033"/>
                  <a:gd name="connsiteX86" fmla="*/ 3276600 w 3457575"/>
                  <a:gd name="connsiteY86" fmla="*/ 942975 h 3822033"/>
                  <a:gd name="connsiteX87" fmla="*/ 3286125 w 3457575"/>
                  <a:gd name="connsiteY87" fmla="*/ 990600 h 3822033"/>
                  <a:gd name="connsiteX88" fmla="*/ 3324225 w 3457575"/>
                  <a:gd name="connsiteY88" fmla="*/ 1085850 h 3822033"/>
                  <a:gd name="connsiteX89" fmla="*/ 3362325 w 3457575"/>
                  <a:gd name="connsiteY89" fmla="*/ 1171575 h 3822033"/>
                  <a:gd name="connsiteX90" fmla="*/ 3390900 w 3457575"/>
                  <a:gd name="connsiteY90" fmla="*/ 1219200 h 3822033"/>
                  <a:gd name="connsiteX91" fmla="*/ 3419475 w 3457575"/>
                  <a:gd name="connsiteY91" fmla="*/ 1333500 h 3822033"/>
                  <a:gd name="connsiteX92" fmla="*/ 3429000 w 3457575"/>
                  <a:gd name="connsiteY92" fmla="*/ 1390650 h 3822033"/>
                  <a:gd name="connsiteX93" fmla="*/ 3457575 w 3457575"/>
                  <a:gd name="connsiteY93" fmla="*/ 1657350 h 3822033"/>
                  <a:gd name="connsiteX94" fmla="*/ 3448050 w 3457575"/>
                  <a:gd name="connsiteY94" fmla="*/ 2095500 h 3822033"/>
                  <a:gd name="connsiteX95" fmla="*/ 3381375 w 3457575"/>
                  <a:gd name="connsiteY95" fmla="*/ 2238375 h 3822033"/>
                  <a:gd name="connsiteX96" fmla="*/ 3343275 w 3457575"/>
                  <a:gd name="connsiteY96" fmla="*/ 2333625 h 3822033"/>
                  <a:gd name="connsiteX97" fmla="*/ 3276600 w 3457575"/>
                  <a:gd name="connsiteY97" fmla="*/ 2400300 h 3822033"/>
                  <a:gd name="connsiteX98" fmla="*/ 3190875 w 3457575"/>
                  <a:gd name="connsiteY98" fmla="*/ 2533650 h 3822033"/>
                  <a:gd name="connsiteX99" fmla="*/ 3105150 w 3457575"/>
                  <a:gd name="connsiteY99" fmla="*/ 2647950 h 3822033"/>
                  <a:gd name="connsiteX100" fmla="*/ 3019425 w 3457575"/>
                  <a:gd name="connsiteY100" fmla="*/ 2781300 h 3822033"/>
                  <a:gd name="connsiteX101" fmla="*/ 2981325 w 3457575"/>
                  <a:gd name="connsiteY101" fmla="*/ 2819400 h 3822033"/>
                  <a:gd name="connsiteX102" fmla="*/ 2943225 w 3457575"/>
                  <a:gd name="connsiteY102" fmla="*/ 2876550 h 3822033"/>
                  <a:gd name="connsiteX103" fmla="*/ 2857500 w 3457575"/>
                  <a:gd name="connsiteY103" fmla="*/ 2933700 h 3822033"/>
                  <a:gd name="connsiteX104" fmla="*/ 2809875 w 3457575"/>
                  <a:gd name="connsiteY104" fmla="*/ 2971800 h 3822033"/>
                  <a:gd name="connsiteX105" fmla="*/ 2705100 w 3457575"/>
                  <a:gd name="connsiteY105" fmla="*/ 3038475 h 3822033"/>
                  <a:gd name="connsiteX106" fmla="*/ 2609850 w 3457575"/>
                  <a:gd name="connsiteY106" fmla="*/ 3105150 h 3822033"/>
                  <a:gd name="connsiteX107" fmla="*/ 2562225 w 3457575"/>
                  <a:gd name="connsiteY107" fmla="*/ 3143250 h 3822033"/>
                  <a:gd name="connsiteX108" fmla="*/ 2495550 w 3457575"/>
                  <a:gd name="connsiteY108" fmla="*/ 3162300 h 3822033"/>
                  <a:gd name="connsiteX109" fmla="*/ 2362200 w 3457575"/>
                  <a:gd name="connsiteY109" fmla="*/ 3219450 h 3822033"/>
                  <a:gd name="connsiteX110" fmla="*/ 2257425 w 3457575"/>
                  <a:gd name="connsiteY110" fmla="*/ 3257550 h 3822033"/>
                  <a:gd name="connsiteX111" fmla="*/ 2181225 w 3457575"/>
                  <a:gd name="connsiteY111" fmla="*/ 3276600 h 3822033"/>
                  <a:gd name="connsiteX112" fmla="*/ 2057400 w 3457575"/>
                  <a:gd name="connsiteY112" fmla="*/ 3362325 h 3822033"/>
                  <a:gd name="connsiteX113" fmla="*/ 2009775 w 3457575"/>
                  <a:gd name="connsiteY113" fmla="*/ 3400425 h 3822033"/>
                  <a:gd name="connsiteX114" fmla="*/ 1962150 w 3457575"/>
                  <a:gd name="connsiteY114" fmla="*/ 3429000 h 3822033"/>
                  <a:gd name="connsiteX115" fmla="*/ 1905000 w 3457575"/>
                  <a:gd name="connsiteY115" fmla="*/ 3495675 h 3822033"/>
                  <a:gd name="connsiteX116" fmla="*/ 1819275 w 3457575"/>
                  <a:gd name="connsiteY116" fmla="*/ 3609975 h 3822033"/>
                  <a:gd name="connsiteX117" fmla="*/ 1800225 w 3457575"/>
                  <a:gd name="connsiteY117" fmla="*/ 3638550 h 3822033"/>
                  <a:gd name="connsiteX118" fmla="*/ 1790700 w 3457575"/>
                  <a:gd name="connsiteY118" fmla="*/ 3667125 h 3822033"/>
                  <a:gd name="connsiteX119" fmla="*/ 1771650 w 3457575"/>
                  <a:gd name="connsiteY119" fmla="*/ 3695700 h 3822033"/>
                  <a:gd name="connsiteX120" fmla="*/ 1752600 w 3457575"/>
                  <a:gd name="connsiteY120" fmla="*/ 3733800 h 3822033"/>
                  <a:gd name="connsiteX121" fmla="*/ 1714500 w 3457575"/>
                  <a:gd name="connsiteY121" fmla="*/ 3810000 h 3822033"/>
                  <a:gd name="connsiteX122" fmla="*/ 1704975 w 3457575"/>
                  <a:gd name="connsiteY12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428625 w 3457575"/>
                  <a:gd name="connsiteY50" fmla="*/ 457200 h 3822033"/>
                  <a:gd name="connsiteX51" fmla="*/ 552450 w 3457575"/>
                  <a:gd name="connsiteY51" fmla="*/ 361950 h 3822033"/>
                  <a:gd name="connsiteX52" fmla="*/ 609600 w 3457575"/>
                  <a:gd name="connsiteY52" fmla="*/ 323850 h 3822033"/>
                  <a:gd name="connsiteX53" fmla="*/ 666750 w 3457575"/>
                  <a:gd name="connsiteY53" fmla="*/ 285750 h 3822033"/>
                  <a:gd name="connsiteX54" fmla="*/ 762000 w 3457575"/>
                  <a:gd name="connsiteY54" fmla="*/ 238125 h 3822033"/>
                  <a:gd name="connsiteX55" fmla="*/ 800100 w 3457575"/>
                  <a:gd name="connsiteY55" fmla="*/ 219075 h 3822033"/>
                  <a:gd name="connsiteX56" fmla="*/ 895350 w 3457575"/>
                  <a:gd name="connsiteY56" fmla="*/ 161925 h 3822033"/>
                  <a:gd name="connsiteX57" fmla="*/ 962025 w 3457575"/>
                  <a:gd name="connsiteY57" fmla="*/ 133350 h 3822033"/>
                  <a:gd name="connsiteX58" fmla="*/ 1123950 w 3457575"/>
                  <a:gd name="connsiteY58" fmla="*/ 76200 h 3822033"/>
                  <a:gd name="connsiteX59" fmla="*/ 1162050 w 3457575"/>
                  <a:gd name="connsiteY59" fmla="*/ 66675 h 3822033"/>
                  <a:gd name="connsiteX60" fmla="*/ 1438275 w 3457575"/>
                  <a:gd name="connsiteY60" fmla="*/ 0 h 3822033"/>
                  <a:gd name="connsiteX61" fmla="*/ 2038350 w 3457575"/>
                  <a:gd name="connsiteY61" fmla="*/ 9525 h 3822033"/>
                  <a:gd name="connsiteX62" fmla="*/ 2105025 w 3457575"/>
                  <a:gd name="connsiteY62" fmla="*/ 19050 h 3822033"/>
                  <a:gd name="connsiteX63" fmla="*/ 2162175 w 3457575"/>
                  <a:gd name="connsiteY63" fmla="*/ 47625 h 3822033"/>
                  <a:gd name="connsiteX64" fmla="*/ 2228850 w 3457575"/>
                  <a:gd name="connsiteY64" fmla="*/ 66675 h 3822033"/>
                  <a:gd name="connsiteX65" fmla="*/ 2343150 w 3457575"/>
                  <a:gd name="connsiteY65" fmla="*/ 133350 h 3822033"/>
                  <a:gd name="connsiteX66" fmla="*/ 2390775 w 3457575"/>
                  <a:gd name="connsiteY66" fmla="*/ 142875 h 3822033"/>
                  <a:gd name="connsiteX67" fmla="*/ 2457450 w 3457575"/>
                  <a:gd name="connsiteY67" fmla="*/ 171450 h 3822033"/>
                  <a:gd name="connsiteX68" fmla="*/ 2486025 w 3457575"/>
                  <a:gd name="connsiteY68" fmla="*/ 200025 h 3822033"/>
                  <a:gd name="connsiteX69" fmla="*/ 2571750 w 3457575"/>
                  <a:gd name="connsiteY69" fmla="*/ 228600 h 3822033"/>
                  <a:gd name="connsiteX70" fmla="*/ 2676525 w 3457575"/>
                  <a:gd name="connsiteY70" fmla="*/ 285750 h 3822033"/>
                  <a:gd name="connsiteX71" fmla="*/ 2705100 w 3457575"/>
                  <a:gd name="connsiteY71" fmla="*/ 304800 h 3822033"/>
                  <a:gd name="connsiteX72" fmla="*/ 2733675 w 3457575"/>
                  <a:gd name="connsiteY72" fmla="*/ 333375 h 3822033"/>
                  <a:gd name="connsiteX73" fmla="*/ 2771775 w 3457575"/>
                  <a:gd name="connsiteY73" fmla="*/ 361950 h 3822033"/>
                  <a:gd name="connsiteX74" fmla="*/ 2809875 w 3457575"/>
                  <a:gd name="connsiteY74" fmla="*/ 400050 h 3822033"/>
                  <a:gd name="connsiteX75" fmla="*/ 2867025 w 3457575"/>
                  <a:gd name="connsiteY75" fmla="*/ 438150 h 3822033"/>
                  <a:gd name="connsiteX76" fmla="*/ 2905125 w 3457575"/>
                  <a:gd name="connsiteY76" fmla="*/ 476250 h 3822033"/>
                  <a:gd name="connsiteX77" fmla="*/ 2971800 w 3457575"/>
                  <a:gd name="connsiteY77" fmla="*/ 523875 h 3822033"/>
                  <a:gd name="connsiteX78" fmla="*/ 2990850 w 3457575"/>
                  <a:gd name="connsiteY78" fmla="*/ 552450 h 3822033"/>
                  <a:gd name="connsiteX79" fmla="*/ 3028950 w 3457575"/>
                  <a:gd name="connsiteY79" fmla="*/ 590550 h 3822033"/>
                  <a:gd name="connsiteX80" fmla="*/ 3048000 w 3457575"/>
                  <a:gd name="connsiteY80" fmla="*/ 628650 h 3822033"/>
                  <a:gd name="connsiteX81" fmla="*/ 3086100 w 3457575"/>
                  <a:gd name="connsiteY81" fmla="*/ 666750 h 3822033"/>
                  <a:gd name="connsiteX82" fmla="*/ 3124200 w 3457575"/>
                  <a:gd name="connsiteY82" fmla="*/ 723900 h 3822033"/>
                  <a:gd name="connsiteX83" fmla="*/ 3219450 w 3457575"/>
                  <a:gd name="connsiteY83" fmla="*/ 838200 h 3822033"/>
                  <a:gd name="connsiteX84" fmla="*/ 3238500 w 3457575"/>
                  <a:gd name="connsiteY84" fmla="*/ 885825 h 3822033"/>
                  <a:gd name="connsiteX85" fmla="*/ 3276600 w 3457575"/>
                  <a:gd name="connsiteY85" fmla="*/ 942975 h 3822033"/>
                  <a:gd name="connsiteX86" fmla="*/ 3286125 w 3457575"/>
                  <a:gd name="connsiteY86" fmla="*/ 990600 h 3822033"/>
                  <a:gd name="connsiteX87" fmla="*/ 3324225 w 3457575"/>
                  <a:gd name="connsiteY87" fmla="*/ 1085850 h 3822033"/>
                  <a:gd name="connsiteX88" fmla="*/ 3362325 w 3457575"/>
                  <a:gd name="connsiteY88" fmla="*/ 1171575 h 3822033"/>
                  <a:gd name="connsiteX89" fmla="*/ 3390900 w 3457575"/>
                  <a:gd name="connsiteY89" fmla="*/ 1219200 h 3822033"/>
                  <a:gd name="connsiteX90" fmla="*/ 3419475 w 3457575"/>
                  <a:gd name="connsiteY90" fmla="*/ 1333500 h 3822033"/>
                  <a:gd name="connsiteX91" fmla="*/ 3429000 w 3457575"/>
                  <a:gd name="connsiteY91" fmla="*/ 1390650 h 3822033"/>
                  <a:gd name="connsiteX92" fmla="*/ 3457575 w 3457575"/>
                  <a:gd name="connsiteY92" fmla="*/ 1657350 h 3822033"/>
                  <a:gd name="connsiteX93" fmla="*/ 3448050 w 3457575"/>
                  <a:gd name="connsiteY93" fmla="*/ 2095500 h 3822033"/>
                  <a:gd name="connsiteX94" fmla="*/ 3381375 w 3457575"/>
                  <a:gd name="connsiteY94" fmla="*/ 2238375 h 3822033"/>
                  <a:gd name="connsiteX95" fmla="*/ 3343275 w 3457575"/>
                  <a:gd name="connsiteY95" fmla="*/ 2333625 h 3822033"/>
                  <a:gd name="connsiteX96" fmla="*/ 3276600 w 3457575"/>
                  <a:gd name="connsiteY96" fmla="*/ 2400300 h 3822033"/>
                  <a:gd name="connsiteX97" fmla="*/ 3190875 w 3457575"/>
                  <a:gd name="connsiteY97" fmla="*/ 2533650 h 3822033"/>
                  <a:gd name="connsiteX98" fmla="*/ 3105150 w 3457575"/>
                  <a:gd name="connsiteY98" fmla="*/ 2647950 h 3822033"/>
                  <a:gd name="connsiteX99" fmla="*/ 3019425 w 3457575"/>
                  <a:gd name="connsiteY99" fmla="*/ 2781300 h 3822033"/>
                  <a:gd name="connsiteX100" fmla="*/ 2981325 w 3457575"/>
                  <a:gd name="connsiteY100" fmla="*/ 2819400 h 3822033"/>
                  <a:gd name="connsiteX101" fmla="*/ 2943225 w 3457575"/>
                  <a:gd name="connsiteY101" fmla="*/ 2876550 h 3822033"/>
                  <a:gd name="connsiteX102" fmla="*/ 2857500 w 3457575"/>
                  <a:gd name="connsiteY102" fmla="*/ 2933700 h 3822033"/>
                  <a:gd name="connsiteX103" fmla="*/ 2809875 w 3457575"/>
                  <a:gd name="connsiteY103" fmla="*/ 2971800 h 3822033"/>
                  <a:gd name="connsiteX104" fmla="*/ 2705100 w 3457575"/>
                  <a:gd name="connsiteY104" fmla="*/ 3038475 h 3822033"/>
                  <a:gd name="connsiteX105" fmla="*/ 2609850 w 3457575"/>
                  <a:gd name="connsiteY105" fmla="*/ 3105150 h 3822033"/>
                  <a:gd name="connsiteX106" fmla="*/ 2562225 w 3457575"/>
                  <a:gd name="connsiteY106" fmla="*/ 3143250 h 3822033"/>
                  <a:gd name="connsiteX107" fmla="*/ 2495550 w 3457575"/>
                  <a:gd name="connsiteY107" fmla="*/ 3162300 h 3822033"/>
                  <a:gd name="connsiteX108" fmla="*/ 2362200 w 3457575"/>
                  <a:gd name="connsiteY108" fmla="*/ 3219450 h 3822033"/>
                  <a:gd name="connsiteX109" fmla="*/ 2257425 w 3457575"/>
                  <a:gd name="connsiteY109" fmla="*/ 3257550 h 3822033"/>
                  <a:gd name="connsiteX110" fmla="*/ 2181225 w 3457575"/>
                  <a:gd name="connsiteY110" fmla="*/ 3276600 h 3822033"/>
                  <a:gd name="connsiteX111" fmla="*/ 2057400 w 3457575"/>
                  <a:gd name="connsiteY111" fmla="*/ 3362325 h 3822033"/>
                  <a:gd name="connsiteX112" fmla="*/ 2009775 w 3457575"/>
                  <a:gd name="connsiteY112" fmla="*/ 3400425 h 3822033"/>
                  <a:gd name="connsiteX113" fmla="*/ 1962150 w 3457575"/>
                  <a:gd name="connsiteY113" fmla="*/ 3429000 h 3822033"/>
                  <a:gd name="connsiteX114" fmla="*/ 1905000 w 3457575"/>
                  <a:gd name="connsiteY114" fmla="*/ 3495675 h 3822033"/>
                  <a:gd name="connsiteX115" fmla="*/ 1819275 w 3457575"/>
                  <a:gd name="connsiteY115" fmla="*/ 3609975 h 3822033"/>
                  <a:gd name="connsiteX116" fmla="*/ 1800225 w 3457575"/>
                  <a:gd name="connsiteY116" fmla="*/ 3638550 h 3822033"/>
                  <a:gd name="connsiteX117" fmla="*/ 1790700 w 3457575"/>
                  <a:gd name="connsiteY117" fmla="*/ 3667125 h 3822033"/>
                  <a:gd name="connsiteX118" fmla="*/ 1771650 w 3457575"/>
                  <a:gd name="connsiteY118" fmla="*/ 3695700 h 3822033"/>
                  <a:gd name="connsiteX119" fmla="*/ 1752600 w 3457575"/>
                  <a:gd name="connsiteY119" fmla="*/ 3733800 h 3822033"/>
                  <a:gd name="connsiteX120" fmla="*/ 1714500 w 3457575"/>
                  <a:gd name="connsiteY120" fmla="*/ 3810000 h 3822033"/>
                  <a:gd name="connsiteX121" fmla="*/ 1704975 w 3457575"/>
                  <a:gd name="connsiteY12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361950 w 3457575"/>
                  <a:gd name="connsiteY49" fmla="*/ 533400 h 3822033"/>
                  <a:gd name="connsiteX50" fmla="*/ 552450 w 3457575"/>
                  <a:gd name="connsiteY50" fmla="*/ 361950 h 3822033"/>
                  <a:gd name="connsiteX51" fmla="*/ 609600 w 3457575"/>
                  <a:gd name="connsiteY51" fmla="*/ 323850 h 3822033"/>
                  <a:gd name="connsiteX52" fmla="*/ 666750 w 3457575"/>
                  <a:gd name="connsiteY52" fmla="*/ 285750 h 3822033"/>
                  <a:gd name="connsiteX53" fmla="*/ 762000 w 3457575"/>
                  <a:gd name="connsiteY53" fmla="*/ 238125 h 3822033"/>
                  <a:gd name="connsiteX54" fmla="*/ 800100 w 3457575"/>
                  <a:gd name="connsiteY54" fmla="*/ 219075 h 3822033"/>
                  <a:gd name="connsiteX55" fmla="*/ 895350 w 3457575"/>
                  <a:gd name="connsiteY55" fmla="*/ 161925 h 3822033"/>
                  <a:gd name="connsiteX56" fmla="*/ 962025 w 3457575"/>
                  <a:gd name="connsiteY56" fmla="*/ 133350 h 3822033"/>
                  <a:gd name="connsiteX57" fmla="*/ 1123950 w 3457575"/>
                  <a:gd name="connsiteY57" fmla="*/ 76200 h 3822033"/>
                  <a:gd name="connsiteX58" fmla="*/ 1162050 w 3457575"/>
                  <a:gd name="connsiteY58" fmla="*/ 66675 h 3822033"/>
                  <a:gd name="connsiteX59" fmla="*/ 1438275 w 3457575"/>
                  <a:gd name="connsiteY59" fmla="*/ 0 h 3822033"/>
                  <a:gd name="connsiteX60" fmla="*/ 2038350 w 3457575"/>
                  <a:gd name="connsiteY60" fmla="*/ 9525 h 3822033"/>
                  <a:gd name="connsiteX61" fmla="*/ 2105025 w 3457575"/>
                  <a:gd name="connsiteY61" fmla="*/ 19050 h 3822033"/>
                  <a:gd name="connsiteX62" fmla="*/ 2162175 w 3457575"/>
                  <a:gd name="connsiteY62" fmla="*/ 47625 h 3822033"/>
                  <a:gd name="connsiteX63" fmla="*/ 2228850 w 3457575"/>
                  <a:gd name="connsiteY63" fmla="*/ 66675 h 3822033"/>
                  <a:gd name="connsiteX64" fmla="*/ 2343150 w 3457575"/>
                  <a:gd name="connsiteY64" fmla="*/ 133350 h 3822033"/>
                  <a:gd name="connsiteX65" fmla="*/ 2390775 w 3457575"/>
                  <a:gd name="connsiteY65" fmla="*/ 142875 h 3822033"/>
                  <a:gd name="connsiteX66" fmla="*/ 2457450 w 3457575"/>
                  <a:gd name="connsiteY66" fmla="*/ 171450 h 3822033"/>
                  <a:gd name="connsiteX67" fmla="*/ 2486025 w 3457575"/>
                  <a:gd name="connsiteY67" fmla="*/ 200025 h 3822033"/>
                  <a:gd name="connsiteX68" fmla="*/ 2571750 w 3457575"/>
                  <a:gd name="connsiteY68" fmla="*/ 228600 h 3822033"/>
                  <a:gd name="connsiteX69" fmla="*/ 2676525 w 3457575"/>
                  <a:gd name="connsiteY69" fmla="*/ 285750 h 3822033"/>
                  <a:gd name="connsiteX70" fmla="*/ 2705100 w 3457575"/>
                  <a:gd name="connsiteY70" fmla="*/ 304800 h 3822033"/>
                  <a:gd name="connsiteX71" fmla="*/ 2733675 w 3457575"/>
                  <a:gd name="connsiteY71" fmla="*/ 333375 h 3822033"/>
                  <a:gd name="connsiteX72" fmla="*/ 2771775 w 3457575"/>
                  <a:gd name="connsiteY72" fmla="*/ 361950 h 3822033"/>
                  <a:gd name="connsiteX73" fmla="*/ 2809875 w 3457575"/>
                  <a:gd name="connsiteY73" fmla="*/ 400050 h 3822033"/>
                  <a:gd name="connsiteX74" fmla="*/ 2867025 w 3457575"/>
                  <a:gd name="connsiteY74" fmla="*/ 438150 h 3822033"/>
                  <a:gd name="connsiteX75" fmla="*/ 2905125 w 3457575"/>
                  <a:gd name="connsiteY75" fmla="*/ 476250 h 3822033"/>
                  <a:gd name="connsiteX76" fmla="*/ 2971800 w 3457575"/>
                  <a:gd name="connsiteY76" fmla="*/ 523875 h 3822033"/>
                  <a:gd name="connsiteX77" fmla="*/ 2990850 w 3457575"/>
                  <a:gd name="connsiteY77" fmla="*/ 552450 h 3822033"/>
                  <a:gd name="connsiteX78" fmla="*/ 3028950 w 3457575"/>
                  <a:gd name="connsiteY78" fmla="*/ 590550 h 3822033"/>
                  <a:gd name="connsiteX79" fmla="*/ 3048000 w 3457575"/>
                  <a:gd name="connsiteY79" fmla="*/ 628650 h 3822033"/>
                  <a:gd name="connsiteX80" fmla="*/ 3086100 w 3457575"/>
                  <a:gd name="connsiteY80" fmla="*/ 666750 h 3822033"/>
                  <a:gd name="connsiteX81" fmla="*/ 3124200 w 3457575"/>
                  <a:gd name="connsiteY81" fmla="*/ 723900 h 3822033"/>
                  <a:gd name="connsiteX82" fmla="*/ 3219450 w 3457575"/>
                  <a:gd name="connsiteY82" fmla="*/ 838200 h 3822033"/>
                  <a:gd name="connsiteX83" fmla="*/ 3238500 w 3457575"/>
                  <a:gd name="connsiteY83" fmla="*/ 885825 h 3822033"/>
                  <a:gd name="connsiteX84" fmla="*/ 3276600 w 3457575"/>
                  <a:gd name="connsiteY84" fmla="*/ 942975 h 3822033"/>
                  <a:gd name="connsiteX85" fmla="*/ 3286125 w 3457575"/>
                  <a:gd name="connsiteY85" fmla="*/ 990600 h 3822033"/>
                  <a:gd name="connsiteX86" fmla="*/ 3324225 w 3457575"/>
                  <a:gd name="connsiteY86" fmla="*/ 1085850 h 3822033"/>
                  <a:gd name="connsiteX87" fmla="*/ 3362325 w 3457575"/>
                  <a:gd name="connsiteY87" fmla="*/ 1171575 h 3822033"/>
                  <a:gd name="connsiteX88" fmla="*/ 3390900 w 3457575"/>
                  <a:gd name="connsiteY88" fmla="*/ 1219200 h 3822033"/>
                  <a:gd name="connsiteX89" fmla="*/ 3419475 w 3457575"/>
                  <a:gd name="connsiteY89" fmla="*/ 1333500 h 3822033"/>
                  <a:gd name="connsiteX90" fmla="*/ 3429000 w 3457575"/>
                  <a:gd name="connsiteY90" fmla="*/ 1390650 h 3822033"/>
                  <a:gd name="connsiteX91" fmla="*/ 3457575 w 3457575"/>
                  <a:gd name="connsiteY91" fmla="*/ 1657350 h 3822033"/>
                  <a:gd name="connsiteX92" fmla="*/ 3448050 w 3457575"/>
                  <a:gd name="connsiteY92" fmla="*/ 2095500 h 3822033"/>
                  <a:gd name="connsiteX93" fmla="*/ 3381375 w 3457575"/>
                  <a:gd name="connsiteY93" fmla="*/ 2238375 h 3822033"/>
                  <a:gd name="connsiteX94" fmla="*/ 3343275 w 3457575"/>
                  <a:gd name="connsiteY94" fmla="*/ 2333625 h 3822033"/>
                  <a:gd name="connsiteX95" fmla="*/ 3276600 w 3457575"/>
                  <a:gd name="connsiteY95" fmla="*/ 2400300 h 3822033"/>
                  <a:gd name="connsiteX96" fmla="*/ 3190875 w 3457575"/>
                  <a:gd name="connsiteY96" fmla="*/ 2533650 h 3822033"/>
                  <a:gd name="connsiteX97" fmla="*/ 3105150 w 3457575"/>
                  <a:gd name="connsiteY97" fmla="*/ 2647950 h 3822033"/>
                  <a:gd name="connsiteX98" fmla="*/ 3019425 w 3457575"/>
                  <a:gd name="connsiteY98" fmla="*/ 2781300 h 3822033"/>
                  <a:gd name="connsiteX99" fmla="*/ 2981325 w 3457575"/>
                  <a:gd name="connsiteY99" fmla="*/ 2819400 h 3822033"/>
                  <a:gd name="connsiteX100" fmla="*/ 2943225 w 3457575"/>
                  <a:gd name="connsiteY100" fmla="*/ 2876550 h 3822033"/>
                  <a:gd name="connsiteX101" fmla="*/ 2857500 w 3457575"/>
                  <a:gd name="connsiteY101" fmla="*/ 2933700 h 3822033"/>
                  <a:gd name="connsiteX102" fmla="*/ 2809875 w 3457575"/>
                  <a:gd name="connsiteY102" fmla="*/ 2971800 h 3822033"/>
                  <a:gd name="connsiteX103" fmla="*/ 2705100 w 3457575"/>
                  <a:gd name="connsiteY103" fmla="*/ 3038475 h 3822033"/>
                  <a:gd name="connsiteX104" fmla="*/ 2609850 w 3457575"/>
                  <a:gd name="connsiteY104" fmla="*/ 3105150 h 3822033"/>
                  <a:gd name="connsiteX105" fmla="*/ 2562225 w 3457575"/>
                  <a:gd name="connsiteY105" fmla="*/ 3143250 h 3822033"/>
                  <a:gd name="connsiteX106" fmla="*/ 2495550 w 3457575"/>
                  <a:gd name="connsiteY106" fmla="*/ 3162300 h 3822033"/>
                  <a:gd name="connsiteX107" fmla="*/ 2362200 w 3457575"/>
                  <a:gd name="connsiteY107" fmla="*/ 3219450 h 3822033"/>
                  <a:gd name="connsiteX108" fmla="*/ 2257425 w 3457575"/>
                  <a:gd name="connsiteY108" fmla="*/ 3257550 h 3822033"/>
                  <a:gd name="connsiteX109" fmla="*/ 2181225 w 3457575"/>
                  <a:gd name="connsiteY109" fmla="*/ 3276600 h 3822033"/>
                  <a:gd name="connsiteX110" fmla="*/ 2057400 w 3457575"/>
                  <a:gd name="connsiteY110" fmla="*/ 3362325 h 3822033"/>
                  <a:gd name="connsiteX111" fmla="*/ 2009775 w 3457575"/>
                  <a:gd name="connsiteY111" fmla="*/ 3400425 h 3822033"/>
                  <a:gd name="connsiteX112" fmla="*/ 1962150 w 3457575"/>
                  <a:gd name="connsiteY112" fmla="*/ 3429000 h 3822033"/>
                  <a:gd name="connsiteX113" fmla="*/ 1905000 w 3457575"/>
                  <a:gd name="connsiteY113" fmla="*/ 3495675 h 3822033"/>
                  <a:gd name="connsiteX114" fmla="*/ 1819275 w 3457575"/>
                  <a:gd name="connsiteY114" fmla="*/ 3609975 h 3822033"/>
                  <a:gd name="connsiteX115" fmla="*/ 1800225 w 3457575"/>
                  <a:gd name="connsiteY115" fmla="*/ 3638550 h 3822033"/>
                  <a:gd name="connsiteX116" fmla="*/ 1790700 w 3457575"/>
                  <a:gd name="connsiteY116" fmla="*/ 3667125 h 3822033"/>
                  <a:gd name="connsiteX117" fmla="*/ 1771650 w 3457575"/>
                  <a:gd name="connsiteY117" fmla="*/ 3695700 h 3822033"/>
                  <a:gd name="connsiteX118" fmla="*/ 1752600 w 3457575"/>
                  <a:gd name="connsiteY118" fmla="*/ 3733800 h 3822033"/>
                  <a:gd name="connsiteX119" fmla="*/ 1714500 w 3457575"/>
                  <a:gd name="connsiteY119" fmla="*/ 3810000 h 3822033"/>
                  <a:gd name="connsiteX120" fmla="*/ 1704975 w 3457575"/>
                  <a:gd name="connsiteY12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352425 w 3457575"/>
                  <a:gd name="connsiteY48" fmla="*/ 571500 h 3822033"/>
                  <a:gd name="connsiteX49" fmla="*/ 552450 w 3457575"/>
                  <a:gd name="connsiteY49" fmla="*/ 361950 h 3822033"/>
                  <a:gd name="connsiteX50" fmla="*/ 609600 w 3457575"/>
                  <a:gd name="connsiteY50" fmla="*/ 323850 h 3822033"/>
                  <a:gd name="connsiteX51" fmla="*/ 666750 w 3457575"/>
                  <a:gd name="connsiteY51" fmla="*/ 285750 h 3822033"/>
                  <a:gd name="connsiteX52" fmla="*/ 762000 w 3457575"/>
                  <a:gd name="connsiteY52" fmla="*/ 238125 h 3822033"/>
                  <a:gd name="connsiteX53" fmla="*/ 800100 w 3457575"/>
                  <a:gd name="connsiteY53" fmla="*/ 219075 h 3822033"/>
                  <a:gd name="connsiteX54" fmla="*/ 895350 w 3457575"/>
                  <a:gd name="connsiteY54" fmla="*/ 161925 h 3822033"/>
                  <a:gd name="connsiteX55" fmla="*/ 962025 w 3457575"/>
                  <a:gd name="connsiteY55" fmla="*/ 133350 h 3822033"/>
                  <a:gd name="connsiteX56" fmla="*/ 1123950 w 3457575"/>
                  <a:gd name="connsiteY56" fmla="*/ 76200 h 3822033"/>
                  <a:gd name="connsiteX57" fmla="*/ 1162050 w 3457575"/>
                  <a:gd name="connsiteY57" fmla="*/ 66675 h 3822033"/>
                  <a:gd name="connsiteX58" fmla="*/ 1438275 w 3457575"/>
                  <a:gd name="connsiteY58" fmla="*/ 0 h 3822033"/>
                  <a:gd name="connsiteX59" fmla="*/ 2038350 w 3457575"/>
                  <a:gd name="connsiteY59" fmla="*/ 9525 h 3822033"/>
                  <a:gd name="connsiteX60" fmla="*/ 2105025 w 3457575"/>
                  <a:gd name="connsiteY60" fmla="*/ 19050 h 3822033"/>
                  <a:gd name="connsiteX61" fmla="*/ 2162175 w 3457575"/>
                  <a:gd name="connsiteY61" fmla="*/ 47625 h 3822033"/>
                  <a:gd name="connsiteX62" fmla="*/ 2228850 w 3457575"/>
                  <a:gd name="connsiteY62" fmla="*/ 66675 h 3822033"/>
                  <a:gd name="connsiteX63" fmla="*/ 2343150 w 3457575"/>
                  <a:gd name="connsiteY63" fmla="*/ 133350 h 3822033"/>
                  <a:gd name="connsiteX64" fmla="*/ 2390775 w 3457575"/>
                  <a:gd name="connsiteY64" fmla="*/ 142875 h 3822033"/>
                  <a:gd name="connsiteX65" fmla="*/ 2457450 w 3457575"/>
                  <a:gd name="connsiteY65" fmla="*/ 171450 h 3822033"/>
                  <a:gd name="connsiteX66" fmla="*/ 2486025 w 3457575"/>
                  <a:gd name="connsiteY66" fmla="*/ 200025 h 3822033"/>
                  <a:gd name="connsiteX67" fmla="*/ 2571750 w 3457575"/>
                  <a:gd name="connsiteY67" fmla="*/ 228600 h 3822033"/>
                  <a:gd name="connsiteX68" fmla="*/ 2676525 w 3457575"/>
                  <a:gd name="connsiteY68" fmla="*/ 285750 h 3822033"/>
                  <a:gd name="connsiteX69" fmla="*/ 2705100 w 3457575"/>
                  <a:gd name="connsiteY69" fmla="*/ 304800 h 3822033"/>
                  <a:gd name="connsiteX70" fmla="*/ 2733675 w 3457575"/>
                  <a:gd name="connsiteY70" fmla="*/ 333375 h 3822033"/>
                  <a:gd name="connsiteX71" fmla="*/ 2771775 w 3457575"/>
                  <a:gd name="connsiteY71" fmla="*/ 361950 h 3822033"/>
                  <a:gd name="connsiteX72" fmla="*/ 2809875 w 3457575"/>
                  <a:gd name="connsiteY72" fmla="*/ 400050 h 3822033"/>
                  <a:gd name="connsiteX73" fmla="*/ 2867025 w 3457575"/>
                  <a:gd name="connsiteY73" fmla="*/ 438150 h 3822033"/>
                  <a:gd name="connsiteX74" fmla="*/ 2905125 w 3457575"/>
                  <a:gd name="connsiteY74" fmla="*/ 476250 h 3822033"/>
                  <a:gd name="connsiteX75" fmla="*/ 2971800 w 3457575"/>
                  <a:gd name="connsiteY75" fmla="*/ 523875 h 3822033"/>
                  <a:gd name="connsiteX76" fmla="*/ 2990850 w 3457575"/>
                  <a:gd name="connsiteY76" fmla="*/ 552450 h 3822033"/>
                  <a:gd name="connsiteX77" fmla="*/ 3028950 w 3457575"/>
                  <a:gd name="connsiteY77" fmla="*/ 590550 h 3822033"/>
                  <a:gd name="connsiteX78" fmla="*/ 3048000 w 3457575"/>
                  <a:gd name="connsiteY78" fmla="*/ 628650 h 3822033"/>
                  <a:gd name="connsiteX79" fmla="*/ 3086100 w 3457575"/>
                  <a:gd name="connsiteY79" fmla="*/ 666750 h 3822033"/>
                  <a:gd name="connsiteX80" fmla="*/ 3124200 w 3457575"/>
                  <a:gd name="connsiteY80" fmla="*/ 723900 h 3822033"/>
                  <a:gd name="connsiteX81" fmla="*/ 3219450 w 3457575"/>
                  <a:gd name="connsiteY81" fmla="*/ 838200 h 3822033"/>
                  <a:gd name="connsiteX82" fmla="*/ 3238500 w 3457575"/>
                  <a:gd name="connsiteY82" fmla="*/ 885825 h 3822033"/>
                  <a:gd name="connsiteX83" fmla="*/ 3276600 w 3457575"/>
                  <a:gd name="connsiteY83" fmla="*/ 942975 h 3822033"/>
                  <a:gd name="connsiteX84" fmla="*/ 3286125 w 3457575"/>
                  <a:gd name="connsiteY84" fmla="*/ 990600 h 3822033"/>
                  <a:gd name="connsiteX85" fmla="*/ 3324225 w 3457575"/>
                  <a:gd name="connsiteY85" fmla="*/ 1085850 h 3822033"/>
                  <a:gd name="connsiteX86" fmla="*/ 3362325 w 3457575"/>
                  <a:gd name="connsiteY86" fmla="*/ 1171575 h 3822033"/>
                  <a:gd name="connsiteX87" fmla="*/ 3390900 w 3457575"/>
                  <a:gd name="connsiteY87" fmla="*/ 1219200 h 3822033"/>
                  <a:gd name="connsiteX88" fmla="*/ 3419475 w 3457575"/>
                  <a:gd name="connsiteY88" fmla="*/ 1333500 h 3822033"/>
                  <a:gd name="connsiteX89" fmla="*/ 3429000 w 3457575"/>
                  <a:gd name="connsiteY89" fmla="*/ 1390650 h 3822033"/>
                  <a:gd name="connsiteX90" fmla="*/ 3457575 w 3457575"/>
                  <a:gd name="connsiteY90" fmla="*/ 1657350 h 3822033"/>
                  <a:gd name="connsiteX91" fmla="*/ 3448050 w 3457575"/>
                  <a:gd name="connsiteY91" fmla="*/ 2095500 h 3822033"/>
                  <a:gd name="connsiteX92" fmla="*/ 3381375 w 3457575"/>
                  <a:gd name="connsiteY92" fmla="*/ 2238375 h 3822033"/>
                  <a:gd name="connsiteX93" fmla="*/ 3343275 w 3457575"/>
                  <a:gd name="connsiteY93" fmla="*/ 2333625 h 3822033"/>
                  <a:gd name="connsiteX94" fmla="*/ 3276600 w 3457575"/>
                  <a:gd name="connsiteY94" fmla="*/ 2400300 h 3822033"/>
                  <a:gd name="connsiteX95" fmla="*/ 3190875 w 3457575"/>
                  <a:gd name="connsiteY95" fmla="*/ 2533650 h 3822033"/>
                  <a:gd name="connsiteX96" fmla="*/ 3105150 w 3457575"/>
                  <a:gd name="connsiteY96" fmla="*/ 2647950 h 3822033"/>
                  <a:gd name="connsiteX97" fmla="*/ 3019425 w 3457575"/>
                  <a:gd name="connsiteY97" fmla="*/ 2781300 h 3822033"/>
                  <a:gd name="connsiteX98" fmla="*/ 2981325 w 3457575"/>
                  <a:gd name="connsiteY98" fmla="*/ 2819400 h 3822033"/>
                  <a:gd name="connsiteX99" fmla="*/ 2943225 w 3457575"/>
                  <a:gd name="connsiteY99" fmla="*/ 2876550 h 3822033"/>
                  <a:gd name="connsiteX100" fmla="*/ 2857500 w 3457575"/>
                  <a:gd name="connsiteY100" fmla="*/ 2933700 h 3822033"/>
                  <a:gd name="connsiteX101" fmla="*/ 2809875 w 3457575"/>
                  <a:gd name="connsiteY101" fmla="*/ 2971800 h 3822033"/>
                  <a:gd name="connsiteX102" fmla="*/ 2705100 w 3457575"/>
                  <a:gd name="connsiteY102" fmla="*/ 3038475 h 3822033"/>
                  <a:gd name="connsiteX103" fmla="*/ 2609850 w 3457575"/>
                  <a:gd name="connsiteY103" fmla="*/ 3105150 h 3822033"/>
                  <a:gd name="connsiteX104" fmla="*/ 2562225 w 3457575"/>
                  <a:gd name="connsiteY104" fmla="*/ 3143250 h 3822033"/>
                  <a:gd name="connsiteX105" fmla="*/ 2495550 w 3457575"/>
                  <a:gd name="connsiteY105" fmla="*/ 3162300 h 3822033"/>
                  <a:gd name="connsiteX106" fmla="*/ 2362200 w 3457575"/>
                  <a:gd name="connsiteY106" fmla="*/ 3219450 h 3822033"/>
                  <a:gd name="connsiteX107" fmla="*/ 2257425 w 3457575"/>
                  <a:gd name="connsiteY107" fmla="*/ 3257550 h 3822033"/>
                  <a:gd name="connsiteX108" fmla="*/ 2181225 w 3457575"/>
                  <a:gd name="connsiteY108" fmla="*/ 3276600 h 3822033"/>
                  <a:gd name="connsiteX109" fmla="*/ 2057400 w 3457575"/>
                  <a:gd name="connsiteY109" fmla="*/ 3362325 h 3822033"/>
                  <a:gd name="connsiteX110" fmla="*/ 2009775 w 3457575"/>
                  <a:gd name="connsiteY110" fmla="*/ 3400425 h 3822033"/>
                  <a:gd name="connsiteX111" fmla="*/ 1962150 w 3457575"/>
                  <a:gd name="connsiteY111" fmla="*/ 3429000 h 3822033"/>
                  <a:gd name="connsiteX112" fmla="*/ 1905000 w 3457575"/>
                  <a:gd name="connsiteY112" fmla="*/ 3495675 h 3822033"/>
                  <a:gd name="connsiteX113" fmla="*/ 1819275 w 3457575"/>
                  <a:gd name="connsiteY113" fmla="*/ 3609975 h 3822033"/>
                  <a:gd name="connsiteX114" fmla="*/ 1800225 w 3457575"/>
                  <a:gd name="connsiteY114" fmla="*/ 3638550 h 3822033"/>
                  <a:gd name="connsiteX115" fmla="*/ 1790700 w 3457575"/>
                  <a:gd name="connsiteY115" fmla="*/ 3667125 h 3822033"/>
                  <a:gd name="connsiteX116" fmla="*/ 1771650 w 3457575"/>
                  <a:gd name="connsiteY116" fmla="*/ 3695700 h 3822033"/>
                  <a:gd name="connsiteX117" fmla="*/ 1752600 w 3457575"/>
                  <a:gd name="connsiteY117" fmla="*/ 3733800 h 3822033"/>
                  <a:gd name="connsiteX118" fmla="*/ 1714500 w 3457575"/>
                  <a:gd name="connsiteY118" fmla="*/ 3810000 h 3822033"/>
                  <a:gd name="connsiteX119" fmla="*/ 1704975 w 3457575"/>
                  <a:gd name="connsiteY11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448050 w 3457575"/>
                  <a:gd name="connsiteY90" fmla="*/ 2095500 h 3822033"/>
                  <a:gd name="connsiteX91" fmla="*/ 3381375 w 3457575"/>
                  <a:gd name="connsiteY91" fmla="*/ 2238375 h 3822033"/>
                  <a:gd name="connsiteX92" fmla="*/ 3343275 w 3457575"/>
                  <a:gd name="connsiteY92" fmla="*/ 2333625 h 3822033"/>
                  <a:gd name="connsiteX93" fmla="*/ 3276600 w 3457575"/>
                  <a:gd name="connsiteY93" fmla="*/ 2400300 h 3822033"/>
                  <a:gd name="connsiteX94" fmla="*/ 3190875 w 3457575"/>
                  <a:gd name="connsiteY94" fmla="*/ 2533650 h 3822033"/>
                  <a:gd name="connsiteX95" fmla="*/ 3105150 w 3457575"/>
                  <a:gd name="connsiteY95" fmla="*/ 2647950 h 3822033"/>
                  <a:gd name="connsiteX96" fmla="*/ 3019425 w 3457575"/>
                  <a:gd name="connsiteY96" fmla="*/ 2781300 h 3822033"/>
                  <a:gd name="connsiteX97" fmla="*/ 2981325 w 3457575"/>
                  <a:gd name="connsiteY97" fmla="*/ 2819400 h 3822033"/>
                  <a:gd name="connsiteX98" fmla="*/ 2943225 w 3457575"/>
                  <a:gd name="connsiteY98" fmla="*/ 2876550 h 3822033"/>
                  <a:gd name="connsiteX99" fmla="*/ 2857500 w 3457575"/>
                  <a:gd name="connsiteY99" fmla="*/ 2933700 h 3822033"/>
                  <a:gd name="connsiteX100" fmla="*/ 2809875 w 3457575"/>
                  <a:gd name="connsiteY100" fmla="*/ 2971800 h 3822033"/>
                  <a:gd name="connsiteX101" fmla="*/ 2705100 w 3457575"/>
                  <a:gd name="connsiteY101" fmla="*/ 3038475 h 3822033"/>
                  <a:gd name="connsiteX102" fmla="*/ 2609850 w 3457575"/>
                  <a:gd name="connsiteY102" fmla="*/ 3105150 h 3822033"/>
                  <a:gd name="connsiteX103" fmla="*/ 2562225 w 3457575"/>
                  <a:gd name="connsiteY103" fmla="*/ 3143250 h 3822033"/>
                  <a:gd name="connsiteX104" fmla="*/ 2495550 w 3457575"/>
                  <a:gd name="connsiteY104" fmla="*/ 3162300 h 3822033"/>
                  <a:gd name="connsiteX105" fmla="*/ 2362200 w 3457575"/>
                  <a:gd name="connsiteY105" fmla="*/ 3219450 h 3822033"/>
                  <a:gd name="connsiteX106" fmla="*/ 2257425 w 3457575"/>
                  <a:gd name="connsiteY106" fmla="*/ 3257550 h 3822033"/>
                  <a:gd name="connsiteX107" fmla="*/ 2181225 w 3457575"/>
                  <a:gd name="connsiteY107" fmla="*/ 3276600 h 3822033"/>
                  <a:gd name="connsiteX108" fmla="*/ 2057400 w 3457575"/>
                  <a:gd name="connsiteY108" fmla="*/ 3362325 h 3822033"/>
                  <a:gd name="connsiteX109" fmla="*/ 2009775 w 3457575"/>
                  <a:gd name="connsiteY109" fmla="*/ 3400425 h 3822033"/>
                  <a:gd name="connsiteX110" fmla="*/ 1962150 w 3457575"/>
                  <a:gd name="connsiteY110" fmla="*/ 3429000 h 3822033"/>
                  <a:gd name="connsiteX111" fmla="*/ 1905000 w 3457575"/>
                  <a:gd name="connsiteY111" fmla="*/ 3495675 h 3822033"/>
                  <a:gd name="connsiteX112" fmla="*/ 1819275 w 3457575"/>
                  <a:gd name="connsiteY112" fmla="*/ 3609975 h 3822033"/>
                  <a:gd name="connsiteX113" fmla="*/ 1800225 w 3457575"/>
                  <a:gd name="connsiteY113" fmla="*/ 3638550 h 3822033"/>
                  <a:gd name="connsiteX114" fmla="*/ 1790700 w 3457575"/>
                  <a:gd name="connsiteY114" fmla="*/ 3667125 h 3822033"/>
                  <a:gd name="connsiteX115" fmla="*/ 1771650 w 3457575"/>
                  <a:gd name="connsiteY115" fmla="*/ 3695700 h 3822033"/>
                  <a:gd name="connsiteX116" fmla="*/ 1752600 w 3457575"/>
                  <a:gd name="connsiteY116" fmla="*/ 3733800 h 3822033"/>
                  <a:gd name="connsiteX117" fmla="*/ 1714500 w 3457575"/>
                  <a:gd name="connsiteY117" fmla="*/ 3810000 h 3822033"/>
                  <a:gd name="connsiteX118" fmla="*/ 1704975 w 3457575"/>
                  <a:gd name="connsiteY11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485775 w 3457575"/>
                  <a:gd name="connsiteY23" fmla="*/ 2771775 h 3822033"/>
                  <a:gd name="connsiteX24" fmla="*/ 333375 w 3457575"/>
                  <a:gd name="connsiteY24" fmla="*/ 2676525 h 3822033"/>
                  <a:gd name="connsiteX25" fmla="*/ 295275 w 3457575"/>
                  <a:gd name="connsiteY25" fmla="*/ 2581275 h 3822033"/>
                  <a:gd name="connsiteX26" fmla="*/ 257175 w 3457575"/>
                  <a:gd name="connsiteY26" fmla="*/ 2495550 h 3822033"/>
                  <a:gd name="connsiteX27" fmla="*/ 228600 w 3457575"/>
                  <a:gd name="connsiteY27" fmla="*/ 2457450 h 3822033"/>
                  <a:gd name="connsiteX28" fmla="*/ 200025 w 3457575"/>
                  <a:gd name="connsiteY28" fmla="*/ 2371725 h 3822033"/>
                  <a:gd name="connsiteX29" fmla="*/ 180975 w 3457575"/>
                  <a:gd name="connsiteY29" fmla="*/ 2343150 h 3822033"/>
                  <a:gd name="connsiteX30" fmla="*/ 152400 w 3457575"/>
                  <a:gd name="connsiteY30" fmla="*/ 2219325 h 3822033"/>
                  <a:gd name="connsiteX31" fmla="*/ 142875 w 3457575"/>
                  <a:gd name="connsiteY31" fmla="*/ 2190750 h 3822033"/>
                  <a:gd name="connsiteX32" fmla="*/ 123825 w 3457575"/>
                  <a:gd name="connsiteY32" fmla="*/ 2143125 h 3822033"/>
                  <a:gd name="connsiteX33" fmla="*/ 95250 w 3457575"/>
                  <a:gd name="connsiteY33" fmla="*/ 2028825 h 3822033"/>
                  <a:gd name="connsiteX34" fmla="*/ 85725 w 3457575"/>
                  <a:gd name="connsiteY34" fmla="*/ 1990725 h 3822033"/>
                  <a:gd name="connsiteX35" fmla="*/ 57150 w 3457575"/>
                  <a:gd name="connsiteY35" fmla="*/ 1933575 h 3822033"/>
                  <a:gd name="connsiteX36" fmla="*/ 28575 w 3457575"/>
                  <a:gd name="connsiteY36" fmla="*/ 1819275 h 3822033"/>
                  <a:gd name="connsiteX37" fmla="*/ 9525 w 3457575"/>
                  <a:gd name="connsiteY37" fmla="*/ 1657350 h 3822033"/>
                  <a:gd name="connsiteX38" fmla="*/ 0 w 3457575"/>
                  <a:gd name="connsiteY38" fmla="*/ 1609725 h 3822033"/>
                  <a:gd name="connsiteX39" fmla="*/ 9525 w 3457575"/>
                  <a:gd name="connsiteY39" fmla="*/ 1428750 h 3822033"/>
                  <a:gd name="connsiteX40" fmla="*/ 28575 w 3457575"/>
                  <a:gd name="connsiteY40" fmla="*/ 1304925 h 3822033"/>
                  <a:gd name="connsiteX41" fmla="*/ 38100 w 3457575"/>
                  <a:gd name="connsiteY41" fmla="*/ 1247775 h 3822033"/>
                  <a:gd name="connsiteX42" fmla="*/ 76200 w 3457575"/>
                  <a:gd name="connsiteY42" fmla="*/ 1152525 h 3822033"/>
                  <a:gd name="connsiteX43" fmla="*/ 114300 w 3457575"/>
                  <a:gd name="connsiteY43" fmla="*/ 990600 h 3822033"/>
                  <a:gd name="connsiteX44" fmla="*/ 133350 w 3457575"/>
                  <a:gd name="connsiteY44" fmla="*/ 923925 h 3822033"/>
                  <a:gd name="connsiteX45" fmla="*/ 171450 w 3457575"/>
                  <a:gd name="connsiteY45" fmla="*/ 866775 h 3822033"/>
                  <a:gd name="connsiteX46" fmla="*/ 228600 w 3457575"/>
                  <a:gd name="connsiteY46" fmla="*/ 762000 h 3822033"/>
                  <a:gd name="connsiteX47" fmla="*/ 304800 w 3457575"/>
                  <a:gd name="connsiteY47" fmla="*/ 647700 h 3822033"/>
                  <a:gd name="connsiteX48" fmla="*/ 552450 w 3457575"/>
                  <a:gd name="connsiteY48" fmla="*/ 361950 h 3822033"/>
                  <a:gd name="connsiteX49" fmla="*/ 609600 w 3457575"/>
                  <a:gd name="connsiteY49" fmla="*/ 323850 h 3822033"/>
                  <a:gd name="connsiteX50" fmla="*/ 666750 w 3457575"/>
                  <a:gd name="connsiteY50" fmla="*/ 285750 h 3822033"/>
                  <a:gd name="connsiteX51" fmla="*/ 762000 w 3457575"/>
                  <a:gd name="connsiteY51" fmla="*/ 238125 h 3822033"/>
                  <a:gd name="connsiteX52" fmla="*/ 800100 w 3457575"/>
                  <a:gd name="connsiteY52" fmla="*/ 219075 h 3822033"/>
                  <a:gd name="connsiteX53" fmla="*/ 895350 w 3457575"/>
                  <a:gd name="connsiteY53" fmla="*/ 161925 h 3822033"/>
                  <a:gd name="connsiteX54" fmla="*/ 962025 w 3457575"/>
                  <a:gd name="connsiteY54" fmla="*/ 133350 h 3822033"/>
                  <a:gd name="connsiteX55" fmla="*/ 1123950 w 3457575"/>
                  <a:gd name="connsiteY55" fmla="*/ 76200 h 3822033"/>
                  <a:gd name="connsiteX56" fmla="*/ 1162050 w 3457575"/>
                  <a:gd name="connsiteY56" fmla="*/ 66675 h 3822033"/>
                  <a:gd name="connsiteX57" fmla="*/ 1438275 w 3457575"/>
                  <a:gd name="connsiteY57" fmla="*/ 0 h 3822033"/>
                  <a:gd name="connsiteX58" fmla="*/ 2038350 w 3457575"/>
                  <a:gd name="connsiteY58" fmla="*/ 9525 h 3822033"/>
                  <a:gd name="connsiteX59" fmla="*/ 2105025 w 3457575"/>
                  <a:gd name="connsiteY59" fmla="*/ 19050 h 3822033"/>
                  <a:gd name="connsiteX60" fmla="*/ 2162175 w 3457575"/>
                  <a:gd name="connsiteY60" fmla="*/ 47625 h 3822033"/>
                  <a:gd name="connsiteX61" fmla="*/ 2228850 w 3457575"/>
                  <a:gd name="connsiteY61" fmla="*/ 66675 h 3822033"/>
                  <a:gd name="connsiteX62" fmla="*/ 2343150 w 3457575"/>
                  <a:gd name="connsiteY62" fmla="*/ 133350 h 3822033"/>
                  <a:gd name="connsiteX63" fmla="*/ 2390775 w 3457575"/>
                  <a:gd name="connsiteY63" fmla="*/ 142875 h 3822033"/>
                  <a:gd name="connsiteX64" fmla="*/ 2457450 w 3457575"/>
                  <a:gd name="connsiteY64" fmla="*/ 171450 h 3822033"/>
                  <a:gd name="connsiteX65" fmla="*/ 2486025 w 3457575"/>
                  <a:gd name="connsiteY65" fmla="*/ 200025 h 3822033"/>
                  <a:gd name="connsiteX66" fmla="*/ 2571750 w 3457575"/>
                  <a:gd name="connsiteY66" fmla="*/ 228600 h 3822033"/>
                  <a:gd name="connsiteX67" fmla="*/ 2676525 w 3457575"/>
                  <a:gd name="connsiteY67" fmla="*/ 285750 h 3822033"/>
                  <a:gd name="connsiteX68" fmla="*/ 2705100 w 3457575"/>
                  <a:gd name="connsiteY68" fmla="*/ 304800 h 3822033"/>
                  <a:gd name="connsiteX69" fmla="*/ 2733675 w 3457575"/>
                  <a:gd name="connsiteY69" fmla="*/ 333375 h 3822033"/>
                  <a:gd name="connsiteX70" fmla="*/ 2771775 w 3457575"/>
                  <a:gd name="connsiteY70" fmla="*/ 361950 h 3822033"/>
                  <a:gd name="connsiteX71" fmla="*/ 2809875 w 3457575"/>
                  <a:gd name="connsiteY71" fmla="*/ 400050 h 3822033"/>
                  <a:gd name="connsiteX72" fmla="*/ 2867025 w 3457575"/>
                  <a:gd name="connsiteY72" fmla="*/ 438150 h 3822033"/>
                  <a:gd name="connsiteX73" fmla="*/ 2905125 w 3457575"/>
                  <a:gd name="connsiteY73" fmla="*/ 476250 h 3822033"/>
                  <a:gd name="connsiteX74" fmla="*/ 2971800 w 3457575"/>
                  <a:gd name="connsiteY74" fmla="*/ 523875 h 3822033"/>
                  <a:gd name="connsiteX75" fmla="*/ 2990850 w 3457575"/>
                  <a:gd name="connsiteY75" fmla="*/ 552450 h 3822033"/>
                  <a:gd name="connsiteX76" fmla="*/ 3028950 w 3457575"/>
                  <a:gd name="connsiteY76" fmla="*/ 590550 h 3822033"/>
                  <a:gd name="connsiteX77" fmla="*/ 3048000 w 3457575"/>
                  <a:gd name="connsiteY77" fmla="*/ 628650 h 3822033"/>
                  <a:gd name="connsiteX78" fmla="*/ 3086100 w 3457575"/>
                  <a:gd name="connsiteY78" fmla="*/ 666750 h 3822033"/>
                  <a:gd name="connsiteX79" fmla="*/ 3124200 w 3457575"/>
                  <a:gd name="connsiteY79" fmla="*/ 723900 h 3822033"/>
                  <a:gd name="connsiteX80" fmla="*/ 3219450 w 3457575"/>
                  <a:gd name="connsiteY80" fmla="*/ 838200 h 3822033"/>
                  <a:gd name="connsiteX81" fmla="*/ 3238500 w 3457575"/>
                  <a:gd name="connsiteY81" fmla="*/ 885825 h 3822033"/>
                  <a:gd name="connsiteX82" fmla="*/ 3276600 w 3457575"/>
                  <a:gd name="connsiteY82" fmla="*/ 942975 h 3822033"/>
                  <a:gd name="connsiteX83" fmla="*/ 3286125 w 3457575"/>
                  <a:gd name="connsiteY83" fmla="*/ 990600 h 3822033"/>
                  <a:gd name="connsiteX84" fmla="*/ 3324225 w 3457575"/>
                  <a:gd name="connsiteY84" fmla="*/ 1085850 h 3822033"/>
                  <a:gd name="connsiteX85" fmla="*/ 3362325 w 3457575"/>
                  <a:gd name="connsiteY85" fmla="*/ 1171575 h 3822033"/>
                  <a:gd name="connsiteX86" fmla="*/ 3390900 w 3457575"/>
                  <a:gd name="connsiteY86" fmla="*/ 1219200 h 3822033"/>
                  <a:gd name="connsiteX87" fmla="*/ 3419475 w 3457575"/>
                  <a:gd name="connsiteY87" fmla="*/ 1333500 h 3822033"/>
                  <a:gd name="connsiteX88" fmla="*/ 3429000 w 3457575"/>
                  <a:gd name="connsiteY88" fmla="*/ 1390650 h 3822033"/>
                  <a:gd name="connsiteX89" fmla="*/ 3457575 w 3457575"/>
                  <a:gd name="connsiteY89" fmla="*/ 1657350 h 3822033"/>
                  <a:gd name="connsiteX90" fmla="*/ 3381375 w 3457575"/>
                  <a:gd name="connsiteY90" fmla="*/ 2238375 h 3822033"/>
                  <a:gd name="connsiteX91" fmla="*/ 3343275 w 3457575"/>
                  <a:gd name="connsiteY91" fmla="*/ 2333625 h 3822033"/>
                  <a:gd name="connsiteX92" fmla="*/ 3276600 w 3457575"/>
                  <a:gd name="connsiteY92" fmla="*/ 2400300 h 3822033"/>
                  <a:gd name="connsiteX93" fmla="*/ 3190875 w 3457575"/>
                  <a:gd name="connsiteY93" fmla="*/ 2533650 h 3822033"/>
                  <a:gd name="connsiteX94" fmla="*/ 3105150 w 3457575"/>
                  <a:gd name="connsiteY94" fmla="*/ 2647950 h 3822033"/>
                  <a:gd name="connsiteX95" fmla="*/ 3019425 w 3457575"/>
                  <a:gd name="connsiteY95" fmla="*/ 2781300 h 3822033"/>
                  <a:gd name="connsiteX96" fmla="*/ 2981325 w 3457575"/>
                  <a:gd name="connsiteY96" fmla="*/ 2819400 h 3822033"/>
                  <a:gd name="connsiteX97" fmla="*/ 2943225 w 3457575"/>
                  <a:gd name="connsiteY97" fmla="*/ 2876550 h 3822033"/>
                  <a:gd name="connsiteX98" fmla="*/ 2857500 w 3457575"/>
                  <a:gd name="connsiteY98" fmla="*/ 2933700 h 3822033"/>
                  <a:gd name="connsiteX99" fmla="*/ 2809875 w 3457575"/>
                  <a:gd name="connsiteY99" fmla="*/ 2971800 h 3822033"/>
                  <a:gd name="connsiteX100" fmla="*/ 2705100 w 3457575"/>
                  <a:gd name="connsiteY100" fmla="*/ 3038475 h 3822033"/>
                  <a:gd name="connsiteX101" fmla="*/ 2609850 w 3457575"/>
                  <a:gd name="connsiteY101" fmla="*/ 3105150 h 3822033"/>
                  <a:gd name="connsiteX102" fmla="*/ 2562225 w 3457575"/>
                  <a:gd name="connsiteY102" fmla="*/ 3143250 h 3822033"/>
                  <a:gd name="connsiteX103" fmla="*/ 2495550 w 3457575"/>
                  <a:gd name="connsiteY103" fmla="*/ 3162300 h 3822033"/>
                  <a:gd name="connsiteX104" fmla="*/ 2362200 w 3457575"/>
                  <a:gd name="connsiteY104" fmla="*/ 3219450 h 3822033"/>
                  <a:gd name="connsiteX105" fmla="*/ 2257425 w 3457575"/>
                  <a:gd name="connsiteY105" fmla="*/ 3257550 h 3822033"/>
                  <a:gd name="connsiteX106" fmla="*/ 2181225 w 3457575"/>
                  <a:gd name="connsiteY106" fmla="*/ 3276600 h 3822033"/>
                  <a:gd name="connsiteX107" fmla="*/ 2057400 w 3457575"/>
                  <a:gd name="connsiteY107" fmla="*/ 3362325 h 3822033"/>
                  <a:gd name="connsiteX108" fmla="*/ 2009775 w 3457575"/>
                  <a:gd name="connsiteY108" fmla="*/ 3400425 h 3822033"/>
                  <a:gd name="connsiteX109" fmla="*/ 1962150 w 3457575"/>
                  <a:gd name="connsiteY109" fmla="*/ 3429000 h 3822033"/>
                  <a:gd name="connsiteX110" fmla="*/ 1905000 w 3457575"/>
                  <a:gd name="connsiteY110" fmla="*/ 3495675 h 3822033"/>
                  <a:gd name="connsiteX111" fmla="*/ 1819275 w 3457575"/>
                  <a:gd name="connsiteY111" fmla="*/ 3609975 h 3822033"/>
                  <a:gd name="connsiteX112" fmla="*/ 1800225 w 3457575"/>
                  <a:gd name="connsiteY112" fmla="*/ 3638550 h 3822033"/>
                  <a:gd name="connsiteX113" fmla="*/ 1790700 w 3457575"/>
                  <a:gd name="connsiteY113" fmla="*/ 3667125 h 3822033"/>
                  <a:gd name="connsiteX114" fmla="*/ 1771650 w 3457575"/>
                  <a:gd name="connsiteY114" fmla="*/ 3695700 h 3822033"/>
                  <a:gd name="connsiteX115" fmla="*/ 1752600 w 3457575"/>
                  <a:gd name="connsiteY115" fmla="*/ 3733800 h 3822033"/>
                  <a:gd name="connsiteX116" fmla="*/ 1714500 w 3457575"/>
                  <a:gd name="connsiteY116" fmla="*/ 3810000 h 3822033"/>
                  <a:gd name="connsiteX117" fmla="*/ 1704975 w 3457575"/>
                  <a:gd name="connsiteY11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514350 w 3457575"/>
                  <a:gd name="connsiteY22" fmla="*/ 2800350 h 3822033"/>
                  <a:gd name="connsiteX23" fmla="*/ 333375 w 3457575"/>
                  <a:gd name="connsiteY23" fmla="*/ 2676525 h 3822033"/>
                  <a:gd name="connsiteX24" fmla="*/ 295275 w 3457575"/>
                  <a:gd name="connsiteY24" fmla="*/ 2581275 h 3822033"/>
                  <a:gd name="connsiteX25" fmla="*/ 257175 w 3457575"/>
                  <a:gd name="connsiteY25" fmla="*/ 2495550 h 3822033"/>
                  <a:gd name="connsiteX26" fmla="*/ 228600 w 3457575"/>
                  <a:gd name="connsiteY26" fmla="*/ 2457450 h 3822033"/>
                  <a:gd name="connsiteX27" fmla="*/ 200025 w 3457575"/>
                  <a:gd name="connsiteY27" fmla="*/ 2371725 h 3822033"/>
                  <a:gd name="connsiteX28" fmla="*/ 180975 w 3457575"/>
                  <a:gd name="connsiteY28" fmla="*/ 2343150 h 3822033"/>
                  <a:gd name="connsiteX29" fmla="*/ 152400 w 3457575"/>
                  <a:gd name="connsiteY29" fmla="*/ 2219325 h 3822033"/>
                  <a:gd name="connsiteX30" fmla="*/ 142875 w 3457575"/>
                  <a:gd name="connsiteY30" fmla="*/ 2190750 h 3822033"/>
                  <a:gd name="connsiteX31" fmla="*/ 123825 w 3457575"/>
                  <a:gd name="connsiteY31" fmla="*/ 2143125 h 3822033"/>
                  <a:gd name="connsiteX32" fmla="*/ 95250 w 3457575"/>
                  <a:gd name="connsiteY32" fmla="*/ 2028825 h 3822033"/>
                  <a:gd name="connsiteX33" fmla="*/ 85725 w 3457575"/>
                  <a:gd name="connsiteY33" fmla="*/ 1990725 h 3822033"/>
                  <a:gd name="connsiteX34" fmla="*/ 57150 w 3457575"/>
                  <a:gd name="connsiteY34" fmla="*/ 1933575 h 3822033"/>
                  <a:gd name="connsiteX35" fmla="*/ 28575 w 3457575"/>
                  <a:gd name="connsiteY35" fmla="*/ 1819275 h 3822033"/>
                  <a:gd name="connsiteX36" fmla="*/ 9525 w 3457575"/>
                  <a:gd name="connsiteY36" fmla="*/ 1657350 h 3822033"/>
                  <a:gd name="connsiteX37" fmla="*/ 0 w 3457575"/>
                  <a:gd name="connsiteY37" fmla="*/ 1609725 h 3822033"/>
                  <a:gd name="connsiteX38" fmla="*/ 9525 w 3457575"/>
                  <a:gd name="connsiteY38" fmla="*/ 1428750 h 3822033"/>
                  <a:gd name="connsiteX39" fmla="*/ 28575 w 3457575"/>
                  <a:gd name="connsiteY39" fmla="*/ 1304925 h 3822033"/>
                  <a:gd name="connsiteX40" fmla="*/ 38100 w 3457575"/>
                  <a:gd name="connsiteY40" fmla="*/ 1247775 h 3822033"/>
                  <a:gd name="connsiteX41" fmla="*/ 76200 w 3457575"/>
                  <a:gd name="connsiteY41" fmla="*/ 1152525 h 3822033"/>
                  <a:gd name="connsiteX42" fmla="*/ 114300 w 3457575"/>
                  <a:gd name="connsiteY42" fmla="*/ 990600 h 3822033"/>
                  <a:gd name="connsiteX43" fmla="*/ 133350 w 3457575"/>
                  <a:gd name="connsiteY43" fmla="*/ 923925 h 3822033"/>
                  <a:gd name="connsiteX44" fmla="*/ 171450 w 3457575"/>
                  <a:gd name="connsiteY44" fmla="*/ 866775 h 3822033"/>
                  <a:gd name="connsiteX45" fmla="*/ 228600 w 3457575"/>
                  <a:gd name="connsiteY45" fmla="*/ 762000 h 3822033"/>
                  <a:gd name="connsiteX46" fmla="*/ 304800 w 3457575"/>
                  <a:gd name="connsiteY46" fmla="*/ 647700 h 3822033"/>
                  <a:gd name="connsiteX47" fmla="*/ 552450 w 3457575"/>
                  <a:gd name="connsiteY47" fmla="*/ 361950 h 3822033"/>
                  <a:gd name="connsiteX48" fmla="*/ 609600 w 3457575"/>
                  <a:gd name="connsiteY48" fmla="*/ 323850 h 3822033"/>
                  <a:gd name="connsiteX49" fmla="*/ 666750 w 3457575"/>
                  <a:gd name="connsiteY49" fmla="*/ 285750 h 3822033"/>
                  <a:gd name="connsiteX50" fmla="*/ 762000 w 3457575"/>
                  <a:gd name="connsiteY50" fmla="*/ 238125 h 3822033"/>
                  <a:gd name="connsiteX51" fmla="*/ 800100 w 3457575"/>
                  <a:gd name="connsiteY51" fmla="*/ 219075 h 3822033"/>
                  <a:gd name="connsiteX52" fmla="*/ 895350 w 3457575"/>
                  <a:gd name="connsiteY52" fmla="*/ 161925 h 3822033"/>
                  <a:gd name="connsiteX53" fmla="*/ 962025 w 3457575"/>
                  <a:gd name="connsiteY53" fmla="*/ 133350 h 3822033"/>
                  <a:gd name="connsiteX54" fmla="*/ 1123950 w 3457575"/>
                  <a:gd name="connsiteY54" fmla="*/ 76200 h 3822033"/>
                  <a:gd name="connsiteX55" fmla="*/ 1162050 w 3457575"/>
                  <a:gd name="connsiteY55" fmla="*/ 66675 h 3822033"/>
                  <a:gd name="connsiteX56" fmla="*/ 1438275 w 3457575"/>
                  <a:gd name="connsiteY56" fmla="*/ 0 h 3822033"/>
                  <a:gd name="connsiteX57" fmla="*/ 2038350 w 3457575"/>
                  <a:gd name="connsiteY57" fmla="*/ 9525 h 3822033"/>
                  <a:gd name="connsiteX58" fmla="*/ 2105025 w 3457575"/>
                  <a:gd name="connsiteY58" fmla="*/ 19050 h 3822033"/>
                  <a:gd name="connsiteX59" fmla="*/ 2162175 w 3457575"/>
                  <a:gd name="connsiteY59" fmla="*/ 47625 h 3822033"/>
                  <a:gd name="connsiteX60" fmla="*/ 2228850 w 3457575"/>
                  <a:gd name="connsiteY60" fmla="*/ 66675 h 3822033"/>
                  <a:gd name="connsiteX61" fmla="*/ 2343150 w 3457575"/>
                  <a:gd name="connsiteY61" fmla="*/ 133350 h 3822033"/>
                  <a:gd name="connsiteX62" fmla="*/ 2390775 w 3457575"/>
                  <a:gd name="connsiteY62" fmla="*/ 142875 h 3822033"/>
                  <a:gd name="connsiteX63" fmla="*/ 2457450 w 3457575"/>
                  <a:gd name="connsiteY63" fmla="*/ 171450 h 3822033"/>
                  <a:gd name="connsiteX64" fmla="*/ 2486025 w 3457575"/>
                  <a:gd name="connsiteY64" fmla="*/ 200025 h 3822033"/>
                  <a:gd name="connsiteX65" fmla="*/ 2571750 w 3457575"/>
                  <a:gd name="connsiteY65" fmla="*/ 228600 h 3822033"/>
                  <a:gd name="connsiteX66" fmla="*/ 2676525 w 3457575"/>
                  <a:gd name="connsiteY66" fmla="*/ 285750 h 3822033"/>
                  <a:gd name="connsiteX67" fmla="*/ 2705100 w 3457575"/>
                  <a:gd name="connsiteY67" fmla="*/ 304800 h 3822033"/>
                  <a:gd name="connsiteX68" fmla="*/ 2733675 w 3457575"/>
                  <a:gd name="connsiteY68" fmla="*/ 333375 h 3822033"/>
                  <a:gd name="connsiteX69" fmla="*/ 2771775 w 3457575"/>
                  <a:gd name="connsiteY69" fmla="*/ 361950 h 3822033"/>
                  <a:gd name="connsiteX70" fmla="*/ 2809875 w 3457575"/>
                  <a:gd name="connsiteY70" fmla="*/ 400050 h 3822033"/>
                  <a:gd name="connsiteX71" fmla="*/ 2867025 w 3457575"/>
                  <a:gd name="connsiteY71" fmla="*/ 438150 h 3822033"/>
                  <a:gd name="connsiteX72" fmla="*/ 2905125 w 3457575"/>
                  <a:gd name="connsiteY72" fmla="*/ 476250 h 3822033"/>
                  <a:gd name="connsiteX73" fmla="*/ 2971800 w 3457575"/>
                  <a:gd name="connsiteY73" fmla="*/ 523875 h 3822033"/>
                  <a:gd name="connsiteX74" fmla="*/ 2990850 w 3457575"/>
                  <a:gd name="connsiteY74" fmla="*/ 552450 h 3822033"/>
                  <a:gd name="connsiteX75" fmla="*/ 3028950 w 3457575"/>
                  <a:gd name="connsiteY75" fmla="*/ 590550 h 3822033"/>
                  <a:gd name="connsiteX76" fmla="*/ 3048000 w 3457575"/>
                  <a:gd name="connsiteY76" fmla="*/ 628650 h 3822033"/>
                  <a:gd name="connsiteX77" fmla="*/ 3086100 w 3457575"/>
                  <a:gd name="connsiteY77" fmla="*/ 666750 h 3822033"/>
                  <a:gd name="connsiteX78" fmla="*/ 3124200 w 3457575"/>
                  <a:gd name="connsiteY78" fmla="*/ 723900 h 3822033"/>
                  <a:gd name="connsiteX79" fmla="*/ 3219450 w 3457575"/>
                  <a:gd name="connsiteY79" fmla="*/ 838200 h 3822033"/>
                  <a:gd name="connsiteX80" fmla="*/ 3238500 w 3457575"/>
                  <a:gd name="connsiteY80" fmla="*/ 885825 h 3822033"/>
                  <a:gd name="connsiteX81" fmla="*/ 3276600 w 3457575"/>
                  <a:gd name="connsiteY81" fmla="*/ 942975 h 3822033"/>
                  <a:gd name="connsiteX82" fmla="*/ 3286125 w 3457575"/>
                  <a:gd name="connsiteY82" fmla="*/ 990600 h 3822033"/>
                  <a:gd name="connsiteX83" fmla="*/ 3324225 w 3457575"/>
                  <a:gd name="connsiteY83" fmla="*/ 1085850 h 3822033"/>
                  <a:gd name="connsiteX84" fmla="*/ 3362325 w 3457575"/>
                  <a:gd name="connsiteY84" fmla="*/ 1171575 h 3822033"/>
                  <a:gd name="connsiteX85" fmla="*/ 3390900 w 3457575"/>
                  <a:gd name="connsiteY85" fmla="*/ 1219200 h 3822033"/>
                  <a:gd name="connsiteX86" fmla="*/ 3419475 w 3457575"/>
                  <a:gd name="connsiteY86" fmla="*/ 1333500 h 3822033"/>
                  <a:gd name="connsiteX87" fmla="*/ 3429000 w 3457575"/>
                  <a:gd name="connsiteY87" fmla="*/ 1390650 h 3822033"/>
                  <a:gd name="connsiteX88" fmla="*/ 3457575 w 3457575"/>
                  <a:gd name="connsiteY88" fmla="*/ 1657350 h 3822033"/>
                  <a:gd name="connsiteX89" fmla="*/ 3381375 w 3457575"/>
                  <a:gd name="connsiteY89" fmla="*/ 2238375 h 3822033"/>
                  <a:gd name="connsiteX90" fmla="*/ 3343275 w 3457575"/>
                  <a:gd name="connsiteY90" fmla="*/ 2333625 h 3822033"/>
                  <a:gd name="connsiteX91" fmla="*/ 3276600 w 3457575"/>
                  <a:gd name="connsiteY91" fmla="*/ 2400300 h 3822033"/>
                  <a:gd name="connsiteX92" fmla="*/ 3190875 w 3457575"/>
                  <a:gd name="connsiteY92" fmla="*/ 2533650 h 3822033"/>
                  <a:gd name="connsiteX93" fmla="*/ 3105150 w 3457575"/>
                  <a:gd name="connsiteY93" fmla="*/ 2647950 h 3822033"/>
                  <a:gd name="connsiteX94" fmla="*/ 3019425 w 3457575"/>
                  <a:gd name="connsiteY94" fmla="*/ 2781300 h 3822033"/>
                  <a:gd name="connsiteX95" fmla="*/ 2981325 w 3457575"/>
                  <a:gd name="connsiteY95" fmla="*/ 2819400 h 3822033"/>
                  <a:gd name="connsiteX96" fmla="*/ 2943225 w 3457575"/>
                  <a:gd name="connsiteY96" fmla="*/ 2876550 h 3822033"/>
                  <a:gd name="connsiteX97" fmla="*/ 2857500 w 3457575"/>
                  <a:gd name="connsiteY97" fmla="*/ 2933700 h 3822033"/>
                  <a:gd name="connsiteX98" fmla="*/ 2809875 w 3457575"/>
                  <a:gd name="connsiteY98" fmla="*/ 2971800 h 3822033"/>
                  <a:gd name="connsiteX99" fmla="*/ 2705100 w 3457575"/>
                  <a:gd name="connsiteY99" fmla="*/ 3038475 h 3822033"/>
                  <a:gd name="connsiteX100" fmla="*/ 2609850 w 3457575"/>
                  <a:gd name="connsiteY100" fmla="*/ 3105150 h 3822033"/>
                  <a:gd name="connsiteX101" fmla="*/ 2562225 w 3457575"/>
                  <a:gd name="connsiteY101" fmla="*/ 3143250 h 3822033"/>
                  <a:gd name="connsiteX102" fmla="*/ 2495550 w 3457575"/>
                  <a:gd name="connsiteY102" fmla="*/ 3162300 h 3822033"/>
                  <a:gd name="connsiteX103" fmla="*/ 2362200 w 3457575"/>
                  <a:gd name="connsiteY103" fmla="*/ 3219450 h 3822033"/>
                  <a:gd name="connsiteX104" fmla="*/ 2257425 w 3457575"/>
                  <a:gd name="connsiteY104" fmla="*/ 3257550 h 3822033"/>
                  <a:gd name="connsiteX105" fmla="*/ 2181225 w 3457575"/>
                  <a:gd name="connsiteY105" fmla="*/ 3276600 h 3822033"/>
                  <a:gd name="connsiteX106" fmla="*/ 2057400 w 3457575"/>
                  <a:gd name="connsiteY106" fmla="*/ 3362325 h 3822033"/>
                  <a:gd name="connsiteX107" fmla="*/ 2009775 w 3457575"/>
                  <a:gd name="connsiteY107" fmla="*/ 3400425 h 3822033"/>
                  <a:gd name="connsiteX108" fmla="*/ 1962150 w 3457575"/>
                  <a:gd name="connsiteY108" fmla="*/ 3429000 h 3822033"/>
                  <a:gd name="connsiteX109" fmla="*/ 1905000 w 3457575"/>
                  <a:gd name="connsiteY109" fmla="*/ 3495675 h 3822033"/>
                  <a:gd name="connsiteX110" fmla="*/ 1819275 w 3457575"/>
                  <a:gd name="connsiteY110" fmla="*/ 3609975 h 3822033"/>
                  <a:gd name="connsiteX111" fmla="*/ 1800225 w 3457575"/>
                  <a:gd name="connsiteY111" fmla="*/ 3638550 h 3822033"/>
                  <a:gd name="connsiteX112" fmla="*/ 1790700 w 3457575"/>
                  <a:gd name="connsiteY112" fmla="*/ 3667125 h 3822033"/>
                  <a:gd name="connsiteX113" fmla="*/ 1771650 w 3457575"/>
                  <a:gd name="connsiteY113" fmla="*/ 3695700 h 3822033"/>
                  <a:gd name="connsiteX114" fmla="*/ 1752600 w 3457575"/>
                  <a:gd name="connsiteY114" fmla="*/ 3733800 h 3822033"/>
                  <a:gd name="connsiteX115" fmla="*/ 1714500 w 3457575"/>
                  <a:gd name="connsiteY115" fmla="*/ 3810000 h 3822033"/>
                  <a:gd name="connsiteX116" fmla="*/ 1704975 w 3457575"/>
                  <a:gd name="connsiteY11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561975 w 3457575"/>
                  <a:gd name="connsiteY21" fmla="*/ 2914650 h 3822033"/>
                  <a:gd name="connsiteX22" fmla="*/ 333375 w 3457575"/>
                  <a:gd name="connsiteY22" fmla="*/ 2676525 h 3822033"/>
                  <a:gd name="connsiteX23" fmla="*/ 295275 w 3457575"/>
                  <a:gd name="connsiteY23" fmla="*/ 2581275 h 3822033"/>
                  <a:gd name="connsiteX24" fmla="*/ 257175 w 3457575"/>
                  <a:gd name="connsiteY24" fmla="*/ 2495550 h 3822033"/>
                  <a:gd name="connsiteX25" fmla="*/ 228600 w 3457575"/>
                  <a:gd name="connsiteY25" fmla="*/ 2457450 h 3822033"/>
                  <a:gd name="connsiteX26" fmla="*/ 200025 w 3457575"/>
                  <a:gd name="connsiteY26" fmla="*/ 2371725 h 3822033"/>
                  <a:gd name="connsiteX27" fmla="*/ 180975 w 3457575"/>
                  <a:gd name="connsiteY27" fmla="*/ 2343150 h 3822033"/>
                  <a:gd name="connsiteX28" fmla="*/ 152400 w 3457575"/>
                  <a:gd name="connsiteY28" fmla="*/ 2219325 h 3822033"/>
                  <a:gd name="connsiteX29" fmla="*/ 142875 w 3457575"/>
                  <a:gd name="connsiteY29" fmla="*/ 2190750 h 3822033"/>
                  <a:gd name="connsiteX30" fmla="*/ 123825 w 3457575"/>
                  <a:gd name="connsiteY30" fmla="*/ 2143125 h 3822033"/>
                  <a:gd name="connsiteX31" fmla="*/ 95250 w 3457575"/>
                  <a:gd name="connsiteY31" fmla="*/ 2028825 h 3822033"/>
                  <a:gd name="connsiteX32" fmla="*/ 85725 w 3457575"/>
                  <a:gd name="connsiteY32" fmla="*/ 1990725 h 3822033"/>
                  <a:gd name="connsiteX33" fmla="*/ 57150 w 3457575"/>
                  <a:gd name="connsiteY33" fmla="*/ 1933575 h 3822033"/>
                  <a:gd name="connsiteX34" fmla="*/ 28575 w 3457575"/>
                  <a:gd name="connsiteY34" fmla="*/ 1819275 h 3822033"/>
                  <a:gd name="connsiteX35" fmla="*/ 9525 w 3457575"/>
                  <a:gd name="connsiteY35" fmla="*/ 1657350 h 3822033"/>
                  <a:gd name="connsiteX36" fmla="*/ 0 w 3457575"/>
                  <a:gd name="connsiteY36" fmla="*/ 1609725 h 3822033"/>
                  <a:gd name="connsiteX37" fmla="*/ 9525 w 3457575"/>
                  <a:gd name="connsiteY37" fmla="*/ 1428750 h 3822033"/>
                  <a:gd name="connsiteX38" fmla="*/ 28575 w 3457575"/>
                  <a:gd name="connsiteY38" fmla="*/ 1304925 h 3822033"/>
                  <a:gd name="connsiteX39" fmla="*/ 38100 w 3457575"/>
                  <a:gd name="connsiteY39" fmla="*/ 1247775 h 3822033"/>
                  <a:gd name="connsiteX40" fmla="*/ 76200 w 3457575"/>
                  <a:gd name="connsiteY40" fmla="*/ 1152525 h 3822033"/>
                  <a:gd name="connsiteX41" fmla="*/ 114300 w 3457575"/>
                  <a:gd name="connsiteY41" fmla="*/ 990600 h 3822033"/>
                  <a:gd name="connsiteX42" fmla="*/ 133350 w 3457575"/>
                  <a:gd name="connsiteY42" fmla="*/ 923925 h 3822033"/>
                  <a:gd name="connsiteX43" fmla="*/ 171450 w 3457575"/>
                  <a:gd name="connsiteY43" fmla="*/ 866775 h 3822033"/>
                  <a:gd name="connsiteX44" fmla="*/ 228600 w 3457575"/>
                  <a:gd name="connsiteY44" fmla="*/ 762000 h 3822033"/>
                  <a:gd name="connsiteX45" fmla="*/ 304800 w 3457575"/>
                  <a:gd name="connsiteY45" fmla="*/ 647700 h 3822033"/>
                  <a:gd name="connsiteX46" fmla="*/ 552450 w 3457575"/>
                  <a:gd name="connsiteY46" fmla="*/ 361950 h 3822033"/>
                  <a:gd name="connsiteX47" fmla="*/ 609600 w 3457575"/>
                  <a:gd name="connsiteY47" fmla="*/ 323850 h 3822033"/>
                  <a:gd name="connsiteX48" fmla="*/ 666750 w 3457575"/>
                  <a:gd name="connsiteY48" fmla="*/ 285750 h 3822033"/>
                  <a:gd name="connsiteX49" fmla="*/ 762000 w 3457575"/>
                  <a:gd name="connsiteY49" fmla="*/ 238125 h 3822033"/>
                  <a:gd name="connsiteX50" fmla="*/ 800100 w 3457575"/>
                  <a:gd name="connsiteY50" fmla="*/ 219075 h 3822033"/>
                  <a:gd name="connsiteX51" fmla="*/ 895350 w 3457575"/>
                  <a:gd name="connsiteY51" fmla="*/ 161925 h 3822033"/>
                  <a:gd name="connsiteX52" fmla="*/ 962025 w 3457575"/>
                  <a:gd name="connsiteY52" fmla="*/ 133350 h 3822033"/>
                  <a:gd name="connsiteX53" fmla="*/ 1123950 w 3457575"/>
                  <a:gd name="connsiteY53" fmla="*/ 76200 h 3822033"/>
                  <a:gd name="connsiteX54" fmla="*/ 1162050 w 3457575"/>
                  <a:gd name="connsiteY54" fmla="*/ 66675 h 3822033"/>
                  <a:gd name="connsiteX55" fmla="*/ 1438275 w 3457575"/>
                  <a:gd name="connsiteY55" fmla="*/ 0 h 3822033"/>
                  <a:gd name="connsiteX56" fmla="*/ 2038350 w 3457575"/>
                  <a:gd name="connsiteY56" fmla="*/ 9525 h 3822033"/>
                  <a:gd name="connsiteX57" fmla="*/ 2105025 w 3457575"/>
                  <a:gd name="connsiteY57" fmla="*/ 19050 h 3822033"/>
                  <a:gd name="connsiteX58" fmla="*/ 2162175 w 3457575"/>
                  <a:gd name="connsiteY58" fmla="*/ 47625 h 3822033"/>
                  <a:gd name="connsiteX59" fmla="*/ 2228850 w 3457575"/>
                  <a:gd name="connsiteY59" fmla="*/ 66675 h 3822033"/>
                  <a:gd name="connsiteX60" fmla="*/ 2343150 w 3457575"/>
                  <a:gd name="connsiteY60" fmla="*/ 133350 h 3822033"/>
                  <a:gd name="connsiteX61" fmla="*/ 2390775 w 3457575"/>
                  <a:gd name="connsiteY61" fmla="*/ 142875 h 3822033"/>
                  <a:gd name="connsiteX62" fmla="*/ 2457450 w 3457575"/>
                  <a:gd name="connsiteY62" fmla="*/ 171450 h 3822033"/>
                  <a:gd name="connsiteX63" fmla="*/ 2486025 w 3457575"/>
                  <a:gd name="connsiteY63" fmla="*/ 200025 h 3822033"/>
                  <a:gd name="connsiteX64" fmla="*/ 2571750 w 3457575"/>
                  <a:gd name="connsiteY64" fmla="*/ 228600 h 3822033"/>
                  <a:gd name="connsiteX65" fmla="*/ 2676525 w 3457575"/>
                  <a:gd name="connsiteY65" fmla="*/ 285750 h 3822033"/>
                  <a:gd name="connsiteX66" fmla="*/ 2705100 w 3457575"/>
                  <a:gd name="connsiteY66" fmla="*/ 304800 h 3822033"/>
                  <a:gd name="connsiteX67" fmla="*/ 2733675 w 3457575"/>
                  <a:gd name="connsiteY67" fmla="*/ 333375 h 3822033"/>
                  <a:gd name="connsiteX68" fmla="*/ 2771775 w 3457575"/>
                  <a:gd name="connsiteY68" fmla="*/ 361950 h 3822033"/>
                  <a:gd name="connsiteX69" fmla="*/ 2809875 w 3457575"/>
                  <a:gd name="connsiteY69" fmla="*/ 400050 h 3822033"/>
                  <a:gd name="connsiteX70" fmla="*/ 2867025 w 3457575"/>
                  <a:gd name="connsiteY70" fmla="*/ 438150 h 3822033"/>
                  <a:gd name="connsiteX71" fmla="*/ 2905125 w 3457575"/>
                  <a:gd name="connsiteY71" fmla="*/ 476250 h 3822033"/>
                  <a:gd name="connsiteX72" fmla="*/ 2971800 w 3457575"/>
                  <a:gd name="connsiteY72" fmla="*/ 523875 h 3822033"/>
                  <a:gd name="connsiteX73" fmla="*/ 2990850 w 3457575"/>
                  <a:gd name="connsiteY73" fmla="*/ 552450 h 3822033"/>
                  <a:gd name="connsiteX74" fmla="*/ 3028950 w 3457575"/>
                  <a:gd name="connsiteY74" fmla="*/ 590550 h 3822033"/>
                  <a:gd name="connsiteX75" fmla="*/ 3048000 w 3457575"/>
                  <a:gd name="connsiteY75" fmla="*/ 628650 h 3822033"/>
                  <a:gd name="connsiteX76" fmla="*/ 3086100 w 3457575"/>
                  <a:gd name="connsiteY76" fmla="*/ 666750 h 3822033"/>
                  <a:gd name="connsiteX77" fmla="*/ 3124200 w 3457575"/>
                  <a:gd name="connsiteY77" fmla="*/ 723900 h 3822033"/>
                  <a:gd name="connsiteX78" fmla="*/ 3219450 w 3457575"/>
                  <a:gd name="connsiteY78" fmla="*/ 838200 h 3822033"/>
                  <a:gd name="connsiteX79" fmla="*/ 3238500 w 3457575"/>
                  <a:gd name="connsiteY79" fmla="*/ 885825 h 3822033"/>
                  <a:gd name="connsiteX80" fmla="*/ 3276600 w 3457575"/>
                  <a:gd name="connsiteY80" fmla="*/ 942975 h 3822033"/>
                  <a:gd name="connsiteX81" fmla="*/ 3286125 w 3457575"/>
                  <a:gd name="connsiteY81" fmla="*/ 990600 h 3822033"/>
                  <a:gd name="connsiteX82" fmla="*/ 3324225 w 3457575"/>
                  <a:gd name="connsiteY82" fmla="*/ 1085850 h 3822033"/>
                  <a:gd name="connsiteX83" fmla="*/ 3362325 w 3457575"/>
                  <a:gd name="connsiteY83" fmla="*/ 1171575 h 3822033"/>
                  <a:gd name="connsiteX84" fmla="*/ 3390900 w 3457575"/>
                  <a:gd name="connsiteY84" fmla="*/ 1219200 h 3822033"/>
                  <a:gd name="connsiteX85" fmla="*/ 3419475 w 3457575"/>
                  <a:gd name="connsiteY85" fmla="*/ 1333500 h 3822033"/>
                  <a:gd name="connsiteX86" fmla="*/ 3429000 w 3457575"/>
                  <a:gd name="connsiteY86" fmla="*/ 1390650 h 3822033"/>
                  <a:gd name="connsiteX87" fmla="*/ 3457575 w 3457575"/>
                  <a:gd name="connsiteY87" fmla="*/ 1657350 h 3822033"/>
                  <a:gd name="connsiteX88" fmla="*/ 3381375 w 3457575"/>
                  <a:gd name="connsiteY88" fmla="*/ 2238375 h 3822033"/>
                  <a:gd name="connsiteX89" fmla="*/ 3343275 w 3457575"/>
                  <a:gd name="connsiteY89" fmla="*/ 2333625 h 3822033"/>
                  <a:gd name="connsiteX90" fmla="*/ 3276600 w 3457575"/>
                  <a:gd name="connsiteY90" fmla="*/ 2400300 h 3822033"/>
                  <a:gd name="connsiteX91" fmla="*/ 3190875 w 3457575"/>
                  <a:gd name="connsiteY91" fmla="*/ 2533650 h 3822033"/>
                  <a:gd name="connsiteX92" fmla="*/ 3105150 w 3457575"/>
                  <a:gd name="connsiteY92" fmla="*/ 2647950 h 3822033"/>
                  <a:gd name="connsiteX93" fmla="*/ 3019425 w 3457575"/>
                  <a:gd name="connsiteY93" fmla="*/ 2781300 h 3822033"/>
                  <a:gd name="connsiteX94" fmla="*/ 2981325 w 3457575"/>
                  <a:gd name="connsiteY94" fmla="*/ 2819400 h 3822033"/>
                  <a:gd name="connsiteX95" fmla="*/ 2943225 w 3457575"/>
                  <a:gd name="connsiteY95" fmla="*/ 2876550 h 3822033"/>
                  <a:gd name="connsiteX96" fmla="*/ 2857500 w 3457575"/>
                  <a:gd name="connsiteY96" fmla="*/ 2933700 h 3822033"/>
                  <a:gd name="connsiteX97" fmla="*/ 2809875 w 3457575"/>
                  <a:gd name="connsiteY97" fmla="*/ 2971800 h 3822033"/>
                  <a:gd name="connsiteX98" fmla="*/ 2705100 w 3457575"/>
                  <a:gd name="connsiteY98" fmla="*/ 3038475 h 3822033"/>
                  <a:gd name="connsiteX99" fmla="*/ 2609850 w 3457575"/>
                  <a:gd name="connsiteY99" fmla="*/ 3105150 h 3822033"/>
                  <a:gd name="connsiteX100" fmla="*/ 2562225 w 3457575"/>
                  <a:gd name="connsiteY100" fmla="*/ 3143250 h 3822033"/>
                  <a:gd name="connsiteX101" fmla="*/ 2495550 w 3457575"/>
                  <a:gd name="connsiteY101" fmla="*/ 3162300 h 3822033"/>
                  <a:gd name="connsiteX102" fmla="*/ 2362200 w 3457575"/>
                  <a:gd name="connsiteY102" fmla="*/ 3219450 h 3822033"/>
                  <a:gd name="connsiteX103" fmla="*/ 2257425 w 3457575"/>
                  <a:gd name="connsiteY103" fmla="*/ 3257550 h 3822033"/>
                  <a:gd name="connsiteX104" fmla="*/ 2181225 w 3457575"/>
                  <a:gd name="connsiteY104" fmla="*/ 3276600 h 3822033"/>
                  <a:gd name="connsiteX105" fmla="*/ 2057400 w 3457575"/>
                  <a:gd name="connsiteY105" fmla="*/ 3362325 h 3822033"/>
                  <a:gd name="connsiteX106" fmla="*/ 2009775 w 3457575"/>
                  <a:gd name="connsiteY106" fmla="*/ 3400425 h 3822033"/>
                  <a:gd name="connsiteX107" fmla="*/ 1962150 w 3457575"/>
                  <a:gd name="connsiteY107" fmla="*/ 3429000 h 3822033"/>
                  <a:gd name="connsiteX108" fmla="*/ 1905000 w 3457575"/>
                  <a:gd name="connsiteY108" fmla="*/ 3495675 h 3822033"/>
                  <a:gd name="connsiteX109" fmla="*/ 1819275 w 3457575"/>
                  <a:gd name="connsiteY109" fmla="*/ 3609975 h 3822033"/>
                  <a:gd name="connsiteX110" fmla="*/ 1800225 w 3457575"/>
                  <a:gd name="connsiteY110" fmla="*/ 3638550 h 3822033"/>
                  <a:gd name="connsiteX111" fmla="*/ 1790700 w 3457575"/>
                  <a:gd name="connsiteY111" fmla="*/ 3667125 h 3822033"/>
                  <a:gd name="connsiteX112" fmla="*/ 1771650 w 3457575"/>
                  <a:gd name="connsiteY112" fmla="*/ 3695700 h 3822033"/>
                  <a:gd name="connsiteX113" fmla="*/ 1752600 w 3457575"/>
                  <a:gd name="connsiteY113" fmla="*/ 3733800 h 3822033"/>
                  <a:gd name="connsiteX114" fmla="*/ 1714500 w 3457575"/>
                  <a:gd name="connsiteY114" fmla="*/ 3810000 h 3822033"/>
                  <a:gd name="connsiteX115" fmla="*/ 1704975 w 3457575"/>
                  <a:gd name="connsiteY11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71575 w 3457575"/>
                  <a:gd name="connsiteY10" fmla="*/ 3352800 h 3822033"/>
                  <a:gd name="connsiteX11" fmla="*/ 1133475 w 3457575"/>
                  <a:gd name="connsiteY11" fmla="*/ 3324225 h 3822033"/>
                  <a:gd name="connsiteX12" fmla="*/ 1009650 w 3457575"/>
                  <a:gd name="connsiteY12" fmla="*/ 3276600 h 3822033"/>
                  <a:gd name="connsiteX13" fmla="*/ 962025 w 3457575"/>
                  <a:gd name="connsiteY13" fmla="*/ 3238500 h 3822033"/>
                  <a:gd name="connsiteX14" fmla="*/ 923925 w 3457575"/>
                  <a:gd name="connsiteY14" fmla="*/ 3219450 h 3822033"/>
                  <a:gd name="connsiteX15" fmla="*/ 790575 w 3457575"/>
                  <a:gd name="connsiteY15" fmla="*/ 3162300 h 3822033"/>
                  <a:gd name="connsiteX16" fmla="*/ 733425 w 3457575"/>
                  <a:gd name="connsiteY16" fmla="*/ 3133725 h 3822033"/>
                  <a:gd name="connsiteX17" fmla="*/ 704850 w 3457575"/>
                  <a:gd name="connsiteY17" fmla="*/ 3105150 h 3822033"/>
                  <a:gd name="connsiteX18" fmla="*/ 638175 w 3457575"/>
                  <a:gd name="connsiteY18" fmla="*/ 3048000 h 3822033"/>
                  <a:gd name="connsiteX19" fmla="*/ 619125 w 3457575"/>
                  <a:gd name="connsiteY19" fmla="*/ 3009900 h 3822033"/>
                  <a:gd name="connsiteX20" fmla="*/ 571500 w 3457575"/>
                  <a:gd name="connsiteY20" fmla="*/ 2943225 h 3822033"/>
                  <a:gd name="connsiteX21" fmla="*/ 333375 w 3457575"/>
                  <a:gd name="connsiteY21" fmla="*/ 2676525 h 3822033"/>
                  <a:gd name="connsiteX22" fmla="*/ 295275 w 3457575"/>
                  <a:gd name="connsiteY22" fmla="*/ 2581275 h 3822033"/>
                  <a:gd name="connsiteX23" fmla="*/ 257175 w 3457575"/>
                  <a:gd name="connsiteY23" fmla="*/ 2495550 h 3822033"/>
                  <a:gd name="connsiteX24" fmla="*/ 228600 w 3457575"/>
                  <a:gd name="connsiteY24" fmla="*/ 2457450 h 3822033"/>
                  <a:gd name="connsiteX25" fmla="*/ 200025 w 3457575"/>
                  <a:gd name="connsiteY25" fmla="*/ 2371725 h 3822033"/>
                  <a:gd name="connsiteX26" fmla="*/ 180975 w 3457575"/>
                  <a:gd name="connsiteY26" fmla="*/ 2343150 h 3822033"/>
                  <a:gd name="connsiteX27" fmla="*/ 152400 w 3457575"/>
                  <a:gd name="connsiteY27" fmla="*/ 2219325 h 3822033"/>
                  <a:gd name="connsiteX28" fmla="*/ 142875 w 3457575"/>
                  <a:gd name="connsiteY28" fmla="*/ 2190750 h 3822033"/>
                  <a:gd name="connsiteX29" fmla="*/ 123825 w 3457575"/>
                  <a:gd name="connsiteY29" fmla="*/ 2143125 h 3822033"/>
                  <a:gd name="connsiteX30" fmla="*/ 95250 w 3457575"/>
                  <a:gd name="connsiteY30" fmla="*/ 2028825 h 3822033"/>
                  <a:gd name="connsiteX31" fmla="*/ 85725 w 3457575"/>
                  <a:gd name="connsiteY31" fmla="*/ 1990725 h 3822033"/>
                  <a:gd name="connsiteX32" fmla="*/ 57150 w 3457575"/>
                  <a:gd name="connsiteY32" fmla="*/ 1933575 h 3822033"/>
                  <a:gd name="connsiteX33" fmla="*/ 28575 w 3457575"/>
                  <a:gd name="connsiteY33" fmla="*/ 1819275 h 3822033"/>
                  <a:gd name="connsiteX34" fmla="*/ 9525 w 3457575"/>
                  <a:gd name="connsiteY34" fmla="*/ 1657350 h 3822033"/>
                  <a:gd name="connsiteX35" fmla="*/ 0 w 3457575"/>
                  <a:gd name="connsiteY35" fmla="*/ 1609725 h 3822033"/>
                  <a:gd name="connsiteX36" fmla="*/ 9525 w 3457575"/>
                  <a:gd name="connsiteY36" fmla="*/ 1428750 h 3822033"/>
                  <a:gd name="connsiteX37" fmla="*/ 28575 w 3457575"/>
                  <a:gd name="connsiteY37" fmla="*/ 1304925 h 3822033"/>
                  <a:gd name="connsiteX38" fmla="*/ 38100 w 3457575"/>
                  <a:gd name="connsiteY38" fmla="*/ 1247775 h 3822033"/>
                  <a:gd name="connsiteX39" fmla="*/ 76200 w 3457575"/>
                  <a:gd name="connsiteY39" fmla="*/ 1152525 h 3822033"/>
                  <a:gd name="connsiteX40" fmla="*/ 114300 w 3457575"/>
                  <a:gd name="connsiteY40" fmla="*/ 990600 h 3822033"/>
                  <a:gd name="connsiteX41" fmla="*/ 133350 w 3457575"/>
                  <a:gd name="connsiteY41" fmla="*/ 923925 h 3822033"/>
                  <a:gd name="connsiteX42" fmla="*/ 171450 w 3457575"/>
                  <a:gd name="connsiteY42" fmla="*/ 866775 h 3822033"/>
                  <a:gd name="connsiteX43" fmla="*/ 228600 w 3457575"/>
                  <a:gd name="connsiteY43" fmla="*/ 762000 h 3822033"/>
                  <a:gd name="connsiteX44" fmla="*/ 304800 w 3457575"/>
                  <a:gd name="connsiteY44" fmla="*/ 647700 h 3822033"/>
                  <a:gd name="connsiteX45" fmla="*/ 552450 w 3457575"/>
                  <a:gd name="connsiteY45" fmla="*/ 361950 h 3822033"/>
                  <a:gd name="connsiteX46" fmla="*/ 609600 w 3457575"/>
                  <a:gd name="connsiteY46" fmla="*/ 323850 h 3822033"/>
                  <a:gd name="connsiteX47" fmla="*/ 666750 w 3457575"/>
                  <a:gd name="connsiteY47" fmla="*/ 285750 h 3822033"/>
                  <a:gd name="connsiteX48" fmla="*/ 762000 w 3457575"/>
                  <a:gd name="connsiteY48" fmla="*/ 238125 h 3822033"/>
                  <a:gd name="connsiteX49" fmla="*/ 800100 w 3457575"/>
                  <a:gd name="connsiteY49" fmla="*/ 219075 h 3822033"/>
                  <a:gd name="connsiteX50" fmla="*/ 895350 w 3457575"/>
                  <a:gd name="connsiteY50" fmla="*/ 161925 h 3822033"/>
                  <a:gd name="connsiteX51" fmla="*/ 962025 w 3457575"/>
                  <a:gd name="connsiteY51" fmla="*/ 133350 h 3822033"/>
                  <a:gd name="connsiteX52" fmla="*/ 1123950 w 3457575"/>
                  <a:gd name="connsiteY52" fmla="*/ 76200 h 3822033"/>
                  <a:gd name="connsiteX53" fmla="*/ 1162050 w 3457575"/>
                  <a:gd name="connsiteY53" fmla="*/ 66675 h 3822033"/>
                  <a:gd name="connsiteX54" fmla="*/ 1438275 w 3457575"/>
                  <a:gd name="connsiteY54" fmla="*/ 0 h 3822033"/>
                  <a:gd name="connsiteX55" fmla="*/ 2038350 w 3457575"/>
                  <a:gd name="connsiteY55" fmla="*/ 9525 h 3822033"/>
                  <a:gd name="connsiteX56" fmla="*/ 2105025 w 3457575"/>
                  <a:gd name="connsiteY56" fmla="*/ 19050 h 3822033"/>
                  <a:gd name="connsiteX57" fmla="*/ 2162175 w 3457575"/>
                  <a:gd name="connsiteY57" fmla="*/ 47625 h 3822033"/>
                  <a:gd name="connsiteX58" fmla="*/ 2228850 w 3457575"/>
                  <a:gd name="connsiteY58" fmla="*/ 66675 h 3822033"/>
                  <a:gd name="connsiteX59" fmla="*/ 2343150 w 3457575"/>
                  <a:gd name="connsiteY59" fmla="*/ 133350 h 3822033"/>
                  <a:gd name="connsiteX60" fmla="*/ 2390775 w 3457575"/>
                  <a:gd name="connsiteY60" fmla="*/ 142875 h 3822033"/>
                  <a:gd name="connsiteX61" fmla="*/ 2457450 w 3457575"/>
                  <a:gd name="connsiteY61" fmla="*/ 171450 h 3822033"/>
                  <a:gd name="connsiteX62" fmla="*/ 2486025 w 3457575"/>
                  <a:gd name="connsiteY62" fmla="*/ 200025 h 3822033"/>
                  <a:gd name="connsiteX63" fmla="*/ 2571750 w 3457575"/>
                  <a:gd name="connsiteY63" fmla="*/ 228600 h 3822033"/>
                  <a:gd name="connsiteX64" fmla="*/ 2676525 w 3457575"/>
                  <a:gd name="connsiteY64" fmla="*/ 285750 h 3822033"/>
                  <a:gd name="connsiteX65" fmla="*/ 2705100 w 3457575"/>
                  <a:gd name="connsiteY65" fmla="*/ 304800 h 3822033"/>
                  <a:gd name="connsiteX66" fmla="*/ 2733675 w 3457575"/>
                  <a:gd name="connsiteY66" fmla="*/ 333375 h 3822033"/>
                  <a:gd name="connsiteX67" fmla="*/ 2771775 w 3457575"/>
                  <a:gd name="connsiteY67" fmla="*/ 361950 h 3822033"/>
                  <a:gd name="connsiteX68" fmla="*/ 2809875 w 3457575"/>
                  <a:gd name="connsiteY68" fmla="*/ 400050 h 3822033"/>
                  <a:gd name="connsiteX69" fmla="*/ 2867025 w 3457575"/>
                  <a:gd name="connsiteY69" fmla="*/ 438150 h 3822033"/>
                  <a:gd name="connsiteX70" fmla="*/ 2905125 w 3457575"/>
                  <a:gd name="connsiteY70" fmla="*/ 476250 h 3822033"/>
                  <a:gd name="connsiteX71" fmla="*/ 2971800 w 3457575"/>
                  <a:gd name="connsiteY71" fmla="*/ 523875 h 3822033"/>
                  <a:gd name="connsiteX72" fmla="*/ 2990850 w 3457575"/>
                  <a:gd name="connsiteY72" fmla="*/ 552450 h 3822033"/>
                  <a:gd name="connsiteX73" fmla="*/ 3028950 w 3457575"/>
                  <a:gd name="connsiteY73" fmla="*/ 590550 h 3822033"/>
                  <a:gd name="connsiteX74" fmla="*/ 3048000 w 3457575"/>
                  <a:gd name="connsiteY74" fmla="*/ 628650 h 3822033"/>
                  <a:gd name="connsiteX75" fmla="*/ 3086100 w 3457575"/>
                  <a:gd name="connsiteY75" fmla="*/ 666750 h 3822033"/>
                  <a:gd name="connsiteX76" fmla="*/ 3124200 w 3457575"/>
                  <a:gd name="connsiteY76" fmla="*/ 723900 h 3822033"/>
                  <a:gd name="connsiteX77" fmla="*/ 3219450 w 3457575"/>
                  <a:gd name="connsiteY77" fmla="*/ 838200 h 3822033"/>
                  <a:gd name="connsiteX78" fmla="*/ 3238500 w 3457575"/>
                  <a:gd name="connsiteY78" fmla="*/ 885825 h 3822033"/>
                  <a:gd name="connsiteX79" fmla="*/ 3276600 w 3457575"/>
                  <a:gd name="connsiteY79" fmla="*/ 942975 h 3822033"/>
                  <a:gd name="connsiteX80" fmla="*/ 3286125 w 3457575"/>
                  <a:gd name="connsiteY80" fmla="*/ 990600 h 3822033"/>
                  <a:gd name="connsiteX81" fmla="*/ 3324225 w 3457575"/>
                  <a:gd name="connsiteY81" fmla="*/ 1085850 h 3822033"/>
                  <a:gd name="connsiteX82" fmla="*/ 3362325 w 3457575"/>
                  <a:gd name="connsiteY82" fmla="*/ 1171575 h 3822033"/>
                  <a:gd name="connsiteX83" fmla="*/ 3390900 w 3457575"/>
                  <a:gd name="connsiteY83" fmla="*/ 1219200 h 3822033"/>
                  <a:gd name="connsiteX84" fmla="*/ 3419475 w 3457575"/>
                  <a:gd name="connsiteY84" fmla="*/ 1333500 h 3822033"/>
                  <a:gd name="connsiteX85" fmla="*/ 3429000 w 3457575"/>
                  <a:gd name="connsiteY85" fmla="*/ 1390650 h 3822033"/>
                  <a:gd name="connsiteX86" fmla="*/ 3457575 w 3457575"/>
                  <a:gd name="connsiteY86" fmla="*/ 1657350 h 3822033"/>
                  <a:gd name="connsiteX87" fmla="*/ 3381375 w 3457575"/>
                  <a:gd name="connsiteY87" fmla="*/ 2238375 h 3822033"/>
                  <a:gd name="connsiteX88" fmla="*/ 3343275 w 3457575"/>
                  <a:gd name="connsiteY88" fmla="*/ 2333625 h 3822033"/>
                  <a:gd name="connsiteX89" fmla="*/ 3276600 w 3457575"/>
                  <a:gd name="connsiteY89" fmla="*/ 2400300 h 3822033"/>
                  <a:gd name="connsiteX90" fmla="*/ 3190875 w 3457575"/>
                  <a:gd name="connsiteY90" fmla="*/ 2533650 h 3822033"/>
                  <a:gd name="connsiteX91" fmla="*/ 3105150 w 3457575"/>
                  <a:gd name="connsiteY91" fmla="*/ 2647950 h 3822033"/>
                  <a:gd name="connsiteX92" fmla="*/ 3019425 w 3457575"/>
                  <a:gd name="connsiteY92" fmla="*/ 2781300 h 3822033"/>
                  <a:gd name="connsiteX93" fmla="*/ 2981325 w 3457575"/>
                  <a:gd name="connsiteY93" fmla="*/ 2819400 h 3822033"/>
                  <a:gd name="connsiteX94" fmla="*/ 2943225 w 3457575"/>
                  <a:gd name="connsiteY94" fmla="*/ 2876550 h 3822033"/>
                  <a:gd name="connsiteX95" fmla="*/ 2857500 w 3457575"/>
                  <a:gd name="connsiteY95" fmla="*/ 2933700 h 3822033"/>
                  <a:gd name="connsiteX96" fmla="*/ 2809875 w 3457575"/>
                  <a:gd name="connsiteY96" fmla="*/ 2971800 h 3822033"/>
                  <a:gd name="connsiteX97" fmla="*/ 2705100 w 3457575"/>
                  <a:gd name="connsiteY97" fmla="*/ 3038475 h 3822033"/>
                  <a:gd name="connsiteX98" fmla="*/ 2609850 w 3457575"/>
                  <a:gd name="connsiteY98" fmla="*/ 3105150 h 3822033"/>
                  <a:gd name="connsiteX99" fmla="*/ 2562225 w 3457575"/>
                  <a:gd name="connsiteY99" fmla="*/ 3143250 h 3822033"/>
                  <a:gd name="connsiteX100" fmla="*/ 2495550 w 3457575"/>
                  <a:gd name="connsiteY100" fmla="*/ 3162300 h 3822033"/>
                  <a:gd name="connsiteX101" fmla="*/ 2362200 w 3457575"/>
                  <a:gd name="connsiteY101" fmla="*/ 3219450 h 3822033"/>
                  <a:gd name="connsiteX102" fmla="*/ 2257425 w 3457575"/>
                  <a:gd name="connsiteY102" fmla="*/ 3257550 h 3822033"/>
                  <a:gd name="connsiteX103" fmla="*/ 2181225 w 3457575"/>
                  <a:gd name="connsiteY103" fmla="*/ 3276600 h 3822033"/>
                  <a:gd name="connsiteX104" fmla="*/ 2057400 w 3457575"/>
                  <a:gd name="connsiteY104" fmla="*/ 3362325 h 3822033"/>
                  <a:gd name="connsiteX105" fmla="*/ 2009775 w 3457575"/>
                  <a:gd name="connsiteY105" fmla="*/ 3400425 h 3822033"/>
                  <a:gd name="connsiteX106" fmla="*/ 1962150 w 3457575"/>
                  <a:gd name="connsiteY106" fmla="*/ 3429000 h 3822033"/>
                  <a:gd name="connsiteX107" fmla="*/ 1905000 w 3457575"/>
                  <a:gd name="connsiteY107" fmla="*/ 3495675 h 3822033"/>
                  <a:gd name="connsiteX108" fmla="*/ 1819275 w 3457575"/>
                  <a:gd name="connsiteY108" fmla="*/ 3609975 h 3822033"/>
                  <a:gd name="connsiteX109" fmla="*/ 1800225 w 3457575"/>
                  <a:gd name="connsiteY109" fmla="*/ 3638550 h 3822033"/>
                  <a:gd name="connsiteX110" fmla="*/ 1790700 w 3457575"/>
                  <a:gd name="connsiteY110" fmla="*/ 3667125 h 3822033"/>
                  <a:gd name="connsiteX111" fmla="*/ 1771650 w 3457575"/>
                  <a:gd name="connsiteY111" fmla="*/ 3695700 h 3822033"/>
                  <a:gd name="connsiteX112" fmla="*/ 1752600 w 3457575"/>
                  <a:gd name="connsiteY112" fmla="*/ 3733800 h 3822033"/>
                  <a:gd name="connsiteX113" fmla="*/ 1714500 w 3457575"/>
                  <a:gd name="connsiteY113" fmla="*/ 3810000 h 3822033"/>
                  <a:gd name="connsiteX114" fmla="*/ 1704975 w 3457575"/>
                  <a:gd name="connsiteY11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704850 w 3457575"/>
                  <a:gd name="connsiteY16" fmla="*/ 3105150 h 3822033"/>
                  <a:gd name="connsiteX17" fmla="*/ 638175 w 3457575"/>
                  <a:gd name="connsiteY17" fmla="*/ 3048000 h 3822033"/>
                  <a:gd name="connsiteX18" fmla="*/ 619125 w 3457575"/>
                  <a:gd name="connsiteY18" fmla="*/ 3009900 h 3822033"/>
                  <a:gd name="connsiteX19" fmla="*/ 571500 w 3457575"/>
                  <a:gd name="connsiteY19" fmla="*/ 2943225 h 3822033"/>
                  <a:gd name="connsiteX20" fmla="*/ 333375 w 3457575"/>
                  <a:gd name="connsiteY20" fmla="*/ 2676525 h 3822033"/>
                  <a:gd name="connsiteX21" fmla="*/ 295275 w 3457575"/>
                  <a:gd name="connsiteY21" fmla="*/ 2581275 h 3822033"/>
                  <a:gd name="connsiteX22" fmla="*/ 257175 w 3457575"/>
                  <a:gd name="connsiteY22" fmla="*/ 2495550 h 3822033"/>
                  <a:gd name="connsiteX23" fmla="*/ 228600 w 3457575"/>
                  <a:gd name="connsiteY23" fmla="*/ 2457450 h 3822033"/>
                  <a:gd name="connsiteX24" fmla="*/ 200025 w 3457575"/>
                  <a:gd name="connsiteY24" fmla="*/ 2371725 h 3822033"/>
                  <a:gd name="connsiteX25" fmla="*/ 180975 w 3457575"/>
                  <a:gd name="connsiteY25" fmla="*/ 2343150 h 3822033"/>
                  <a:gd name="connsiteX26" fmla="*/ 152400 w 3457575"/>
                  <a:gd name="connsiteY26" fmla="*/ 2219325 h 3822033"/>
                  <a:gd name="connsiteX27" fmla="*/ 142875 w 3457575"/>
                  <a:gd name="connsiteY27" fmla="*/ 2190750 h 3822033"/>
                  <a:gd name="connsiteX28" fmla="*/ 123825 w 3457575"/>
                  <a:gd name="connsiteY28" fmla="*/ 2143125 h 3822033"/>
                  <a:gd name="connsiteX29" fmla="*/ 95250 w 3457575"/>
                  <a:gd name="connsiteY29" fmla="*/ 2028825 h 3822033"/>
                  <a:gd name="connsiteX30" fmla="*/ 85725 w 3457575"/>
                  <a:gd name="connsiteY30" fmla="*/ 1990725 h 3822033"/>
                  <a:gd name="connsiteX31" fmla="*/ 57150 w 3457575"/>
                  <a:gd name="connsiteY31" fmla="*/ 1933575 h 3822033"/>
                  <a:gd name="connsiteX32" fmla="*/ 28575 w 3457575"/>
                  <a:gd name="connsiteY32" fmla="*/ 1819275 h 3822033"/>
                  <a:gd name="connsiteX33" fmla="*/ 9525 w 3457575"/>
                  <a:gd name="connsiteY33" fmla="*/ 1657350 h 3822033"/>
                  <a:gd name="connsiteX34" fmla="*/ 0 w 3457575"/>
                  <a:gd name="connsiteY34" fmla="*/ 1609725 h 3822033"/>
                  <a:gd name="connsiteX35" fmla="*/ 9525 w 3457575"/>
                  <a:gd name="connsiteY35" fmla="*/ 1428750 h 3822033"/>
                  <a:gd name="connsiteX36" fmla="*/ 28575 w 3457575"/>
                  <a:gd name="connsiteY36" fmla="*/ 1304925 h 3822033"/>
                  <a:gd name="connsiteX37" fmla="*/ 38100 w 3457575"/>
                  <a:gd name="connsiteY37" fmla="*/ 1247775 h 3822033"/>
                  <a:gd name="connsiteX38" fmla="*/ 76200 w 3457575"/>
                  <a:gd name="connsiteY38" fmla="*/ 1152525 h 3822033"/>
                  <a:gd name="connsiteX39" fmla="*/ 114300 w 3457575"/>
                  <a:gd name="connsiteY39" fmla="*/ 990600 h 3822033"/>
                  <a:gd name="connsiteX40" fmla="*/ 133350 w 3457575"/>
                  <a:gd name="connsiteY40" fmla="*/ 923925 h 3822033"/>
                  <a:gd name="connsiteX41" fmla="*/ 171450 w 3457575"/>
                  <a:gd name="connsiteY41" fmla="*/ 866775 h 3822033"/>
                  <a:gd name="connsiteX42" fmla="*/ 228600 w 3457575"/>
                  <a:gd name="connsiteY42" fmla="*/ 762000 h 3822033"/>
                  <a:gd name="connsiteX43" fmla="*/ 304800 w 3457575"/>
                  <a:gd name="connsiteY43" fmla="*/ 647700 h 3822033"/>
                  <a:gd name="connsiteX44" fmla="*/ 552450 w 3457575"/>
                  <a:gd name="connsiteY44" fmla="*/ 361950 h 3822033"/>
                  <a:gd name="connsiteX45" fmla="*/ 609600 w 3457575"/>
                  <a:gd name="connsiteY45" fmla="*/ 323850 h 3822033"/>
                  <a:gd name="connsiteX46" fmla="*/ 666750 w 3457575"/>
                  <a:gd name="connsiteY46" fmla="*/ 285750 h 3822033"/>
                  <a:gd name="connsiteX47" fmla="*/ 762000 w 3457575"/>
                  <a:gd name="connsiteY47" fmla="*/ 238125 h 3822033"/>
                  <a:gd name="connsiteX48" fmla="*/ 800100 w 3457575"/>
                  <a:gd name="connsiteY48" fmla="*/ 219075 h 3822033"/>
                  <a:gd name="connsiteX49" fmla="*/ 895350 w 3457575"/>
                  <a:gd name="connsiteY49" fmla="*/ 161925 h 3822033"/>
                  <a:gd name="connsiteX50" fmla="*/ 962025 w 3457575"/>
                  <a:gd name="connsiteY50" fmla="*/ 133350 h 3822033"/>
                  <a:gd name="connsiteX51" fmla="*/ 1123950 w 3457575"/>
                  <a:gd name="connsiteY51" fmla="*/ 76200 h 3822033"/>
                  <a:gd name="connsiteX52" fmla="*/ 1162050 w 3457575"/>
                  <a:gd name="connsiteY52" fmla="*/ 66675 h 3822033"/>
                  <a:gd name="connsiteX53" fmla="*/ 1438275 w 3457575"/>
                  <a:gd name="connsiteY53" fmla="*/ 0 h 3822033"/>
                  <a:gd name="connsiteX54" fmla="*/ 2038350 w 3457575"/>
                  <a:gd name="connsiteY54" fmla="*/ 9525 h 3822033"/>
                  <a:gd name="connsiteX55" fmla="*/ 2105025 w 3457575"/>
                  <a:gd name="connsiteY55" fmla="*/ 19050 h 3822033"/>
                  <a:gd name="connsiteX56" fmla="*/ 2162175 w 3457575"/>
                  <a:gd name="connsiteY56" fmla="*/ 47625 h 3822033"/>
                  <a:gd name="connsiteX57" fmla="*/ 2228850 w 3457575"/>
                  <a:gd name="connsiteY57" fmla="*/ 66675 h 3822033"/>
                  <a:gd name="connsiteX58" fmla="*/ 2343150 w 3457575"/>
                  <a:gd name="connsiteY58" fmla="*/ 133350 h 3822033"/>
                  <a:gd name="connsiteX59" fmla="*/ 2390775 w 3457575"/>
                  <a:gd name="connsiteY59" fmla="*/ 142875 h 3822033"/>
                  <a:gd name="connsiteX60" fmla="*/ 2457450 w 3457575"/>
                  <a:gd name="connsiteY60" fmla="*/ 171450 h 3822033"/>
                  <a:gd name="connsiteX61" fmla="*/ 2486025 w 3457575"/>
                  <a:gd name="connsiteY61" fmla="*/ 200025 h 3822033"/>
                  <a:gd name="connsiteX62" fmla="*/ 2571750 w 3457575"/>
                  <a:gd name="connsiteY62" fmla="*/ 228600 h 3822033"/>
                  <a:gd name="connsiteX63" fmla="*/ 2676525 w 3457575"/>
                  <a:gd name="connsiteY63" fmla="*/ 285750 h 3822033"/>
                  <a:gd name="connsiteX64" fmla="*/ 2705100 w 3457575"/>
                  <a:gd name="connsiteY64" fmla="*/ 304800 h 3822033"/>
                  <a:gd name="connsiteX65" fmla="*/ 2733675 w 3457575"/>
                  <a:gd name="connsiteY65" fmla="*/ 333375 h 3822033"/>
                  <a:gd name="connsiteX66" fmla="*/ 2771775 w 3457575"/>
                  <a:gd name="connsiteY66" fmla="*/ 361950 h 3822033"/>
                  <a:gd name="connsiteX67" fmla="*/ 2809875 w 3457575"/>
                  <a:gd name="connsiteY67" fmla="*/ 400050 h 3822033"/>
                  <a:gd name="connsiteX68" fmla="*/ 2867025 w 3457575"/>
                  <a:gd name="connsiteY68" fmla="*/ 438150 h 3822033"/>
                  <a:gd name="connsiteX69" fmla="*/ 2905125 w 3457575"/>
                  <a:gd name="connsiteY69" fmla="*/ 476250 h 3822033"/>
                  <a:gd name="connsiteX70" fmla="*/ 2971800 w 3457575"/>
                  <a:gd name="connsiteY70" fmla="*/ 523875 h 3822033"/>
                  <a:gd name="connsiteX71" fmla="*/ 2990850 w 3457575"/>
                  <a:gd name="connsiteY71" fmla="*/ 552450 h 3822033"/>
                  <a:gd name="connsiteX72" fmla="*/ 3028950 w 3457575"/>
                  <a:gd name="connsiteY72" fmla="*/ 590550 h 3822033"/>
                  <a:gd name="connsiteX73" fmla="*/ 3048000 w 3457575"/>
                  <a:gd name="connsiteY73" fmla="*/ 628650 h 3822033"/>
                  <a:gd name="connsiteX74" fmla="*/ 3086100 w 3457575"/>
                  <a:gd name="connsiteY74" fmla="*/ 666750 h 3822033"/>
                  <a:gd name="connsiteX75" fmla="*/ 3124200 w 3457575"/>
                  <a:gd name="connsiteY75" fmla="*/ 723900 h 3822033"/>
                  <a:gd name="connsiteX76" fmla="*/ 3219450 w 3457575"/>
                  <a:gd name="connsiteY76" fmla="*/ 838200 h 3822033"/>
                  <a:gd name="connsiteX77" fmla="*/ 3238500 w 3457575"/>
                  <a:gd name="connsiteY77" fmla="*/ 885825 h 3822033"/>
                  <a:gd name="connsiteX78" fmla="*/ 3276600 w 3457575"/>
                  <a:gd name="connsiteY78" fmla="*/ 942975 h 3822033"/>
                  <a:gd name="connsiteX79" fmla="*/ 3286125 w 3457575"/>
                  <a:gd name="connsiteY79" fmla="*/ 990600 h 3822033"/>
                  <a:gd name="connsiteX80" fmla="*/ 3324225 w 3457575"/>
                  <a:gd name="connsiteY80" fmla="*/ 1085850 h 3822033"/>
                  <a:gd name="connsiteX81" fmla="*/ 3362325 w 3457575"/>
                  <a:gd name="connsiteY81" fmla="*/ 1171575 h 3822033"/>
                  <a:gd name="connsiteX82" fmla="*/ 3390900 w 3457575"/>
                  <a:gd name="connsiteY82" fmla="*/ 1219200 h 3822033"/>
                  <a:gd name="connsiteX83" fmla="*/ 3419475 w 3457575"/>
                  <a:gd name="connsiteY83" fmla="*/ 1333500 h 3822033"/>
                  <a:gd name="connsiteX84" fmla="*/ 3429000 w 3457575"/>
                  <a:gd name="connsiteY84" fmla="*/ 1390650 h 3822033"/>
                  <a:gd name="connsiteX85" fmla="*/ 3457575 w 3457575"/>
                  <a:gd name="connsiteY85" fmla="*/ 1657350 h 3822033"/>
                  <a:gd name="connsiteX86" fmla="*/ 3381375 w 3457575"/>
                  <a:gd name="connsiteY86" fmla="*/ 2238375 h 3822033"/>
                  <a:gd name="connsiteX87" fmla="*/ 3343275 w 3457575"/>
                  <a:gd name="connsiteY87" fmla="*/ 2333625 h 3822033"/>
                  <a:gd name="connsiteX88" fmla="*/ 3276600 w 3457575"/>
                  <a:gd name="connsiteY88" fmla="*/ 2400300 h 3822033"/>
                  <a:gd name="connsiteX89" fmla="*/ 3190875 w 3457575"/>
                  <a:gd name="connsiteY89" fmla="*/ 2533650 h 3822033"/>
                  <a:gd name="connsiteX90" fmla="*/ 3105150 w 3457575"/>
                  <a:gd name="connsiteY90" fmla="*/ 2647950 h 3822033"/>
                  <a:gd name="connsiteX91" fmla="*/ 3019425 w 3457575"/>
                  <a:gd name="connsiteY91" fmla="*/ 2781300 h 3822033"/>
                  <a:gd name="connsiteX92" fmla="*/ 2981325 w 3457575"/>
                  <a:gd name="connsiteY92" fmla="*/ 2819400 h 3822033"/>
                  <a:gd name="connsiteX93" fmla="*/ 2943225 w 3457575"/>
                  <a:gd name="connsiteY93" fmla="*/ 2876550 h 3822033"/>
                  <a:gd name="connsiteX94" fmla="*/ 2857500 w 3457575"/>
                  <a:gd name="connsiteY94" fmla="*/ 2933700 h 3822033"/>
                  <a:gd name="connsiteX95" fmla="*/ 2809875 w 3457575"/>
                  <a:gd name="connsiteY95" fmla="*/ 2971800 h 3822033"/>
                  <a:gd name="connsiteX96" fmla="*/ 2705100 w 3457575"/>
                  <a:gd name="connsiteY96" fmla="*/ 3038475 h 3822033"/>
                  <a:gd name="connsiteX97" fmla="*/ 2609850 w 3457575"/>
                  <a:gd name="connsiteY97" fmla="*/ 3105150 h 3822033"/>
                  <a:gd name="connsiteX98" fmla="*/ 2562225 w 3457575"/>
                  <a:gd name="connsiteY98" fmla="*/ 3143250 h 3822033"/>
                  <a:gd name="connsiteX99" fmla="*/ 2495550 w 3457575"/>
                  <a:gd name="connsiteY99" fmla="*/ 3162300 h 3822033"/>
                  <a:gd name="connsiteX100" fmla="*/ 2362200 w 3457575"/>
                  <a:gd name="connsiteY100" fmla="*/ 3219450 h 3822033"/>
                  <a:gd name="connsiteX101" fmla="*/ 2257425 w 3457575"/>
                  <a:gd name="connsiteY101" fmla="*/ 3257550 h 3822033"/>
                  <a:gd name="connsiteX102" fmla="*/ 2181225 w 3457575"/>
                  <a:gd name="connsiteY102" fmla="*/ 3276600 h 3822033"/>
                  <a:gd name="connsiteX103" fmla="*/ 2057400 w 3457575"/>
                  <a:gd name="connsiteY103" fmla="*/ 3362325 h 3822033"/>
                  <a:gd name="connsiteX104" fmla="*/ 2009775 w 3457575"/>
                  <a:gd name="connsiteY104" fmla="*/ 3400425 h 3822033"/>
                  <a:gd name="connsiteX105" fmla="*/ 1962150 w 3457575"/>
                  <a:gd name="connsiteY105" fmla="*/ 3429000 h 3822033"/>
                  <a:gd name="connsiteX106" fmla="*/ 1905000 w 3457575"/>
                  <a:gd name="connsiteY106" fmla="*/ 3495675 h 3822033"/>
                  <a:gd name="connsiteX107" fmla="*/ 1819275 w 3457575"/>
                  <a:gd name="connsiteY107" fmla="*/ 3609975 h 3822033"/>
                  <a:gd name="connsiteX108" fmla="*/ 1800225 w 3457575"/>
                  <a:gd name="connsiteY108" fmla="*/ 3638550 h 3822033"/>
                  <a:gd name="connsiteX109" fmla="*/ 1790700 w 3457575"/>
                  <a:gd name="connsiteY109" fmla="*/ 3667125 h 3822033"/>
                  <a:gd name="connsiteX110" fmla="*/ 1771650 w 3457575"/>
                  <a:gd name="connsiteY110" fmla="*/ 3695700 h 3822033"/>
                  <a:gd name="connsiteX111" fmla="*/ 1752600 w 3457575"/>
                  <a:gd name="connsiteY111" fmla="*/ 3733800 h 3822033"/>
                  <a:gd name="connsiteX112" fmla="*/ 1714500 w 3457575"/>
                  <a:gd name="connsiteY112" fmla="*/ 3810000 h 3822033"/>
                  <a:gd name="connsiteX113" fmla="*/ 1704975 w 3457575"/>
                  <a:gd name="connsiteY11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733425 w 3457575"/>
                  <a:gd name="connsiteY15" fmla="*/ 3133725 h 3822033"/>
                  <a:gd name="connsiteX16" fmla="*/ 638175 w 3457575"/>
                  <a:gd name="connsiteY16" fmla="*/ 3048000 h 3822033"/>
                  <a:gd name="connsiteX17" fmla="*/ 619125 w 3457575"/>
                  <a:gd name="connsiteY17" fmla="*/ 3009900 h 3822033"/>
                  <a:gd name="connsiteX18" fmla="*/ 571500 w 3457575"/>
                  <a:gd name="connsiteY18" fmla="*/ 2943225 h 3822033"/>
                  <a:gd name="connsiteX19" fmla="*/ 333375 w 3457575"/>
                  <a:gd name="connsiteY19" fmla="*/ 2676525 h 3822033"/>
                  <a:gd name="connsiteX20" fmla="*/ 295275 w 3457575"/>
                  <a:gd name="connsiteY20" fmla="*/ 2581275 h 3822033"/>
                  <a:gd name="connsiteX21" fmla="*/ 257175 w 3457575"/>
                  <a:gd name="connsiteY21" fmla="*/ 2495550 h 3822033"/>
                  <a:gd name="connsiteX22" fmla="*/ 228600 w 3457575"/>
                  <a:gd name="connsiteY22" fmla="*/ 2457450 h 3822033"/>
                  <a:gd name="connsiteX23" fmla="*/ 200025 w 3457575"/>
                  <a:gd name="connsiteY23" fmla="*/ 2371725 h 3822033"/>
                  <a:gd name="connsiteX24" fmla="*/ 180975 w 3457575"/>
                  <a:gd name="connsiteY24" fmla="*/ 2343150 h 3822033"/>
                  <a:gd name="connsiteX25" fmla="*/ 152400 w 3457575"/>
                  <a:gd name="connsiteY25" fmla="*/ 2219325 h 3822033"/>
                  <a:gd name="connsiteX26" fmla="*/ 142875 w 3457575"/>
                  <a:gd name="connsiteY26" fmla="*/ 2190750 h 3822033"/>
                  <a:gd name="connsiteX27" fmla="*/ 123825 w 3457575"/>
                  <a:gd name="connsiteY27" fmla="*/ 2143125 h 3822033"/>
                  <a:gd name="connsiteX28" fmla="*/ 95250 w 3457575"/>
                  <a:gd name="connsiteY28" fmla="*/ 2028825 h 3822033"/>
                  <a:gd name="connsiteX29" fmla="*/ 85725 w 3457575"/>
                  <a:gd name="connsiteY29" fmla="*/ 1990725 h 3822033"/>
                  <a:gd name="connsiteX30" fmla="*/ 57150 w 3457575"/>
                  <a:gd name="connsiteY30" fmla="*/ 1933575 h 3822033"/>
                  <a:gd name="connsiteX31" fmla="*/ 28575 w 3457575"/>
                  <a:gd name="connsiteY31" fmla="*/ 1819275 h 3822033"/>
                  <a:gd name="connsiteX32" fmla="*/ 9525 w 3457575"/>
                  <a:gd name="connsiteY32" fmla="*/ 1657350 h 3822033"/>
                  <a:gd name="connsiteX33" fmla="*/ 0 w 3457575"/>
                  <a:gd name="connsiteY33" fmla="*/ 1609725 h 3822033"/>
                  <a:gd name="connsiteX34" fmla="*/ 9525 w 3457575"/>
                  <a:gd name="connsiteY34" fmla="*/ 1428750 h 3822033"/>
                  <a:gd name="connsiteX35" fmla="*/ 28575 w 3457575"/>
                  <a:gd name="connsiteY35" fmla="*/ 1304925 h 3822033"/>
                  <a:gd name="connsiteX36" fmla="*/ 38100 w 3457575"/>
                  <a:gd name="connsiteY36" fmla="*/ 1247775 h 3822033"/>
                  <a:gd name="connsiteX37" fmla="*/ 76200 w 3457575"/>
                  <a:gd name="connsiteY37" fmla="*/ 1152525 h 3822033"/>
                  <a:gd name="connsiteX38" fmla="*/ 114300 w 3457575"/>
                  <a:gd name="connsiteY38" fmla="*/ 990600 h 3822033"/>
                  <a:gd name="connsiteX39" fmla="*/ 133350 w 3457575"/>
                  <a:gd name="connsiteY39" fmla="*/ 923925 h 3822033"/>
                  <a:gd name="connsiteX40" fmla="*/ 171450 w 3457575"/>
                  <a:gd name="connsiteY40" fmla="*/ 866775 h 3822033"/>
                  <a:gd name="connsiteX41" fmla="*/ 228600 w 3457575"/>
                  <a:gd name="connsiteY41" fmla="*/ 762000 h 3822033"/>
                  <a:gd name="connsiteX42" fmla="*/ 304800 w 3457575"/>
                  <a:gd name="connsiteY42" fmla="*/ 647700 h 3822033"/>
                  <a:gd name="connsiteX43" fmla="*/ 552450 w 3457575"/>
                  <a:gd name="connsiteY43" fmla="*/ 361950 h 3822033"/>
                  <a:gd name="connsiteX44" fmla="*/ 609600 w 3457575"/>
                  <a:gd name="connsiteY44" fmla="*/ 323850 h 3822033"/>
                  <a:gd name="connsiteX45" fmla="*/ 666750 w 3457575"/>
                  <a:gd name="connsiteY45" fmla="*/ 285750 h 3822033"/>
                  <a:gd name="connsiteX46" fmla="*/ 762000 w 3457575"/>
                  <a:gd name="connsiteY46" fmla="*/ 238125 h 3822033"/>
                  <a:gd name="connsiteX47" fmla="*/ 800100 w 3457575"/>
                  <a:gd name="connsiteY47" fmla="*/ 219075 h 3822033"/>
                  <a:gd name="connsiteX48" fmla="*/ 895350 w 3457575"/>
                  <a:gd name="connsiteY48" fmla="*/ 161925 h 3822033"/>
                  <a:gd name="connsiteX49" fmla="*/ 962025 w 3457575"/>
                  <a:gd name="connsiteY49" fmla="*/ 133350 h 3822033"/>
                  <a:gd name="connsiteX50" fmla="*/ 1123950 w 3457575"/>
                  <a:gd name="connsiteY50" fmla="*/ 76200 h 3822033"/>
                  <a:gd name="connsiteX51" fmla="*/ 1162050 w 3457575"/>
                  <a:gd name="connsiteY51" fmla="*/ 66675 h 3822033"/>
                  <a:gd name="connsiteX52" fmla="*/ 1438275 w 3457575"/>
                  <a:gd name="connsiteY52" fmla="*/ 0 h 3822033"/>
                  <a:gd name="connsiteX53" fmla="*/ 2038350 w 3457575"/>
                  <a:gd name="connsiteY53" fmla="*/ 9525 h 3822033"/>
                  <a:gd name="connsiteX54" fmla="*/ 2105025 w 3457575"/>
                  <a:gd name="connsiteY54" fmla="*/ 19050 h 3822033"/>
                  <a:gd name="connsiteX55" fmla="*/ 2162175 w 3457575"/>
                  <a:gd name="connsiteY55" fmla="*/ 47625 h 3822033"/>
                  <a:gd name="connsiteX56" fmla="*/ 2228850 w 3457575"/>
                  <a:gd name="connsiteY56" fmla="*/ 66675 h 3822033"/>
                  <a:gd name="connsiteX57" fmla="*/ 2343150 w 3457575"/>
                  <a:gd name="connsiteY57" fmla="*/ 133350 h 3822033"/>
                  <a:gd name="connsiteX58" fmla="*/ 2390775 w 3457575"/>
                  <a:gd name="connsiteY58" fmla="*/ 142875 h 3822033"/>
                  <a:gd name="connsiteX59" fmla="*/ 2457450 w 3457575"/>
                  <a:gd name="connsiteY59" fmla="*/ 171450 h 3822033"/>
                  <a:gd name="connsiteX60" fmla="*/ 2486025 w 3457575"/>
                  <a:gd name="connsiteY60" fmla="*/ 200025 h 3822033"/>
                  <a:gd name="connsiteX61" fmla="*/ 2571750 w 3457575"/>
                  <a:gd name="connsiteY61" fmla="*/ 228600 h 3822033"/>
                  <a:gd name="connsiteX62" fmla="*/ 2676525 w 3457575"/>
                  <a:gd name="connsiteY62" fmla="*/ 285750 h 3822033"/>
                  <a:gd name="connsiteX63" fmla="*/ 2705100 w 3457575"/>
                  <a:gd name="connsiteY63" fmla="*/ 304800 h 3822033"/>
                  <a:gd name="connsiteX64" fmla="*/ 2733675 w 3457575"/>
                  <a:gd name="connsiteY64" fmla="*/ 333375 h 3822033"/>
                  <a:gd name="connsiteX65" fmla="*/ 2771775 w 3457575"/>
                  <a:gd name="connsiteY65" fmla="*/ 361950 h 3822033"/>
                  <a:gd name="connsiteX66" fmla="*/ 2809875 w 3457575"/>
                  <a:gd name="connsiteY66" fmla="*/ 400050 h 3822033"/>
                  <a:gd name="connsiteX67" fmla="*/ 2867025 w 3457575"/>
                  <a:gd name="connsiteY67" fmla="*/ 438150 h 3822033"/>
                  <a:gd name="connsiteX68" fmla="*/ 2905125 w 3457575"/>
                  <a:gd name="connsiteY68" fmla="*/ 476250 h 3822033"/>
                  <a:gd name="connsiteX69" fmla="*/ 2971800 w 3457575"/>
                  <a:gd name="connsiteY69" fmla="*/ 523875 h 3822033"/>
                  <a:gd name="connsiteX70" fmla="*/ 2990850 w 3457575"/>
                  <a:gd name="connsiteY70" fmla="*/ 552450 h 3822033"/>
                  <a:gd name="connsiteX71" fmla="*/ 3028950 w 3457575"/>
                  <a:gd name="connsiteY71" fmla="*/ 590550 h 3822033"/>
                  <a:gd name="connsiteX72" fmla="*/ 3048000 w 3457575"/>
                  <a:gd name="connsiteY72" fmla="*/ 628650 h 3822033"/>
                  <a:gd name="connsiteX73" fmla="*/ 3086100 w 3457575"/>
                  <a:gd name="connsiteY73" fmla="*/ 666750 h 3822033"/>
                  <a:gd name="connsiteX74" fmla="*/ 3124200 w 3457575"/>
                  <a:gd name="connsiteY74" fmla="*/ 723900 h 3822033"/>
                  <a:gd name="connsiteX75" fmla="*/ 3219450 w 3457575"/>
                  <a:gd name="connsiteY75" fmla="*/ 838200 h 3822033"/>
                  <a:gd name="connsiteX76" fmla="*/ 3238500 w 3457575"/>
                  <a:gd name="connsiteY76" fmla="*/ 885825 h 3822033"/>
                  <a:gd name="connsiteX77" fmla="*/ 3276600 w 3457575"/>
                  <a:gd name="connsiteY77" fmla="*/ 942975 h 3822033"/>
                  <a:gd name="connsiteX78" fmla="*/ 3286125 w 3457575"/>
                  <a:gd name="connsiteY78" fmla="*/ 990600 h 3822033"/>
                  <a:gd name="connsiteX79" fmla="*/ 3324225 w 3457575"/>
                  <a:gd name="connsiteY79" fmla="*/ 1085850 h 3822033"/>
                  <a:gd name="connsiteX80" fmla="*/ 3362325 w 3457575"/>
                  <a:gd name="connsiteY80" fmla="*/ 1171575 h 3822033"/>
                  <a:gd name="connsiteX81" fmla="*/ 3390900 w 3457575"/>
                  <a:gd name="connsiteY81" fmla="*/ 1219200 h 3822033"/>
                  <a:gd name="connsiteX82" fmla="*/ 3419475 w 3457575"/>
                  <a:gd name="connsiteY82" fmla="*/ 1333500 h 3822033"/>
                  <a:gd name="connsiteX83" fmla="*/ 3429000 w 3457575"/>
                  <a:gd name="connsiteY83" fmla="*/ 1390650 h 3822033"/>
                  <a:gd name="connsiteX84" fmla="*/ 3457575 w 3457575"/>
                  <a:gd name="connsiteY84" fmla="*/ 1657350 h 3822033"/>
                  <a:gd name="connsiteX85" fmla="*/ 3381375 w 3457575"/>
                  <a:gd name="connsiteY85" fmla="*/ 2238375 h 3822033"/>
                  <a:gd name="connsiteX86" fmla="*/ 3343275 w 3457575"/>
                  <a:gd name="connsiteY86" fmla="*/ 2333625 h 3822033"/>
                  <a:gd name="connsiteX87" fmla="*/ 3276600 w 3457575"/>
                  <a:gd name="connsiteY87" fmla="*/ 2400300 h 3822033"/>
                  <a:gd name="connsiteX88" fmla="*/ 3190875 w 3457575"/>
                  <a:gd name="connsiteY88" fmla="*/ 2533650 h 3822033"/>
                  <a:gd name="connsiteX89" fmla="*/ 3105150 w 3457575"/>
                  <a:gd name="connsiteY89" fmla="*/ 2647950 h 3822033"/>
                  <a:gd name="connsiteX90" fmla="*/ 3019425 w 3457575"/>
                  <a:gd name="connsiteY90" fmla="*/ 2781300 h 3822033"/>
                  <a:gd name="connsiteX91" fmla="*/ 2981325 w 3457575"/>
                  <a:gd name="connsiteY91" fmla="*/ 2819400 h 3822033"/>
                  <a:gd name="connsiteX92" fmla="*/ 2943225 w 3457575"/>
                  <a:gd name="connsiteY92" fmla="*/ 2876550 h 3822033"/>
                  <a:gd name="connsiteX93" fmla="*/ 2857500 w 3457575"/>
                  <a:gd name="connsiteY93" fmla="*/ 2933700 h 3822033"/>
                  <a:gd name="connsiteX94" fmla="*/ 2809875 w 3457575"/>
                  <a:gd name="connsiteY94" fmla="*/ 2971800 h 3822033"/>
                  <a:gd name="connsiteX95" fmla="*/ 2705100 w 3457575"/>
                  <a:gd name="connsiteY95" fmla="*/ 3038475 h 3822033"/>
                  <a:gd name="connsiteX96" fmla="*/ 2609850 w 3457575"/>
                  <a:gd name="connsiteY96" fmla="*/ 3105150 h 3822033"/>
                  <a:gd name="connsiteX97" fmla="*/ 2562225 w 3457575"/>
                  <a:gd name="connsiteY97" fmla="*/ 3143250 h 3822033"/>
                  <a:gd name="connsiteX98" fmla="*/ 2495550 w 3457575"/>
                  <a:gd name="connsiteY98" fmla="*/ 3162300 h 3822033"/>
                  <a:gd name="connsiteX99" fmla="*/ 2362200 w 3457575"/>
                  <a:gd name="connsiteY99" fmla="*/ 3219450 h 3822033"/>
                  <a:gd name="connsiteX100" fmla="*/ 2257425 w 3457575"/>
                  <a:gd name="connsiteY100" fmla="*/ 3257550 h 3822033"/>
                  <a:gd name="connsiteX101" fmla="*/ 2181225 w 3457575"/>
                  <a:gd name="connsiteY101" fmla="*/ 3276600 h 3822033"/>
                  <a:gd name="connsiteX102" fmla="*/ 2057400 w 3457575"/>
                  <a:gd name="connsiteY102" fmla="*/ 3362325 h 3822033"/>
                  <a:gd name="connsiteX103" fmla="*/ 2009775 w 3457575"/>
                  <a:gd name="connsiteY103" fmla="*/ 3400425 h 3822033"/>
                  <a:gd name="connsiteX104" fmla="*/ 1962150 w 3457575"/>
                  <a:gd name="connsiteY104" fmla="*/ 3429000 h 3822033"/>
                  <a:gd name="connsiteX105" fmla="*/ 1905000 w 3457575"/>
                  <a:gd name="connsiteY105" fmla="*/ 3495675 h 3822033"/>
                  <a:gd name="connsiteX106" fmla="*/ 1819275 w 3457575"/>
                  <a:gd name="connsiteY106" fmla="*/ 3609975 h 3822033"/>
                  <a:gd name="connsiteX107" fmla="*/ 1800225 w 3457575"/>
                  <a:gd name="connsiteY107" fmla="*/ 3638550 h 3822033"/>
                  <a:gd name="connsiteX108" fmla="*/ 1790700 w 3457575"/>
                  <a:gd name="connsiteY108" fmla="*/ 3667125 h 3822033"/>
                  <a:gd name="connsiteX109" fmla="*/ 1771650 w 3457575"/>
                  <a:gd name="connsiteY109" fmla="*/ 3695700 h 3822033"/>
                  <a:gd name="connsiteX110" fmla="*/ 1752600 w 3457575"/>
                  <a:gd name="connsiteY110" fmla="*/ 3733800 h 3822033"/>
                  <a:gd name="connsiteX111" fmla="*/ 1714500 w 3457575"/>
                  <a:gd name="connsiteY111" fmla="*/ 3810000 h 3822033"/>
                  <a:gd name="connsiteX112" fmla="*/ 1704975 w 3457575"/>
                  <a:gd name="connsiteY11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600200 w 3457575"/>
                  <a:gd name="connsiteY4" fmla="*/ 3638550 h 3822033"/>
                  <a:gd name="connsiteX5" fmla="*/ 1533525 w 3457575"/>
                  <a:gd name="connsiteY5" fmla="*/ 3543300 h 3822033"/>
                  <a:gd name="connsiteX6" fmla="*/ 1409700 w 3457575"/>
                  <a:gd name="connsiteY6" fmla="*/ 3438525 h 3822033"/>
                  <a:gd name="connsiteX7" fmla="*/ 1371600 w 3457575"/>
                  <a:gd name="connsiteY7" fmla="*/ 3419475 h 3822033"/>
                  <a:gd name="connsiteX8" fmla="*/ 1343025 w 3457575"/>
                  <a:gd name="connsiteY8" fmla="*/ 3400425 h 3822033"/>
                  <a:gd name="connsiteX9" fmla="*/ 1247775 w 3457575"/>
                  <a:gd name="connsiteY9" fmla="*/ 3381375 h 3822033"/>
                  <a:gd name="connsiteX10" fmla="*/ 1133475 w 3457575"/>
                  <a:gd name="connsiteY10" fmla="*/ 3324225 h 3822033"/>
                  <a:gd name="connsiteX11" fmla="*/ 1009650 w 3457575"/>
                  <a:gd name="connsiteY11" fmla="*/ 3276600 h 3822033"/>
                  <a:gd name="connsiteX12" fmla="*/ 962025 w 3457575"/>
                  <a:gd name="connsiteY12" fmla="*/ 3238500 h 3822033"/>
                  <a:gd name="connsiteX13" fmla="*/ 923925 w 3457575"/>
                  <a:gd name="connsiteY13" fmla="*/ 3219450 h 3822033"/>
                  <a:gd name="connsiteX14" fmla="*/ 790575 w 3457575"/>
                  <a:gd name="connsiteY14" fmla="*/ 3162300 h 3822033"/>
                  <a:gd name="connsiteX15" fmla="*/ 638175 w 3457575"/>
                  <a:gd name="connsiteY15" fmla="*/ 3048000 h 3822033"/>
                  <a:gd name="connsiteX16" fmla="*/ 619125 w 3457575"/>
                  <a:gd name="connsiteY16" fmla="*/ 3009900 h 3822033"/>
                  <a:gd name="connsiteX17" fmla="*/ 571500 w 3457575"/>
                  <a:gd name="connsiteY17" fmla="*/ 2943225 h 3822033"/>
                  <a:gd name="connsiteX18" fmla="*/ 333375 w 3457575"/>
                  <a:gd name="connsiteY18" fmla="*/ 2676525 h 3822033"/>
                  <a:gd name="connsiteX19" fmla="*/ 295275 w 3457575"/>
                  <a:gd name="connsiteY19" fmla="*/ 2581275 h 3822033"/>
                  <a:gd name="connsiteX20" fmla="*/ 257175 w 3457575"/>
                  <a:gd name="connsiteY20" fmla="*/ 2495550 h 3822033"/>
                  <a:gd name="connsiteX21" fmla="*/ 228600 w 3457575"/>
                  <a:gd name="connsiteY21" fmla="*/ 2457450 h 3822033"/>
                  <a:gd name="connsiteX22" fmla="*/ 200025 w 3457575"/>
                  <a:gd name="connsiteY22" fmla="*/ 2371725 h 3822033"/>
                  <a:gd name="connsiteX23" fmla="*/ 180975 w 3457575"/>
                  <a:gd name="connsiteY23" fmla="*/ 2343150 h 3822033"/>
                  <a:gd name="connsiteX24" fmla="*/ 152400 w 3457575"/>
                  <a:gd name="connsiteY24" fmla="*/ 2219325 h 3822033"/>
                  <a:gd name="connsiteX25" fmla="*/ 142875 w 3457575"/>
                  <a:gd name="connsiteY25" fmla="*/ 2190750 h 3822033"/>
                  <a:gd name="connsiteX26" fmla="*/ 123825 w 3457575"/>
                  <a:gd name="connsiteY26" fmla="*/ 2143125 h 3822033"/>
                  <a:gd name="connsiteX27" fmla="*/ 95250 w 3457575"/>
                  <a:gd name="connsiteY27" fmla="*/ 2028825 h 3822033"/>
                  <a:gd name="connsiteX28" fmla="*/ 85725 w 3457575"/>
                  <a:gd name="connsiteY28" fmla="*/ 1990725 h 3822033"/>
                  <a:gd name="connsiteX29" fmla="*/ 57150 w 3457575"/>
                  <a:gd name="connsiteY29" fmla="*/ 1933575 h 3822033"/>
                  <a:gd name="connsiteX30" fmla="*/ 28575 w 3457575"/>
                  <a:gd name="connsiteY30" fmla="*/ 1819275 h 3822033"/>
                  <a:gd name="connsiteX31" fmla="*/ 9525 w 3457575"/>
                  <a:gd name="connsiteY31" fmla="*/ 1657350 h 3822033"/>
                  <a:gd name="connsiteX32" fmla="*/ 0 w 3457575"/>
                  <a:gd name="connsiteY32" fmla="*/ 1609725 h 3822033"/>
                  <a:gd name="connsiteX33" fmla="*/ 9525 w 3457575"/>
                  <a:gd name="connsiteY33" fmla="*/ 1428750 h 3822033"/>
                  <a:gd name="connsiteX34" fmla="*/ 28575 w 3457575"/>
                  <a:gd name="connsiteY34" fmla="*/ 1304925 h 3822033"/>
                  <a:gd name="connsiteX35" fmla="*/ 38100 w 3457575"/>
                  <a:gd name="connsiteY35" fmla="*/ 1247775 h 3822033"/>
                  <a:gd name="connsiteX36" fmla="*/ 76200 w 3457575"/>
                  <a:gd name="connsiteY36" fmla="*/ 1152525 h 3822033"/>
                  <a:gd name="connsiteX37" fmla="*/ 114300 w 3457575"/>
                  <a:gd name="connsiteY37" fmla="*/ 990600 h 3822033"/>
                  <a:gd name="connsiteX38" fmla="*/ 133350 w 3457575"/>
                  <a:gd name="connsiteY38" fmla="*/ 923925 h 3822033"/>
                  <a:gd name="connsiteX39" fmla="*/ 171450 w 3457575"/>
                  <a:gd name="connsiteY39" fmla="*/ 866775 h 3822033"/>
                  <a:gd name="connsiteX40" fmla="*/ 228600 w 3457575"/>
                  <a:gd name="connsiteY40" fmla="*/ 762000 h 3822033"/>
                  <a:gd name="connsiteX41" fmla="*/ 304800 w 3457575"/>
                  <a:gd name="connsiteY41" fmla="*/ 647700 h 3822033"/>
                  <a:gd name="connsiteX42" fmla="*/ 552450 w 3457575"/>
                  <a:gd name="connsiteY42" fmla="*/ 361950 h 3822033"/>
                  <a:gd name="connsiteX43" fmla="*/ 609600 w 3457575"/>
                  <a:gd name="connsiteY43" fmla="*/ 323850 h 3822033"/>
                  <a:gd name="connsiteX44" fmla="*/ 666750 w 3457575"/>
                  <a:gd name="connsiteY44" fmla="*/ 285750 h 3822033"/>
                  <a:gd name="connsiteX45" fmla="*/ 762000 w 3457575"/>
                  <a:gd name="connsiteY45" fmla="*/ 238125 h 3822033"/>
                  <a:gd name="connsiteX46" fmla="*/ 800100 w 3457575"/>
                  <a:gd name="connsiteY46" fmla="*/ 219075 h 3822033"/>
                  <a:gd name="connsiteX47" fmla="*/ 895350 w 3457575"/>
                  <a:gd name="connsiteY47" fmla="*/ 161925 h 3822033"/>
                  <a:gd name="connsiteX48" fmla="*/ 962025 w 3457575"/>
                  <a:gd name="connsiteY48" fmla="*/ 133350 h 3822033"/>
                  <a:gd name="connsiteX49" fmla="*/ 1123950 w 3457575"/>
                  <a:gd name="connsiteY49" fmla="*/ 76200 h 3822033"/>
                  <a:gd name="connsiteX50" fmla="*/ 1162050 w 3457575"/>
                  <a:gd name="connsiteY50" fmla="*/ 66675 h 3822033"/>
                  <a:gd name="connsiteX51" fmla="*/ 1438275 w 3457575"/>
                  <a:gd name="connsiteY51" fmla="*/ 0 h 3822033"/>
                  <a:gd name="connsiteX52" fmla="*/ 2038350 w 3457575"/>
                  <a:gd name="connsiteY52" fmla="*/ 9525 h 3822033"/>
                  <a:gd name="connsiteX53" fmla="*/ 2105025 w 3457575"/>
                  <a:gd name="connsiteY53" fmla="*/ 19050 h 3822033"/>
                  <a:gd name="connsiteX54" fmla="*/ 2162175 w 3457575"/>
                  <a:gd name="connsiteY54" fmla="*/ 47625 h 3822033"/>
                  <a:gd name="connsiteX55" fmla="*/ 2228850 w 3457575"/>
                  <a:gd name="connsiteY55" fmla="*/ 66675 h 3822033"/>
                  <a:gd name="connsiteX56" fmla="*/ 2343150 w 3457575"/>
                  <a:gd name="connsiteY56" fmla="*/ 133350 h 3822033"/>
                  <a:gd name="connsiteX57" fmla="*/ 2390775 w 3457575"/>
                  <a:gd name="connsiteY57" fmla="*/ 142875 h 3822033"/>
                  <a:gd name="connsiteX58" fmla="*/ 2457450 w 3457575"/>
                  <a:gd name="connsiteY58" fmla="*/ 171450 h 3822033"/>
                  <a:gd name="connsiteX59" fmla="*/ 2486025 w 3457575"/>
                  <a:gd name="connsiteY59" fmla="*/ 200025 h 3822033"/>
                  <a:gd name="connsiteX60" fmla="*/ 2571750 w 3457575"/>
                  <a:gd name="connsiteY60" fmla="*/ 228600 h 3822033"/>
                  <a:gd name="connsiteX61" fmla="*/ 2676525 w 3457575"/>
                  <a:gd name="connsiteY61" fmla="*/ 285750 h 3822033"/>
                  <a:gd name="connsiteX62" fmla="*/ 2705100 w 3457575"/>
                  <a:gd name="connsiteY62" fmla="*/ 304800 h 3822033"/>
                  <a:gd name="connsiteX63" fmla="*/ 2733675 w 3457575"/>
                  <a:gd name="connsiteY63" fmla="*/ 333375 h 3822033"/>
                  <a:gd name="connsiteX64" fmla="*/ 2771775 w 3457575"/>
                  <a:gd name="connsiteY64" fmla="*/ 361950 h 3822033"/>
                  <a:gd name="connsiteX65" fmla="*/ 2809875 w 3457575"/>
                  <a:gd name="connsiteY65" fmla="*/ 400050 h 3822033"/>
                  <a:gd name="connsiteX66" fmla="*/ 2867025 w 3457575"/>
                  <a:gd name="connsiteY66" fmla="*/ 438150 h 3822033"/>
                  <a:gd name="connsiteX67" fmla="*/ 2905125 w 3457575"/>
                  <a:gd name="connsiteY67" fmla="*/ 476250 h 3822033"/>
                  <a:gd name="connsiteX68" fmla="*/ 2971800 w 3457575"/>
                  <a:gd name="connsiteY68" fmla="*/ 523875 h 3822033"/>
                  <a:gd name="connsiteX69" fmla="*/ 2990850 w 3457575"/>
                  <a:gd name="connsiteY69" fmla="*/ 552450 h 3822033"/>
                  <a:gd name="connsiteX70" fmla="*/ 3028950 w 3457575"/>
                  <a:gd name="connsiteY70" fmla="*/ 590550 h 3822033"/>
                  <a:gd name="connsiteX71" fmla="*/ 3048000 w 3457575"/>
                  <a:gd name="connsiteY71" fmla="*/ 628650 h 3822033"/>
                  <a:gd name="connsiteX72" fmla="*/ 3086100 w 3457575"/>
                  <a:gd name="connsiteY72" fmla="*/ 666750 h 3822033"/>
                  <a:gd name="connsiteX73" fmla="*/ 3124200 w 3457575"/>
                  <a:gd name="connsiteY73" fmla="*/ 723900 h 3822033"/>
                  <a:gd name="connsiteX74" fmla="*/ 3219450 w 3457575"/>
                  <a:gd name="connsiteY74" fmla="*/ 838200 h 3822033"/>
                  <a:gd name="connsiteX75" fmla="*/ 3238500 w 3457575"/>
                  <a:gd name="connsiteY75" fmla="*/ 885825 h 3822033"/>
                  <a:gd name="connsiteX76" fmla="*/ 3276600 w 3457575"/>
                  <a:gd name="connsiteY76" fmla="*/ 942975 h 3822033"/>
                  <a:gd name="connsiteX77" fmla="*/ 3286125 w 3457575"/>
                  <a:gd name="connsiteY77" fmla="*/ 990600 h 3822033"/>
                  <a:gd name="connsiteX78" fmla="*/ 3324225 w 3457575"/>
                  <a:gd name="connsiteY78" fmla="*/ 1085850 h 3822033"/>
                  <a:gd name="connsiteX79" fmla="*/ 3362325 w 3457575"/>
                  <a:gd name="connsiteY79" fmla="*/ 1171575 h 3822033"/>
                  <a:gd name="connsiteX80" fmla="*/ 3390900 w 3457575"/>
                  <a:gd name="connsiteY80" fmla="*/ 1219200 h 3822033"/>
                  <a:gd name="connsiteX81" fmla="*/ 3419475 w 3457575"/>
                  <a:gd name="connsiteY81" fmla="*/ 1333500 h 3822033"/>
                  <a:gd name="connsiteX82" fmla="*/ 3429000 w 3457575"/>
                  <a:gd name="connsiteY82" fmla="*/ 1390650 h 3822033"/>
                  <a:gd name="connsiteX83" fmla="*/ 3457575 w 3457575"/>
                  <a:gd name="connsiteY83" fmla="*/ 1657350 h 3822033"/>
                  <a:gd name="connsiteX84" fmla="*/ 3381375 w 3457575"/>
                  <a:gd name="connsiteY84" fmla="*/ 2238375 h 3822033"/>
                  <a:gd name="connsiteX85" fmla="*/ 3343275 w 3457575"/>
                  <a:gd name="connsiteY85" fmla="*/ 2333625 h 3822033"/>
                  <a:gd name="connsiteX86" fmla="*/ 3276600 w 3457575"/>
                  <a:gd name="connsiteY86" fmla="*/ 2400300 h 3822033"/>
                  <a:gd name="connsiteX87" fmla="*/ 3190875 w 3457575"/>
                  <a:gd name="connsiteY87" fmla="*/ 2533650 h 3822033"/>
                  <a:gd name="connsiteX88" fmla="*/ 3105150 w 3457575"/>
                  <a:gd name="connsiteY88" fmla="*/ 2647950 h 3822033"/>
                  <a:gd name="connsiteX89" fmla="*/ 3019425 w 3457575"/>
                  <a:gd name="connsiteY89" fmla="*/ 2781300 h 3822033"/>
                  <a:gd name="connsiteX90" fmla="*/ 2981325 w 3457575"/>
                  <a:gd name="connsiteY90" fmla="*/ 2819400 h 3822033"/>
                  <a:gd name="connsiteX91" fmla="*/ 2943225 w 3457575"/>
                  <a:gd name="connsiteY91" fmla="*/ 2876550 h 3822033"/>
                  <a:gd name="connsiteX92" fmla="*/ 2857500 w 3457575"/>
                  <a:gd name="connsiteY92" fmla="*/ 2933700 h 3822033"/>
                  <a:gd name="connsiteX93" fmla="*/ 2809875 w 3457575"/>
                  <a:gd name="connsiteY93" fmla="*/ 2971800 h 3822033"/>
                  <a:gd name="connsiteX94" fmla="*/ 2705100 w 3457575"/>
                  <a:gd name="connsiteY94" fmla="*/ 3038475 h 3822033"/>
                  <a:gd name="connsiteX95" fmla="*/ 2609850 w 3457575"/>
                  <a:gd name="connsiteY95" fmla="*/ 3105150 h 3822033"/>
                  <a:gd name="connsiteX96" fmla="*/ 2562225 w 3457575"/>
                  <a:gd name="connsiteY96" fmla="*/ 3143250 h 3822033"/>
                  <a:gd name="connsiteX97" fmla="*/ 2495550 w 3457575"/>
                  <a:gd name="connsiteY97" fmla="*/ 3162300 h 3822033"/>
                  <a:gd name="connsiteX98" fmla="*/ 2362200 w 3457575"/>
                  <a:gd name="connsiteY98" fmla="*/ 3219450 h 3822033"/>
                  <a:gd name="connsiteX99" fmla="*/ 2257425 w 3457575"/>
                  <a:gd name="connsiteY99" fmla="*/ 3257550 h 3822033"/>
                  <a:gd name="connsiteX100" fmla="*/ 2181225 w 3457575"/>
                  <a:gd name="connsiteY100" fmla="*/ 3276600 h 3822033"/>
                  <a:gd name="connsiteX101" fmla="*/ 2057400 w 3457575"/>
                  <a:gd name="connsiteY101" fmla="*/ 3362325 h 3822033"/>
                  <a:gd name="connsiteX102" fmla="*/ 2009775 w 3457575"/>
                  <a:gd name="connsiteY102" fmla="*/ 3400425 h 3822033"/>
                  <a:gd name="connsiteX103" fmla="*/ 1962150 w 3457575"/>
                  <a:gd name="connsiteY103" fmla="*/ 3429000 h 3822033"/>
                  <a:gd name="connsiteX104" fmla="*/ 1905000 w 3457575"/>
                  <a:gd name="connsiteY104" fmla="*/ 3495675 h 3822033"/>
                  <a:gd name="connsiteX105" fmla="*/ 1819275 w 3457575"/>
                  <a:gd name="connsiteY105" fmla="*/ 3609975 h 3822033"/>
                  <a:gd name="connsiteX106" fmla="*/ 1800225 w 3457575"/>
                  <a:gd name="connsiteY106" fmla="*/ 3638550 h 3822033"/>
                  <a:gd name="connsiteX107" fmla="*/ 1790700 w 3457575"/>
                  <a:gd name="connsiteY107" fmla="*/ 3667125 h 3822033"/>
                  <a:gd name="connsiteX108" fmla="*/ 1771650 w 3457575"/>
                  <a:gd name="connsiteY108" fmla="*/ 3695700 h 3822033"/>
                  <a:gd name="connsiteX109" fmla="*/ 1752600 w 3457575"/>
                  <a:gd name="connsiteY109" fmla="*/ 3733800 h 3822033"/>
                  <a:gd name="connsiteX110" fmla="*/ 1714500 w 3457575"/>
                  <a:gd name="connsiteY110" fmla="*/ 3810000 h 3822033"/>
                  <a:gd name="connsiteX111" fmla="*/ 1704975 w 3457575"/>
                  <a:gd name="connsiteY11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638300 w 3457575"/>
                  <a:gd name="connsiteY3" fmla="*/ 3714750 h 3822033"/>
                  <a:gd name="connsiteX4" fmla="*/ 1533525 w 3457575"/>
                  <a:gd name="connsiteY4" fmla="*/ 3543300 h 3822033"/>
                  <a:gd name="connsiteX5" fmla="*/ 1409700 w 3457575"/>
                  <a:gd name="connsiteY5" fmla="*/ 3438525 h 3822033"/>
                  <a:gd name="connsiteX6" fmla="*/ 1371600 w 3457575"/>
                  <a:gd name="connsiteY6" fmla="*/ 3419475 h 3822033"/>
                  <a:gd name="connsiteX7" fmla="*/ 1343025 w 3457575"/>
                  <a:gd name="connsiteY7" fmla="*/ 3400425 h 3822033"/>
                  <a:gd name="connsiteX8" fmla="*/ 1247775 w 3457575"/>
                  <a:gd name="connsiteY8" fmla="*/ 3381375 h 3822033"/>
                  <a:gd name="connsiteX9" fmla="*/ 1133475 w 3457575"/>
                  <a:gd name="connsiteY9" fmla="*/ 3324225 h 3822033"/>
                  <a:gd name="connsiteX10" fmla="*/ 1009650 w 3457575"/>
                  <a:gd name="connsiteY10" fmla="*/ 3276600 h 3822033"/>
                  <a:gd name="connsiteX11" fmla="*/ 962025 w 3457575"/>
                  <a:gd name="connsiteY11" fmla="*/ 3238500 h 3822033"/>
                  <a:gd name="connsiteX12" fmla="*/ 923925 w 3457575"/>
                  <a:gd name="connsiteY12" fmla="*/ 3219450 h 3822033"/>
                  <a:gd name="connsiteX13" fmla="*/ 790575 w 3457575"/>
                  <a:gd name="connsiteY13" fmla="*/ 3162300 h 3822033"/>
                  <a:gd name="connsiteX14" fmla="*/ 638175 w 3457575"/>
                  <a:gd name="connsiteY14" fmla="*/ 3048000 h 3822033"/>
                  <a:gd name="connsiteX15" fmla="*/ 619125 w 3457575"/>
                  <a:gd name="connsiteY15" fmla="*/ 3009900 h 3822033"/>
                  <a:gd name="connsiteX16" fmla="*/ 571500 w 3457575"/>
                  <a:gd name="connsiteY16" fmla="*/ 2943225 h 3822033"/>
                  <a:gd name="connsiteX17" fmla="*/ 333375 w 3457575"/>
                  <a:gd name="connsiteY17" fmla="*/ 2676525 h 3822033"/>
                  <a:gd name="connsiteX18" fmla="*/ 295275 w 3457575"/>
                  <a:gd name="connsiteY18" fmla="*/ 2581275 h 3822033"/>
                  <a:gd name="connsiteX19" fmla="*/ 257175 w 3457575"/>
                  <a:gd name="connsiteY19" fmla="*/ 2495550 h 3822033"/>
                  <a:gd name="connsiteX20" fmla="*/ 228600 w 3457575"/>
                  <a:gd name="connsiteY20" fmla="*/ 2457450 h 3822033"/>
                  <a:gd name="connsiteX21" fmla="*/ 200025 w 3457575"/>
                  <a:gd name="connsiteY21" fmla="*/ 2371725 h 3822033"/>
                  <a:gd name="connsiteX22" fmla="*/ 180975 w 3457575"/>
                  <a:gd name="connsiteY22" fmla="*/ 2343150 h 3822033"/>
                  <a:gd name="connsiteX23" fmla="*/ 152400 w 3457575"/>
                  <a:gd name="connsiteY23" fmla="*/ 2219325 h 3822033"/>
                  <a:gd name="connsiteX24" fmla="*/ 142875 w 3457575"/>
                  <a:gd name="connsiteY24" fmla="*/ 2190750 h 3822033"/>
                  <a:gd name="connsiteX25" fmla="*/ 123825 w 3457575"/>
                  <a:gd name="connsiteY25" fmla="*/ 2143125 h 3822033"/>
                  <a:gd name="connsiteX26" fmla="*/ 95250 w 3457575"/>
                  <a:gd name="connsiteY26" fmla="*/ 2028825 h 3822033"/>
                  <a:gd name="connsiteX27" fmla="*/ 85725 w 3457575"/>
                  <a:gd name="connsiteY27" fmla="*/ 1990725 h 3822033"/>
                  <a:gd name="connsiteX28" fmla="*/ 57150 w 3457575"/>
                  <a:gd name="connsiteY28" fmla="*/ 1933575 h 3822033"/>
                  <a:gd name="connsiteX29" fmla="*/ 28575 w 3457575"/>
                  <a:gd name="connsiteY29" fmla="*/ 1819275 h 3822033"/>
                  <a:gd name="connsiteX30" fmla="*/ 9525 w 3457575"/>
                  <a:gd name="connsiteY30" fmla="*/ 1657350 h 3822033"/>
                  <a:gd name="connsiteX31" fmla="*/ 0 w 3457575"/>
                  <a:gd name="connsiteY31" fmla="*/ 1609725 h 3822033"/>
                  <a:gd name="connsiteX32" fmla="*/ 9525 w 3457575"/>
                  <a:gd name="connsiteY32" fmla="*/ 1428750 h 3822033"/>
                  <a:gd name="connsiteX33" fmla="*/ 28575 w 3457575"/>
                  <a:gd name="connsiteY33" fmla="*/ 1304925 h 3822033"/>
                  <a:gd name="connsiteX34" fmla="*/ 38100 w 3457575"/>
                  <a:gd name="connsiteY34" fmla="*/ 1247775 h 3822033"/>
                  <a:gd name="connsiteX35" fmla="*/ 76200 w 3457575"/>
                  <a:gd name="connsiteY35" fmla="*/ 1152525 h 3822033"/>
                  <a:gd name="connsiteX36" fmla="*/ 114300 w 3457575"/>
                  <a:gd name="connsiteY36" fmla="*/ 990600 h 3822033"/>
                  <a:gd name="connsiteX37" fmla="*/ 133350 w 3457575"/>
                  <a:gd name="connsiteY37" fmla="*/ 923925 h 3822033"/>
                  <a:gd name="connsiteX38" fmla="*/ 171450 w 3457575"/>
                  <a:gd name="connsiteY38" fmla="*/ 866775 h 3822033"/>
                  <a:gd name="connsiteX39" fmla="*/ 228600 w 3457575"/>
                  <a:gd name="connsiteY39" fmla="*/ 762000 h 3822033"/>
                  <a:gd name="connsiteX40" fmla="*/ 304800 w 3457575"/>
                  <a:gd name="connsiteY40" fmla="*/ 647700 h 3822033"/>
                  <a:gd name="connsiteX41" fmla="*/ 552450 w 3457575"/>
                  <a:gd name="connsiteY41" fmla="*/ 361950 h 3822033"/>
                  <a:gd name="connsiteX42" fmla="*/ 609600 w 3457575"/>
                  <a:gd name="connsiteY42" fmla="*/ 323850 h 3822033"/>
                  <a:gd name="connsiteX43" fmla="*/ 666750 w 3457575"/>
                  <a:gd name="connsiteY43" fmla="*/ 285750 h 3822033"/>
                  <a:gd name="connsiteX44" fmla="*/ 762000 w 3457575"/>
                  <a:gd name="connsiteY44" fmla="*/ 238125 h 3822033"/>
                  <a:gd name="connsiteX45" fmla="*/ 800100 w 3457575"/>
                  <a:gd name="connsiteY45" fmla="*/ 219075 h 3822033"/>
                  <a:gd name="connsiteX46" fmla="*/ 895350 w 3457575"/>
                  <a:gd name="connsiteY46" fmla="*/ 161925 h 3822033"/>
                  <a:gd name="connsiteX47" fmla="*/ 962025 w 3457575"/>
                  <a:gd name="connsiteY47" fmla="*/ 133350 h 3822033"/>
                  <a:gd name="connsiteX48" fmla="*/ 1123950 w 3457575"/>
                  <a:gd name="connsiteY48" fmla="*/ 76200 h 3822033"/>
                  <a:gd name="connsiteX49" fmla="*/ 1162050 w 3457575"/>
                  <a:gd name="connsiteY49" fmla="*/ 66675 h 3822033"/>
                  <a:gd name="connsiteX50" fmla="*/ 1438275 w 3457575"/>
                  <a:gd name="connsiteY50" fmla="*/ 0 h 3822033"/>
                  <a:gd name="connsiteX51" fmla="*/ 2038350 w 3457575"/>
                  <a:gd name="connsiteY51" fmla="*/ 9525 h 3822033"/>
                  <a:gd name="connsiteX52" fmla="*/ 2105025 w 3457575"/>
                  <a:gd name="connsiteY52" fmla="*/ 19050 h 3822033"/>
                  <a:gd name="connsiteX53" fmla="*/ 2162175 w 3457575"/>
                  <a:gd name="connsiteY53" fmla="*/ 47625 h 3822033"/>
                  <a:gd name="connsiteX54" fmla="*/ 2228850 w 3457575"/>
                  <a:gd name="connsiteY54" fmla="*/ 66675 h 3822033"/>
                  <a:gd name="connsiteX55" fmla="*/ 2343150 w 3457575"/>
                  <a:gd name="connsiteY55" fmla="*/ 133350 h 3822033"/>
                  <a:gd name="connsiteX56" fmla="*/ 2390775 w 3457575"/>
                  <a:gd name="connsiteY56" fmla="*/ 142875 h 3822033"/>
                  <a:gd name="connsiteX57" fmla="*/ 2457450 w 3457575"/>
                  <a:gd name="connsiteY57" fmla="*/ 171450 h 3822033"/>
                  <a:gd name="connsiteX58" fmla="*/ 2486025 w 3457575"/>
                  <a:gd name="connsiteY58" fmla="*/ 200025 h 3822033"/>
                  <a:gd name="connsiteX59" fmla="*/ 2571750 w 3457575"/>
                  <a:gd name="connsiteY59" fmla="*/ 228600 h 3822033"/>
                  <a:gd name="connsiteX60" fmla="*/ 2676525 w 3457575"/>
                  <a:gd name="connsiteY60" fmla="*/ 285750 h 3822033"/>
                  <a:gd name="connsiteX61" fmla="*/ 2705100 w 3457575"/>
                  <a:gd name="connsiteY61" fmla="*/ 304800 h 3822033"/>
                  <a:gd name="connsiteX62" fmla="*/ 2733675 w 3457575"/>
                  <a:gd name="connsiteY62" fmla="*/ 333375 h 3822033"/>
                  <a:gd name="connsiteX63" fmla="*/ 2771775 w 3457575"/>
                  <a:gd name="connsiteY63" fmla="*/ 361950 h 3822033"/>
                  <a:gd name="connsiteX64" fmla="*/ 2809875 w 3457575"/>
                  <a:gd name="connsiteY64" fmla="*/ 400050 h 3822033"/>
                  <a:gd name="connsiteX65" fmla="*/ 2867025 w 3457575"/>
                  <a:gd name="connsiteY65" fmla="*/ 438150 h 3822033"/>
                  <a:gd name="connsiteX66" fmla="*/ 2905125 w 3457575"/>
                  <a:gd name="connsiteY66" fmla="*/ 476250 h 3822033"/>
                  <a:gd name="connsiteX67" fmla="*/ 2971800 w 3457575"/>
                  <a:gd name="connsiteY67" fmla="*/ 523875 h 3822033"/>
                  <a:gd name="connsiteX68" fmla="*/ 2990850 w 3457575"/>
                  <a:gd name="connsiteY68" fmla="*/ 552450 h 3822033"/>
                  <a:gd name="connsiteX69" fmla="*/ 3028950 w 3457575"/>
                  <a:gd name="connsiteY69" fmla="*/ 590550 h 3822033"/>
                  <a:gd name="connsiteX70" fmla="*/ 3048000 w 3457575"/>
                  <a:gd name="connsiteY70" fmla="*/ 628650 h 3822033"/>
                  <a:gd name="connsiteX71" fmla="*/ 3086100 w 3457575"/>
                  <a:gd name="connsiteY71" fmla="*/ 666750 h 3822033"/>
                  <a:gd name="connsiteX72" fmla="*/ 3124200 w 3457575"/>
                  <a:gd name="connsiteY72" fmla="*/ 723900 h 3822033"/>
                  <a:gd name="connsiteX73" fmla="*/ 3219450 w 3457575"/>
                  <a:gd name="connsiteY73" fmla="*/ 838200 h 3822033"/>
                  <a:gd name="connsiteX74" fmla="*/ 3238500 w 3457575"/>
                  <a:gd name="connsiteY74" fmla="*/ 885825 h 3822033"/>
                  <a:gd name="connsiteX75" fmla="*/ 3276600 w 3457575"/>
                  <a:gd name="connsiteY75" fmla="*/ 942975 h 3822033"/>
                  <a:gd name="connsiteX76" fmla="*/ 3286125 w 3457575"/>
                  <a:gd name="connsiteY76" fmla="*/ 990600 h 3822033"/>
                  <a:gd name="connsiteX77" fmla="*/ 3324225 w 3457575"/>
                  <a:gd name="connsiteY77" fmla="*/ 1085850 h 3822033"/>
                  <a:gd name="connsiteX78" fmla="*/ 3362325 w 3457575"/>
                  <a:gd name="connsiteY78" fmla="*/ 1171575 h 3822033"/>
                  <a:gd name="connsiteX79" fmla="*/ 3390900 w 3457575"/>
                  <a:gd name="connsiteY79" fmla="*/ 1219200 h 3822033"/>
                  <a:gd name="connsiteX80" fmla="*/ 3419475 w 3457575"/>
                  <a:gd name="connsiteY80" fmla="*/ 1333500 h 3822033"/>
                  <a:gd name="connsiteX81" fmla="*/ 3429000 w 3457575"/>
                  <a:gd name="connsiteY81" fmla="*/ 1390650 h 3822033"/>
                  <a:gd name="connsiteX82" fmla="*/ 3457575 w 3457575"/>
                  <a:gd name="connsiteY82" fmla="*/ 1657350 h 3822033"/>
                  <a:gd name="connsiteX83" fmla="*/ 3381375 w 3457575"/>
                  <a:gd name="connsiteY83" fmla="*/ 2238375 h 3822033"/>
                  <a:gd name="connsiteX84" fmla="*/ 3343275 w 3457575"/>
                  <a:gd name="connsiteY84" fmla="*/ 2333625 h 3822033"/>
                  <a:gd name="connsiteX85" fmla="*/ 3276600 w 3457575"/>
                  <a:gd name="connsiteY85" fmla="*/ 2400300 h 3822033"/>
                  <a:gd name="connsiteX86" fmla="*/ 3190875 w 3457575"/>
                  <a:gd name="connsiteY86" fmla="*/ 2533650 h 3822033"/>
                  <a:gd name="connsiteX87" fmla="*/ 3105150 w 3457575"/>
                  <a:gd name="connsiteY87" fmla="*/ 2647950 h 3822033"/>
                  <a:gd name="connsiteX88" fmla="*/ 3019425 w 3457575"/>
                  <a:gd name="connsiteY88" fmla="*/ 2781300 h 3822033"/>
                  <a:gd name="connsiteX89" fmla="*/ 2981325 w 3457575"/>
                  <a:gd name="connsiteY89" fmla="*/ 2819400 h 3822033"/>
                  <a:gd name="connsiteX90" fmla="*/ 2943225 w 3457575"/>
                  <a:gd name="connsiteY90" fmla="*/ 2876550 h 3822033"/>
                  <a:gd name="connsiteX91" fmla="*/ 2857500 w 3457575"/>
                  <a:gd name="connsiteY91" fmla="*/ 2933700 h 3822033"/>
                  <a:gd name="connsiteX92" fmla="*/ 2809875 w 3457575"/>
                  <a:gd name="connsiteY92" fmla="*/ 2971800 h 3822033"/>
                  <a:gd name="connsiteX93" fmla="*/ 2705100 w 3457575"/>
                  <a:gd name="connsiteY93" fmla="*/ 3038475 h 3822033"/>
                  <a:gd name="connsiteX94" fmla="*/ 2609850 w 3457575"/>
                  <a:gd name="connsiteY94" fmla="*/ 3105150 h 3822033"/>
                  <a:gd name="connsiteX95" fmla="*/ 2562225 w 3457575"/>
                  <a:gd name="connsiteY95" fmla="*/ 3143250 h 3822033"/>
                  <a:gd name="connsiteX96" fmla="*/ 2495550 w 3457575"/>
                  <a:gd name="connsiteY96" fmla="*/ 3162300 h 3822033"/>
                  <a:gd name="connsiteX97" fmla="*/ 2362200 w 3457575"/>
                  <a:gd name="connsiteY97" fmla="*/ 3219450 h 3822033"/>
                  <a:gd name="connsiteX98" fmla="*/ 2257425 w 3457575"/>
                  <a:gd name="connsiteY98" fmla="*/ 3257550 h 3822033"/>
                  <a:gd name="connsiteX99" fmla="*/ 2181225 w 3457575"/>
                  <a:gd name="connsiteY99" fmla="*/ 3276600 h 3822033"/>
                  <a:gd name="connsiteX100" fmla="*/ 2057400 w 3457575"/>
                  <a:gd name="connsiteY100" fmla="*/ 3362325 h 3822033"/>
                  <a:gd name="connsiteX101" fmla="*/ 2009775 w 3457575"/>
                  <a:gd name="connsiteY101" fmla="*/ 3400425 h 3822033"/>
                  <a:gd name="connsiteX102" fmla="*/ 1962150 w 3457575"/>
                  <a:gd name="connsiteY102" fmla="*/ 3429000 h 3822033"/>
                  <a:gd name="connsiteX103" fmla="*/ 1905000 w 3457575"/>
                  <a:gd name="connsiteY103" fmla="*/ 3495675 h 3822033"/>
                  <a:gd name="connsiteX104" fmla="*/ 1819275 w 3457575"/>
                  <a:gd name="connsiteY104" fmla="*/ 3609975 h 3822033"/>
                  <a:gd name="connsiteX105" fmla="*/ 1800225 w 3457575"/>
                  <a:gd name="connsiteY105" fmla="*/ 3638550 h 3822033"/>
                  <a:gd name="connsiteX106" fmla="*/ 1790700 w 3457575"/>
                  <a:gd name="connsiteY106" fmla="*/ 3667125 h 3822033"/>
                  <a:gd name="connsiteX107" fmla="*/ 1771650 w 3457575"/>
                  <a:gd name="connsiteY107" fmla="*/ 3695700 h 3822033"/>
                  <a:gd name="connsiteX108" fmla="*/ 1752600 w 3457575"/>
                  <a:gd name="connsiteY108" fmla="*/ 3733800 h 3822033"/>
                  <a:gd name="connsiteX109" fmla="*/ 1714500 w 3457575"/>
                  <a:gd name="connsiteY109" fmla="*/ 3810000 h 3822033"/>
                  <a:gd name="connsiteX110" fmla="*/ 1704975 w 3457575"/>
                  <a:gd name="connsiteY11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647825 w 3457575"/>
                  <a:gd name="connsiteY2" fmla="*/ 3743325 h 3822033"/>
                  <a:gd name="connsiteX3" fmla="*/ 1533525 w 3457575"/>
                  <a:gd name="connsiteY3" fmla="*/ 3543300 h 3822033"/>
                  <a:gd name="connsiteX4" fmla="*/ 1409700 w 3457575"/>
                  <a:gd name="connsiteY4" fmla="*/ 3438525 h 3822033"/>
                  <a:gd name="connsiteX5" fmla="*/ 1371600 w 3457575"/>
                  <a:gd name="connsiteY5" fmla="*/ 3419475 h 3822033"/>
                  <a:gd name="connsiteX6" fmla="*/ 1343025 w 3457575"/>
                  <a:gd name="connsiteY6" fmla="*/ 3400425 h 3822033"/>
                  <a:gd name="connsiteX7" fmla="*/ 1247775 w 3457575"/>
                  <a:gd name="connsiteY7" fmla="*/ 3381375 h 3822033"/>
                  <a:gd name="connsiteX8" fmla="*/ 1133475 w 3457575"/>
                  <a:gd name="connsiteY8" fmla="*/ 3324225 h 3822033"/>
                  <a:gd name="connsiteX9" fmla="*/ 1009650 w 3457575"/>
                  <a:gd name="connsiteY9" fmla="*/ 3276600 h 3822033"/>
                  <a:gd name="connsiteX10" fmla="*/ 962025 w 3457575"/>
                  <a:gd name="connsiteY10" fmla="*/ 3238500 h 3822033"/>
                  <a:gd name="connsiteX11" fmla="*/ 923925 w 3457575"/>
                  <a:gd name="connsiteY11" fmla="*/ 3219450 h 3822033"/>
                  <a:gd name="connsiteX12" fmla="*/ 790575 w 3457575"/>
                  <a:gd name="connsiteY12" fmla="*/ 3162300 h 3822033"/>
                  <a:gd name="connsiteX13" fmla="*/ 638175 w 3457575"/>
                  <a:gd name="connsiteY13" fmla="*/ 3048000 h 3822033"/>
                  <a:gd name="connsiteX14" fmla="*/ 619125 w 3457575"/>
                  <a:gd name="connsiteY14" fmla="*/ 3009900 h 3822033"/>
                  <a:gd name="connsiteX15" fmla="*/ 571500 w 3457575"/>
                  <a:gd name="connsiteY15" fmla="*/ 2943225 h 3822033"/>
                  <a:gd name="connsiteX16" fmla="*/ 333375 w 3457575"/>
                  <a:gd name="connsiteY16" fmla="*/ 2676525 h 3822033"/>
                  <a:gd name="connsiteX17" fmla="*/ 295275 w 3457575"/>
                  <a:gd name="connsiteY17" fmla="*/ 2581275 h 3822033"/>
                  <a:gd name="connsiteX18" fmla="*/ 257175 w 3457575"/>
                  <a:gd name="connsiteY18" fmla="*/ 2495550 h 3822033"/>
                  <a:gd name="connsiteX19" fmla="*/ 228600 w 3457575"/>
                  <a:gd name="connsiteY19" fmla="*/ 2457450 h 3822033"/>
                  <a:gd name="connsiteX20" fmla="*/ 200025 w 3457575"/>
                  <a:gd name="connsiteY20" fmla="*/ 2371725 h 3822033"/>
                  <a:gd name="connsiteX21" fmla="*/ 180975 w 3457575"/>
                  <a:gd name="connsiteY21" fmla="*/ 2343150 h 3822033"/>
                  <a:gd name="connsiteX22" fmla="*/ 152400 w 3457575"/>
                  <a:gd name="connsiteY22" fmla="*/ 2219325 h 3822033"/>
                  <a:gd name="connsiteX23" fmla="*/ 142875 w 3457575"/>
                  <a:gd name="connsiteY23" fmla="*/ 2190750 h 3822033"/>
                  <a:gd name="connsiteX24" fmla="*/ 123825 w 3457575"/>
                  <a:gd name="connsiteY24" fmla="*/ 2143125 h 3822033"/>
                  <a:gd name="connsiteX25" fmla="*/ 95250 w 3457575"/>
                  <a:gd name="connsiteY25" fmla="*/ 2028825 h 3822033"/>
                  <a:gd name="connsiteX26" fmla="*/ 85725 w 3457575"/>
                  <a:gd name="connsiteY26" fmla="*/ 1990725 h 3822033"/>
                  <a:gd name="connsiteX27" fmla="*/ 57150 w 3457575"/>
                  <a:gd name="connsiteY27" fmla="*/ 1933575 h 3822033"/>
                  <a:gd name="connsiteX28" fmla="*/ 28575 w 3457575"/>
                  <a:gd name="connsiteY28" fmla="*/ 1819275 h 3822033"/>
                  <a:gd name="connsiteX29" fmla="*/ 9525 w 3457575"/>
                  <a:gd name="connsiteY29" fmla="*/ 1657350 h 3822033"/>
                  <a:gd name="connsiteX30" fmla="*/ 0 w 3457575"/>
                  <a:gd name="connsiteY30" fmla="*/ 1609725 h 3822033"/>
                  <a:gd name="connsiteX31" fmla="*/ 9525 w 3457575"/>
                  <a:gd name="connsiteY31" fmla="*/ 1428750 h 3822033"/>
                  <a:gd name="connsiteX32" fmla="*/ 28575 w 3457575"/>
                  <a:gd name="connsiteY32" fmla="*/ 1304925 h 3822033"/>
                  <a:gd name="connsiteX33" fmla="*/ 38100 w 3457575"/>
                  <a:gd name="connsiteY33" fmla="*/ 1247775 h 3822033"/>
                  <a:gd name="connsiteX34" fmla="*/ 76200 w 3457575"/>
                  <a:gd name="connsiteY34" fmla="*/ 1152525 h 3822033"/>
                  <a:gd name="connsiteX35" fmla="*/ 114300 w 3457575"/>
                  <a:gd name="connsiteY35" fmla="*/ 990600 h 3822033"/>
                  <a:gd name="connsiteX36" fmla="*/ 133350 w 3457575"/>
                  <a:gd name="connsiteY36" fmla="*/ 923925 h 3822033"/>
                  <a:gd name="connsiteX37" fmla="*/ 171450 w 3457575"/>
                  <a:gd name="connsiteY37" fmla="*/ 866775 h 3822033"/>
                  <a:gd name="connsiteX38" fmla="*/ 228600 w 3457575"/>
                  <a:gd name="connsiteY38" fmla="*/ 762000 h 3822033"/>
                  <a:gd name="connsiteX39" fmla="*/ 304800 w 3457575"/>
                  <a:gd name="connsiteY39" fmla="*/ 647700 h 3822033"/>
                  <a:gd name="connsiteX40" fmla="*/ 552450 w 3457575"/>
                  <a:gd name="connsiteY40" fmla="*/ 361950 h 3822033"/>
                  <a:gd name="connsiteX41" fmla="*/ 609600 w 3457575"/>
                  <a:gd name="connsiteY41" fmla="*/ 323850 h 3822033"/>
                  <a:gd name="connsiteX42" fmla="*/ 666750 w 3457575"/>
                  <a:gd name="connsiteY42" fmla="*/ 285750 h 3822033"/>
                  <a:gd name="connsiteX43" fmla="*/ 762000 w 3457575"/>
                  <a:gd name="connsiteY43" fmla="*/ 238125 h 3822033"/>
                  <a:gd name="connsiteX44" fmla="*/ 800100 w 3457575"/>
                  <a:gd name="connsiteY44" fmla="*/ 219075 h 3822033"/>
                  <a:gd name="connsiteX45" fmla="*/ 895350 w 3457575"/>
                  <a:gd name="connsiteY45" fmla="*/ 161925 h 3822033"/>
                  <a:gd name="connsiteX46" fmla="*/ 962025 w 3457575"/>
                  <a:gd name="connsiteY46" fmla="*/ 133350 h 3822033"/>
                  <a:gd name="connsiteX47" fmla="*/ 1123950 w 3457575"/>
                  <a:gd name="connsiteY47" fmla="*/ 76200 h 3822033"/>
                  <a:gd name="connsiteX48" fmla="*/ 1162050 w 3457575"/>
                  <a:gd name="connsiteY48" fmla="*/ 66675 h 3822033"/>
                  <a:gd name="connsiteX49" fmla="*/ 1438275 w 3457575"/>
                  <a:gd name="connsiteY49" fmla="*/ 0 h 3822033"/>
                  <a:gd name="connsiteX50" fmla="*/ 2038350 w 3457575"/>
                  <a:gd name="connsiteY50" fmla="*/ 9525 h 3822033"/>
                  <a:gd name="connsiteX51" fmla="*/ 2105025 w 3457575"/>
                  <a:gd name="connsiteY51" fmla="*/ 19050 h 3822033"/>
                  <a:gd name="connsiteX52" fmla="*/ 2162175 w 3457575"/>
                  <a:gd name="connsiteY52" fmla="*/ 47625 h 3822033"/>
                  <a:gd name="connsiteX53" fmla="*/ 2228850 w 3457575"/>
                  <a:gd name="connsiteY53" fmla="*/ 66675 h 3822033"/>
                  <a:gd name="connsiteX54" fmla="*/ 2343150 w 3457575"/>
                  <a:gd name="connsiteY54" fmla="*/ 133350 h 3822033"/>
                  <a:gd name="connsiteX55" fmla="*/ 2390775 w 3457575"/>
                  <a:gd name="connsiteY55" fmla="*/ 142875 h 3822033"/>
                  <a:gd name="connsiteX56" fmla="*/ 2457450 w 3457575"/>
                  <a:gd name="connsiteY56" fmla="*/ 171450 h 3822033"/>
                  <a:gd name="connsiteX57" fmla="*/ 2486025 w 3457575"/>
                  <a:gd name="connsiteY57" fmla="*/ 200025 h 3822033"/>
                  <a:gd name="connsiteX58" fmla="*/ 2571750 w 3457575"/>
                  <a:gd name="connsiteY58" fmla="*/ 228600 h 3822033"/>
                  <a:gd name="connsiteX59" fmla="*/ 2676525 w 3457575"/>
                  <a:gd name="connsiteY59" fmla="*/ 285750 h 3822033"/>
                  <a:gd name="connsiteX60" fmla="*/ 2705100 w 3457575"/>
                  <a:gd name="connsiteY60" fmla="*/ 304800 h 3822033"/>
                  <a:gd name="connsiteX61" fmla="*/ 2733675 w 3457575"/>
                  <a:gd name="connsiteY61" fmla="*/ 333375 h 3822033"/>
                  <a:gd name="connsiteX62" fmla="*/ 2771775 w 3457575"/>
                  <a:gd name="connsiteY62" fmla="*/ 361950 h 3822033"/>
                  <a:gd name="connsiteX63" fmla="*/ 2809875 w 3457575"/>
                  <a:gd name="connsiteY63" fmla="*/ 400050 h 3822033"/>
                  <a:gd name="connsiteX64" fmla="*/ 2867025 w 3457575"/>
                  <a:gd name="connsiteY64" fmla="*/ 438150 h 3822033"/>
                  <a:gd name="connsiteX65" fmla="*/ 2905125 w 3457575"/>
                  <a:gd name="connsiteY65" fmla="*/ 476250 h 3822033"/>
                  <a:gd name="connsiteX66" fmla="*/ 2971800 w 3457575"/>
                  <a:gd name="connsiteY66" fmla="*/ 523875 h 3822033"/>
                  <a:gd name="connsiteX67" fmla="*/ 2990850 w 3457575"/>
                  <a:gd name="connsiteY67" fmla="*/ 552450 h 3822033"/>
                  <a:gd name="connsiteX68" fmla="*/ 3028950 w 3457575"/>
                  <a:gd name="connsiteY68" fmla="*/ 590550 h 3822033"/>
                  <a:gd name="connsiteX69" fmla="*/ 3048000 w 3457575"/>
                  <a:gd name="connsiteY69" fmla="*/ 628650 h 3822033"/>
                  <a:gd name="connsiteX70" fmla="*/ 3086100 w 3457575"/>
                  <a:gd name="connsiteY70" fmla="*/ 666750 h 3822033"/>
                  <a:gd name="connsiteX71" fmla="*/ 3124200 w 3457575"/>
                  <a:gd name="connsiteY71" fmla="*/ 723900 h 3822033"/>
                  <a:gd name="connsiteX72" fmla="*/ 3219450 w 3457575"/>
                  <a:gd name="connsiteY72" fmla="*/ 838200 h 3822033"/>
                  <a:gd name="connsiteX73" fmla="*/ 3238500 w 3457575"/>
                  <a:gd name="connsiteY73" fmla="*/ 885825 h 3822033"/>
                  <a:gd name="connsiteX74" fmla="*/ 3276600 w 3457575"/>
                  <a:gd name="connsiteY74" fmla="*/ 942975 h 3822033"/>
                  <a:gd name="connsiteX75" fmla="*/ 3286125 w 3457575"/>
                  <a:gd name="connsiteY75" fmla="*/ 990600 h 3822033"/>
                  <a:gd name="connsiteX76" fmla="*/ 3324225 w 3457575"/>
                  <a:gd name="connsiteY76" fmla="*/ 1085850 h 3822033"/>
                  <a:gd name="connsiteX77" fmla="*/ 3362325 w 3457575"/>
                  <a:gd name="connsiteY77" fmla="*/ 1171575 h 3822033"/>
                  <a:gd name="connsiteX78" fmla="*/ 3390900 w 3457575"/>
                  <a:gd name="connsiteY78" fmla="*/ 1219200 h 3822033"/>
                  <a:gd name="connsiteX79" fmla="*/ 3419475 w 3457575"/>
                  <a:gd name="connsiteY79" fmla="*/ 1333500 h 3822033"/>
                  <a:gd name="connsiteX80" fmla="*/ 3429000 w 3457575"/>
                  <a:gd name="connsiteY80" fmla="*/ 1390650 h 3822033"/>
                  <a:gd name="connsiteX81" fmla="*/ 3457575 w 3457575"/>
                  <a:gd name="connsiteY81" fmla="*/ 1657350 h 3822033"/>
                  <a:gd name="connsiteX82" fmla="*/ 3381375 w 3457575"/>
                  <a:gd name="connsiteY82" fmla="*/ 2238375 h 3822033"/>
                  <a:gd name="connsiteX83" fmla="*/ 3343275 w 3457575"/>
                  <a:gd name="connsiteY83" fmla="*/ 2333625 h 3822033"/>
                  <a:gd name="connsiteX84" fmla="*/ 3276600 w 3457575"/>
                  <a:gd name="connsiteY84" fmla="*/ 2400300 h 3822033"/>
                  <a:gd name="connsiteX85" fmla="*/ 3190875 w 3457575"/>
                  <a:gd name="connsiteY85" fmla="*/ 2533650 h 3822033"/>
                  <a:gd name="connsiteX86" fmla="*/ 3105150 w 3457575"/>
                  <a:gd name="connsiteY86" fmla="*/ 2647950 h 3822033"/>
                  <a:gd name="connsiteX87" fmla="*/ 3019425 w 3457575"/>
                  <a:gd name="connsiteY87" fmla="*/ 2781300 h 3822033"/>
                  <a:gd name="connsiteX88" fmla="*/ 2981325 w 3457575"/>
                  <a:gd name="connsiteY88" fmla="*/ 2819400 h 3822033"/>
                  <a:gd name="connsiteX89" fmla="*/ 2943225 w 3457575"/>
                  <a:gd name="connsiteY89" fmla="*/ 2876550 h 3822033"/>
                  <a:gd name="connsiteX90" fmla="*/ 2857500 w 3457575"/>
                  <a:gd name="connsiteY90" fmla="*/ 2933700 h 3822033"/>
                  <a:gd name="connsiteX91" fmla="*/ 2809875 w 3457575"/>
                  <a:gd name="connsiteY91" fmla="*/ 2971800 h 3822033"/>
                  <a:gd name="connsiteX92" fmla="*/ 2705100 w 3457575"/>
                  <a:gd name="connsiteY92" fmla="*/ 3038475 h 3822033"/>
                  <a:gd name="connsiteX93" fmla="*/ 2609850 w 3457575"/>
                  <a:gd name="connsiteY93" fmla="*/ 3105150 h 3822033"/>
                  <a:gd name="connsiteX94" fmla="*/ 2562225 w 3457575"/>
                  <a:gd name="connsiteY94" fmla="*/ 3143250 h 3822033"/>
                  <a:gd name="connsiteX95" fmla="*/ 2495550 w 3457575"/>
                  <a:gd name="connsiteY95" fmla="*/ 3162300 h 3822033"/>
                  <a:gd name="connsiteX96" fmla="*/ 2362200 w 3457575"/>
                  <a:gd name="connsiteY96" fmla="*/ 3219450 h 3822033"/>
                  <a:gd name="connsiteX97" fmla="*/ 2257425 w 3457575"/>
                  <a:gd name="connsiteY97" fmla="*/ 3257550 h 3822033"/>
                  <a:gd name="connsiteX98" fmla="*/ 2181225 w 3457575"/>
                  <a:gd name="connsiteY98" fmla="*/ 3276600 h 3822033"/>
                  <a:gd name="connsiteX99" fmla="*/ 2057400 w 3457575"/>
                  <a:gd name="connsiteY99" fmla="*/ 3362325 h 3822033"/>
                  <a:gd name="connsiteX100" fmla="*/ 2009775 w 3457575"/>
                  <a:gd name="connsiteY100" fmla="*/ 3400425 h 3822033"/>
                  <a:gd name="connsiteX101" fmla="*/ 1962150 w 3457575"/>
                  <a:gd name="connsiteY101" fmla="*/ 3429000 h 3822033"/>
                  <a:gd name="connsiteX102" fmla="*/ 1905000 w 3457575"/>
                  <a:gd name="connsiteY102" fmla="*/ 3495675 h 3822033"/>
                  <a:gd name="connsiteX103" fmla="*/ 1819275 w 3457575"/>
                  <a:gd name="connsiteY103" fmla="*/ 3609975 h 3822033"/>
                  <a:gd name="connsiteX104" fmla="*/ 1800225 w 3457575"/>
                  <a:gd name="connsiteY104" fmla="*/ 3638550 h 3822033"/>
                  <a:gd name="connsiteX105" fmla="*/ 1790700 w 3457575"/>
                  <a:gd name="connsiteY105" fmla="*/ 3667125 h 3822033"/>
                  <a:gd name="connsiteX106" fmla="*/ 1771650 w 3457575"/>
                  <a:gd name="connsiteY106" fmla="*/ 3695700 h 3822033"/>
                  <a:gd name="connsiteX107" fmla="*/ 1752600 w 3457575"/>
                  <a:gd name="connsiteY107" fmla="*/ 3733800 h 3822033"/>
                  <a:gd name="connsiteX108" fmla="*/ 1714500 w 3457575"/>
                  <a:gd name="connsiteY108" fmla="*/ 3810000 h 3822033"/>
                  <a:gd name="connsiteX109" fmla="*/ 1704975 w 3457575"/>
                  <a:gd name="connsiteY109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343275 w 3457575"/>
                  <a:gd name="connsiteY82" fmla="*/ 2333625 h 3822033"/>
                  <a:gd name="connsiteX83" fmla="*/ 3276600 w 3457575"/>
                  <a:gd name="connsiteY83" fmla="*/ 2400300 h 3822033"/>
                  <a:gd name="connsiteX84" fmla="*/ 3190875 w 3457575"/>
                  <a:gd name="connsiteY84" fmla="*/ 2533650 h 3822033"/>
                  <a:gd name="connsiteX85" fmla="*/ 3105150 w 3457575"/>
                  <a:gd name="connsiteY85" fmla="*/ 2647950 h 3822033"/>
                  <a:gd name="connsiteX86" fmla="*/ 3019425 w 3457575"/>
                  <a:gd name="connsiteY86" fmla="*/ 2781300 h 3822033"/>
                  <a:gd name="connsiteX87" fmla="*/ 2981325 w 3457575"/>
                  <a:gd name="connsiteY87" fmla="*/ 2819400 h 3822033"/>
                  <a:gd name="connsiteX88" fmla="*/ 2943225 w 3457575"/>
                  <a:gd name="connsiteY88" fmla="*/ 2876550 h 3822033"/>
                  <a:gd name="connsiteX89" fmla="*/ 2857500 w 3457575"/>
                  <a:gd name="connsiteY89" fmla="*/ 2933700 h 3822033"/>
                  <a:gd name="connsiteX90" fmla="*/ 2809875 w 3457575"/>
                  <a:gd name="connsiteY90" fmla="*/ 2971800 h 3822033"/>
                  <a:gd name="connsiteX91" fmla="*/ 2705100 w 3457575"/>
                  <a:gd name="connsiteY91" fmla="*/ 3038475 h 3822033"/>
                  <a:gd name="connsiteX92" fmla="*/ 2609850 w 3457575"/>
                  <a:gd name="connsiteY92" fmla="*/ 3105150 h 3822033"/>
                  <a:gd name="connsiteX93" fmla="*/ 2562225 w 3457575"/>
                  <a:gd name="connsiteY93" fmla="*/ 3143250 h 3822033"/>
                  <a:gd name="connsiteX94" fmla="*/ 2495550 w 3457575"/>
                  <a:gd name="connsiteY94" fmla="*/ 3162300 h 3822033"/>
                  <a:gd name="connsiteX95" fmla="*/ 2362200 w 3457575"/>
                  <a:gd name="connsiteY95" fmla="*/ 3219450 h 3822033"/>
                  <a:gd name="connsiteX96" fmla="*/ 2257425 w 3457575"/>
                  <a:gd name="connsiteY96" fmla="*/ 3257550 h 3822033"/>
                  <a:gd name="connsiteX97" fmla="*/ 2181225 w 3457575"/>
                  <a:gd name="connsiteY97" fmla="*/ 3276600 h 3822033"/>
                  <a:gd name="connsiteX98" fmla="*/ 2057400 w 3457575"/>
                  <a:gd name="connsiteY98" fmla="*/ 3362325 h 3822033"/>
                  <a:gd name="connsiteX99" fmla="*/ 2009775 w 3457575"/>
                  <a:gd name="connsiteY99" fmla="*/ 3400425 h 3822033"/>
                  <a:gd name="connsiteX100" fmla="*/ 1962150 w 3457575"/>
                  <a:gd name="connsiteY100" fmla="*/ 3429000 h 3822033"/>
                  <a:gd name="connsiteX101" fmla="*/ 1905000 w 3457575"/>
                  <a:gd name="connsiteY101" fmla="*/ 3495675 h 3822033"/>
                  <a:gd name="connsiteX102" fmla="*/ 1819275 w 3457575"/>
                  <a:gd name="connsiteY102" fmla="*/ 3609975 h 3822033"/>
                  <a:gd name="connsiteX103" fmla="*/ 1800225 w 3457575"/>
                  <a:gd name="connsiteY103" fmla="*/ 3638550 h 3822033"/>
                  <a:gd name="connsiteX104" fmla="*/ 1790700 w 3457575"/>
                  <a:gd name="connsiteY104" fmla="*/ 3667125 h 3822033"/>
                  <a:gd name="connsiteX105" fmla="*/ 1771650 w 3457575"/>
                  <a:gd name="connsiteY105" fmla="*/ 3695700 h 3822033"/>
                  <a:gd name="connsiteX106" fmla="*/ 1752600 w 3457575"/>
                  <a:gd name="connsiteY106" fmla="*/ 3733800 h 3822033"/>
                  <a:gd name="connsiteX107" fmla="*/ 1714500 w 3457575"/>
                  <a:gd name="connsiteY107" fmla="*/ 3810000 h 3822033"/>
                  <a:gd name="connsiteX108" fmla="*/ 1704975 w 3457575"/>
                  <a:gd name="connsiteY108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81375 w 3457575"/>
                  <a:gd name="connsiteY81" fmla="*/ 22383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85725 w 3457575"/>
                  <a:gd name="connsiteY25" fmla="*/ 1990725 h 3822033"/>
                  <a:gd name="connsiteX26" fmla="*/ 57150 w 3457575"/>
                  <a:gd name="connsiteY26" fmla="*/ 1933575 h 3822033"/>
                  <a:gd name="connsiteX27" fmla="*/ 28575 w 3457575"/>
                  <a:gd name="connsiteY27" fmla="*/ 1819275 h 3822033"/>
                  <a:gd name="connsiteX28" fmla="*/ 9525 w 3457575"/>
                  <a:gd name="connsiteY28" fmla="*/ 1657350 h 3822033"/>
                  <a:gd name="connsiteX29" fmla="*/ 0 w 3457575"/>
                  <a:gd name="connsiteY29" fmla="*/ 1609725 h 3822033"/>
                  <a:gd name="connsiteX30" fmla="*/ 9525 w 3457575"/>
                  <a:gd name="connsiteY30" fmla="*/ 1428750 h 3822033"/>
                  <a:gd name="connsiteX31" fmla="*/ 28575 w 3457575"/>
                  <a:gd name="connsiteY31" fmla="*/ 1304925 h 3822033"/>
                  <a:gd name="connsiteX32" fmla="*/ 38100 w 3457575"/>
                  <a:gd name="connsiteY32" fmla="*/ 1247775 h 3822033"/>
                  <a:gd name="connsiteX33" fmla="*/ 76200 w 3457575"/>
                  <a:gd name="connsiteY33" fmla="*/ 1152525 h 3822033"/>
                  <a:gd name="connsiteX34" fmla="*/ 114300 w 3457575"/>
                  <a:gd name="connsiteY34" fmla="*/ 990600 h 3822033"/>
                  <a:gd name="connsiteX35" fmla="*/ 133350 w 3457575"/>
                  <a:gd name="connsiteY35" fmla="*/ 923925 h 3822033"/>
                  <a:gd name="connsiteX36" fmla="*/ 171450 w 3457575"/>
                  <a:gd name="connsiteY36" fmla="*/ 866775 h 3822033"/>
                  <a:gd name="connsiteX37" fmla="*/ 228600 w 3457575"/>
                  <a:gd name="connsiteY37" fmla="*/ 762000 h 3822033"/>
                  <a:gd name="connsiteX38" fmla="*/ 304800 w 3457575"/>
                  <a:gd name="connsiteY38" fmla="*/ 647700 h 3822033"/>
                  <a:gd name="connsiteX39" fmla="*/ 552450 w 3457575"/>
                  <a:gd name="connsiteY39" fmla="*/ 361950 h 3822033"/>
                  <a:gd name="connsiteX40" fmla="*/ 609600 w 3457575"/>
                  <a:gd name="connsiteY40" fmla="*/ 323850 h 3822033"/>
                  <a:gd name="connsiteX41" fmla="*/ 666750 w 3457575"/>
                  <a:gd name="connsiteY41" fmla="*/ 285750 h 3822033"/>
                  <a:gd name="connsiteX42" fmla="*/ 762000 w 3457575"/>
                  <a:gd name="connsiteY42" fmla="*/ 238125 h 3822033"/>
                  <a:gd name="connsiteX43" fmla="*/ 800100 w 3457575"/>
                  <a:gd name="connsiteY43" fmla="*/ 219075 h 3822033"/>
                  <a:gd name="connsiteX44" fmla="*/ 895350 w 3457575"/>
                  <a:gd name="connsiteY44" fmla="*/ 161925 h 3822033"/>
                  <a:gd name="connsiteX45" fmla="*/ 962025 w 3457575"/>
                  <a:gd name="connsiteY45" fmla="*/ 133350 h 3822033"/>
                  <a:gd name="connsiteX46" fmla="*/ 1123950 w 3457575"/>
                  <a:gd name="connsiteY46" fmla="*/ 76200 h 3822033"/>
                  <a:gd name="connsiteX47" fmla="*/ 1162050 w 3457575"/>
                  <a:gd name="connsiteY47" fmla="*/ 66675 h 3822033"/>
                  <a:gd name="connsiteX48" fmla="*/ 1438275 w 3457575"/>
                  <a:gd name="connsiteY48" fmla="*/ 0 h 3822033"/>
                  <a:gd name="connsiteX49" fmla="*/ 2038350 w 3457575"/>
                  <a:gd name="connsiteY49" fmla="*/ 9525 h 3822033"/>
                  <a:gd name="connsiteX50" fmla="*/ 2105025 w 3457575"/>
                  <a:gd name="connsiteY50" fmla="*/ 19050 h 3822033"/>
                  <a:gd name="connsiteX51" fmla="*/ 2162175 w 3457575"/>
                  <a:gd name="connsiteY51" fmla="*/ 47625 h 3822033"/>
                  <a:gd name="connsiteX52" fmla="*/ 2228850 w 3457575"/>
                  <a:gd name="connsiteY52" fmla="*/ 66675 h 3822033"/>
                  <a:gd name="connsiteX53" fmla="*/ 2343150 w 3457575"/>
                  <a:gd name="connsiteY53" fmla="*/ 133350 h 3822033"/>
                  <a:gd name="connsiteX54" fmla="*/ 2390775 w 3457575"/>
                  <a:gd name="connsiteY54" fmla="*/ 142875 h 3822033"/>
                  <a:gd name="connsiteX55" fmla="*/ 2457450 w 3457575"/>
                  <a:gd name="connsiteY55" fmla="*/ 171450 h 3822033"/>
                  <a:gd name="connsiteX56" fmla="*/ 2486025 w 3457575"/>
                  <a:gd name="connsiteY56" fmla="*/ 200025 h 3822033"/>
                  <a:gd name="connsiteX57" fmla="*/ 2571750 w 3457575"/>
                  <a:gd name="connsiteY57" fmla="*/ 228600 h 3822033"/>
                  <a:gd name="connsiteX58" fmla="*/ 2676525 w 3457575"/>
                  <a:gd name="connsiteY58" fmla="*/ 285750 h 3822033"/>
                  <a:gd name="connsiteX59" fmla="*/ 2705100 w 3457575"/>
                  <a:gd name="connsiteY59" fmla="*/ 304800 h 3822033"/>
                  <a:gd name="connsiteX60" fmla="*/ 2733675 w 3457575"/>
                  <a:gd name="connsiteY60" fmla="*/ 333375 h 3822033"/>
                  <a:gd name="connsiteX61" fmla="*/ 2771775 w 3457575"/>
                  <a:gd name="connsiteY61" fmla="*/ 361950 h 3822033"/>
                  <a:gd name="connsiteX62" fmla="*/ 2809875 w 3457575"/>
                  <a:gd name="connsiteY62" fmla="*/ 400050 h 3822033"/>
                  <a:gd name="connsiteX63" fmla="*/ 2867025 w 3457575"/>
                  <a:gd name="connsiteY63" fmla="*/ 438150 h 3822033"/>
                  <a:gd name="connsiteX64" fmla="*/ 2905125 w 3457575"/>
                  <a:gd name="connsiteY64" fmla="*/ 476250 h 3822033"/>
                  <a:gd name="connsiteX65" fmla="*/ 2971800 w 3457575"/>
                  <a:gd name="connsiteY65" fmla="*/ 523875 h 3822033"/>
                  <a:gd name="connsiteX66" fmla="*/ 2990850 w 3457575"/>
                  <a:gd name="connsiteY66" fmla="*/ 552450 h 3822033"/>
                  <a:gd name="connsiteX67" fmla="*/ 3028950 w 3457575"/>
                  <a:gd name="connsiteY67" fmla="*/ 590550 h 3822033"/>
                  <a:gd name="connsiteX68" fmla="*/ 3048000 w 3457575"/>
                  <a:gd name="connsiteY68" fmla="*/ 628650 h 3822033"/>
                  <a:gd name="connsiteX69" fmla="*/ 3086100 w 3457575"/>
                  <a:gd name="connsiteY69" fmla="*/ 666750 h 3822033"/>
                  <a:gd name="connsiteX70" fmla="*/ 3124200 w 3457575"/>
                  <a:gd name="connsiteY70" fmla="*/ 723900 h 3822033"/>
                  <a:gd name="connsiteX71" fmla="*/ 3219450 w 3457575"/>
                  <a:gd name="connsiteY71" fmla="*/ 838200 h 3822033"/>
                  <a:gd name="connsiteX72" fmla="*/ 3238500 w 3457575"/>
                  <a:gd name="connsiteY72" fmla="*/ 885825 h 3822033"/>
                  <a:gd name="connsiteX73" fmla="*/ 3276600 w 3457575"/>
                  <a:gd name="connsiteY73" fmla="*/ 942975 h 3822033"/>
                  <a:gd name="connsiteX74" fmla="*/ 3286125 w 3457575"/>
                  <a:gd name="connsiteY74" fmla="*/ 990600 h 3822033"/>
                  <a:gd name="connsiteX75" fmla="*/ 3324225 w 3457575"/>
                  <a:gd name="connsiteY75" fmla="*/ 1085850 h 3822033"/>
                  <a:gd name="connsiteX76" fmla="*/ 3362325 w 3457575"/>
                  <a:gd name="connsiteY76" fmla="*/ 1171575 h 3822033"/>
                  <a:gd name="connsiteX77" fmla="*/ 3390900 w 3457575"/>
                  <a:gd name="connsiteY77" fmla="*/ 1219200 h 3822033"/>
                  <a:gd name="connsiteX78" fmla="*/ 3419475 w 3457575"/>
                  <a:gd name="connsiteY78" fmla="*/ 1333500 h 3822033"/>
                  <a:gd name="connsiteX79" fmla="*/ 3429000 w 3457575"/>
                  <a:gd name="connsiteY79" fmla="*/ 1390650 h 3822033"/>
                  <a:gd name="connsiteX80" fmla="*/ 3457575 w 3457575"/>
                  <a:gd name="connsiteY80" fmla="*/ 1657350 h 3822033"/>
                  <a:gd name="connsiteX81" fmla="*/ 3362325 w 3457575"/>
                  <a:gd name="connsiteY81" fmla="*/ 2187575 h 3822033"/>
                  <a:gd name="connsiteX82" fmla="*/ 3276600 w 3457575"/>
                  <a:gd name="connsiteY82" fmla="*/ 2400300 h 3822033"/>
                  <a:gd name="connsiteX83" fmla="*/ 3190875 w 3457575"/>
                  <a:gd name="connsiteY83" fmla="*/ 2533650 h 3822033"/>
                  <a:gd name="connsiteX84" fmla="*/ 3105150 w 3457575"/>
                  <a:gd name="connsiteY84" fmla="*/ 2647950 h 3822033"/>
                  <a:gd name="connsiteX85" fmla="*/ 3019425 w 3457575"/>
                  <a:gd name="connsiteY85" fmla="*/ 2781300 h 3822033"/>
                  <a:gd name="connsiteX86" fmla="*/ 2981325 w 3457575"/>
                  <a:gd name="connsiteY86" fmla="*/ 2819400 h 3822033"/>
                  <a:gd name="connsiteX87" fmla="*/ 2943225 w 3457575"/>
                  <a:gd name="connsiteY87" fmla="*/ 2876550 h 3822033"/>
                  <a:gd name="connsiteX88" fmla="*/ 2857500 w 3457575"/>
                  <a:gd name="connsiteY88" fmla="*/ 2933700 h 3822033"/>
                  <a:gd name="connsiteX89" fmla="*/ 2809875 w 3457575"/>
                  <a:gd name="connsiteY89" fmla="*/ 2971800 h 3822033"/>
                  <a:gd name="connsiteX90" fmla="*/ 2705100 w 3457575"/>
                  <a:gd name="connsiteY90" fmla="*/ 3038475 h 3822033"/>
                  <a:gd name="connsiteX91" fmla="*/ 2609850 w 3457575"/>
                  <a:gd name="connsiteY91" fmla="*/ 3105150 h 3822033"/>
                  <a:gd name="connsiteX92" fmla="*/ 2562225 w 3457575"/>
                  <a:gd name="connsiteY92" fmla="*/ 3143250 h 3822033"/>
                  <a:gd name="connsiteX93" fmla="*/ 2495550 w 3457575"/>
                  <a:gd name="connsiteY93" fmla="*/ 3162300 h 3822033"/>
                  <a:gd name="connsiteX94" fmla="*/ 2362200 w 3457575"/>
                  <a:gd name="connsiteY94" fmla="*/ 3219450 h 3822033"/>
                  <a:gd name="connsiteX95" fmla="*/ 2257425 w 3457575"/>
                  <a:gd name="connsiteY95" fmla="*/ 3257550 h 3822033"/>
                  <a:gd name="connsiteX96" fmla="*/ 2181225 w 3457575"/>
                  <a:gd name="connsiteY96" fmla="*/ 3276600 h 3822033"/>
                  <a:gd name="connsiteX97" fmla="*/ 2057400 w 3457575"/>
                  <a:gd name="connsiteY97" fmla="*/ 3362325 h 3822033"/>
                  <a:gd name="connsiteX98" fmla="*/ 2009775 w 3457575"/>
                  <a:gd name="connsiteY98" fmla="*/ 3400425 h 3822033"/>
                  <a:gd name="connsiteX99" fmla="*/ 1962150 w 3457575"/>
                  <a:gd name="connsiteY99" fmla="*/ 3429000 h 3822033"/>
                  <a:gd name="connsiteX100" fmla="*/ 1905000 w 3457575"/>
                  <a:gd name="connsiteY100" fmla="*/ 3495675 h 3822033"/>
                  <a:gd name="connsiteX101" fmla="*/ 1819275 w 3457575"/>
                  <a:gd name="connsiteY101" fmla="*/ 3609975 h 3822033"/>
                  <a:gd name="connsiteX102" fmla="*/ 1800225 w 3457575"/>
                  <a:gd name="connsiteY102" fmla="*/ 3638550 h 3822033"/>
                  <a:gd name="connsiteX103" fmla="*/ 1790700 w 3457575"/>
                  <a:gd name="connsiteY103" fmla="*/ 3667125 h 3822033"/>
                  <a:gd name="connsiteX104" fmla="*/ 1771650 w 3457575"/>
                  <a:gd name="connsiteY104" fmla="*/ 3695700 h 3822033"/>
                  <a:gd name="connsiteX105" fmla="*/ 1752600 w 3457575"/>
                  <a:gd name="connsiteY105" fmla="*/ 3733800 h 3822033"/>
                  <a:gd name="connsiteX106" fmla="*/ 1714500 w 3457575"/>
                  <a:gd name="connsiteY106" fmla="*/ 3810000 h 3822033"/>
                  <a:gd name="connsiteX107" fmla="*/ 1704975 w 3457575"/>
                  <a:gd name="connsiteY107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95250 w 3457575"/>
                  <a:gd name="connsiteY24" fmla="*/ 2028825 h 3822033"/>
                  <a:gd name="connsiteX25" fmla="*/ 57150 w 3457575"/>
                  <a:gd name="connsiteY25" fmla="*/ 1933575 h 3822033"/>
                  <a:gd name="connsiteX26" fmla="*/ 28575 w 3457575"/>
                  <a:gd name="connsiteY26" fmla="*/ 1819275 h 3822033"/>
                  <a:gd name="connsiteX27" fmla="*/ 9525 w 3457575"/>
                  <a:gd name="connsiteY27" fmla="*/ 1657350 h 3822033"/>
                  <a:gd name="connsiteX28" fmla="*/ 0 w 3457575"/>
                  <a:gd name="connsiteY28" fmla="*/ 1609725 h 3822033"/>
                  <a:gd name="connsiteX29" fmla="*/ 9525 w 3457575"/>
                  <a:gd name="connsiteY29" fmla="*/ 1428750 h 3822033"/>
                  <a:gd name="connsiteX30" fmla="*/ 28575 w 3457575"/>
                  <a:gd name="connsiteY30" fmla="*/ 1304925 h 3822033"/>
                  <a:gd name="connsiteX31" fmla="*/ 38100 w 3457575"/>
                  <a:gd name="connsiteY31" fmla="*/ 1247775 h 3822033"/>
                  <a:gd name="connsiteX32" fmla="*/ 76200 w 3457575"/>
                  <a:gd name="connsiteY32" fmla="*/ 1152525 h 3822033"/>
                  <a:gd name="connsiteX33" fmla="*/ 114300 w 3457575"/>
                  <a:gd name="connsiteY33" fmla="*/ 990600 h 3822033"/>
                  <a:gd name="connsiteX34" fmla="*/ 133350 w 3457575"/>
                  <a:gd name="connsiteY34" fmla="*/ 923925 h 3822033"/>
                  <a:gd name="connsiteX35" fmla="*/ 171450 w 3457575"/>
                  <a:gd name="connsiteY35" fmla="*/ 866775 h 3822033"/>
                  <a:gd name="connsiteX36" fmla="*/ 228600 w 3457575"/>
                  <a:gd name="connsiteY36" fmla="*/ 762000 h 3822033"/>
                  <a:gd name="connsiteX37" fmla="*/ 304800 w 3457575"/>
                  <a:gd name="connsiteY37" fmla="*/ 647700 h 3822033"/>
                  <a:gd name="connsiteX38" fmla="*/ 552450 w 3457575"/>
                  <a:gd name="connsiteY38" fmla="*/ 361950 h 3822033"/>
                  <a:gd name="connsiteX39" fmla="*/ 609600 w 3457575"/>
                  <a:gd name="connsiteY39" fmla="*/ 323850 h 3822033"/>
                  <a:gd name="connsiteX40" fmla="*/ 666750 w 3457575"/>
                  <a:gd name="connsiteY40" fmla="*/ 285750 h 3822033"/>
                  <a:gd name="connsiteX41" fmla="*/ 762000 w 3457575"/>
                  <a:gd name="connsiteY41" fmla="*/ 238125 h 3822033"/>
                  <a:gd name="connsiteX42" fmla="*/ 800100 w 3457575"/>
                  <a:gd name="connsiteY42" fmla="*/ 219075 h 3822033"/>
                  <a:gd name="connsiteX43" fmla="*/ 895350 w 3457575"/>
                  <a:gd name="connsiteY43" fmla="*/ 161925 h 3822033"/>
                  <a:gd name="connsiteX44" fmla="*/ 962025 w 3457575"/>
                  <a:gd name="connsiteY44" fmla="*/ 133350 h 3822033"/>
                  <a:gd name="connsiteX45" fmla="*/ 1123950 w 3457575"/>
                  <a:gd name="connsiteY45" fmla="*/ 76200 h 3822033"/>
                  <a:gd name="connsiteX46" fmla="*/ 1162050 w 3457575"/>
                  <a:gd name="connsiteY46" fmla="*/ 66675 h 3822033"/>
                  <a:gd name="connsiteX47" fmla="*/ 1438275 w 3457575"/>
                  <a:gd name="connsiteY47" fmla="*/ 0 h 3822033"/>
                  <a:gd name="connsiteX48" fmla="*/ 2038350 w 3457575"/>
                  <a:gd name="connsiteY48" fmla="*/ 9525 h 3822033"/>
                  <a:gd name="connsiteX49" fmla="*/ 2105025 w 3457575"/>
                  <a:gd name="connsiteY49" fmla="*/ 19050 h 3822033"/>
                  <a:gd name="connsiteX50" fmla="*/ 2162175 w 3457575"/>
                  <a:gd name="connsiteY50" fmla="*/ 47625 h 3822033"/>
                  <a:gd name="connsiteX51" fmla="*/ 2228850 w 3457575"/>
                  <a:gd name="connsiteY51" fmla="*/ 66675 h 3822033"/>
                  <a:gd name="connsiteX52" fmla="*/ 2343150 w 3457575"/>
                  <a:gd name="connsiteY52" fmla="*/ 133350 h 3822033"/>
                  <a:gd name="connsiteX53" fmla="*/ 2390775 w 3457575"/>
                  <a:gd name="connsiteY53" fmla="*/ 142875 h 3822033"/>
                  <a:gd name="connsiteX54" fmla="*/ 2457450 w 3457575"/>
                  <a:gd name="connsiteY54" fmla="*/ 171450 h 3822033"/>
                  <a:gd name="connsiteX55" fmla="*/ 2486025 w 3457575"/>
                  <a:gd name="connsiteY55" fmla="*/ 200025 h 3822033"/>
                  <a:gd name="connsiteX56" fmla="*/ 2571750 w 3457575"/>
                  <a:gd name="connsiteY56" fmla="*/ 228600 h 3822033"/>
                  <a:gd name="connsiteX57" fmla="*/ 2676525 w 3457575"/>
                  <a:gd name="connsiteY57" fmla="*/ 285750 h 3822033"/>
                  <a:gd name="connsiteX58" fmla="*/ 2705100 w 3457575"/>
                  <a:gd name="connsiteY58" fmla="*/ 304800 h 3822033"/>
                  <a:gd name="connsiteX59" fmla="*/ 2733675 w 3457575"/>
                  <a:gd name="connsiteY59" fmla="*/ 333375 h 3822033"/>
                  <a:gd name="connsiteX60" fmla="*/ 2771775 w 3457575"/>
                  <a:gd name="connsiteY60" fmla="*/ 361950 h 3822033"/>
                  <a:gd name="connsiteX61" fmla="*/ 2809875 w 3457575"/>
                  <a:gd name="connsiteY61" fmla="*/ 400050 h 3822033"/>
                  <a:gd name="connsiteX62" fmla="*/ 2867025 w 3457575"/>
                  <a:gd name="connsiteY62" fmla="*/ 438150 h 3822033"/>
                  <a:gd name="connsiteX63" fmla="*/ 2905125 w 3457575"/>
                  <a:gd name="connsiteY63" fmla="*/ 476250 h 3822033"/>
                  <a:gd name="connsiteX64" fmla="*/ 2971800 w 3457575"/>
                  <a:gd name="connsiteY64" fmla="*/ 523875 h 3822033"/>
                  <a:gd name="connsiteX65" fmla="*/ 2990850 w 3457575"/>
                  <a:gd name="connsiteY65" fmla="*/ 552450 h 3822033"/>
                  <a:gd name="connsiteX66" fmla="*/ 3028950 w 3457575"/>
                  <a:gd name="connsiteY66" fmla="*/ 590550 h 3822033"/>
                  <a:gd name="connsiteX67" fmla="*/ 3048000 w 3457575"/>
                  <a:gd name="connsiteY67" fmla="*/ 628650 h 3822033"/>
                  <a:gd name="connsiteX68" fmla="*/ 3086100 w 3457575"/>
                  <a:gd name="connsiteY68" fmla="*/ 666750 h 3822033"/>
                  <a:gd name="connsiteX69" fmla="*/ 3124200 w 3457575"/>
                  <a:gd name="connsiteY69" fmla="*/ 723900 h 3822033"/>
                  <a:gd name="connsiteX70" fmla="*/ 3219450 w 3457575"/>
                  <a:gd name="connsiteY70" fmla="*/ 838200 h 3822033"/>
                  <a:gd name="connsiteX71" fmla="*/ 3238500 w 3457575"/>
                  <a:gd name="connsiteY71" fmla="*/ 885825 h 3822033"/>
                  <a:gd name="connsiteX72" fmla="*/ 3276600 w 3457575"/>
                  <a:gd name="connsiteY72" fmla="*/ 942975 h 3822033"/>
                  <a:gd name="connsiteX73" fmla="*/ 3286125 w 3457575"/>
                  <a:gd name="connsiteY73" fmla="*/ 990600 h 3822033"/>
                  <a:gd name="connsiteX74" fmla="*/ 3324225 w 3457575"/>
                  <a:gd name="connsiteY74" fmla="*/ 1085850 h 3822033"/>
                  <a:gd name="connsiteX75" fmla="*/ 3362325 w 3457575"/>
                  <a:gd name="connsiteY75" fmla="*/ 1171575 h 3822033"/>
                  <a:gd name="connsiteX76" fmla="*/ 3390900 w 3457575"/>
                  <a:gd name="connsiteY76" fmla="*/ 1219200 h 3822033"/>
                  <a:gd name="connsiteX77" fmla="*/ 3419475 w 3457575"/>
                  <a:gd name="connsiteY77" fmla="*/ 1333500 h 3822033"/>
                  <a:gd name="connsiteX78" fmla="*/ 3429000 w 3457575"/>
                  <a:gd name="connsiteY78" fmla="*/ 1390650 h 3822033"/>
                  <a:gd name="connsiteX79" fmla="*/ 3457575 w 3457575"/>
                  <a:gd name="connsiteY79" fmla="*/ 1657350 h 3822033"/>
                  <a:gd name="connsiteX80" fmla="*/ 3362325 w 3457575"/>
                  <a:gd name="connsiteY80" fmla="*/ 2187575 h 3822033"/>
                  <a:gd name="connsiteX81" fmla="*/ 3276600 w 3457575"/>
                  <a:gd name="connsiteY81" fmla="*/ 2400300 h 3822033"/>
                  <a:gd name="connsiteX82" fmla="*/ 3190875 w 3457575"/>
                  <a:gd name="connsiteY82" fmla="*/ 2533650 h 3822033"/>
                  <a:gd name="connsiteX83" fmla="*/ 3105150 w 3457575"/>
                  <a:gd name="connsiteY83" fmla="*/ 2647950 h 3822033"/>
                  <a:gd name="connsiteX84" fmla="*/ 3019425 w 3457575"/>
                  <a:gd name="connsiteY84" fmla="*/ 2781300 h 3822033"/>
                  <a:gd name="connsiteX85" fmla="*/ 2981325 w 3457575"/>
                  <a:gd name="connsiteY85" fmla="*/ 2819400 h 3822033"/>
                  <a:gd name="connsiteX86" fmla="*/ 2943225 w 3457575"/>
                  <a:gd name="connsiteY86" fmla="*/ 2876550 h 3822033"/>
                  <a:gd name="connsiteX87" fmla="*/ 2857500 w 3457575"/>
                  <a:gd name="connsiteY87" fmla="*/ 2933700 h 3822033"/>
                  <a:gd name="connsiteX88" fmla="*/ 2809875 w 3457575"/>
                  <a:gd name="connsiteY88" fmla="*/ 2971800 h 3822033"/>
                  <a:gd name="connsiteX89" fmla="*/ 2705100 w 3457575"/>
                  <a:gd name="connsiteY89" fmla="*/ 3038475 h 3822033"/>
                  <a:gd name="connsiteX90" fmla="*/ 2609850 w 3457575"/>
                  <a:gd name="connsiteY90" fmla="*/ 3105150 h 3822033"/>
                  <a:gd name="connsiteX91" fmla="*/ 2562225 w 3457575"/>
                  <a:gd name="connsiteY91" fmla="*/ 3143250 h 3822033"/>
                  <a:gd name="connsiteX92" fmla="*/ 2495550 w 3457575"/>
                  <a:gd name="connsiteY92" fmla="*/ 3162300 h 3822033"/>
                  <a:gd name="connsiteX93" fmla="*/ 2362200 w 3457575"/>
                  <a:gd name="connsiteY93" fmla="*/ 3219450 h 3822033"/>
                  <a:gd name="connsiteX94" fmla="*/ 2257425 w 3457575"/>
                  <a:gd name="connsiteY94" fmla="*/ 3257550 h 3822033"/>
                  <a:gd name="connsiteX95" fmla="*/ 2181225 w 3457575"/>
                  <a:gd name="connsiteY95" fmla="*/ 3276600 h 3822033"/>
                  <a:gd name="connsiteX96" fmla="*/ 2057400 w 3457575"/>
                  <a:gd name="connsiteY96" fmla="*/ 3362325 h 3822033"/>
                  <a:gd name="connsiteX97" fmla="*/ 2009775 w 3457575"/>
                  <a:gd name="connsiteY97" fmla="*/ 3400425 h 3822033"/>
                  <a:gd name="connsiteX98" fmla="*/ 1962150 w 3457575"/>
                  <a:gd name="connsiteY98" fmla="*/ 3429000 h 3822033"/>
                  <a:gd name="connsiteX99" fmla="*/ 1905000 w 3457575"/>
                  <a:gd name="connsiteY99" fmla="*/ 3495675 h 3822033"/>
                  <a:gd name="connsiteX100" fmla="*/ 1819275 w 3457575"/>
                  <a:gd name="connsiteY100" fmla="*/ 3609975 h 3822033"/>
                  <a:gd name="connsiteX101" fmla="*/ 1800225 w 3457575"/>
                  <a:gd name="connsiteY101" fmla="*/ 3638550 h 3822033"/>
                  <a:gd name="connsiteX102" fmla="*/ 1790700 w 3457575"/>
                  <a:gd name="connsiteY102" fmla="*/ 3667125 h 3822033"/>
                  <a:gd name="connsiteX103" fmla="*/ 1771650 w 3457575"/>
                  <a:gd name="connsiteY103" fmla="*/ 3695700 h 3822033"/>
                  <a:gd name="connsiteX104" fmla="*/ 1752600 w 3457575"/>
                  <a:gd name="connsiteY104" fmla="*/ 3733800 h 3822033"/>
                  <a:gd name="connsiteX105" fmla="*/ 1714500 w 3457575"/>
                  <a:gd name="connsiteY105" fmla="*/ 3810000 h 3822033"/>
                  <a:gd name="connsiteX106" fmla="*/ 1704975 w 3457575"/>
                  <a:gd name="connsiteY106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57150 w 3457575"/>
                  <a:gd name="connsiteY24" fmla="*/ 19335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42875 w 3457575"/>
                  <a:gd name="connsiteY22" fmla="*/ 2190750 h 3822033"/>
                  <a:gd name="connsiteX23" fmla="*/ 123825 w 3457575"/>
                  <a:gd name="connsiteY23" fmla="*/ 2143125 h 3822033"/>
                  <a:gd name="connsiteX24" fmla="*/ 38100 w 3457575"/>
                  <a:gd name="connsiteY24" fmla="*/ 1958975 h 3822033"/>
                  <a:gd name="connsiteX25" fmla="*/ 28575 w 3457575"/>
                  <a:gd name="connsiteY25" fmla="*/ 1819275 h 3822033"/>
                  <a:gd name="connsiteX26" fmla="*/ 9525 w 3457575"/>
                  <a:gd name="connsiteY26" fmla="*/ 1657350 h 3822033"/>
                  <a:gd name="connsiteX27" fmla="*/ 0 w 3457575"/>
                  <a:gd name="connsiteY27" fmla="*/ 1609725 h 3822033"/>
                  <a:gd name="connsiteX28" fmla="*/ 9525 w 3457575"/>
                  <a:gd name="connsiteY28" fmla="*/ 1428750 h 3822033"/>
                  <a:gd name="connsiteX29" fmla="*/ 28575 w 3457575"/>
                  <a:gd name="connsiteY29" fmla="*/ 1304925 h 3822033"/>
                  <a:gd name="connsiteX30" fmla="*/ 38100 w 3457575"/>
                  <a:gd name="connsiteY30" fmla="*/ 1247775 h 3822033"/>
                  <a:gd name="connsiteX31" fmla="*/ 76200 w 3457575"/>
                  <a:gd name="connsiteY31" fmla="*/ 1152525 h 3822033"/>
                  <a:gd name="connsiteX32" fmla="*/ 114300 w 3457575"/>
                  <a:gd name="connsiteY32" fmla="*/ 990600 h 3822033"/>
                  <a:gd name="connsiteX33" fmla="*/ 133350 w 3457575"/>
                  <a:gd name="connsiteY33" fmla="*/ 923925 h 3822033"/>
                  <a:gd name="connsiteX34" fmla="*/ 171450 w 3457575"/>
                  <a:gd name="connsiteY34" fmla="*/ 866775 h 3822033"/>
                  <a:gd name="connsiteX35" fmla="*/ 228600 w 3457575"/>
                  <a:gd name="connsiteY35" fmla="*/ 762000 h 3822033"/>
                  <a:gd name="connsiteX36" fmla="*/ 304800 w 3457575"/>
                  <a:gd name="connsiteY36" fmla="*/ 647700 h 3822033"/>
                  <a:gd name="connsiteX37" fmla="*/ 552450 w 3457575"/>
                  <a:gd name="connsiteY37" fmla="*/ 361950 h 3822033"/>
                  <a:gd name="connsiteX38" fmla="*/ 609600 w 3457575"/>
                  <a:gd name="connsiteY38" fmla="*/ 323850 h 3822033"/>
                  <a:gd name="connsiteX39" fmla="*/ 666750 w 3457575"/>
                  <a:gd name="connsiteY39" fmla="*/ 285750 h 3822033"/>
                  <a:gd name="connsiteX40" fmla="*/ 762000 w 3457575"/>
                  <a:gd name="connsiteY40" fmla="*/ 238125 h 3822033"/>
                  <a:gd name="connsiteX41" fmla="*/ 800100 w 3457575"/>
                  <a:gd name="connsiteY41" fmla="*/ 219075 h 3822033"/>
                  <a:gd name="connsiteX42" fmla="*/ 895350 w 3457575"/>
                  <a:gd name="connsiteY42" fmla="*/ 161925 h 3822033"/>
                  <a:gd name="connsiteX43" fmla="*/ 962025 w 3457575"/>
                  <a:gd name="connsiteY43" fmla="*/ 133350 h 3822033"/>
                  <a:gd name="connsiteX44" fmla="*/ 1123950 w 3457575"/>
                  <a:gd name="connsiteY44" fmla="*/ 76200 h 3822033"/>
                  <a:gd name="connsiteX45" fmla="*/ 1162050 w 3457575"/>
                  <a:gd name="connsiteY45" fmla="*/ 66675 h 3822033"/>
                  <a:gd name="connsiteX46" fmla="*/ 1438275 w 3457575"/>
                  <a:gd name="connsiteY46" fmla="*/ 0 h 3822033"/>
                  <a:gd name="connsiteX47" fmla="*/ 2038350 w 3457575"/>
                  <a:gd name="connsiteY47" fmla="*/ 9525 h 3822033"/>
                  <a:gd name="connsiteX48" fmla="*/ 2105025 w 3457575"/>
                  <a:gd name="connsiteY48" fmla="*/ 19050 h 3822033"/>
                  <a:gd name="connsiteX49" fmla="*/ 2162175 w 3457575"/>
                  <a:gd name="connsiteY49" fmla="*/ 47625 h 3822033"/>
                  <a:gd name="connsiteX50" fmla="*/ 2228850 w 3457575"/>
                  <a:gd name="connsiteY50" fmla="*/ 66675 h 3822033"/>
                  <a:gd name="connsiteX51" fmla="*/ 2343150 w 3457575"/>
                  <a:gd name="connsiteY51" fmla="*/ 133350 h 3822033"/>
                  <a:gd name="connsiteX52" fmla="*/ 2390775 w 3457575"/>
                  <a:gd name="connsiteY52" fmla="*/ 142875 h 3822033"/>
                  <a:gd name="connsiteX53" fmla="*/ 2457450 w 3457575"/>
                  <a:gd name="connsiteY53" fmla="*/ 171450 h 3822033"/>
                  <a:gd name="connsiteX54" fmla="*/ 2486025 w 3457575"/>
                  <a:gd name="connsiteY54" fmla="*/ 200025 h 3822033"/>
                  <a:gd name="connsiteX55" fmla="*/ 2571750 w 3457575"/>
                  <a:gd name="connsiteY55" fmla="*/ 228600 h 3822033"/>
                  <a:gd name="connsiteX56" fmla="*/ 2676525 w 3457575"/>
                  <a:gd name="connsiteY56" fmla="*/ 285750 h 3822033"/>
                  <a:gd name="connsiteX57" fmla="*/ 2705100 w 3457575"/>
                  <a:gd name="connsiteY57" fmla="*/ 304800 h 3822033"/>
                  <a:gd name="connsiteX58" fmla="*/ 2733675 w 3457575"/>
                  <a:gd name="connsiteY58" fmla="*/ 333375 h 3822033"/>
                  <a:gd name="connsiteX59" fmla="*/ 2771775 w 3457575"/>
                  <a:gd name="connsiteY59" fmla="*/ 361950 h 3822033"/>
                  <a:gd name="connsiteX60" fmla="*/ 2809875 w 3457575"/>
                  <a:gd name="connsiteY60" fmla="*/ 400050 h 3822033"/>
                  <a:gd name="connsiteX61" fmla="*/ 2867025 w 3457575"/>
                  <a:gd name="connsiteY61" fmla="*/ 438150 h 3822033"/>
                  <a:gd name="connsiteX62" fmla="*/ 2905125 w 3457575"/>
                  <a:gd name="connsiteY62" fmla="*/ 476250 h 3822033"/>
                  <a:gd name="connsiteX63" fmla="*/ 2971800 w 3457575"/>
                  <a:gd name="connsiteY63" fmla="*/ 523875 h 3822033"/>
                  <a:gd name="connsiteX64" fmla="*/ 2990850 w 3457575"/>
                  <a:gd name="connsiteY64" fmla="*/ 552450 h 3822033"/>
                  <a:gd name="connsiteX65" fmla="*/ 3028950 w 3457575"/>
                  <a:gd name="connsiteY65" fmla="*/ 590550 h 3822033"/>
                  <a:gd name="connsiteX66" fmla="*/ 3048000 w 3457575"/>
                  <a:gd name="connsiteY66" fmla="*/ 628650 h 3822033"/>
                  <a:gd name="connsiteX67" fmla="*/ 3086100 w 3457575"/>
                  <a:gd name="connsiteY67" fmla="*/ 666750 h 3822033"/>
                  <a:gd name="connsiteX68" fmla="*/ 3124200 w 3457575"/>
                  <a:gd name="connsiteY68" fmla="*/ 723900 h 3822033"/>
                  <a:gd name="connsiteX69" fmla="*/ 3219450 w 3457575"/>
                  <a:gd name="connsiteY69" fmla="*/ 838200 h 3822033"/>
                  <a:gd name="connsiteX70" fmla="*/ 3238500 w 3457575"/>
                  <a:gd name="connsiteY70" fmla="*/ 885825 h 3822033"/>
                  <a:gd name="connsiteX71" fmla="*/ 3276600 w 3457575"/>
                  <a:gd name="connsiteY71" fmla="*/ 942975 h 3822033"/>
                  <a:gd name="connsiteX72" fmla="*/ 3286125 w 3457575"/>
                  <a:gd name="connsiteY72" fmla="*/ 990600 h 3822033"/>
                  <a:gd name="connsiteX73" fmla="*/ 3324225 w 3457575"/>
                  <a:gd name="connsiteY73" fmla="*/ 1085850 h 3822033"/>
                  <a:gd name="connsiteX74" fmla="*/ 3362325 w 3457575"/>
                  <a:gd name="connsiteY74" fmla="*/ 1171575 h 3822033"/>
                  <a:gd name="connsiteX75" fmla="*/ 3390900 w 3457575"/>
                  <a:gd name="connsiteY75" fmla="*/ 1219200 h 3822033"/>
                  <a:gd name="connsiteX76" fmla="*/ 3419475 w 3457575"/>
                  <a:gd name="connsiteY76" fmla="*/ 1333500 h 3822033"/>
                  <a:gd name="connsiteX77" fmla="*/ 3429000 w 3457575"/>
                  <a:gd name="connsiteY77" fmla="*/ 1390650 h 3822033"/>
                  <a:gd name="connsiteX78" fmla="*/ 3457575 w 3457575"/>
                  <a:gd name="connsiteY78" fmla="*/ 1657350 h 3822033"/>
                  <a:gd name="connsiteX79" fmla="*/ 3362325 w 3457575"/>
                  <a:gd name="connsiteY79" fmla="*/ 2187575 h 3822033"/>
                  <a:gd name="connsiteX80" fmla="*/ 3276600 w 3457575"/>
                  <a:gd name="connsiteY80" fmla="*/ 2400300 h 3822033"/>
                  <a:gd name="connsiteX81" fmla="*/ 3190875 w 3457575"/>
                  <a:gd name="connsiteY81" fmla="*/ 2533650 h 3822033"/>
                  <a:gd name="connsiteX82" fmla="*/ 3105150 w 3457575"/>
                  <a:gd name="connsiteY82" fmla="*/ 2647950 h 3822033"/>
                  <a:gd name="connsiteX83" fmla="*/ 3019425 w 3457575"/>
                  <a:gd name="connsiteY83" fmla="*/ 2781300 h 3822033"/>
                  <a:gd name="connsiteX84" fmla="*/ 2981325 w 3457575"/>
                  <a:gd name="connsiteY84" fmla="*/ 2819400 h 3822033"/>
                  <a:gd name="connsiteX85" fmla="*/ 2943225 w 3457575"/>
                  <a:gd name="connsiteY85" fmla="*/ 2876550 h 3822033"/>
                  <a:gd name="connsiteX86" fmla="*/ 2857500 w 3457575"/>
                  <a:gd name="connsiteY86" fmla="*/ 2933700 h 3822033"/>
                  <a:gd name="connsiteX87" fmla="*/ 2809875 w 3457575"/>
                  <a:gd name="connsiteY87" fmla="*/ 2971800 h 3822033"/>
                  <a:gd name="connsiteX88" fmla="*/ 2705100 w 3457575"/>
                  <a:gd name="connsiteY88" fmla="*/ 3038475 h 3822033"/>
                  <a:gd name="connsiteX89" fmla="*/ 2609850 w 3457575"/>
                  <a:gd name="connsiteY89" fmla="*/ 3105150 h 3822033"/>
                  <a:gd name="connsiteX90" fmla="*/ 2562225 w 3457575"/>
                  <a:gd name="connsiteY90" fmla="*/ 3143250 h 3822033"/>
                  <a:gd name="connsiteX91" fmla="*/ 2495550 w 3457575"/>
                  <a:gd name="connsiteY91" fmla="*/ 3162300 h 3822033"/>
                  <a:gd name="connsiteX92" fmla="*/ 2362200 w 3457575"/>
                  <a:gd name="connsiteY92" fmla="*/ 3219450 h 3822033"/>
                  <a:gd name="connsiteX93" fmla="*/ 2257425 w 3457575"/>
                  <a:gd name="connsiteY93" fmla="*/ 3257550 h 3822033"/>
                  <a:gd name="connsiteX94" fmla="*/ 2181225 w 3457575"/>
                  <a:gd name="connsiteY94" fmla="*/ 3276600 h 3822033"/>
                  <a:gd name="connsiteX95" fmla="*/ 2057400 w 3457575"/>
                  <a:gd name="connsiteY95" fmla="*/ 3362325 h 3822033"/>
                  <a:gd name="connsiteX96" fmla="*/ 2009775 w 3457575"/>
                  <a:gd name="connsiteY96" fmla="*/ 3400425 h 3822033"/>
                  <a:gd name="connsiteX97" fmla="*/ 1962150 w 3457575"/>
                  <a:gd name="connsiteY97" fmla="*/ 3429000 h 3822033"/>
                  <a:gd name="connsiteX98" fmla="*/ 1905000 w 3457575"/>
                  <a:gd name="connsiteY98" fmla="*/ 3495675 h 3822033"/>
                  <a:gd name="connsiteX99" fmla="*/ 1819275 w 3457575"/>
                  <a:gd name="connsiteY99" fmla="*/ 3609975 h 3822033"/>
                  <a:gd name="connsiteX100" fmla="*/ 1800225 w 3457575"/>
                  <a:gd name="connsiteY100" fmla="*/ 3638550 h 3822033"/>
                  <a:gd name="connsiteX101" fmla="*/ 1790700 w 3457575"/>
                  <a:gd name="connsiteY101" fmla="*/ 3667125 h 3822033"/>
                  <a:gd name="connsiteX102" fmla="*/ 1771650 w 3457575"/>
                  <a:gd name="connsiteY102" fmla="*/ 3695700 h 3822033"/>
                  <a:gd name="connsiteX103" fmla="*/ 1752600 w 3457575"/>
                  <a:gd name="connsiteY103" fmla="*/ 3733800 h 3822033"/>
                  <a:gd name="connsiteX104" fmla="*/ 1714500 w 3457575"/>
                  <a:gd name="connsiteY104" fmla="*/ 3810000 h 3822033"/>
                  <a:gd name="connsiteX105" fmla="*/ 1704975 w 3457575"/>
                  <a:gd name="connsiteY105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123825 w 3457575"/>
                  <a:gd name="connsiteY22" fmla="*/ 2143125 h 3822033"/>
                  <a:gd name="connsiteX23" fmla="*/ 38100 w 3457575"/>
                  <a:gd name="connsiteY23" fmla="*/ 1958975 h 3822033"/>
                  <a:gd name="connsiteX24" fmla="*/ 28575 w 3457575"/>
                  <a:gd name="connsiteY24" fmla="*/ 1819275 h 3822033"/>
                  <a:gd name="connsiteX25" fmla="*/ 9525 w 3457575"/>
                  <a:gd name="connsiteY25" fmla="*/ 1657350 h 3822033"/>
                  <a:gd name="connsiteX26" fmla="*/ 0 w 3457575"/>
                  <a:gd name="connsiteY26" fmla="*/ 1609725 h 3822033"/>
                  <a:gd name="connsiteX27" fmla="*/ 9525 w 3457575"/>
                  <a:gd name="connsiteY27" fmla="*/ 1428750 h 3822033"/>
                  <a:gd name="connsiteX28" fmla="*/ 28575 w 3457575"/>
                  <a:gd name="connsiteY28" fmla="*/ 1304925 h 3822033"/>
                  <a:gd name="connsiteX29" fmla="*/ 38100 w 3457575"/>
                  <a:gd name="connsiteY29" fmla="*/ 1247775 h 3822033"/>
                  <a:gd name="connsiteX30" fmla="*/ 76200 w 3457575"/>
                  <a:gd name="connsiteY30" fmla="*/ 1152525 h 3822033"/>
                  <a:gd name="connsiteX31" fmla="*/ 114300 w 3457575"/>
                  <a:gd name="connsiteY31" fmla="*/ 990600 h 3822033"/>
                  <a:gd name="connsiteX32" fmla="*/ 133350 w 3457575"/>
                  <a:gd name="connsiteY32" fmla="*/ 923925 h 3822033"/>
                  <a:gd name="connsiteX33" fmla="*/ 171450 w 3457575"/>
                  <a:gd name="connsiteY33" fmla="*/ 866775 h 3822033"/>
                  <a:gd name="connsiteX34" fmla="*/ 228600 w 3457575"/>
                  <a:gd name="connsiteY34" fmla="*/ 762000 h 3822033"/>
                  <a:gd name="connsiteX35" fmla="*/ 304800 w 3457575"/>
                  <a:gd name="connsiteY35" fmla="*/ 647700 h 3822033"/>
                  <a:gd name="connsiteX36" fmla="*/ 552450 w 3457575"/>
                  <a:gd name="connsiteY36" fmla="*/ 361950 h 3822033"/>
                  <a:gd name="connsiteX37" fmla="*/ 609600 w 3457575"/>
                  <a:gd name="connsiteY37" fmla="*/ 323850 h 3822033"/>
                  <a:gd name="connsiteX38" fmla="*/ 666750 w 3457575"/>
                  <a:gd name="connsiteY38" fmla="*/ 285750 h 3822033"/>
                  <a:gd name="connsiteX39" fmla="*/ 762000 w 3457575"/>
                  <a:gd name="connsiteY39" fmla="*/ 238125 h 3822033"/>
                  <a:gd name="connsiteX40" fmla="*/ 800100 w 3457575"/>
                  <a:gd name="connsiteY40" fmla="*/ 219075 h 3822033"/>
                  <a:gd name="connsiteX41" fmla="*/ 895350 w 3457575"/>
                  <a:gd name="connsiteY41" fmla="*/ 161925 h 3822033"/>
                  <a:gd name="connsiteX42" fmla="*/ 962025 w 3457575"/>
                  <a:gd name="connsiteY42" fmla="*/ 133350 h 3822033"/>
                  <a:gd name="connsiteX43" fmla="*/ 1123950 w 3457575"/>
                  <a:gd name="connsiteY43" fmla="*/ 76200 h 3822033"/>
                  <a:gd name="connsiteX44" fmla="*/ 1162050 w 3457575"/>
                  <a:gd name="connsiteY44" fmla="*/ 66675 h 3822033"/>
                  <a:gd name="connsiteX45" fmla="*/ 1438275 w 3457575"/>
                  <a:gd name="connsiteY45" fmla="*/ 0 h 3822033"/>
                  <a:gd name="connsiteX46" fmla="*/ 2038350 w 3457575"/>
                  <a:gd name="connsiteY46" fmla="*/ 9525 h 3822033"/>
                  <a:gd name="connsiteX47" fmla="*/ 2105025 w 3457575"/>
                  <a:gd name="connsiteY47" fmla="*/ 19050 h 3822033"/>
                  <a:gd name="connsiteX48" fmla="*/ 2162175 w 3457575"/>
                  <a:gd name="connsiteY48" fmla="*/ 47625 h 3822033"/>
                  <a:gd name="connsiteX49" fmla="*/ 2228850 w 3457575"/>
                  <a:gd name="connsiteY49" fmla="*/ 66675 h 3822033"/>
                  <a:gd name="connsiteX50" fmla="*/ 2343150 w 3457575"/>
                  <a:gd name="connsiteY50" fmla="*/ 133350 h 3822033"/>
                  <a:gd name="connsiteX51" fmla="*/ 2390775 w 3457575"/>
                  <a:gd name="connsiteY51" fmla="*/ 142875 h 3822033"/>
                  <a:gd name="connsiteX52" fmla="*/ 2457450 w 3457575"/>
                  <a:gd name="connsiteY52" fmla="*/ 171450 h 3822033"/>
                  <a:gd name="connsiteX53" fmla="*/ 2486025 w 3457575"/>
                  <a:gd name="connsiteY53" fmla="*/ 200025 h 3822033"/>
                  <a:gd name="connsiteX54" fmla="*/ 2571750 w 3457575"/>
                  <a:gd name="connsiteY54" fmla="*/ 228600 h 3822033"/>
                  <a:gd name="connsiteX55" fmla="*/ 2676525 w 3457575"/>
                  <a:gd name="connsiteY55" fmla="*/ 285750 h 3822033"/>
                  <a:gd name="connsiteX56" fmla="*/ 2705100 w 3457575"/>
                  <a:gd name="connsiteY56" fmla="*/ 304800 h 3822033"/>
                  <a:gd name="connsiteX57" fmla="*/ 2733675 w 3457575"/>
                  <a:gd name="connsiteY57" fmla="*/ 333375 h 3822033"/>
                  <a:gd name="connsiteX58" fmla="*/ 2771775 w 3457575"/>
                  <a:gd name="connsiteY58" fmla="*/ 361950 h 3822033"/>
                  <a:gd name="connsiteX59" fmla="*/ 2809875 w 3457575"/>
                  <a:gd name="connsiteY59" fmla="*/ 400050 h 3822033"/>
                  <a:gd name="connsiteX60" fmla="*/ 2867025 w 3457575"/>
                  <a:gd name="connsiteY60" fmla="*/ 438150 h 3822033"/>
                  <a:gd name="connsiteX61" fmla="*/ 2905125 w 3457575"/>
                  <a:gd name="connsiteY61" fmla="*/ 476250 h 3822033"/>
                  <a:gd name="connsiteX62" fmla="*/ 2971800 w 3457575"/>
                  <a:gd name="connsiteY62" fmla="*/ 523875 h 3822033"/>
                  <a:gd name="connsiteX63" fmla="*/ 2990850 w 3457575"/>
                  <a:gd name="connsiteY63" fmla="*/ 552450 h 3822033"/>
                  <a:gd name="connsiteX64" fmla="*/ 3028950 w 3457575"/>
                  <a:gd name="connsiteY64" fmla="*/ 590550 h 3822033"/>
                  <a:gd name="connsiteX65" fmla="*/ 3048000 w 3457575"/>
                  <a:gd name="connsiteY65" fmla="*/ 628650 h 3822033"/>
                  <a:gd name="connsiteX66" fmla="*/ 3086100 w 3457575"/>
                  <a:gd name="connsiteY66" fmla="*/ 666750 h 3822033"/>
                  <a:gd name="connsiteX67" fmla="*/ 3124200 w 3457575"/>
                  <a:gd name="connsiteY67" fmla="*/ 723900 h 3822033"/>
                  <a:gd name="connsiteX68" fmla="*/ 3219450 w 3457575"/>
                  <a:gd name="connsiteY68" fmla="*/ 838200 h 3822033"/>
                  <a:gd name="connsiteX69" fmla="*/ 3238500 w 3457575"/>
                  <a:gd name="connsiteY69" fmla="*/ 885825 h 3822033"/>
                  <a:gd name="connsiteX70" fmla="*/ 3276600 w 3457575"/>
                  <a:gd name="connsiteY70" fmla="*/ 942975 h 3822033"/>
                  <a:gd name="connsiteX71" fmla="*/ 3286125 w 3457575"/>
                  <a:gd name="connsiteY71" fmla="*/ 990600 h 3822033"/>
                  <a:gd name="connsiteX72" fmla="*/ 3324225 w 3457575"/>
                  <a:gd name="connsiteY72" fmla="*/ 1085850 h 3822033"/>
                  <a:gd name="connsiteX73" fmla="*/ 3362325 w 3457575"/>
                  <a:gd name="connsiteY73" fmla="*/ 1171575 h 3822033"/>
                  <a:gd name="connsiteX74" fmla="*/ 3390900 w 3457575"/>
                  <a:gd name="connsiteY74" fmla="*/ 1219200 h 3822033"/>
                  <a:gd name="connsiteX75" fmla="*/ 3419475 w 3457575"/>
                  <a:gd name="connsiteY75" fmla="*/ 1333500 h 3822033"/>
                  <a:gd name="connsiteX76" fmla="*/ 3429000 w 3457575"/>
                  <a:gd name="connsiteY76" fmla="*/ 1390650 h 3822033"/>
                  <a:gd name="connsiteX77" fmla="*/ 3457575 w 3457575"/>
                  <a:gd name="connsiteY77" fmla="*/ 1657350 h 3822033"/>
                  <a:gd name="connsiteX78" fmla="*/ 3362325 w 3457575"/>
                  <a:gd name="connsiteY78" fmla="*/ 2187575 h 3822033"/>
                  <a:gd name="connsiteX79" fmla="*/ 3276600 w 3457575"/>
                  <a:gd name="connsiteY79" fmla="*/ 2400300 h 3822033"/>
                  <a:gd name="connsiteX80" fmla="*/ 3190875 w 3457575"/>
                  <a:gd name="connsiteY80" fmla="*/ 2533650 h 3822033"/>
                  <a:gd name="connsiteX81" fmla="*/ 3105150 w 3457575"/>
                  <a:gd name="connsiteY81" fmla="*/ 2647950 h 3822033"/>
                  <a:gd name="connsiteX82" fmla="*/ 3019425 w 3457575"/>
                  <a:gd name="connsiteY82" fmla="*/ 2781300 h 3822033"/>
                  <a:gd name="connsiteX83" fmla="*/ 2981325 w 3457575"/>
                  <a:gd name="connsiteY83" fmla="*/ 2819400 h 3822033"/>
                  <a:gd name="connsiteX84" fmla="*/ 2943225 w 3457575"/>
                  <a:gd name="connsiteY84" fmla="*/ 2876550 h 3822033"/>
                  <a:gd name="connsiteX85" fmla="*/ 2857500 w 3457575"/>
                  <a:gd name="connsiteY85" fmla="*/ 2933700 h 3822033"/>
                  <a:gd name="connsiteX86" fmla="*/ 2809875 w 3457575"/>
                  <a:gd name="connsiteY86" fmla="*/ 2971800 h 3822033"/>
                  <a:gd name="connsiteX87" fmla="*/ 2705100 w 3457575"/>
                  <a:gd name="connsiteY87" fmla="*/ 3038475 h 3822033"/>
                  <a:gd name="connsiteX88" fmla="*/ 2609850 w 3457575"/>
                  <a:gd name="connsiteY88" fmla="*/ 3105150 h 3822033"/>
                  <a:gd name="connsiteX89" fmla="*/ 2562225 w 3457575"/>
                  <a:gd name="connsiteY89" fmla="*/ 3143250 h 3822033"/>
                  <a:gd name="connsiteX90" fmla="*/ 2495550 w 3457575"/>
                  <a:gd name="connsiteY90" fmla="*/ 3162300 h 3822033"/>
                  <a:gd name="connsiteX91" fmla="*/ 2362200 w 3457575"/>
                  <a:gd name="connsiteY91" fmla="*/ 3219450 h 3822033"/>
                  <a:gd name="connsiteX92" fmla="*/ 2257425 w 3457575"/>
                  <a:gd name="connsiteY92" fmla="*/ 3257550 h 3822033"/>
                  <a:gd name="connsiteX93" fmla="*/ 2181225 w 3457575"/>
                  <a:gd name="connsiteY93" fmla="*/ 3276600 h 3822033"/>
                  <a:gd name="connsiteX94" fmla="*/ 2057400 w 3457575"/>
                  <a:gd name="connsiteY94" fmla="*/ 3362325 h 3822033"/>
                  <a:gd name="connsiteX95" fmla="*/ 2009775 w 3457575"/>
                  <a:gd name="connsiteY95" fmla="*/ 3400425 h 3822033"/>
                  <a:gd name="connsiteX96" fmla="*/ 1962150 w 3457575"/>
                  <a:gd name="connsiteY96" fmla="*/ 3429000 h 3822033"/>
                  <a:gd name="connsiteX97" fmla="*/ 1905000 w 3457575"/>
                  <a:gd name="connsiteY97" fmla="*/ 3495675 h 3822033"/>
                  <a:gd name="connsiteX98" fmla="*/ 1819275 w 3457575"/>
                  <a:gd name="connsiteY98" fmla="*/ 3609975 h 3822033"/>
                  <a:gd name="connsiteX99" fmla="*/ 1800225 w 3457575"/>
                  <a:gd name="connsiteY99" fmla="*/ 3638550 h 3822033"/>
                  <a:gd name="connsiteX100" fmla="*/ 1790700 w 3457575"/>
                  <a:gd name="connsiteY100" fmla="*/ 3667125 h 3822033"/>
                  <a:gd name="connsiteX101" fmla="*/ 1771650 w 3457575"/>
                  <a:gd name="connsiteY101" fmla="*/ 3695700 h 3822033"/>
                  <a:gd name="connsiteX102" fmla="*/ 1752600 w 3457575"/>
                  <a:gd name="connsiteY102" fmla="*/ 3733800 h 3822033"/>
                  <a:gd name="connsiteX103" fmla="*/ 1714500 w 3457575"/>
                  <a:gd name="connsiteY103" fmla="*/ 3810000 h 3822033"/>
                  <a:gd name="connsiteX104" fmla="*/ 1704975 w 3457575"/>
                  <a:gd name="connsiteY104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524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27000 w 3457575"/>
                  <a:gd name="connsiteY21" fmla="*/ 221932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8097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200025 w 3457575"/>
                  <a:gd name="connsiteY19" fmla="*/ 2371725 h 3822033"/>
                  <a:gd name="connsiteX20" fmla="*/ 161925 w 3457575"/>
                  <a:gd name="connsiteY20" fmla="*/ 2343150 h 3822033"/>
                  <a:gd name="connsiteX21" fmla="*/ 107950 w 3457575"/>
                  <a:gd name="connsiteY21" fmla="*/ 2238375 h 3822033"/>
                  <a:gd name="connsiteX22" fmla="*/ 38100 w 3457575"/>
                  <a:gd name="connsiteY22" fmla="*/ 1958975 h 3822033"/>
                  <a:gd name="connsiteX23" fmla="*/ 28575 w 3457575"/>
                  <a:gd name="connsiteY23" fmla="*/ 1819275 h 3822033"/>
                  <a:gd name="connsiteX24" fmla="*/ 9525 w 3457575"/>
                  <a:gd name="connsiteY24" fmla="*/ 1657350 h 3822033"/>
                  <a:gd name="connsiteX25" fmla="*/ 0 w 3457575"/>
                  <a:gd name="connsiteY25" fmla="*/ 1609725 h 3822033"/>
                  <a:gd name="connsiteX26" fmla="*/ 9525 w 3457575"/>
                  <a:gd name="connsiteY26" fmla="*/ 1428750 h 3822033"/>
                  <a:gd name="connsiteX27" fmla="*/ 28575 w 3457575"/>
                  <a:gd name="connsiteY27" fmla="*/ 1304925 h 3822033"/>
                  <a:gd name="connsiteX28" fmla="*/ 38100 w 3457575"/>
                  <a:gd name="connsiteY28" fmla="*/ 1247775 h 3822033"/>
                  <a:gd name="connsiteX29" fmla="*/ 76200 w 3457575"/>
                  <a:gd name="connsiteY29" fmla="*/ 1152525 h 3822033"/>
                  <a:gd name="connsiteX30" fmla="*/ 114300 w 3457575"/>
                  <a:gd name="connsiteY30" fmla="*/ 990600 h 3822033"/>
                  <a:gd name="connsiteX31" fmla="*/ 133350 w 3457575"/>
                  <a:gd name="connsiteY31" fmla="*/ 923925 h 3822033"/>
                  <a:gd name="connsiteX32" fmla="*/ 171450 w 3457575"/>
                  <a:gd name="connsiteY32" fmla="*/ 866775 h 3822033"/>
                  <a:gd name="connsiteX33" fmla="*/ 228600 w 3457575"/>
                  <a:gd name="connsiteY33" fmla="*/ 762000 h 3822033"/>
                  <a:gd name="connsiteX34" fmla="*/ 304800 w 3457575"/>
                  <a:gd name="connsiteY34" fmla="*/ 647700 h 3822033"/>
                  <a:gd name="connsiteX35" fmla="*/ 552450 w 3457575"/>
                  <a:gd name="connsiteY35" fmla="*/ 361950 h 3822033"/>
                  <a:gd name="connsiteX36" fmla="*/ 609600 w 3457575"/>
                  <a:gd name="connsiteY36" fmla="*/ 323850 h 3822033"/>
                  <a:gd name="connsiteX37" fmla="*/ 666750 w 3457575"/>
                  <a:gd name="connsiteY37" fmla="*/ 285750 h 3822033"/>
                  <a:gd name="connsiteX38" fmla="*/ 762000 w 3457575"/>
                  <a:gd name="connsiteY38" fmla="*/ 238125 h 3822033"/>
                  <a:gd name="connsiteX39" fmla="*/ 800100 w 3457575"/>
                  <a:gd name="connsiteY39" fmla="*/ 219075 h 3822033"/>
                  <a:gd name="connsiteX40" fmla="*/ 895350 w 3457575"/>
                  <a:gd name="connsiteY40" fmla="*/ 161925 h 3822033"/>
                  <a:gd name="connsiteX41" fmla="*/ 962025 w 3457575"/>
                  <a:gd name="connsiteY41" fmla="*/ 133350 h 3822033"/>
                  <a:gd name="connsiteX42" fmla="*/ 1123950 w 3457575"/>
                  <a:gd name="connsiteY42" fmla="*/ 76200 h 3822033"/>
                  <a:gd name="connsiteX43" fmla="*/ 1162050 w 3457575"/>
                  <a:gd name="connsiteY43" fmla="*/ 66675 h 3822033"/>
                  <a:gd name="connsiteX44" fmla="*/ 1438275 w 3457575"/>
                  <a:gd name="connsiteY44" fmla="*/ 0 h 3822033"/>
                  <a:gd name="connsiteX45" fmla="*/ 2038350 w 3457575"/>
                  <a:gd name="connsiteY45" fmla="*/ 9525 h 3822033"/>
                  <a:gd name="connsiteX46" fmla="*/ 2105025 w 3457575"/>
                  <a:gd name="connsiteY46" fmla="*/ 19050 h 3822033"/>
                  <a:gd name="connsiteX47" fmla="*/ 2162175 w 3457575"/>
                  <a:gd name="connsiteY47" fmla="*/ 47625 h 3822033"/>
                  <a:gd name="connsiteX48" fmla="*/ 2228850 w 3457575"/>
                  <a:gd name="connsiteY48" fmla="*/ 66675 h 3822033"/>
                  <a:gd name="connsiteX49" fmla="*/ 2343150 w 3457575"/>
                  <a:gd name="connsiteY49" fmla="*/ 133350 h 3822033"/>
                  <a:gd name="connsiteX50" fmla="*/ 2390775 w 3457575"/>
                  <a:gd name="connsiteY50" fmla="*/ 142875 h 3822033"/>
                  <a:gd name="connsiteX51" fmla="*/ 2457450 w 3457575"/>
                  <a:gd name="connsiteY51" fmla="*/ 171450 h 3822033"/>
                  <a:gd name="connsiteX52" fmla="*/ 2486025 w 3457575"/>
                  <a:gd name="connsiteY52" fmla="*/ 200025 h 3822033"/>
                  <a:gd name="connsiteX53" fmla="*/ 2571750 w 3457575"/>
                  <a:gd name="connsiteY53" fmla="*/ 228600 h 3822033"/>
                  <a:gd name="connsiteX54" fmla="*/ 2676525 w 3457575"/>
                  <a:gd name="connsiteY54" fmla="*/ 285750 h 3822033"/>
                  <a:gd name="connsiteX55" fmla="*/ 2705100 w 3457575"/>
                  <a:gd name="connsiteY55" fmla="*/ 304800 h 3822033"/>
                  <a:gd name="connsiteX56" fmla="*/ 2733675 w 3457575"/>
                  <a:gd name="connsiteY56" fmla="*/ 333375 h 3822033"/>
                  <a:gd name="connsiteX57" fmla="*/ 2771775 w 3457575"/>
                  <a:gd name="connsiteY57" fmla="*/ 361950 h 3822033"/>
                  <a:gd name="connsiteX58" fmla="*/ 2809875 w 3457575"/>
                  <a:gd name="connsiteY58" fmla="*/ 400050 h 3822033"/>
                  <a:gd name="connsiteX59" fmla="*/ 2867025 w 3457575"/>
                  <a:gd name="connsiteY59" fmla="*/ 438150 h 3822033"/>
                  <a:gd name="connsiteX60" fmla="*/ 2905125 w 3457575"/>
                  <a:gd name="connsiteY60" fmla="*/ 476250 h 3822033"/>
                  <a:gd name="connsiteX61" fmla="*/ 2971800 w 3457575"/>
                  <a:gd name="connsiteY61" fmla="*/ 523875 h 3822033"/>
                  <a:gd name="connsiteX62" fmla="*/ 2990850 w 3457575"/>
                  <a:gd name="connsiteY62" fmla="*/ 552450 h 3822033"/>
                  <a:gd name="connsiteX63" fmla="*/ 3028950 w 3457575"/>
                  <a:gd name="connsiteY63" fmla="*/ 590550 h 3822033"/>
                  <a:gd name="connsiteX64" fmla="*/ 3048000 w 3457575"/>
                  <a:gd name="connsiteY64" fmla="*/ 628650 h 3822033"/>
                  <a:gd name="connsiteX65" fmla="*/ 3086100 w 3457575"/>
                  <a:gd name="connsiteY65" fmla="*/ 666750 h 3822033"/>
                  <a:gd name="connsiteX66" fmla="*/ 3124200 w 3457575"/>
                  <a:gd name="connsiteY66" fmla="*/ 723900 h 3822033"/>
                  <a:gd name="connsiteX67" fmla="*/ 3219450 w 3457575"/>
                  <a:gd name="connsiteY67" fmla="*/ 838200 h 3822033"/>
                  <a:gd name="connsiteX68" fmla="*/ 3238500 w 3457575"/>
                  <a:gd name="connsiteY68" fmla="*/ 885825 h 3822033"/>
                  <a:gd name="connsiteX69" fmla="*/ 3276600 w 3457575"/>
                  <a:gd name="connsiteY69" fmla="*/ 942975 h 3822033"/>
                  <a:gd name="connsiteX70" fmla="*/ 3286125 w 3457575"/>
                  <a:gd name="connsiteY70" fmla="*/ 990600 h 3822033"/>
                  <a:gd name="connsiteX71" fmla="*/ 3324225 w 3457575"/>
                  <a:gd name="connsiteY71" fmla="*/ 1085850 h 3822033"/>
                  <a:gd name="connsiteX72" fmla="*/ 3362325 w 3457575"/>
                  <a:gd name="connsiteY72" fmla="*/ 1171575 h 3822033"/>
                  <a:gd name="connsiteX73" fmla="*/ 3390900 w 3457575"/>
                  <a:gd name="connsiteY73" fmla="*/ 1219200 h 3822033"/>
                  <a:gd name="connsiteX74" fmla="*/ 3419475 w 3457575"/>
                  <a:gd name="connsiteY74" fmla="*/ 1333500 h 3822033"/>
                  <a:gd name="connsiteX75" fmla="*/ 3429000 w 3457575"/>
                  <a:gd name="connsiteY75" fmla="*/ 1390650 h 3822033"/>
                  <a:gd name="connsiteX76" fmla="*/ 3457575 w 3457575"/>
                  <a:gd name="connsiteY76" fmla="*/ 1657350 h 3822033"/>
                  <a:gd name="connsiteX77" fmla="*/ 3362325 w 3457575"/>
                  <a:gd name="connsiteY77" fmla="*/ 2187575 h 3822033"/>
                  <a:gd name="connsiteX78" fmla="*/ 3276600 w 3457575"/>
                  <a:gd name="connsiteY78" fmla="*/ 2400300 h 3822033"/>
                  <a:gd name="connsiteX79" fmla="*/ 3190875 w 3457575"/>
                  <a:gd name="connsiteY79" fmla="*/ 2533650 h 3822033"/>
                  <a:gd name="connsiteX80" fmla="*/ 3105150 w 3457575"/>
                  <a:gd name="connsiteY80" fmla="*/ 2647950 h 3822033"/>
                  <a:gd name="connsiteX81" fmla="*/ 3019425 w 3457575"/>
                  <a:gd name="connsiteY81" fmla="*/ 2781300 h 3822033"/>
                  <a:gd name="connsiteX82" fmla="*/ 2981325 w 3457575"/>
                  <a:gd name="connsiteY82" fmla="*/ 2819400 h 3822033"/>
                  <a:gd name="connsiteX83" fmla="*/ 2943225 w 3457575"/>
                  <a:gd name="connsiteY83" fmla="*/ 2876550 h 3822033"/>
                  <a:gd name="connsiteX84" fmla="*/ 2857500 w 3457575"/>
                  <a:gd name="connsiteY84" fmla="*/ 2933700 h 3822033"/>
                  <a:gd name="connsiteX85" fmla="*/ 2809875 w 3457575"/>
                  <a:gd name="connsiteY85" fmla="*/ 2971800 h 3822033"/>
                  <a:gd name="connsiteX86" fmla="*/ 2705100 w 3457575"/>
                  <a:gd name="connsiteY86" fmla="*/ 3038475 h 3822033"/>
                  <a:gd name="connsiteX87" fmla="*/ 2609850 w 3457575"/>
                  <a:gd name="connsiteY87" fmla="*/ 3105150 h 3822033"/>
                  <a:gd name="connsiteX88" fmla="*/ 2562225 w 3457575"/>
                  <a:gd name="connsiteY88" fmla="*/ 3143250 h 3822033"/>
                  <a:gd name="connsiteX89" fmla="*/ 2495550 w 3457575"/>
                  <a:gd name="connsiteY89" fmla="*/ 3162300 h 3822033"/>
                  <a:gd name="connsiteX90" fmla="*/ 2362200 w 3457575"/>
                  <a:gd name="connsiteY90" fmla="*/ 3219450 h 3822033"/>
                  <a:gd name="connsiteX91" fmla="*/ 2257425 w 3457575"/>
                  <a:gd name="connsiteY91" fmla="*/ 3257550 h 3822033"/>
                  <a:gd name="connsiteX92" fmla="*/ 2181225 w 3457575"/>
                  <a:gd name="connsiteY92" fmla="*/ 3276600 h 3822033"/>
                  <a:gd name="connsiteX93" fmla="*/ 2057400 w 3457575"/>
                  <a:gd name="connsiteY93" fmla="*/ 3362325 h 3822033"/>
                  <a:gd name="connsiteX94" fmla="*/ 2009775 w 3457575"/>
                  <a:gd name="connsiteY94" fmla="*/ 3400425 h 3822033"/>
                  <a:gd name="connsiteX95" fmla="*/ 1962150 w 3457575"/>
                  <a:gd name="connsiteY95" fmla="*/ 3429000 h 3822033"/>
                  <a:gd name="connsiteX96" fmla="*/ 1905000 w 3457575"/>
                  <a:gd name="connsiteY96" fmla="*/ 3495675 h 3822033"/>
                  <a:gd name="connsiteX97" fmla="*/ 1819275 w 3457575"/>
                  <a:gd name="connsiteY97" fmla="*/ 3609975 h 3822033"/>
                  <a:gd name="connsiteX98" fmla="*/ 1800225 w 3457575"/>
                  <a:gd name="connsiteY98" fmla="*/ 3638550 h 3822033"/>
                  <a:gd name="connsiteX99" fmla="*/ 1790700 w 3457575"/>
                  <a:gd name="connsiteY99" fmla="*/ 3667125 h 3822033"/>
                  <a:gd name="connsiteX100" fmla="*/ 1771650 w 3457575"/>
                  <a:gd name="connsiteY100" fmla="*/ 3695700 h 3822033"/>
                  <a:gd name="connsiteX101" fmla="*/ 1752600 w 3457575"/>
                  <a:gd name="connsiteY101" fmla="*/ 3733800 h 3822033"/>
                  <a:gd name="connsiteX102" fmla="*/ 1714500 w 3457575"/>
                  <a:gd name="connsiteY102" fmla="*/ 3810000 h 3822033"/>
                  <a:gd name="connsiteX103" fmla="*/ 1704975 w 3457575"/>
                  <a:gd name="connsiteY103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28600 w 3457575"/>
                  <a:gd name="connsiteY18" fmla="*/ 245745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57175 w 3457575"/>
                  <a:gd name="connsiteY17" fmla="*/ 2495550 h 3822033"/>
                  <a:gd name="connsiteX18" fmla="*/ 209550 w 3457575"/>
                  <a:gd name="connsiteY18" fmla="*/ 2451100 h 3822033"/>
                  <a:gd name="connsiteX19" fmla="*/ 161925 w 3457575"/>
                  <a:gd name="connsiteY19" fmla="*/ 2343150 h 3822033"/>
                  <a:gd name="connsiteX20" fmla="*/ 107950 w 3457575"/>
                  <a:gd name="connsiteY20" fmla="*/ 2238375 h 3822033"/>
                  <a:gd name="connsiteX21" fmla="*/ 38100 w 3457575"/>
                  <a:gd name="connsiteY21" fmla="*/ 1958975 h 3822033"/>
                  <a:gd name="connsiteX22" fmla="*/ 28575 w 3457575"/>
                  <a:gd name="connsiteY22" fmla="*/ 1819275 h 3822033"/>
                  <a:gd name="connsiteX23" fmla="*/ 9525 w 3457575"/>
                  <a:gd name="connsiteY23" fmla="*/ 1657350 h 3822033"/>
                  <a:gd name="connsiteX24" fmla="*/ 0 w 3457575"/>
                  <a:gd name="connsiteY24" fmla="*/ 1609725 h 3822033"/>
                  <a:gd name="connsiteX25" fmla="*/ 9525 w 3457575"/>
                  <a:gd name="connsiteY25" fmla="*/ 1428750 h 3822033"/>
                  <a:gd name="connsiteX26" fmla="*/ 28575 w 3457575"/>
                  <a:gd name="connsiteY26" fmla="*/ 1304925 h 3822033"/>
                  <a:gd name="connsiteX27" fmla="*/ 38100 w 3457575"/>
                  <a:gd name="connsiteY27" fmla="*/ 1247775 h 3822033"/>
                  <a:gd name="connsiteX28" fmla="*/ 76200 w 3457575"/>
                  <a:gd name="connsiteY28" fmla="*/ 1152525 h 3822033"/>
                  <a:gd name="connsiteX29" fmla="*/ 114300 w 3457575"/>
                  <a:gd name="connsiteY29" fmla="*/ 990600 h 3822033"/>
                  <a:gd name="connsiteX30" fmla="*/ 133350 w 3457575"/>
                  <a:gd name="connsiteY30" fmla="*/ 923925 h 3822033"/>
                  <a:gd name="connsiteX31" fmla="*/ 171450 w 3457575"/>
                  <a:gd name="connsiteY31" fmla="*/ 866775 h 3822033"/>
                  <a:gd name="connsiteX32" fmla="*/ 228600 w 3457575"/>
                  <a:gd name="connsiteY32" fmla="*/ 762000 h 3822033"/>
                  <a:gd name="connsiteX33" fmla="*/ 304800 w 3457575"/>
                  <a:gd name="connsiteY33" fmla="*/ 647700 h 3822033"/>
                  <a:gd name="connsiteX34" fmla="*/ 552450 w 3457575"/>
                  <a:gd name="connsiteY34" fmla="*/ 361950 h 3822033"/>
                  <a:gd name="connsiteX35" fmla="*/ 609600 w 3457575"/>
                  <a:gd name="connsiteY35" fmla="*/ 323850 h 3822033"/>
                  <a:gd name="connsiteX36" fmla="*/ 666750 w 3457575"/>
                  <a:gd name="connsiteY36" fmla="*/ 285750 h 3822033"/>
                  <a:gd name="connsiteX37" fmla="*/ 762000 w 3457575"/>
                  <a:gd name="connsiteY37" fmla="*/ 238125 h 3822033"/>
                  <a:gd name="connsiteX38" fmla="*/ 800100 w 3457575"/>
                  <a:gd name="connsiteY38" fmla="*/ 219075 h 3822033"/>
                  <a:gd name="connsiteX39" fmla="*/ 895350 w 3457575"/>
                  <a:gd name="connsiteY39" fmla="*/ 161925 h 3822033"/>
                  <a:gd name="connsiteX40" fmla="*/ 962025 w 3457575"/>
                  <a:gd name="connsiteY40" fmla="*/ 133350 h 3822033"/>
                  <a:gd name="connsiteX41" fmla="*/ 1123950 w 3457575"/>
                  <a:gd name="connsiteY41" fmla="*/ 76200 h 3822033"/>
                  <a:gd name="connsiteX42" fmla="*/ 1162050 w 3457575"/>
                  <a:gd name="connsiteY42" fmla="*/ 66675 h 3822033"/>
                  <a:gd name="connsiteX43" fmla="*/ 1438275 w 3457575"/>
                  <a:gd name="connsiteY43" fmla="*/ 0 h 3822033"/>
                  <a:gd name="connsiteX44" fmla="*/ 2038350 w 3457575"/>
                  <a:gd name="connsiteY44" fmla="*/ 9525 h 3822033"/>
                  <a:gd name="connsiteX45" fmla="*/ 2105025 w 3457575"/>
                  <a:gd name="connsiteY45" fmla="*/ 19050 h 3822033"/>
                  <a:gd name="connsiteX46" fmla="*/ 2162175 w 3457575"/>
                  <a:gd name="connsiteY46" fmla="*/ 47625 h 3822033"/>
                  <a:gd name="connsiteX47" fmla="*/ 2228850 w 3457575"/>
                  <a:gd name="connsiteY47" fmla="*/ 66675 h 3822033"/>
                  <a:gd name="connsiteX48" fmla="*/ 2343150 w 3457575"/>
                  <a:gd name="connsiteY48" fmla="*/ 133350 h 3822033"/>
                  <a:gd name="connsiteX49" fmla="*/ 2390775 w 3457575"/>
                  <a:gd name="connsiteY49" fmla="*/ 142875 h 3822033"/>
                  <a:gd name="connsiteX50" fmla="*/ 2457450 w 3457575"/>
                  <a:gd name="connsiteY50" fmla="*/ 171450 h 3822033"/>
                  <a:gd name="connsiteX51" fmla="*/ 2486025 w 3457575"/>
                  <a:gd name="connsiteY51" fmla="*/ 200025 h 3822033"/>
                  <a:gd name="connsiteX52" fmla="*/ 2571750 w 3457575"/>
                  <a:gd name="connsiteY52" fmla="*/ 228600 h 3822033"/>
                  <a:gd name="connsiteX53" fmla="*/ 2676525 w 3457575"/>
                  <a:gd name="connsiteY53" fmla="*/ 285750 h 3822033"/>
                  <a:gd name="connsiteX54" fmla="*/ 2705100 w 3457575"/>
                  <a:gd name="connsiteY54" fmla="*/ 304800 h 3822033"/>
                  <a:gd name="connsiteX55" fmla="*/ 2733675 w 3457575"/>
                  <a:gd name="connsiteY55" fmla="*/ 333375 h 3822033"/>
                  <a:gd name="connsiteX56" fmla="*/ 2771775 w 3457575"/>
                  <a:gd name="connsiteY56" fmla="*/ 361950 h 3822033"/>
                  <a:gd name="connsiteX57" fmla="*/ 2809875 w 3457575"/>
                  <a:gd name="connsiteY57" fmla="*/ 400050 h 3822033"/>
                  <a:gd name="connsiteX58" fmla="*/ 2867025 w 3457575"/>
                  <a:gd name="connsiteY58" fmla="*/ 438150 h 3822033"/>
                  <a:gd name="connsiteX59" fmla="*/ 2905125 w 3457575"/>
                  <a:gd name="connsiteY59" fmla="*/ 476250 h 3822033"/>
                  <a:gd name="connsiteX60" fmla="*/ 2971800 w 3457575"/>
                  <a:gd name="connsiteY60" fmla="*/ 523875 h 3822033"/>
                  <a:gd name="connsiteX61" fmla="*/ 2990850 w 3457575"/>
                  <a:gd name="connsiteY61" fmla="*/ 552450 h 3822033"/>
                  <a:gd name="connsiteX62" fmla="*/ 3028950 w 3457575"/>
                  <a:gd name="connsiteY62" fmla="*/ 590550 h 3822033"/>
                  <a:gd name="connsiteX63" fmla="*/ 3048000 w 3457575"/>
                  <a:gd name="connsiteY63" fmla="*/ 628650 h 3822033"/>
                  <a:gd name="connsiteX64" fmla="*/ 3086100 w 3457575"/>
                  <a:gd name="connsiteY64" fmla="*/ 666750 h 3822033"/>
                  <a:gd name="connsiteX65" fmla="*/ 3124200 w 3457575"/>
                  <a:gd name="connsiteY65" fmla="*/ 723900 h 3822033"/>
                  <a:gd name="connsiteX66" fmla="*/ 3219450 w 3457575"/>
                  <a:gd name="connsiteY66" fmla="*/ 838200 h 3822033"/>
                  <a:gd name="connsiteX67" fmla="*/ 3238500 w 3457575"/>
                  <a:gd name="connsiteY67" fmla="*/ 885825 h 3822033"/>
                  <a:gd name="connsiteX68" fmla="*/ 3276600 w 3457575"/>
                  <a:gd name="connsiteY68" fmla="*/ 942975 h 3822033"/>
                  <a:gd name="connsiteX69" fmla="*/ 3286125 w 3457575"/>
                  <a:gd name="connsiteY69" fmla="*/ 990600 h 3822033"/>
                  <a:gd name="connsiteX70" fmla="*/ 3324225 w 3457575"/>
                  <a:gd name="connsiteY70" fmla="*/ 1085850 h 3822033"/>
                  <a:gd name="connsiteX71" fmla="*/ 3362325 w 3457575"/>
                  <a:gd name="connsiteY71" fmla="*/ 1171575 h 3822033"/>
                  <a:gd name="connsiteX72" fmla="*/ 3390900 w 3457575"/>
                  <a:gd name="connsiteY72" fmla="*/ 1219200 h 3822033"/>
                  <a:gd name="connsiteX73" fmla="*/ 3419475 w 3457575"/>
                  <a:gd name="connsiteY73" fmla="*/ 1333500 h 3822033"/>
                  <a:gd name="connsiteX74" fmla="*/ 3429000 w 3457575"/>
                  <a:gd name="connsiteY74" fmla="*/ 1390650 h 3822033"/>
                  <a:gd name="connsiteX75" fmla="*/ 3457575 w 3457575"/>
                  <a:gd name="connsiteY75" fmla="*/ 1657350 h 3822033"/>
                  <a:gd name="connsiteX76" fmla="*/ 3362325 w 3457575"/>
                  <a:gd name="connsiteY76" fmla="*/ 2187575 h 3822033"/>
                  <a:gd name="connsiteX77" fmla="*/ 3276600 w 3457575"/>
                  <a:gd name="connsiteY77" fmla="*/ 2400300 h 3822033"/>
                  <a:gd name="connsiteX78" fmla="*/ 3190875 w 3457575"/>
                  <a:gd name="connsiteY78" fmla="*/ 2533650 h 3822033"/>
                  <a:gd name="connsiteX79" fmla="*/ 3105150 w 3457575"/>
                  <a:gd name="connsiteY79" fmla="*/ 2647950 h 3822033"/>
                  <a:gd name="connsiteX80" fmla="*/ 3019425 w 3457575"/>
                  <a:gd name="connsiteY80" fmla="*/ 2781300 h 3822033"/>
                  <a:gd name="connsiteX81" fmla="*/ 2981325 w 3457575"/>
                  <a:gd name="connsiteY81" fmla="*/ 2819400 h 3822033"/>
                  <a:gd name="connsiteX82" fmla="*/ 2943225 w 3457575"/>
                  <a:gd name="connsiteY82" fmla="*/ 2876550 h 3822033"/>
                  <a:gd name="connsiteX83" fmla="*/ 2857500 w 3457575"/>
                  <a:gd name="connsiteY83" fmla="*/ 2933700 h 3822033"/>
                  <a:gd name="connsiteX84" fmla="*/ 2809875 w 3457575"/>
                  <a:gd name="connsiteY84" fmla="*/ 2971800 h 3822033"/>
                  <a:gd name="connsiteX85" fmla="*/ 2705100 w 3457575"/>
                  <a:gd name="connsiteY85" fmla="*/ 3038475 h 3822033"/>
                  <a:gd name="connsiteX86" fmla="*/ 2609850 w 3457575"/>
                  <a:gd name="connsiteY86" fmla="*/ 3105150 h 3822033"/>
                  <a:gd name="connsiteX87" fmla="*/ 2562225 w 3457575"/>
                  <a:gd name="connsiteY87" fmla="*/ 3143250 h 3822033"/>
                  <a:gd name="connsiteX88" fmla="*/ 2495550 w 3457575"/>
                  <a:gd name="connsiteY88" fmla="*/ 3162300 h 3822033"/>
                  <a:gd name="connsiteX89" fmla="*/ 2362200 w 3457575"/>
                  <a:gd name="connsiteY89" fmla="*/ 3219450 h 3822033"/>
                  <a:gd name="connsiteX90" fmla="*/ 2257425 w 3457575"/>
                  <a:gd name="connsiteY90" fmla="*/ 3257550 h 3822033"/>
                  <a:gd name="connsiteX91" fmla="*/ 2181225 w 3457575"/>
                  <a:gd name="connsiteY91" fmla="*/ 3276600 h 3822033"/>
                  <a:gd name="connsiteX92" fmla="*/ 2057400 w 3457575"/>
                  <a:gd name="connsiteY92" fmla="*/ 3362325 h 3822033"/>
                  <a:gd name="connsiteX93" fmla="*/ 2009775 w 3457575"/>
                  <a:gd name="connsiteY93" fmla="*/ 3400425 h 3822033"/>
                  <a:gd name="connsiteX94" fmla="*/ 1962150 w 3457575"/>
                  <a:gd name="connsiteY94" fmla="*/ 3429000 h 3822033"/>
                  <a:gd name="connsiteX95" fmla="*/ 1905000 w 3457575"/>
                  <a:gd name="connsiteY95" fmla="*/ 3495675 h 3822033"/>
                  <a:gd name="connsiteX96" fmla="*/ 1819275 w 3457575"/>
                  <a:gd name="connsiteY96" fmla="*/ 3609975 h 3822033"/>
                  <a:gd name="connsiteX97" fmla="*/ 1800225 w 3457575"/>
                  <a:gd name="connsiteY97" fmla="*/ 3638550 h 3822033"/>
                  <a:gd name="connsiteX98" fmla="*/ 1790700 w 3457575"/>
                  <a:gd name="connsiteY98" fmla="*/ 3667125 h 3822033"/>
                  <a:gd name="connsiteX99" fmla="*/ 1771650 w 3457575"/>
                  <a:gd name="connsiteY99" fmla="*/ 3695700 h 3822033"/>
                  <a:gd name="connsiteX100" fmla="*/ 1752600 w 3457575"/>
                  <a:gd name="connsiteY100" fmla="*/ 3733800 h 3822033"/>
                  <a:gd name="connsiteX101" fmla="*/ 1714500 w 3457575"/>
                  <a:gd name="connsiteY101" fmla="*/ 3810000 h 3822033"/>
                  <a:gd name="connsiteX102" fmla="*/ 1704975 w 3457575"/>
                  <a:gd name="connsiteY102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9527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619125 w 3457575"/>
                  <a:gd name="connsiteY13" fmla="*/ 3009900 h 3822033"/>
                  <a:gd name="connsiteX14" fmla="*/ 571500 w 3457575"/>
                  <a:gd name="connsiteY14" fmla="*/ 2943225 h 3822033"/>
                  <a:gd name="connsiteX15" fmla="*/ 333375 w 3457575"/>
                  <a:gd name="connsiteY15" fmla="*/ 2676525 h 3822033"/>
                  <a:gd name="connsiteX16" fmla="*/ 276225 w 3457575"/>
                  <a:gd name="connsiteY16" fmla="*/ 2581275 h 3822033"/>
                  <a:gd name="connsiteX17" fmla="*/ 209550 w 3457575"/>
                  <a:gd name="connsiteY17" fmla="*/ 2451100 h 3822033"/>
                  <a:gd name="connsiteX18" fmla="*/ 161925 w 3457575"/>
                  <a:gd name="connsiteY18" fmla="*/ 2343150 h 3822033"/>
                  <a:gd name="connsiteX19" fmla="*/ 107950 w 3457575"/>
                  <a:gd name="connsiteY19" fmla="*/ 2238375 h 3822033"/>
                  <a:gd name="connsiteX20" fmla="*/ 38100 w 3457575"/>
                  <a:gd name="connsiteY20" fmla="*/ 1958975 h 3822033"/>
                  <a:gd name="connsiteX21" fmla="*/ 28575 w 3457575"/>
                  <a:gd name="connsiteY21" fmla="*/ 1819275 h 3822033"/>
                  <a:gd name="connsiteX22" fmla="*/ 9525 w 3457575"/>
                  <a:gd name="connsiteY22" fmla="*/ 1657350 h 3822033"/>
                  <a:gd name="connsiteX23" fmla="*/ 0 w 3457575"/>
                  <a:gd name="connsiteY23" fmla="*/ 1609725 h 3822033"/>
                  <a:gd name="connsiteX24" fmla="*/ 9525 w 3457575"/>
                  <a:gd name="connsiteY24" fmla="*/ 1428750 h 3822033"/>
                  <a:gd name="connsiteX25" fmla="*/ 28575 w 3457575"/>
                  <a:gd name="connsiteY25" fmla="*/ 1304925 h 3822033"/>
                  <a:gd name="connsiteX26" fmla="*/ 38100 w 3457575"/>
                  <a:gd name="connsiteY26" fmla="*/ 1247775 h 3822033"/>
                  <a:gd name="connsiteX27" fmla="*/ 76200 w 3457575"/>
                  <a:gd name="connsiteY27" fmla="*/ 1152525 h 3822033"/>
                  <a:gd name="connsiteX28" fmla="*/ 114300 w 3457575"/>
                  <a:gd name="connsiteY28" fmla="*/ 990600 h 3822033"/>
                  <a:gd name="connsiteX29" fmla="*/ 133350 w 3457575"/>
                  <a:gd name="connsiteY29" fmla="*/ 923925 h 3822033"/>
                  <a:gd name="connsiteX30" fmla="*/ 171450 w 3457575"/>
                  <a:gd name="connsiteY30" fmla="*/ 866775 h 3822033"/>
                  <a:gd name="connsiteX31" fmla="*/ 228600 w 3457575"/>
                  <a:gd name="connsiteY31" fmla="*/ 762000 h 3822033"/>
                  <a:gd name="connsiteX32" fmla="*/ 304800 w 3457575"/>
                  <a:gd name="connsiteY32" fmla="*/ 647700 h 3822033"/>
                  <a:gd name="connsiteX33" fmla="*/ 552450 w 3457575"/>
                  <a:gd name="connsiteY33" fmla="*/ 361950 h 3822033"/>
                  <a:gd name="connsiteX34" fmla="*/ 609600 w 3457575"/>
                  <a:gd name="connsiteY34" fmla="*/ 323850 h 3822033"/>
                  <a:gd name="connsiteX35" fmla="*/ 666750 w 3457575"/>
                  <a:gd name="connsiteY35" fmla="*/ 285750 h 3822033"/>
                  <a:gd name="connsiteX36" fmla="*/ 762000 w 3457575"/>
                  <a:gd name="connsiteY36" fmla="*/ 238125 h 3822033"/>
                  <a:gd name="connsiteX37" fmla="*/ 800100 w 3457575"/>
                  <a:gd name="connsiteY37" fmla="*/ 219075 h 3822033"/>
                  <a:gd name="connsiteX38" fmla="*/ 895350 w 3457575"/>
                  <a:gd name="connsiteY38" fmla="*/ 161925 h 3822033"/>
                  <a:gd name="connsiteX39" fmla="*/ 962025 w 3457575"/>
                  <a:gd name="connsiteY39" fmla="*/ 133350 h 3822033"/>
                  <a:gd name="connsiteX40" fmla="*/ 1123950 w 3457575"/>
                  <a:gd name="connsiteY40" fmla="*/ 76200 h 3822033"/>
                  <a:gd name="connsiteX41" fmla="*/ 1162050 w 3457575"/>
                  <a:gd name="connsiteY41" fmla="*/ 66675 h 3822033"/>
                  <a:gd name="connsiteX42" fmla="*/ 1438275 w 3457575"/>
                  <a:gd name="connsiteY42" fmla="*/ 0 h 3822033"/>
                  <a:gd name="connsiteX43" fmla="*/ 2038350 w 3457575"/>
                  <a:gd name="connsiteY43" fmla="*/ 9525 h 3822033"/>
                  <a:gd name="connsiteX44" fmla="*/ 2105025 w 3457575"/>
                  <a:gd name="connsiteY44" fmla="*/ 19050 h 3822033"/>
                  <a:gd name="connsiteX45" fmla="*/ 2162175 w 3457575"/>
                  <a:gd name="connsiteY45" fmla="*/ 47625 h 3822033"/>
                  <a:gd name="connsiteX46" fmla="*/ 2228850 w 3457575"/>
                  <a:gd name="connsiteY46" fmla="*/ 66675 h 3822033"/>
                  <a:gd name="connsiteX47" fmla="*/ 2343150 w 3457575"/>
                  <a:gd name="connsiteY47" fmla="*/ 133350 h 3822033"/>
                  <a:gd name="connsiteX48" fmla="*/ 2390775 w 3457575"/>
                  <a:gd name="connsiteY48" fmla="*/ 142875 h 3822033"/>
                  <a:gd name="connsiteX49" fmla="*/ 2457450 w 3457575"/>
                  <a:gd name="connsiteY49" fmla="*/ 171450 h 3822033"/>
                  <a:gd name="connsiteX50" fmla="*/ 2486025 w 3457575"/>
                  <a:gd name="connsiteY50" fmla="*/ 200025 h 3822033"/>
                  <a:gd name="connsiteX51" fmla="*/ 2571750 w 3457575"/>
                  <a:gd name="connsiteY51" fmla="*/ 228600 h 3822033"/>
                  <a:gd name="connsiteX52" fmla="*/ 2676525 w 3457575"/>
                  <a:gd name="connsiteY52" fmla="*/ 285750 h 3822033"/>
                  <a:gd name="connsiteX53" fmla="*/ 2705100 w 3457575"/>
                  <a:gd name="connsiteY53" fmla="*/ 304800 h 3822033"/>
                  <a:gd name="connsiteX54" fmla="*/ 2733675 w 3457575"/>
                  <a:gd name="connsiteY54" fmla="*/ 333375 h 3822033"/>
                  <a:gd name="connsiteX55" fmla="*/ 2771775 w 3457575"/>
                  <a:gd name="connsiteY55" fmla="*/ 361950 h 3822033"/>
                  <a:gd name="connsiteX56" fmla="*/ 2809875 w 3457575"/>
                  <a:gd name="connsiteY56" fmla="*/ 400050 h 3822033"/>
                  <a:gd name="connsiteX57" fmla="*/ 2867025 w 3457575"/>
                  <a:gd name="connsiteY57" fmla="*/ 438150 h 3822033"/>
                  <a:gd name="connsiteX58" fmla="*/ 2905125 w 3457575"/>
                  <a:gd name="connsiteY58" fmla="*/ 476250 h 3822033"/>
                  <a:gd name="connsiteX59" fmla="*/ 2971800 w 3457575"/>
                  <a:gd name="connsiteY59" fmla="*/ 523875 h 3822033"/>
                  <a:gd name="connsiteX60" fmla="*/ 2990850 w 3457575"/>
                  <a:gd name="connsiteY60" fmla="*/ 552450 h 3822033"/>
                  <a:gd name="connsiteX61" fmla="*/ 3028950 w 3457575"/>
                  <a:gd name="connsiteY61" fmla="*/ 590550 h 3822033"/>
                  <a:gd name="connsiteX62" fmla="*/ 3048000 w 3457575"/>
                  <a:gd name="connsiteY62" fmla="*/ 628650 h 3822033"/>
                  <a:gd name="connsiteX63" fmla="*/ 3086100 w 3457575"/>
                  <a:gd name="connsiteY63" fmla="*/ 666750 h 3822033"/>
                  <a:gd name="connsiteX64" fmla="*/ 3124200 w 3457575"/>
                  <a:gd name="connsiteY64" fmla="*/ 723900 h 3822033"/>
                  <a:gd name="connsiteX65" fmla="*/ 3219450 w 3457575"/>
                  <a:gd name="connsiteY65" fmla="*/ 838200 h 3822033"/>
                  <a:gd name="connsiteX66" fmla="*/ 3238500 w 3457575"/>
                  <a:gd name="connsiteY66" fmla="*/ 885825 h 3822033"/>
                  <a:gd name="connsiteX67" fmla="*/ 3276600 w 3457575"/>
                  <a:gd name="connsiteY67" fmla="*/ 942975 h 3822033"/>
                  <a:gd name="connsiteX68" fmla="*/ 3286125 w 3457575"/>
                  <a:gd name="connsiteY68" fmla="*/ 990600 h 3822033"/>
                  <a:gd name="connsiteX69" fmla="*/ 3324225 w 3457575"/>
                  <a:gd name="connsiteY69" fmla="*/ 1085850 h 3822033"/>
                  <a:gd name="connsiteX70" fmla="*/ 3362325 w 3457575"/>
                  <a:gd name="connsiteY70" fmla="*/ 1171575 h 3822033"/>
                  <a:gd name="connsiteX71" fmla="*/ 3390900 w 3457575"/>
                  <a:gd name="connsiteY71" fmla="*/ 1219200 h 3822033"/>
                  <a:gd name="connsiteX72" fmla="*/ 3419475 w 3457575"/>
                  <a:gd name="connsiteY72" fmla="*/ 1333500 h 3822033"/>
                  <a:gd name="connsiteX73" fmla="*/ 3429000 w 3457575"/>
                  <a:gd name="connsiteY73" fmla="*/ 1390650 h 3822033"/>
                  <a:gd name="connsiteX74" fmla="*/ 3457575 w 3457575"/>
                  <a:gd name="connsiteY74" fmla="*/ 1657350 h 3822033"/>
                  <a:gd name="connsiteX75" fmla="*/ 3362325 w 3457575"/>
                  <a:gd name="connsiteY75" fmla="*/ 2187575 h 3822033"/>
                  <a:gd name="connsiteX76" fmla="*/ 3276600 w 3457575"/>
                  <a:gd name="connsiteY76" fmla="*/ 2400300 h 3822033"/>
                  <a:gd name="connsiteX77" fmla="*/ 3190875 w 3457575"/>
                  <a:gd name="connsiteY77" fmla="*/ 2533650 h 3822033"/>
                  <a:gd name="connsiteX78" fmla="*/ 3105150 w 3457575"/>
                  <a:gd name="connsiteY78" fmla="*/ 2647950 h 3822033"/>
                  <a:gd name="connsiteX79" fmla="*/ 3019425 w 3457575"/>
                  <a:gd name="connsiteY79" fmla="*/ 2781300 h 3822033"/>
                  <a:gd name="connsiteX80" fmla="*/ 2981325 w 3457575"/>
                  <a:gd name="connsiteY80" fmla="*/ 2819400 h 3822033"/>
                  <a:gd name="connsiteX81" fmla="*/ 2943225 w 3457575"/>
                  <a:gd name="connsiteY81" fmla="*/ 2876550 h 3822033"/>
                  <a:gd name="connsiteX82" fmla="*/ 2857500 w 3457575"/>
                  <a:gd name="connsiteY82" fmla="*/ 2933700 h 3822033"/>
                  <a:gd name="connsiteX83" fmla="*/ 2809875 w 3457575"/>
                  <a:gd name="connsiteY83" fmla="*/ 2971800 h 3822033"/>
                  <a:gd name="connsiteX84" fmla="*/ 2705100 w 3457575"/>
                  <a:gd name="connsiteY84" fmla="*/ 3038475 h 3822033"/>
                  <a:gd name="connsiteX85" fmla="*/ 2609850 w 3457575"/>
                  <a:gd name="connsiteY85" fmla="*/ 3105150 h 3822033"/>
                  <a:gd name="connsiteX86" fmla="*/ 2562225 w 3457575"/>
                  <a:gd name="connsiteY86" fmla="*/ 3143250 h 3822033"/>
                  <a:gd name="connsiteX87" fmla="*/ 2495550 w 3457575"/>
                  <a:gd name="connsiteY87" fmla="*/ 3162300 h 3822033"/>
                  <a:gd name="connsiteX88" fmla="*/ 2362200 w 3457575"/>
                  <a:gd name="connsiteY88" fmla="*/ 3219450 h 3822033"/>
                  <a:gd name="connsiteX89" fmla="*/ 2257425 w 3457575"/>
                  <a:gd name="connsiteY89" fmla="*/ 3257550 h 3822033"/>
                  <a:gd name="connsiteX90" fmla="*/ 2181225 w 3457575"/>
                  <a:gd name="connsiteY90" fmla="*/ 3276600 h 3822033"/>
                  <a:gd name="connsiteX91" fmla="*/ 2057400 w 3457575"/>
                  <a:gd name="connsiteY91" fmla="*/ 3362325 h 3822033"/>
                  <a:gd name="connsiteX92" fmla="*/ 2009775 w 3457575"/>
                  <a:gd name="connsiteY92" fmla="*/ 3400425 h 3822033"/>
                  <a:gd name="connsiteX93" fmla="*/ 1962150 w 3457575"/>
                  <a:gd name="connsiteY93" fmla="*/ 3429000 h 3822033"/>
                  <a:gd name="connsiteX94" fmla="*/ 1905000 w 3457575"/>
                  <a:gd name="connsiteY94" fmla="*/ 3495675 h 3822033"/>
                  <a:gd name="connsiteX95" fmla="*/ 1819275 w 3457575"/>
                  <a:gd name="connsiteY95" fmla="*/ 3609975 h 3822033"/>
                  <a:gd name="connsiteX96" fmla="*/ 1800225 w 3457575"/>
                  <a:gd name="connsiteY96" fmla="*/ 3638550 h 3822033"/>
                  <a:gd name="connsiteX97" fmla="*/ 1790700 w 3457575"/>
                  <a:gd name="connsiteY97" fmla="*/ 3667125 h 3822033"/>
                  <a:gd name="connsiteX98" fmla="*/ 1771650 w 3457575"/>
                  <a:gd name="connsiteY98" fmla="*/ 3695700 h 3822033"/>
                  <a:gd name="connsiteX99" fmla="*/ 1752600 w 3457575"/>
                  <a:gd name="connsiteY99" fmla="*/ 3733800 h 3822033"/>
                  <a:gd name="connsiteX100" fmla="*/ 1714500 w 3457575"/>
                  <a:gd name="connsiteY100" fmla="*/ 3810000 h 3822033"/>
                  <a:gd name="connsiteX101" fmla="*/ 1704975 w 3457575"/>
                  <a:gd name="connsiteY101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38175 w 3457575"/>
                  <a:gd name="connsiteY12" fmla="*/ 30480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790575 w 3457575"/>
                  <a:gd name="connsiteY11" fmla="*/ 316230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61925 w 3457575"/>
                  <a:gd name="connsiteY17" fmla="*/ 234315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704975 w 3457575"/>
                  <a:gd name="connsiteY0" fmla="*/ 3819525 h 3822033"/>
                  <a:gd name="connsiteX1" fmla="*/ 1676400 w 3457575"/>
                  <a:gd name="connsiteY1" fmla="*/ 3771900 h 3822033"/>
                  <a:gd name="connsiteX2" fmla="*/ 1533525 w 3457575"/>
                  <a:gd name="connsiteY2" fmla="*/ 3543300 h 3822033"/>
                  <a:gd name="connsiteX3" fmla="*/ 1409700 w 3457575"/>
                  <a:gd name="connsiteY3" fmla="*/ 3438525 h 3822033"/>
                  <a:gd name="connsiteX4" fmla="*/ 1371600 w 3457575"/>
                  <a:gd name="connsiteY4" fmla="*/ 3419475 h 3822033"/>
                  <a:gd name="connsiteX5" fmla="*/ 1343025 w 3457575"/>
                  <a:gd name="connsiteY5" fmla="*/ 3400425 h 3822033"/>
                  <a:gd name="connsiteX6" fmla="*/ 1247775 w 3457575"/>
                  <a:gd name="connsiteY6" fmla="*/ 3381375 h 3822033"/>
                  <a:gd name="connsiteX7" fmla="*/ 1133475 w 3457575"/>
                  <a:gd name="connsiteY7" fmla="*/ 3324225 h 3822033"/>
                  <a:gd name="connsiteX8" fmla="*/ 1009650 w 3457575"/>
                  <a:gd name="connsiteY8" fmla="*/ 3276600 h 3822033"/>
                  <a:gd name="connsiteX9" fmla="*/ 962025 w 3457575"/>
                  <a:gd name="connsiteY9" fmla="*/ 3238500 h 3822033"/>
                  <a:gd name="connsiteX10" fmla="*/ 923925 w 3457575"/>
                  <a:gd name="connsiteY10" fmla="*/ 3219450 h 3822033"/>
                  <a:gd name="connsiteX11" fmla="*/ 828675 w 3457575"/>
                  <a:gd name="connsiteY11" fmla="*/ 3143250 h 3822033"/>
                  <a:gd name="connsiteX12" fmla="*/ 657225 w 3457575"/>
                  <a:gd name="connsiteY12" fmla="*/ 3035300 h 3822033"/>
                  <a:gd name="connsiteX13" fmla="*/ 571500 w 3457575"/>
                  <a:gd name="connsiteY13" fmla="*/ 2943225 h 3822033"/>
                  <a:gd name="connsiteX14" fmla="*/ 333375 w 3457575"/>
                  <a:gd name="connsiteY14" fmla="*/ 2676525 h 3822033"/>
                  <a:gd name="connsiteX15" fmla="*/ 276225 w 3457575"/>
                  <a:gd name="connsiteY15" fmla="*/ 2581275 h 3822033"/>
                  <a:gd name="connsiteX16" fmla="*/ 209550 w 3457575"/>
                  <a:gd name="connsiteY16" fmla="*/ 2451100 h 3822033"/>
                  <a:gd name="connsiteX17" fmla="*/ 149225 w 3457575"/>
                  <a:gd name="connsiteY17" fmla="*/ 2362200 h 3822033"/>
                  <a:gd name="connsiteX18" fmla="*/ 107950 w 3457575"/>
                  <a:gd name="connsiteY18" fmla="*/ 2238375 h 3822033"/>
                  <a:gd name="connsiteX19" fmla="*/ 38100 w 3457575"/>
                  <a:gd name="connsiteY19" fmla="*/ 1958975 h 3822033"/>
                  <a:gd name="connsiteX20" fmla="*/ 28575 w 3457575"/>
                  <a:gd name="connsiteY20" fmla="*/ 1819275 h 3822033"/>
                  <a:gd name="connsiteX21" fmla="*/ 9525 w 3457575"/>
                  <a:gd name="connsiteY21" fmla="*/ 1657350 h 3822033"/>
                  <a:gd name="connsiteX22" fmla="*/ 0 w 3457575"/>
                  <a:gd name="connsiteY22" fmla="*/ 1609725 h 3822033"/>
                  <a:gd name="connsiteX23" fmla="*/ 9525 w 3457575"/>
                  <a:gd name="connsiteY23" fmla="*/ 1428750 h 3822033"/>
                  <a:gd name="connsiteX24" fmla="*/ 28575 w 3457575"/>
                  <a:gd name="connsiteY24" fmla="*/ 1304925 h 3822033"/>
                  <a:gd name="connsiteX25" fmla="*/ 38100 w 3457575"/>
                  <a:gd name="connsiteY25" fmla="*/ 1247775 h 3822033"/>
                  <a:gd name="connsiteX26" fmla="*/ 76200 w 3457575"/>
                  <a:gd name="connsiteY26" fmla="*/ 1152525 h 3822033"/>
                  <a:gd name="connsiteX27" fmla="*/ 114300 w 3457575"/>
                  <a:gd name="connsiteY27" fmla="*/ 990600 h 3822033"/>
                  <a:gd name="connsiteX28" fmla="*/ 133350 w 3457575"/>
                  <a:gd name="connsiteY28" fmla="*/ 923925 h 3822033"/>
                  <a:gd name="connsiteX29" fmla="*/ 171450 w 3457575"/>
                  <a:gd name="connsiteY29" fmla="*/ 866775 h 3822033"/>
                  <a:gd name="connsiteX30" fmla="*/ 228600 w 3457575"/>
                  <a:gd name="connsiteY30" fmla="*/ 762000 h 3822033"/>
                  <a:gd name="connsiteX31" fmla="*/ 304800 w 3457575"/>
                  <a:gd name="connsiteY31" fmla="*/ 647700 h 3822033"/>
                  <a:gd name="connsiteX32" fmla="*/ 552450 w 3457575"/>
                  <a:gd name="connsiteY32" fmla="*/ 361950 h 3822033"/>
                  <a:gd name="connsiteX33" fmla="*/ 609600 w 3457575"/>
                  <a:gd name="connsiteY33" fmla="*/ 323850 h 3822033"/>
                  <a:gd name="connsiteX34" fmla="*/ 666750 w 3457575"/>
                  <a:gd name="connsiteY34" fmla="*/ 285750 h 3822033"/>
                  <a:gd name="connsiteX35" fmla="*/ 762000 w 3457575"/>
                  <a:gd name="connsiteY35" fmla="*/ 238125 h 3822033"/>
                  <a:gd name="connsiteX36" fmla="*/ 800100 w 3457575"/>
                  <a:gd name="connsiteY36" fmla="*/ 219075 h 3822033"/>
                  <a:gd name="connsiteX37" fmla="*/ 895350 w 3457575"/>
                  <a:gd name="connsiteY37" fmla="*/ 161925 h 3822033"/>
                  <a:gd name="connsiteX38" fmla="*/ 962025 w 3457575"/>
                  <a:gd name="connsiteY38" fmla="*/ 133350 h 3822033"/>
                  <a:gd name="connsiteX39" fmla="*/ 1123950 w 3457575"/>
                  <a:gd name="connsiteY39" fmla="*/ 76200 h 3822033"/>
                  <a:gd name="connsiteX40" fmla="*/ 1162050 w 3457575"/>
                  <a:gd name="connsiteY40" fmla="*/ 66675 h 3822033"/>
                  <a:gd name="connsiteX41" fmla="*/ 1438275 w 3457575"/>
                  <a:gd name="connsiteY41" fmla="*/ 0 h 3822033"/>
                  <a:gd name="connsiteX42" fmla="*/ 2038350 w 3457575"/>
                  <a:gd name="connsiteY42" fmla="*/ 9525 h 3822033"/>
                  <a:gd name="connsiteX43" fmla="*/ 2105025 w 3457575"/>
                  <a:gd name="connsiteY43" fmla="*/ 19050 h 3822033"/>
                  <a:gd name="connsiteX44" fmla="*/ 2162175 w 3457575"/>
                  <a:gd name="connsiteY44" fmla="*/ 47625 h 3822033"/>
                  <a:gd name="connsiteX45" fmla="*/ 2228850 w 3457575"/>
                  <a:gd name="connsiteY45" fmla="*/ 66675 h 3822033"/>
                  <a:gd name="connsiteX46" fmla="*/ 2343150 w 3457575"/>
                  <a:gd name="connsiteY46" fmla="*/ 133350 h 3822033"/>
                  <a:gd name="connsiteX47" fmla="*/ 2390775 w 3457575"/>
                  <a:gd name="connsiteY47" fmla="*/ 142875 h 3822033"/>
                  <a:gd name="connsiteX48" fmla="*/ 2457450 w 3457575"/>
                  <a:gd name="connsiteY48" fmla="*/ 171450 h 3822033"/>
                  <a:gd name="connsiteX49" fmla="*/ 2486025 w 3457575"/>
                  <a:gd name="connsiteY49" fmla="*/ 200025 h 3822033"/>
                  <a:gd name="connsiteX50" fmla="*/ 2571750 w 3457575"/>
                  <a:gd name="connsiteY50" fmla="*/ 228600 h 3822033"/>
                  <a:gd name="connsiteX51" fmla="*/ 2676525 w 3457575"/>
                  <a:gd name="connsiteY51" fmla="*/ 285750 h 3822033"/>
                  <a:gd name="connsiteX52" fmla="*/ 2705100 w 3457575"/>
                  <a:gd name="connsiteY52" fmla="*/ 304800 h 3822033"/>
                  <a:gd name="connsiteX53" fmla="*/ 2733675 w 3457575"/>
                  <a:gd name="connsiteY53" fmla="*/ 333375 h 3822033"/>
                  <a:gd name="connsiteX54" fmla="*/ 2771775 w 3457575"/>
                  <a:gd name="connsiteY54" fmla="*/ 361950 h 3822033"/>
                  <a:gd name="connsiteX55" fmla="*/ 2809875 w 3457575"/>
                  <a:gd name="connsiteY55" fmla="*/ 400050 h 3822033"/>
                  <a:gd name="connsiteX56" fmla="*/ 2867025 w 3457575"/>
                  <a:gd name="connsiteY56" fmla="*/ 438150 h 3822033"/>
                  <a:gd name="connsiteX57" fmla="*/ 2905125 w 3457575"/>
                  <a:gd name="connsiteY57" fmla="*/ 476250 h 3822033"/>
                  <a:gd name="connsiteX58" fmla="*/ 2971800 w 3457575"/>
                  <a:gd name="connsiteY58" fmla="*/ 523875 h 3822033"/>
                  <a:gd name="connsiteX59" fmla="*/ 2990850 w 3457575"/>
                  <a:gd name="connsiteY59" fmla="*/ 552450 h 3822033"/>
                  <a:gd name="connsiteX60" fmla="*/ 3028950 w 3457575"/>
                  <a:gd name="connsiteY60" fmla="*/ 590550 h 3822033"/>
                  <a:gd name="connsiteX61" fmla="*/ 3048000 w 3457575"/>
                  <a:gd name="connsiteY61" fmla="*/ 628650 h 3822033"/>
                  <a:gd name="connsiteX62" fmla="*/ 3086100 w 3457575"/>
                  <a:gd name="connsiteY62" fmla="*/ 666750 h 3822033"/>
                  <a:gd name="connsiteX63" fmla="*/ 3124200 w 3457575"/>
                  <a:gd name="connsiteY63" fmla="*/ 723900 h 3822033"/>
                  <a:gd name="connsiteX64" fmla="*/ 3219450 w 3457575"/>
                  <a:gd name="connsiteY64" fmla="*/ 838200 h 3822033"/>
                  <a:gd name="connsiteX65" fmla="*/ 3238500 w 3457575"/>
                  <a:gd name="connsiteY65" fmla="*/ 885825 h 3822033"/>
                  <a:gd name="connsiteX66" fmla="*/ 3276600 w 3457575"/>
                  <a:gd name="connsiteY66" fmla="*/ 942975 h 3822033"/>
                  <a:gd name="connsiteX67" fmla="*/ 3286125 w 3457575"/>
                  <a:gd name="connsiteY67" fmla="*/ 990600 h 3822033"/>
                  <a:gd name="connsiteX68" fmla="*/ 3324225 w 3457575"/>
                  <a:gd name="connsiteY68" fmla="*/ 1085850 h 3822033"/>
                  <a:gd name="connsiteX69" fmla="*/ 3362325 w 3457575"/>
                  <a:gd name="connsiteY69" fmla="*/ 1171575 h 3822033"/>
                  <a:gd name="connsiteX70" fmla="*/ 3390900 w 3457575"/>
                  <a:gd name="connsiteY70" fmla="*/ 1219200 h 3822033"/>
                  <a:gd name="connsiteX71" fmla="*/ 3419475 w 3457575"/>
                  <a:gd name="connsiteY71" fmla="*/ 1333500 h 3822033"/>
                  <a:gd name="connsiteX72" fmla="*/ 3429000 w 3457575"/>
                  <a:gd name="connsiteY72" fmla="*/ 1390650 h 3822033"/>
                  <a:gd name="connsiteX73" fmla="*/ 3457575 w 3457575"/>
                  <a:gd name="connsiteY73" fmla="*/ 1657350 h 3822033"/>
                  <a:gd name="connsiteX74" fmla="*/ 3362325 w 3457575"/>
                  <a:gd name="connsiteY74" fmla="*/ 2187575 h 3822033"/>
                  <a:gd name="connsiteX75" fmla="*/ 3276600 w 3457575"/>
                  <a:gd name="connsiteY75" fmla="*/ 2400300 h 3822033"/>
                  <a:gd name="connsiteX76" fmla="*/ 3190875 w 3457575"/>
                  <a:gd name="connsiteY76" fmla="*/ 2533650 h 3822033"/>
                  <a:gd name="connsiteX77" fmla="*/ 3105150 w 3457575"/>
                  <a:gd name="connsiteY77" fmla="*/ 2647950 h 3822033"/>
                  <a:gd name="connsiteX78" fmla="*/ 3019425 w 3457575"/>
                  <a:gd name="connsiteY78" fmla="*/ 2781300 h 3822033"/>
                  <a:gd name="connsiteX79" fmla="*/ 2981325 w 3457575"/>
                  <a:gd name="connsiteY79" fmla="*/ 2819400 h 3822033"/>
                  <a:gd name="connsiteX80" fmla="*/ 2943225 w 3457575"/>
                  <a:gd name="connsiteY80" fmla="*/ 2876550 h 3822033"/>
                  <a:gd name="connsiteX81" fmla="*/ 2857500 w 3457575"/>
                  <a:gd name="connsiteY81" fmla="*/ 2933700 h 3822033"/>
                  <a:gd name="connsiteX82" fmla="*/ 2809875 w 3457575"/>
                  <a:gd name="connsiteY82" fmla="*/ 2971800 h 3822033"/>
                  <a:gd name="connsiteX83" fmla="*/ 2705100 w 3457575"/>
                  <a:gd name="connsiteY83" fmla="*/ 3038475 h 3822033"/>
                  <a:gd name="connsiteX84" fmla="*/ 2609850 w 3457575"/>
                  <a:gd name="connsiteY84" fmla="*/ 3105150 h 3822033"/>
                  <a:gd name="connsiteX85" fmla="*/ 2562225 w 3457575"/>
                  <a:gd name="connsiteY85" fmla="*/ 3143250 h 3822033"/>
                  <a:gd name="connsiteX86" fmla="*/ 2495550 w 3457575"/>
                  <a:gd name="connsiteY86" fmla="*/ 3162300 h 3822033"/>
                  <a:gd name="connsiteX87" fmla="*/ 2362200 w 3457575"/>
                  <a:gd name="connsiteY87" fmla="*/ 3219450 h 3822033"/>
                  <a:gd name="connsiteX88" fmla="*/ 2257425 w 3457575"/>
                  <a:gd name="connsiteY88" fmla="*/ 3257550 h 3822033"/>
                  <a:gd name="connsiteX89" fmla="*/ 2181225 w 3457575"/>
                  <a:gd name="connsiteY89" fmla="*/ 3276600 h 3822033"/>
                  <a:gd name="connsiteX90" fmla="*/ 2057400 w 3457575"/>
                  <a:gd name="connsiteY90" fmla="*/ 3362325 h 3822033"/>
                  <a:gd name="connsiteX91" fmla="*/ 2009775 w 3457575"/>
                  <a:gd name="connsiteY91" fmla="*/ 3400425 h 3822033"/>
                  <a:gd name="connsiteX92" fmla="*/ 1962150 w 3457575"/>
                  <a:gd name="connsiteY92" fmla="*/ 3429000 h 3822033"/>
                  <a:gd name="connsiteX93" fmla="*/ 1905000 w 3457575"/>
                  <a:gd name="connsiteY93" fmla="*/ 3495675 h 3822033"/>
                  <a:gd name="connsiteX94" fmla="*/ 1819275 w 3457575"/>
                  <a:gd name="connsiteY94" fmla="*/ 3609975 h 3822033"/>
                  <a:gd name="connsiteX95" fmla="*/ 1800225 w 3457575"/>
                  <a:gd name="connsiteY95" fmla="*/ 3638550 h 3822033"/>
                  <a:gd name="connsiteX96" fmla="*/ 1790700 w 3457575"/>
                  <a:gd name="connsiteY96" fmla="*/ 3667125 h 3822033"/>
                  <a:gd name="connsiteX97" fmla="*/ 1771650 w 3457575"/>
                  <a:gd name="connsiteY97" fmla="*/ 3695700 h 3822033"/>
                  <a:gd name="connsiteX98" fmla="*/ 1752600 w 3457575"/>
                  <a:gd name="connsiteY98" fmla="*/ 3733800 h 3822033"/>
                  <a:gd name="connsiteX99" fmla="*/ 1714500 w 3457575"/>
                  <a:gd name="connsiteY99" fmla="*/ 3810000 h 3822033"/>
                  <a:gd name="connsiteX100" fmla="*/ 1704975 w 3457575"/>
                  <a:gd name="connsiteY100" fmla="*/ 3819525 h 3822033"/>
                  <a:gd name="connsiteX0" fmla="*/ 1697832 w 3450432"/>
                  <a:gd name="connsiteY0" fmla="*/ 3819525 h 3822033"/>
                  <a:gd name="connsiteX1" fmla="*/ 1669257 w 3450432"/>
                  <a:gd name="connsiteY1" fmla="*/ 3771900 h 3822033"/>
                  <a:gd name="connsiteX2" fmla="*/ 1526382 w 3450432"/>
                  <a:gd name="connsiteY2" fmla="*/ 3543300 h 3822033"/>
                  <a:gd name="connsiteX3" fmla="*/ 1402557 w 3450432"/>
                  <a:gd name="connsiteY3" fmla="*/ 3438525 h 3822033"/>
                  <a:gd name="connsiteX4" fmla="*/ 1364457 w 3450432"/>
                  <a:gd name="connsiteY4" fmla="*/ 3419475 h 3822033"/>
                  <a:gd name="connsiteX5" fmla="*/ 1335882 w 3450432"/>
                  <a:gd name="connsiteY5" fmla="*/ 3400425 h 3822033"/>
                  <a:gd name="connsiteX6" fmla="*/ 1240632 w 3450432"/>
                  <a:gd name="connsiteY6" fmla="*/ 3381375 h 3822033"/>
                  <a:gd name="connsiteX7" fmla="*/ 1126332 w 3450432"/>
                  <a:gd name="connsiteY7" fmla="*/ 3324225 h 3822033"/>
                  <a:gd name="connsiteX8" fmla="*/ 1002507 w 3450432"/>
                  <a:gd name="connsiteY8" fmla="*/ 3276600 h 3822033"/>
                  <a:gd name="connsiteX9" fmla="*/ 954882 w 3450432"/>
                  <a:gd name="connsiteY9" fmla="*/ 3238500 h 3822033"/>
                  <a:gd name="connsiteX10" fmla="*/ 916782 w 3450432"/>
                  <a:gd name="connsiteY10" fmla="*/ 3219450 h 3822033"/>
                  <a:gd name="connsiteX11" fmla="*/ 821532 w 3450432"/>
                  <a:gd name="connsiteY11" fmla="*/ 3143250 h 3822033"/>
                  <a:gd name="connsiteX12" fmla="*/ 650082 w 3450432"/>
                  <a:gd name="connsiteY12" fmla="*/ 3035300 h 3822033"/>
                  <a:gd name="connsiteX13" fmla="*/ 564357 w 3450432"/>
                  <a:gd name="connsiteY13" fmla="*/ 2943225 h 3822033"/>
                  <a:gd name="connsiteX14" fmla="*/ 326232 w 3450432"/>
                  <a:gd name="connsiteY14" fmla="*/ 2676525 h 3822033"/>
                  <a:gd name="connsiteX15" fmla="*/ 269082 w 3450432"/>
                  <a:gd name="connsiteY15" fmla="*/ 2581275 h 3822033"/>
                  <a:gd name="connsiteX16" fmla="*/ 202407 w 3450432"/>
                  <a:gd name="connsiteY16" fmla="*/ 2451100 h 3822033"/>
                  <a:gd name="connsiteX17" fmla="*/ 142082 w 3450432"/>
                  <a:gd name="connsiteY17" fmla="*/ 2362200 h 3822033"/>
                  <a:gd name="connsiteX18" fmla="*/ 100807 w 3450432"/>
                  <a:gd name="connsiteY18" fmla="*/ 2238375 h 3822033"/>
                  <a:gd name="connsiteX19" fmla="*/ 30957 w 3450432"/>
                  <a:gd name="connsiteY19" fmla="*/ 1958975 h 3822033"/>
                  <a:gd name="connsiteX20" fmla="*/ 21432 w 3450432"/>
                  <a:gd name="connsiteY20" fmla="*/ 1819275 h 3822033"/>
                  <a:gd name="connsiteX21" fmla="*/ 2382 w 3450432"/>
                  <a:gd name="connsiteY21" fmla="*/ 1657350 h 3822033"/>
                  <a:gd name="connsiteX22" fmla="*/ 2382 w 3450432"/>
                  <a:gd name="connsiteY22" fmla="*/ 1428750 h 3822033"/>
                  <a:gd name="connsiteX23" fmla="*/ 21432 w 3450432"/>
                  <a:gd name="connsiteY23" fmla="*/ 1304925 h 3822033"/>
                  <a:gd name="connsiteX24" fmla="*/ 30957 w 3450432"/>
                  <a:gd name="connsiteY24" fmla="*/ 1247775 h 3822033"/>
                  <a:gd name="connsiteX25" fmla="*/ 69057 w 3450432"/>
                  <a:gd name="connsiteY25" fmla="*/ 1152525 h 3822033"/>
                  <a:gd name="connsiteX26" fmla="*/ 107157 w 3450432"/>
                  <a:gd name="connsiteY26" fmla="*/ 990600 h 3822033"/>
                  <a:gd name="connsiteX27" fmla="*/ 126207 w 3450432"/>
                  <a:gd name="connsiteY27" fmla="*/ 923925 h 3822033"/>
                  <a:gd name="connsiteX28" fmla="*/ 164307 w 3450432"/>
                  <a:gd name="connsiteY28" fmla="*/ 866775 h 3822033"/>
                  <a:gd name="connsiteX29" fmla="*/ 221457 w 3450432"/>
                  <a:gd name="connsiteY29" fmla="*/ 762000 h 3822033"/>
                  <a:gd name="connsiteX30" fmla="*/ 297657 w 3450432"/>
                  <a:gd name="connsiteY30" fmla="*/ 647700 h 3822033"/>
                  <a:gd name="connsiteX31" fmla="*/ 545307 w 3450432"/>
                  <a:gd name="connsiteY31" fmla="*/ 361950 h 3822033"/>
                  <a:gd name="connsiteX32" fmla="*/ 602457 w 3450432"/>
                  <a:gd name="connsiteY32" fmla="*/ 323850 h 3822033"/>
                  <a:gd name="connsiteX33" fmla="*/ 659607 w 3450432"/>
                  <a:gd name="connsiteY33" fmla="*/ 285750 h 3822033"/>
                  <a:gd name="connsiteX34" fmla="*/ 754857 w 3450432"/>
                  <a:gd name="connsiteY34" fmla="*/ 238125 h 3822033"/>
                  <a:gd name="connsiteX35" fmla="*/ 792957 w 3450432"/>
                  <a:gd name="connsiteY35" fmla="*/ 219075 h 3822033"/>
                  <a:gd name="connsiteX36" fmla="*/ 888207 w 3450432"/>
                  <a:gd name="connsiteY36" fmla="*/ 161925 h 3822033"/>
                  <a:gd name="connsiteX37" fmla="*/ 954882 w 3450432"/>
                  <a:gd name="connsiteY37" fmla="*/ 133350 h 3822033"/>
                  <a:gd name="connsiteX38" fmla="*/ 1116807 w 3450432"/>
                  <a:gd name="connsiteY38" fmla="*/ 76200 h 3822033"/>
                  <a:gd name="connsiteX39" fmla="*/ 1154907 w 3450432"/>
                  <a:gd name="connsiteY39" fmla="*/ 66675 h 3822033"/>
                  <a:gd name="connsiteX40" fmla="*/ 1431132 w 3450432"/>
                  <a:gd name="connsiteY40" fmla="*/ 0 h 3822033"/>
                  <a:gd name="connsiteX41" fmla="*/ 2031207 w 3450432"/>
                  <a:gd name="connsiteY41" fmla="*/ 9525 h 3822033"/>
                  <a:gd name="connsiteX42" fmla="*/ 2097882 w 3450432"/>
                  <a:gd name="connsiteY42" fmla="*/ 19050 h 3822033"/>
                  <a:gd name="connsiteX43" fmla="*/ 2155032 w 3450432"/>
                  <a:gd name="connsiteY43" fmla="*/ 47625 h 3822033"/>
                  <a:gd name="connsiteX44" fmla="*/ 2221707 w 3450432"/>
                  <a:gd name="connsiteY44" fmla="*/ 66675 h 3822033"/>
                  <a:gd name="connsiteX45" fmla="*/ 2336007 w 3450432"/>
                  <a:gd name="connsiteY45" fmla="*/ 133350 h 3822033"/>
                  <a:gd name="connsiteX46" fmla="*/ 2383632 w 3450432"/>
                  <a:gd name="connsiteY46" fmla="*/ 142875 h 3822033"/>
                  <a:gd name="connsiteX47" fmla="*/ 2450307 w 3450432"/>
                  <a:gd name="connsiteY47" fmla="*/ 171450 h 3822033"/>
                  <a:gd name="connsiteX48" fmla="*/ 2478882 w 3450432"/>
                  <a:gd name="connsiteY48" fmla="*/ 200025 h 3822033"/>
                  <a:gd name="connsiteX49" fmla="*/ 2564607 w 3450432"/>
                  <a:gd name="connsiteY49" fmla="*/ 228600 h 3822033"/>
                  <a:gd name="connsiteX50" fmla="*/ 2669382 w 3450432"/>
                  <a:gd name="connsiteY50" fmla="*/ 285750 h 3822033"/>
                  <a:gd name="connsiteX51" fmla="*/ 2697957 w 3450432"/>
                  <a:gd name="connsiteY51" fmla="*/ 304800 h 3822033"/>
                  <a:gd name="connsiteX52" fmla="*/ 2726532 w 3450432"/>
                  <a:gd name="connsiteY52" fmla="*/ 333375 h 3822033"/>
                  <a:gd name="connsiteX53" fmla="*/ 2764632 w 3450432"/>
                  <a:gd name="connsiteY53" fmla="*/ 361950 h 3822033"/>
                  <a:gd name="connsiteX54" fmla="*/ 2802732 w 3450432"/>
                  <a:gd name="connsiteY54" fmla="*/ 400050 h 3822033"/>
                  <a:gd name="connsiteX55" fmla="*/ 2859882 w 3450432"/>
                  <a:gd name="connsiteY55" fmla="*/ 438150 h 3822033"/>
                  <a:gd name="connsiteX56" fmla="*/ 2897982 w 3450432"/>
                  <a:gd name="connsiteY56" fmla="*/ 476250 h 3822033"/>
                  <a:gd name="connsiteX57" fmla="*/ 2964657 w 3450432"/>
                  <a:gd name="connsiteY57" fmla="*/ 523875 h 3822033"/>
                  <a:gd name="connsiteX58" fmla="*/ 2983707 w 3450432"/>
                  <a:gd name="connsiteY58" fmla="*/ 552450 h 3822033"/>
                  <a:gd name="connsiteX59" fmla="*/ 3021807 w 3450432"/>
                  <a:gd name="connsiteY59" fmla="*/ 590550 h 3822033"/>
                  <a:gd name="connsiteX60" fmla="*/ 3040857 w 3450432"/>
                  <a:gd name="connsiteY60" fmla="*/ 628650 h 3822033"/>
                  <a:gd name="connsiteX61" fmla="*/ 3078957 w 3450432"/>
                  <a:gd name="connsiteY61" fmla="*/ 666750 h 3822033"/>
                  <a:gd name="connsiteX62" fmla="*/ 3117057 w 3450432"/>
                  <a:gd name="connsiteY62" fmla="*/ 723900 h 3822033"/>
                  <a:gd name="connsiteX63" fmla="*/ 3212307 w 3450432"/>
                  <a:gd name="connsiteY63" fmla="*/ 838200 h 3822033"/>
                  <a:gd name="connsiteX64" fmla="*/ 3231357 w 3450432"/>
                  <a:gd name="connsiteY64" fmla="*/ 885825 h 3822033"/>
                  <a:gd name="connsiteX65" fmla="*/ 3269457 w 3450432"/>
                  <a:gd name="connsiteY65" fmla="*/ 942975 h 3822033"/>
                  <a:gd name="connsiteX66" fmla="*/ 3278982 w 3450432"/>
                  <a:gd name="connsiteY66" fmla="*/ 990600 h 3822033"/>
                  <a:gd name="connsiteX67" fmla="*/ 3317082 w 3450432"/>
                  <a:gd name="connsiteY67" fmla="*/ 1085850 h 3822033"/>
                  <a:gd name="connsiteX68" fmla="*/ 3355182 w 3450432"/>
                  <a:gd name="connsiteY68" fmla="*/ 1171575 h 3822033"/>
                  <a:gd name="connsiteX69" fmla="*/ 3383757 w 3450432"/>
                  <a:gd name="connsiteY69" fmla="*/ 1219200 h 3822033"/>
                  <a:gd name="connsiteX70" fmla="*/ 3412332 w 3450432"/>
                  <a:gd name="connsiteY70" fmla="*/ 1333500 h 3822033"/>
                  <a:gd name="connsiteX71" fmla="*/ 3421857 w 3450432"/>
                  <a:gd name="connsiteY71" fmla="*/ 1390650 h 3822033"/>
                  <a:gd name="connsiteX72" fmla="*/ 3450432 w 3450432"/>
                  <a:gd name="connsiteY72" fmla="*/ 1657350 h 3822033"/>
                  <a:gd name="connsiteX73" fmla="*/ 3355182 w 3450432"/>
                  <a:gd name="connsiteY73" fmla="*/ 2187575 h 3822033"/>
                  <a:gd name="connsiteX74" fmla="*/ 3269457 w 3450432"/>
                  <a:gd name="connsiteY74" fmla="*/ 2400300 h 3822033"/>
                  <a:gd name="connsiteX75" fmla="*/ 3183732 w 3450432"/>
                  <a:gd name="connsiteY75" fmla="*/ 2533650 h 3822033"/>
                  <a:gd name="connsiteX76" fmla="*/ 3098007 w 3450432"/>
                  <a:gd name="connsiteY76" fmla="*/ 2647950 h 3822033"/>
                  <a:gd name="connsiteX77" fmla="*/ 3012282 w 3450432"/>
                  <a:gd name="connsiteY77" fmla="*/ 2781300 h 3822033"/>
                  <a:gd name="connsiteX78" fmla="*/ 2974182 w 3450432"/>
                  <a:gd name="connsiteY78" fmla="*/ 2819400 h 3822033"/>
                  <a:gd name="connsiteX79" fmla="*/ 2936082 w 3450432"/>
                  <a:gd name="connsiteY79" fmla="*/ 2876550 h 3822033"/>
                  <a:gd name="connsiteX80" fmla="*/ 2850357 w 3450432"/>
                  <a:gd name="connsiteY80" fmla="*/ 2933700 h 3822033"/>
                  <a:gd name="connsiteX81" fmla="*/ 2802732 w 3450432"/>
                  <a:gd name="connsiteY81" fmla="*/ 2971800 h 3822033"/>
                  <a:gd name="connsiteX82" fmla="*/ 2697957 w 3450432"/>
                  <a:gd name="connsiteY82" fmla="*/ 3038475 h 3822033"/>
                  <a:gd name="connsiteX83" fmla="*/ 2602707 w 3450432"/>
                  <a:gd name="connsiteY83" fmla="*/ 3105150 h 3822033"/>
                  <a:gd name="connsiteX84" fmla="*/ 2555082 w 3450432"/>
                  <a:gd name="connsiteY84" fmla="*/ 3143250 h 3822033"/>
                  <a:gd name="connsiteX85" fmla="*/ 2488407 w 3450432"/>
                  <a:gd name="connsiteY85" fmla="*/ 3162300 h 3822033"/>
                  <a:gd name="connsiteX86" fmla="*/ 2355057 w 3450432"/>
                  <a:gd name="connsiteY86" fmla="*/ 3219450 h 3822033"/>
                  <a:gd name="connsiteX87" fmla="*/ 2250282 w 3450432"/>
                  <a:gd name="connsiteY87" fmla="*/ 3257550 h 3822033"/>
                  <a:gd name="connsiteX88" fmla="*/ 2174082 w 3450432"/>
                  <a:gd name="connsiteY88" fmla="*/ 3276600 h 3822033"/>
                  <a:gd name="connsiteX89" fmla="*/ 2050257 w 3450432"/>
                  <a:gd name="connsiteY89" fmla="*/ 3362325 h 3822033"/>
                  <a:gd name="connsiteX90" fmla="*/ 2002632 w 3450432"/>
                  <a:gd name="connsiteY90" fmla="*/ 3400425 h 3822033"/>
                  <a:gd name="connsiteX91" fmla="*/ 1955007 w 3450432"/>
                  <a:gd name="connsiteY91" fmla="*/ 3429000 h 3822033"/>
                  <a:gd name="connsiteX92" fmla="*/ 1897857 w 3450432"/>
                  <a:gd name="connsiteY92" fmla="*/ 3495675 h 3822033"/>
                  <a:gd name="connsiteX93" fmla="*/ 1812132 w 3450432"/>
                  <a:gd name="connsiteY93" fmla="*/ 3609975 h 3822033"/>
                  <a:gd name="connsiteX94" fmla="*/ 1793082 w 3450432"/>
                  <a:gd name="connsiteY94" fmla="*/ 3638550 h 3822033"/>
                  <a:gd name="connsiteX95" fmla="*/ 1783557 w 3450432"/>
                  <a:gd name="connsiteY95" fmla="*/ 3667125 h 3822033"/>
                  <a:gd name="connsiteX96" fmla="*/ 1764507 w 3450432"/>
                  <a:gd name="connsiteY96" fmla="*/ 3695700 h 3822033"/>
                  <a:gd name="connsiteX97" fmla="*/ 1745457 w 3450432"/>
                  <a:gd name="connsiteY97" fmla="*/ 3733800 h 3822033"/>
                  <a:gd name="connsiteX98" fmla="*/ 1707357 w 3450432"/>
                  <a:gd name="connsiteY98" fmla="*/ 3810000 h 3822033"/>
                  <a:gd name="connsiteX99" fmla="*/ 1697832 w 3450432"/>
                  <a:gd name="connsiteY99" fmla="*/ 3819525 h 3822033"/>
                  <a:gd name="connsiteX0" fmla="*/ 1702768 w 3455368"/>
                  <a:gd name="connsiteY0" fmla="*/ 3819525 h 3822033"/>
                  <a:gd name="connsiteX1" fmla="*/ 1674193 w 3455368"/>
                  <a:gd name="connsiteY1" fmla="*/ 3771900 h 3822033"/>
                  <a:gd name="connsiteX2" fmla="*/ 1531318 w 3455368"/>
                  <a:gd name="connsiteY2" fmla="*/ 3543300 h 3822033"/>
                  <a:gd name="connsiteX3" fmla="*/ 1407493 w 3455368"/>
                  <a:gd name="connsiteY3" fmla="*/ 3438525 h 3822033"/>
                  <a:gd name="connsiteX4" fmla="*/ 1369393 w 3455368"/>
                  <a:gd name="connsiteY4" fmla="*/ 3419475 h 3822033"/>
                  <a:gd name="connsiteX5" fmla="*/ 1340818 w 3455368"/>
                  <a:gd name="connsiteY5" fmla="*/ 3400425 h 3822033"/>
                  <a:gd name="connsiteX6" fmla="*/ 1245568 w 3455368"/>
                  <a:gd name="connsiteY6" fmla="*/ 3381375 h 3822033"/>
                  <a:gd name="connsiteX7" fmla="*/ 1131268 w 3455368"/>
                  <a:gd name="connsiteY7" fmla="*/ 3324225 h 3822033"/>
                  <a:gd name="connsiteX8" fmla="*/ 1007443 w 3455368"/>
                  <a:gd name="connsiteY8" fmla="*/ 3276600 h 3822033"/>
                  <a:gd name="connsiteX9" fmla="*/ 959818 w 3455368"/>
                  <a:gd name="connsiteY9" fmla="*/ 3238500 h 3822033"/>
                  <a:gd name="connsiteX10" fmla="*/ 921718 w 3455368"/>
                  <a:gd name="connsiteY10" fmla="*/ 3219450 h 3822033"/>
                  <a:gd name="connsiteX11" fmla="*/ 826468 w 3455368"/>
                  <a:gd name="connsiteY11" fmla="*/ 3143250 h 3822033"/>
                  <a:gd name="connsiteX12" fmla="*/ 655018 w 3455368"/>
                  <a:gd name="connsiteY12" fmla="*/ 3035300 h 3822033"/>
                  <a:gd name="connsiteX13" fmla="*/ 569293 w 3455368"/>
                  <a:gd name="connsiteY13" fmla="*/ 2943225 h 3822033"/>
                  <a:gd name="connsiteX14" fmla="*/ 331168 w 3455368"/>
                  <a:gd name="connsiteY14" fmla="*/ 2676525 h 3822033"/>
                  <a:gd name="connsiteX15" fmla="*/ 274018 w 3455368"/>
                  <a:gd name="connsiteY15" fmla="*/ 2581275 h 3822033"/>
                  <a:gd name="connsiteX16" fmla="*/ 207343 w 3455368"/>
                  <a:gd name="connsiteY16" fmla="*/ 2451100 h 3822033"/>
                  <a:gd name="connsiteX17" fmla="*/ 147018 w 3455368"/>
                  <a:gd name="connsiteY17" fmla="*/ 2362200 h 3822033"/>
                  <a:gd name="connsiteX18" fmla="*/ 105743 w 3455368"/>
                  <a:gd name="connsiteY18" fmla="*/ 2238375 h 3822033"/>
                  <a:gd name="connsiteX19" fmla="*/ 35893 w 3455368"/>
                  <a:gd name="connsiteY19" fmla="*/ 1958975 h 3822033"/>
                  <a:gd name="connsiteX20" fmla="*/ 26368 w 3455368"/>
                  <a:gd name="connsiteY20" fmla="*/ 1819275 h 3822033"/>
                  <a:gd name="connsiteX21" fmla="*/ 968 w 3455368"/>
                  <a:gd name="connsiteY21" fmla="*/ 1682750 h 3822033"/>
                  <a:gd name="connsiteX22" fmla="*/ 7318 w 3455368"/>
                  <a:gd name="connsiteY22" fmla="*/ 1428750 h 3822033"/>
                  <a:gd name="connsiteX23" fmla="*/ 26368 w 3455368"/>
                  <a:gd name="connsiteY23" fmla="*/ 1304925 h 3822033"/>
                  <a:gd name="connsiteX24" fmla="*/ 35893 w 3455368"/>
                  <a:gd name="connsiteY24" fmla="*/ 1247775 h 3822033"/>
                  <a:gd name="connsiteX25" fmla="*/ 73993 w 3455368"/>
                  <a:gd name="connsiteY25" fmla="*/ 1152525 h 3822033"/>
                  <a:gd name="connsiteX26" fmla="*/ 112093 w 3455368"/>
                  <a:gd name="connsiteY26" fmla="*/ 990600 h 3822033"/>
                  <a:gd name="connsiteX27" fmla="*/ 131143 w 3455368"/>
                  <a:gd name="connsiteY27" fmla="*/ 923925 h 3822033"/>
                  <a:gd name="connsiteX28" fmla="*/ 169243 w 3455368"/>
                  <a:gd name="connsiteY28" fmla="*/ 866775 h 3822033"/>
                  <a:gd name="connsiteX29" fmla="*/ 226393 w 3455368"/>
                  <a:gd name="connsiteY29" fmla="*/ 762000 h 3822033"/>
                  <a:gd name="connsiteX30" fmla="*/ 302593 w 3455368"/>
                  <a:gd name="connsiteY30" fmla="*/ 647700 h 3822033"/>
                  <a:gd name="connsiteX31" fmla="*/ 550243 w 3455368"/>
                  <a:gd name="connsiteY31" fmla="*/ 361950 h 3822033"/>
                  <a:gd name="connsiteX32" fmla="*/ 607393 w 3455368"/>
                  <a:gd name="connsiteY32" fmla="*/ 323850 h 3822033"/>
                  <a:gd name="connsiteX33" fmla="*/ 664543 w 3455368"/>
                  <a:gd name="connsiteY33" fmla="*/ 285750 h 3822033"/>
                  <a:gd name="connsiteX34" fmla="*/ 759793 w 3455368"/>
                  <a:gd name="connsiteY34" fmla="*/ 238125 h 3822033"/>
                  <a:gd name="connsiteX35" fmla="*/ 797893 w 3455368"/>
                  <a:gd name="connsiteY35" fmla="*/ 219075 h 3822033"/>
                  <a:gd name="connsiteX36" fmla="*/ 893143 w 3455368"/>
                  <a:gd name="connsiteY36" fmla="*/ 161925 h 3822033"/>
                  <a:gd name="connsiteX37" fmla="*/ 959818 w 3455368"/>
                  <a:gd name="connsiteY37" fmla="*/ 133350 h 3822033"/>
                  <a:gd name="connsiteX38" fmla="*/ 1121743 w 3455368"/>
                  <a:gd name="connsiteY38" fmla="*/ 76200 h 3822033"/>
                  <a:gd name="connsiteX39" fmla="*/ 1159843 w 3455368"/>
                  <a:gd name="connsiteY39" fmla="*/ 66675 h 3822033"/>
                  <a:gd name="connsiteX40" fmla="*/ 1436068 w 3455368"/>
                  <a:gd name="connsiteY40" fmla="*/ 0 h 3822033"/>
                  <a:gd name="connsiteX41" fmla="*/ 2036143 w 3455368"/>
                  <a:gd name="connsiteY41" fmla="*/ 9525 h 3822033"/>
                  <a:gd name="connsiteX42" fmla="*/ 2102818 w 3455368"/>
                  <a:gd name="connsiteY42" fmla="*/ 19050 h 3822033"/>
                  <a:gd name="connsiteX43" fmla="*/ 2159968 w 3455368"/>
                  <a:gd name="connsiteY43" fmla="*/ 47625 h 3822033"/>
                  <a:gd name="connsiteX44" fmla="*/ 2226643 w 3455368"/>
                  <a:gd name="connsiteY44" fmla="*/ 66675 h 3822033"/>
                  <a:gd name="connsiteX45" fmla="*/ 2340943 w 3455368"/>
                  <a:gd name="connsiteY45" fmla="*/ 133350 h 3822033"/>
                  <a:gd name="connsiteX46" fmla="*/ 2388568 w 3455368"/>
                  <a:gd name="connsiteY46" fmla="*/ 142875 h 3822033"/>
                  <a:gd name="connsiteX47" fmla="*/ 2455243 w 3455368"/>
                  <a:gd name="connsiteY47" fmla="*/ 171450 h 3822033"/>
                  <a:gd name="connsiteX48" fmla="*/ 2483818 w 3455368"/>
                  <a:gd name="connsiteY48" fmla="*/ 200025 h 3822033"/>
                  <a:gd name="connsiteX49" fmla="*/ 2569543 w 3455368"/>
                  <a:gd name="connsiteY49" fmla="*/ 228600 h 3822033"/>
                  <a:gd name="connsiteX50" fmla="*/ 2674318 w 3455368"/>
                  <a:gd name="connsiteY50" fmla="*/ 285750 h 3822033"/>
                  <a:gd name="connsiteX51" fmla="*/ 2702893 w 3455368"/>
                  <a:gd name="connsiteY51" fmla="*/ 304800 h 3822033"/>
                  <a:gd name="connsiteX52" fmla="*/ 2731468 w 3455368"/>
                  <a:gd name="connsiteY52" fmla="*/ 333375 h 3822033"/>
                  <a:gd name="connsiteX53" fmla="*/ 2769568 w 3455368"/>
                  <a:gd name="connsiteY53" fmla="*/ 361950 h 3822033"/>
                  <a:gd name="connsiteX54" fmla="*/ 2807668 w 3455368"/>
                  <a:gd name="connsiteY54" fmla="*/ 400050 h 3822033"/>
                  <a:gd name="connsiteX55" fmla="*/ 2864818 w 3455368"/>
                  <a:gd name="connsiteY55" fmla="*/ 438150 h 3822033"/>
                  <a:gd name="connsiteX56" fmla="*/ 2902918 w 3455368"/>
                  <a:gd name="connsiteY56" fmla="*/ 476250 h 3822033"/>
                  <a:gd name="connsiteX57" fmla="*/ 2969593 w 3455368"/>
                  <a:gd name="connsiteY57" fmla="*/ 523875 h 3822033"/>
                  <a:gd name="connsiteX58" fmla="*/ 2988643 w 3455368"/>
                  <a:gd name="connsiteY58" fmla="*/ 552450 h 3822033"/>
                  <a:gd name="connsiteX59" fmla="*/ 3026743 w 3455368"/>
                  <a:gd name="connsiteY59" fmla="*/ 590550 h 3822033"/>
                  <a:gd name="connsiteX60" fmla="*/ 3045793 w 3455368"/>
                  <a:gd name="connsiteY60" fmla="*/ 628650 h 3822033"/>
                  <a:gd name="connsiteX61" fmla="*/ 3083893 w 3455368"/>
                  <a:gd name="connsiteY61" fmla="*/ 666750 h 3822033"/>
                  <a:gd name="connsiteX62" fmla="*/ 3121993 w 3455368"/>
                  <a:gd name="connsiteY62" fmla="*/ 723900 h 3822033"/>
                  <a:gd name="connsiteX63" fmla="*/ 3217243 w 3455368"/>
                  <a:gd name="connsiteY63" fmla="*/ 838200 h 3822033"/>
                  <a:gd name="connsiteX64" fmla="*/ 3236293 w 3455368"/>
                  <a:gd name="connsiteY64" fmla="*/ 885825 h 3822033"/>
                  <a:gd name="connsiteX65" fmla="*/ 3274393 w 3455368"/>
                  <a:gd name="connsiteY65" fmla="*/ 942975 h 3822033"/>
                  <a:gd name="connsiteX66" fmla="*/ 3283918 w 3455368"/>
                  <a:gd name="connsiteY66" fmla="*/ 990600 h 3822033"/>
                  <a:gd name="connsiteX67" fmla="*/ 3322018 w 3455368"/>
                  <a:gd name="connsiteY67" fmla="*/ 1085850 h 3822033"/>
                  <a:gd name="connsiteX68" fmla="*/ 3360118 w 3455368"/>
                  <a:gd name="connsiteY68" fmla="*/ 1171575 h 3822033"/>
                  <a:gd name="connsiteX69" fmla="*/ 3388693 w 3455368"/>
                  <a:gd name="connsiteY69" fmla="*/ 1219200 h 3822033"/>
                  <a:gd name="connsiteX70" fmla="*/ 3417268 w 3455368"/>
                  <a:gd name="connsiteY70" fmla="*/ 1333500 h 3822033"/>
                  <a:gd name="connsiteX71" fmla="*/ 3426793 w 3455368"/>
                  <a:gd name="connsiteY71" fmla="*/ 1390650 h 3822033"/>
                  <a:gd name="connsiteX72" fmla="*/ 3455368 w 3455368"/>
                  <a:gd name="connsiteY72" fmla="*/ 1657350 h 3822033"/>
                  <a:gd name="connsiteX73" fmla="*/ 3360118 w 3455368"/>
                  <a:gd name="connsiteY73" fmla="*/ 2187575 h 3822033"/>
                  <a:gd name="connsiteX74" fmla="*/ 3274393 w 3455368"/>
                  <a:gd name="connsiteY74" fmla="*/ 2400300 h 3822033"/>
                  <a:gd name="connsiteX75" fmla="*/ 3188668 w 3455368"/>
                  <a:gd name="connsiteY75" fmla="*/ 2533650 h 3822033"/>
                  <a:gd name="connsiteX76" fmla="*/ 3102943 w 3455368"/>
                  <a:gd name="connsiteY76" fmla="*/ 2647950 h 3822033"/>
                  <a:gd name="connsiteX77" fmla="*/ 3017218 w 3455368"/>
                  <a:gd name="connsiteY77" fmla="*/ 2781300 h 3822033"/>
                  <a:gd name="connsiteX78" fmla="*/ 2979118 w 3455368"/>
                  <a:gd name="connsiteY78" fmla="*/ 2819400 h 3822033"/>
                  <a:gd name="connsiteX79" fmla="*/ 2941018 w 3455368"/>
                  <a:gd name="connsiteY79" fmla="*/ 2876550 h 3822033"/>
                  <a:gd name="connsiteX80" fmla="*/ 2855293 w 3455368"/>
                  <a:gd name="connsiteY80" fmla="*/ 2933700 h 3822033"/>
                  <a:gd name="connsiteX81" fmla="*/ 2807668 w 3455368"/>
                  <a:gd name="connsiteY81" fmla="*/ 2971800 h 3822033"/>
                  <a:gd name="connsiteX82" fmla="*/ 2702893 w 3455368"/>
                  <a:gd name="connsiteY82" fmla="*/ 3038475 h 3822033"/>
                  <a:gd name="connsiteX83" fmla="*/ 2607643 w 3455368"/>
                  <a:gd name="connsiteY83" fmla="*/ 3105150 h 3822033"/>
                  <a:gd name="connsiteX84" fmla="*/ 2560018 w 3455368"/>
                  <a:gd name="connsiteY84" fmla="*/ 3143250 h 3822033"/>
                  <a:gd name="connsiteX85" fmla="*/ 2493343 w 3455368"/>
                  <a:gd name="connsiteY85" fmla="*/ 3162300 h 3822033"/>
                  <a:gd name="connsiteX86" fmla="*/ 2359993 w 3455368"/>
                  <a:gd name="connsiteY86" fmla="*/ 3219450 h 3822033"/>
                  <a:gd name="connsiteX87" fmla="*/ 2255218 w 3455368"/>
                  <a:gd name="connsiteY87" fmla="*/ 3257550 h 3822033"/>
                  <a:gd name="connsiteX88" fmla="*/ 2179018 w 3455368"/>
                  <a:gd name="connsiteY88" fmla="*/ 3276600 h 3822033"/>
                  <a:gd name="connsiteX89" fmla="*/ 2055193 w 3455368"/>
                  <a:gd name="connsiteY89" fmla="*/ 3362325 h 3822033"/>
                  <a:gd name="connsiteX90" fmla="*/ 2007568 w 3455368"/>
                  <a:gd name="connsiteY90" fmla="*/ 3400425 h 3822033"/>
                  <a:gd name="connsiteX91" fmla="*/ 1959943 w 3455368"/>
                  <a:gd name="connsiteY91" fmla="*/ 3429000 h 3822033"/>
                  <a:gd name="connsiteX92" fmla="*/ 1902793 w 3455368"/>
                  <a:gd name="connsiteY92" fmla="*/ 3495675 h 3822033"/>
                  <a:gd name="connsiteX93" fmla="*/ 1817068 w 3455368"/>
                  <a:gd name="connsiteY93" fmla="*/ 3609975 h 3822033"/>
                  <a:gd name="connsiteX94" fmla="*/ 1798018 w 3455368"/>
                  <a:gd name="connsiteY94" fmla="*/ 3638550 h 3822033"/>
                  <a:gd name="connsiteX95" fmla="*/ 1788493 w 3455368"/>
                  <a:gd name="connsiteY95" fmla="*/ 3667125 h 3822033"/>
                  <a:gd name="connsiteX96" fmla="*/ 1769443 w 3455368"/>
                  <a:gd name="connsiteY96" fmla="*/ 3695700 h 3822033"/>
                  <a:gd name="connsiteX97" fmla="*/ 1750393 w 3455368"/>
                  <a:gd name="connsiteY97" fmla="*/ 3733800 h 3822033"/>
                  <a:gd name="connsiteX98" fmla="*/ 1712293 w 3455368"/>
                  <a:gd name="connsiteY98" fmla="*/ 3810000 h 3822033"/>
                  <a:gd name="connsiteX99" fmla="*/ 1702768 w 3455368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34976 w 3454451"/>
                  <a:gd name="connsiteY24" fmla="*/ 1247775 h 3822033"/>
                  <a:gd name="connsiteX25" fmla="*/ 73076 w 3454451"/>
                  <a:gd name="connsiteY25" fmla="*/ 1152525 h 3822033"/>
                  <a:gd name="connsiteX26" fmla="*/ 111176 w 3454451"/>
                  <a:gd name="connsiteY26" fmla="*/ 990600 h 3822033"/>
                  <a:gd name="connsiteX27" fmla="*/ 130226 w 3454451"/>
                  <a:gd name="connsiteY27" fmla="*/ 923925 h 3822033"/>
                  <a:gd name="connsiteX28" fmla="*/ 168326 w 3454451"/>
                  <a:gd name="connsiteY28" fmla="*/ 866775 h 3822033"/>
                  <a:gd name="connsiteX29" fmla="*/ 225476 w 3454451"/>
                  <a:gd name="connsiteY29" fmla="*/ 762000 h 3822033"/>
                  <a:gd name="connsiteX30" fmla="*/ 301676 w 3454451"/>
                  <a:gd name="connsiteY30" fmla="*/ 647700 h 3822033"/>
                  <a:gd name="connsiteX31" fmla="*/ 549326 w 3454451"/>
                  <a:gd name="connsiteY31" fmla="*/ 361950 h 3822033"/>
                  <a:gd name="connsiteX32" fmla="*/ 606476 w 3454451"/>
                  <a:gd name="connsiteY32" fmla="*/ 323850 h 3822033"/>
                  <a:gd name="connsiteX33" fmla="*/ 663626 w 3454451"/>
                  <a:gd name="connsiteY33" fmla="*/ 285750 h 3822033"/>
                  <a:gd name="connsiteX34" fmla="*/ 758876 w 3454451"/>
                  <a:gd name="connsiteY34" fmla="*/ 238125 h 3822033"/>
                  <a:gd name="connsiteX35" fmla="*/ 796976 w 3454451"/>
                  <a:gd name="connsiteY35" fmla="*/ 219075 h 3822033"/>
                  <a:gd name="connsiteX36" fmla="*/ 892226 w 3454451"/>
                  <a:gd name="connsiteY36" fmla="*/ 161925 h 3822033"/>
                  <a:gd name="connsiteX37" fmla="*/ 958901 w 3454451"/>
                  <a:gd name="connsiteY37" fmla="*/ 133350 h 3822033"/>
                  <a:gd name="connsiteX38" fmla="*/ 1120826 w 3454451"/>
                  <a:gd name="connsiteY38" fmla="*/ 76200 h 3822033"/>
                  <a:gd name="connsiteX39" fmla="*/ 1158926 w 3454451"/>
                  <a:gd name="connsiteY39" fmla="*/ 66675 h 3822033"/>
                  <a:gd name="connsiteX40" fmla="*/ 1435151 w 3454451"/>
                  <a:gd name="connsiteY40" fmla="*/ 0 h 3822033"/>
                  <a:gd name="connsiteX41" fmla="*/ 2035226 w 3454451"/>
                  <a:gd name="connsiteY41" fmla="*/ 9525 h 3822033"/>
                  <a:gd name="connsiteX42" fmla="*/ 2101901 w 3454451"/>
                  <a:gd name="connsiteY42" fmla="*/ 19050 h 3822033"/>
                  <a:gd name="connsiteX43" fmla="*/ 2159051 w 3454451"/>
                  <a:gd name="connsiteY43" fmla="*/ 47625 h 3822033"/>
                  <a:gd name="connsiteX44" fmla="*/ 2225726 w 3454451"/>
                  <a:gd name="connsiteY44" fmla="*/ 66675 h 3822033"/>
                  <a:gd name="connsiteX45" fmla="*/ 2340026 w 3454451"/>
                  <a:gd name="connsiteY45" fmla="*/ 133350 h 3822033"/>
                  <a:gd name="connsiteX46" fmla="*/ 2387651 w 3454451"/>
                  <a:gd name="connsiteY46" fmla="*/ 142875 h 3822033"/>
                  <a:gd name="connsiteX47" fmla="*/ 2454326 w 3454451"/>
                  <a:gd name="connsiteY47" fmla="*/ 171450 h 3822033"/>
                  <a:gd name="connsiteX48" fmla="*/ 2482901 w 3454451"/>
                  <a:gd name="connsiteY48" fmla="*/ 200025 h 3822033"/>
                  <a:gd name="connsiteX49" fmla="*/ 2568626 w 3454451"/>
                  <a:gd name="connsiteY49" fmla="*/ 228600 h 3822033"/>
                  <a:gd name="connsiteX50" fmla="*/ 2673401 w 3454451"/>
                  <a:gd name="connsiteY50" fmla="*/ 285750 h 3822033"/>
                  <a:gd name="connsiteX51" fmla="*/ 2701976 w 3454451"/>
                  <a:gd name="connsiteY51" fmla="*/ 304800 h 3822033"/>
                  <a:gd name="connsiteX52" fmla="*/ 2730551 w 3454451"/>
                  <a:gd name="connsiteY52" fmla="*/ 333375 h 3822033"/>
                  <a:gd name="connsiteX53" fmla="*/ 2768651 w 3454451"/>
                  <a:gd name="connsiteY53" fmla="*/ 361950 h 3822033"/>
                  <a:gd name="connsiteX54" fmla="*/ 2806751 w 3454451"/>
                  <a:gd name="connsiteY54" fmla="*/ 400050 h 3822033"/>
                  <a:gd name="connsiteX55" fmla="*/ 2863901 w 3454451"/>
                  <a:gd name="connsiteY55" fmla="*/ 438150 h 3822033"/>
                  <a:gd name="connsiteX56" fmla="*/ 2902001 w 3454451"/>
                  <a:gd name="connsiteY56" fmla="*/ 476250 h 3822033"/>
                  <a:gd name="connsiteX57" fmla="*/ 2968676 w 3454451"/>
                  <a:gd name="connsiteY57" fmla="*/ 523875 h 3822033"/>
                  <a:gd name="connsiteX58" fmla="*/ 2987726 w 3454451"/>
                  <a:gd name="connsiteY58" fmla="*/ 552450 h 3822033"/>
                  <a:gd name="connsiteX59" fmla="*/ 3025826 w 3454451"/>
                  <a:gd name="connsiteY59" fmla="*/ 590550 h 3822033"/>
                  <a:gd name="connsiteX60" fmla="*/ 3044876 w 3454451"/>
                  <a:gd name="connsiteY60" fmla="*/ 628650 h 3822033"/>
                  <a:gd name="connsiteX61" fmla="*/ 3082976 w 3454451"/>
                  <a:gd name="connsiteY61" fmla="*/ 666750 h 3822033"/>
                  <a:gd name="connsiteX62" fmla="*/ 3121076 w 3454451"/>
                  <a:gd name="connsiteY62" fmla="*/ 723900 h 3822033"/>
                  <a:gd name="connsiteX63" fmla="*/ 3216326 w 3454451"/>
                  <a:gd name="connsiteY63" fmla="*/ 838200 h 3822033"/>
                  <a:gd name="connsiteX64" fmla="*/ 3235376 w 3454451"/>
                  <a:gd name="connsiteY64" fmla="*/ 885825 h 3822033"/>
                  <a:gd name="connsiteX65" fmla="*/ 3273476 w 3454451"/>
                  <a:gd name="connsiteY65" fmla="*/ 942975 h 3822033"/>
                  <a:gd name="connsiteX66" fmla="*/ 3283001 w 3454451"/>
                  <a:gd name="connsiteY66" fmla="*/ 990600 h 3822033"/>
                  <a:gd name="connsiteX67" fmla="*/ 3321101 w 3454451"/>
                  <a:gd name="connsiteY67" fmla="*/ 1085850 h 3822033"/>
                  <a:gd name="connsiteX68" fmla="*/ 3359201 w 3454451"/>
                  <a:gd name="connsiteY68" fmla="*/ 1171575 h 3822033"/>
                  <a:gd name="connsiteX69" fmla="*/ 3387776 w 3454451"/>
                  <a:gd name="connsiteY69" fmla="*/ 1219200 h 3822033"/>
                  <a:gd name="connsiteX70" fmla="*/ 3416351 w 3454451"/>
                  <a:gd name="connsiteY70" fmla="*/ 1333500 h 3822033"/>
                  <a:gd name="connsiteX71" fmla="*/ 3425876 w 3454451"/>
                  <a:gd name="connsiteY71" fmla="*/ 1390650 h 3822033"/>
                  <a:gd name="connsiteX72" fmla="*/ 3454451 w 3454451"/>
                  <a:gd name="connsiteY72" fmla="*/ 1657350 h 3822033"/>
                  <a:gd name="connsiteX73" fmla="*/ 3359201 w 3454451"/>
                  <a:gd name="connsiteY73" fmla="*/ 2187575 h 3822033"/>
                  <a:gd name="connsiteX74" fmla="*/ 3273476 w 3454451"/>
                  <a:gd name="connsiteY74" fmla="*/ 2400300 h 3822033"/>
                  <a:gd name="connsiteX75" fmla="*/ 3187751 w 3454451"/>
                  <a:gd name="connsiteY75" fmla="*/ 2533650 h 3822033"/>
                  <a:gd name="connsiteX76" fmla="*/ 3102026 w 3454451"/>
                  <a:gd name="connsiteY76" fmla="*/ 2647950 h 3822033"/>
                  <a:gd name="connsiteX77" fmla="*/ 3016301 w 3454451"/>
                  <a:gd name="connsiteY77" fmla="*/ 2781300 h 3822033"/>
                  <a:gd name="connsiteX78" fmla="*/ 2978201 w 3454451"/>
                  <a:gd name="connsiteY78" fmla="*/ 2819400 h 3822033"/>
                  <a:gd name="connsiteX79" fmla="*/ 2940101 w 3454451"/>
                  <a:gd name="connsiteY79" fmla="*/ 2876550 h 3822033"/>
                  <a:gd name="connsiteX80" fmla="*/ 2854376 w 3454451"/>
                  <a:gd name="connsiteY80" fmla="*/ 2933700 h 3822033"/>
                  <a:gd name="connsiteX81" fmla="*/ 2806751 w 3454451"/>
                  <a:gd name="connsiteY81" fmla="*/ 2971800 h 3822033"/>
                  <a:gd name="connsiteX82" fmla="*/ 2701976 w 3454451"/>
                  <a:gd name="connsiteY82" fmla="*/ 3038475 h 3822033"/>
                  <a:gd name="connsiteX83" fmla="*/ 2606726 w 3454451"/>
                  <a:gd name="connsiteY83" fmla="*/ 3105150 h 3822033"/>
                  <a:gd name="connsiteX84" fmla="*/ 2559101 w 3454451"/>
                  <a:gd name="connsiteY84" fmla="*/ 3143250 h 3822033"/>
                  <a:gd name="connsiteX85" fmla="*/ 2492426 w 3454451"/>
                  <a:gd name="connsiteY85" fmla="*/ 3162300 h 3822033"/>
                  <a:gd name="connsiteX86" fmla="*/ 2359076 w 3454451"/>
                  <a:gd name="connsiteY86" fmla="*/ 3219450 h 3822033"/>
                  <a:gd name="connsiteX87" fmla="*/ 2254301 w 3454451"/>
                  <a:gd name="connsiteY87" fmla="*/ 3257550 h 3822033"/>
                  <a:gd name="connsiteX88" fmla="*/ 2178101 w 3454451"/>
                  <a:gd name="connsiteY88" fmla="*/ 3276600 h 3822033"/>
                  <a:gd name="connsiteX89" fmla="*/ 2054276 w 3454451"/>
                  <a:gd name="connsiteY89" fmla="*/ 3362325 h 3822033"/>
                  <a:gd name="connsiteX90" fmla="*/ 2006651 w 3454451"/>
                  <a:gd name="connsiteY90" fmla="*/ 3400425 h 3822033"/>
                  <a:gd name="connsiteX91" fmla="*/ 1959026 w 3454451"/>
                  <a:gd name="connsiteY91" fmla="*/ 3429000 h 3822033"/>
                  <a:gd name="connsiteX92" fmla="*/ 1901876 w 3454451"/>
                  <a:gd name="connsiteY92" fmla="*/ 3495675 h 3822033"/>
                  <a:gd name="connsiteX93" fmla="*/ 1816151 w 3454451"/>
                  <a:gd name="connsiteY93" fmla="*/ 3609975 h 3822033"/>
                  <a:gd name="connsiteX94" fmla="*/ 1797101 w 3454451"/>
                  <a:gd name="connsiteY94" fmla="*/ 3638550 h 3822033"/>
                  <a:gd name="connsiteX95" fmla="*/ 1787576 w 3454451"/>
                  <a:gd name="connsiteY95" fmla="*/ 3667125 h 3822033"/>
                  <a:gd name="connsiteX96" fmla="*/ 1768526 w 3454451"/>
                  <a:gd name="connsiteY96" fmla="*/ 3695700 h 3822033"/>
                  <a:gd name="connsiteX97" fmla="*/ 1749476 w 3454451"/>
                  <a:gd name="connsiteY97" fmla="*/ 3733800 h 3822033"/>
                  <a:gd name="connsiteX98" fmla="*/ 1711376 w 3454451"/>
                  <a:gd name="connsiteY98" fmla="*/ 3810000 h 3822033"/>
                  <a:gd name="connsiteX99" fmla="*/ 1701851 w 3454451"/>
                  <a:gd name="connsiteY99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1851 w 3454451"/>
                  <a:gd name="connsiteY0" fmla="*/ 3819525 h 3822033"/>
                  <a:gd name="connsiteX1" fmla="*/ 1673276 w 3454451"/>
                  <a:gd name="connsiteY1" fmla="*/ 3771900 h 3822033"/>
                  <a:gd name="connsiteX2" fmla="*/ 1530401 w 3454451"/>
                  <a:gd name="connsiteY2" fmla="*/ 3543300 h 3822033"/>
                  <a:gd name="connsiteX3" fmla="*/ 1406576 w 3454451"/>
                  <a:gd name="connsiteY3" fmla="*/ 3438525 h 3822033"/>
                  <a:gd name="connsiteX4" fmla="*/ 1368476 w 3454451"/>
                  <a:gd name="connsiteY4" fmla="*/ 3419475 h 3822033"/>
                  <a:gd name="connsiteX5" fmla="*/ 1339901 w 3454451"/>
                  <a:gd name="connsiteY5" fmla="*/ 3400425 h 3822033"/>
                  <a:gd name="connsiteX6" fmla="*/ 1244651 w 3454451"/>
                  <a:gd name="connsiteY6" fmla="*/ 3381375 h 3822033"/>
                  <a:gd name="connsiteX7" fmla="*/ 1130351 w 3454451"/>
                  <a:gd name="connsiteY7" fmla="*/ 3324225 h 3822033"/>
                  <a:gd name="connsiteX8" fmla="*/ 1006526 w 3454451"/>
                  <a:gd name="connsiteY8" fmla="*/ 3276600 h 3822033"/>
                  <a:gd name="connsiteX9" fmla="*/ 958901 w 3454451"/>
                  <a:gd name="connsiteY9" fmla="*/ 3238500 h 3822033"/>
                  <a:gd name="connsiteX10" fmla="*/ 920801 w 3454451"/>
                  <a:gd name="connsiteY10" fmla="*/ 3219450 h 3822033"/>
                  <a:gd name="connsiteX11" fmla="*/ 825551 w 3454451"/>
                  <a:gd name="connsiteY11" fmla="*/ 3143250 h 3822033"/>
                  <a:gd name="connsiteX12" fmla="*/ 654101 w 3454451"/>
                  <a:gd name="connsiteY12" fmla="*/ 3035300 h 3822033"/>
                  <a:gd name="connsiteX13" fmla="*/ 568376 w 3454451"/>
                  <a:gd name="connsiteY13" fmla="*/ 2943225 h 3822033"/>
                  <a:gd name="connsiteX14" fmla="*/ 330251 w 3454451"/>
                  <a:gd name="connsiteY14" fmla="*/ 2676525 h 3822033"/>
                  <a:gd name="connsiteX15" fmla="*/ 273101 w 3454451"/>
                  <a:gd name="connsiteY15" fmla="*/ 2581275 h 3822033"/>
                  <a:gd name="connsiteX16" fmla="*/ 206426 w 3454451"/>
                  <a:gd name="connsiteY16" fmla="*/ 2451100 h 3822033"/>
                  <a:gd name="connsiteX17" fmla="*/ 146101 w 3454451"/>
                  <a:gd name="connsiteY17" fmla="*/ 2362200 h 3822033"/>
                  <a:gd name="connsiteX18" fmla="*/ 104826 w 3454451"/>
                  <a:gd name="connsiteY18" fmla="*/ 2238375 h 3822033"/>
                  <a:gd name="connsiteX19" fmla="*/ 34976 w 3454451"/>
                  <a:gd name="connsiteY19" fmla="*/ 1958975 h 3822033"/>
                  <a:gd name="connsiteX20" fmla="*/ 25451 w 3454451"/>
                  <a:gd name="connsiteY20" fmla="*/ 1819275 h 3822033"/>
                  <a:gd name="connsiteX21" fmla="*/ 51 w 3454451"/>
                  <a:gd name="connsiteY21" fmla="*/ 1682750 h 3822033"/>
                  <a:gd name="connsiteX22" fmla="*/ 19101 w 3454451"/>
                  <a:gd name="connsiteY22" fmla="*/ 1454150 h 3822033"/>
                  <a:gd name="connsiteX23" fmla="*/ 25451 w 3454451"/>
                  <a:gd name="connsiteY23" fmla="*/ 1304925 h 3822033"/>
                  <a:gd name="connsiteX24" fmla="*/ 73076 w 3454451"/>
                  <a:gd name="connsiteY24" fmla="*/ 1152525 h 3822033"/>
                  <a:gd name="connsiteX25" fmla="*/ 111176 w 3454451"/>
                  <a:gd name="connsiteY25" fmla="*/ 990600 h 3822033"/>
                  <a:gd name="connsiteX26" fmla="*/ 130226 w 3454451"/>
                  <a:gd name="connsiteY26" fmla="*/ 923925 h 3822033"/>
                  <a:gd name="connsiteX27" fmla="*/ 168326 w 3454451"/>
                  <a:gd name="connsiteY27" fmla="*/ 866775 h 3822033"/>
                  <a:gd name="connsiteX28" fmla="*/ 225476 w 3454451"/>
                  <a:gd name="connsiteY28" fmla="*/ 762000 h 3822033"/>
                  <a:gd name="connsiteX29" fmla="*/ 301676 w 3454451"/>
                  <a:gd name="connsiteY29" fmla="*/ 647700 h 3822033"/>
                  <a:gd name="connsiteX30" fmla="*/ 549326 w 3454451"/>
                  <a:gd name="connsiteY30" fmla="*/ 361950 h 3822033"/>
                  <a:gd name="connsiteX31" fmla="*/ 606476 w 3454451"/>
                  <a:gd name="connsiteY31" fmla="*/ 323850 h 3822033"/>
                  <a:gd name="connsiteX32" fmla="*/ 663626 w 3454451"/>
                  <a:gd name="connsiteY32" fmla="*/ 285750 h 3822033"/>
                  <a:gd name="connsiteX33" fmla="*/ 758876 w 3454451"/>
                  <a:gd name="connsiteY33" fmla="*/ 238125 h 3822033"/>
                  <a:gd name="connsiteX34" fmla="*/ 796976 w 3454451"/>
                  <a:gd name="connsiteY34" fmla="*/ 219075 h 3822033"/>
                  <a:gd name="connsiteX35" fmla="*/ 892226 w 3454451"/>
                  <a:gd name="connsiteY35" fmla="*/ 161925 h 3822033"/>
                  <a:gd name="connsiteX36" fmla="*/ 958901 w 3454451"/>
                  <a:gd name="connsiteY36" fmla="*/ 133350 h 3822033"/>
                  <a:gd name="connsiteX37" fmla="*/ 1120826 w 3454451"/>
                  <a:gd name="connsiteY37" fmla="*/ 76200 h 3822033"/>
                  <a:gd name="connsiteX38" fmla="*/ 1158926 w 3454451"/>
                  <a:gd name="connsiteY38" fmla="*/ 66675 h 3822033"/>
                  <a:gd name="connsiteX39" fmla="*/ 1435151 w 3454451"/>
                  <a:gd name="connsiteY39" fmla="*/ 0 h 3822033"/>
                  <a:gd name="connsiteX40" fmla="*/ 2035226 w 3454451"/>
                  <a:gd name="connsiteY40" fmla="*/ 9525 h 3822033"/>
                  <a:gd name="connsiteX41" fmla="*/ 2101901 w 3454451"/>
                  <a:gd name="connsiteY41" fmla="*/ 19050 h 3822033"/>
                  <a:gd name="connsiteX42" fmla="*/ 2159051 w 3454451"/>
                  <a:gd name="connsiteY42" fmla="*/ 47625 h 3822033"/>
                  <a:gd name="connsiteX43" fmla="*/ 2225726 w 3454451"/>
                  <a:gd name="connsiteY43" fmla="*/ 66675 h 3822033"/>
                  <a:gd name="connsiteX44" fmla="*/ 2340026 w 3454451"/>
                  <a:gd name="connsiteY44" fmla="*/ 133350 h 3822033"/>
                  <a:gd name="connsiteX45" fmla="*/ 2387651 w 3454451"/>
                  <a:gd name="connsiteY45" fmla="*/ 142875 h 3822033"/>
                  <a:gd name="connsiteX46" fmla="*/ 2454326 w 3454451"/>
                  <a:gd name="connsiteY46" fmla="*/ 171450 h 3822033"/>
                  <a:gd name="connsiteX47" fmla="*/ 2482901 w 3454451"/>
                  <a:gd name="connsiteY47" fmla="*/ 200025 h 3822033"/>
                  <a:gd name="connsiteX48" fmla="*/ 2568626 w 3454451"/>
                  <a:gd name="connsiteY48" fmla="*/ 228600 h 3822033"/>
                  <a:gd name="connsiteX49" fmla="*/ 2673401 w 3454451"/>
                  <a:gd name="connsiteY49" fmla="*/ 285750 h 3822033"/>
                  <a:gd name="connsiteX50" fmla="*/ 2701976 w 3454451"/>
                  <a:gd name="connsiteY50" fmla="*/ 304800 h 3822033"/>
                  <a:gd name="connsiteX51" fmla="*/ 2730551 w 3454451"/>
                  <a:gd name="connsiteY51" fmla="*/ 333375 h 3822033"/>
                  <a:gd name="connsiteX52" fmla="*/ 2768651 w 3454451"/>
                  <a:gd name="connsiteY52" fmla="*/ 361950 h 3822033"/>
                  <a:gd name="connsiteX53" fmla="*/ 2806751 w 3454451"/>
                  <a:gd name="connsiteY53" fmla="*/ 400050 h 3822033"/>
                  <a:gd name="connsiteX54" fmla="*/ 2863901 w 3454451"/>
                  <a:gd name="connsiteY54" fmla="*/ 438150 h 3822033"/>
                  <a:gd name="connsiteX55" fmla="*/ 2902001 w 3454451"/>
                  <a:gd name="connsiteY55" fmla="*/ 476250 h 3822033"/>
                  <a:gd name="connsiteX56" fmla="*/ 2968676 w 3454451"/>
                  <a:gd name="connsiteY56" fmla="*/ 523875 h 3822033"/>
                  <a:gd name="connsiteX57" fmla="*/ 2987726 w 3454451"/>
                  <a:gd name="connsiteY57" fmla="*/ 552450 h 3822033"/>
                  <a:gd name="connsiteX58" fmla="*/ 3025826 w 3454451"/>
                  <a:gd name="connsiteY58" fmla="*/ 590550 h 3822033"/>
                  <a:gd name="connsiteX59" fmla="*/ 3044876 w 3454451"/>
                  <a:gd name="connsiteY59" fmla="*/ 628650 h 3822033"/>
                  <a:gd name="connsiteX60" fmla="*/ 3082976 w 3454451"/>
                  <a:gd name="connsiteY60" fmla="*/ 666750 h 3822033"/>
                  <a:gd name="connsiteX61" fmla="*/ 3121076 w 3454451"/>
                  <a:gd name="connsiteY61" fmla="*/ 723900 h 3822033"/>
                  <a:gd name="connsiteX62" fmla="*/ 3216326 w 3454451"/>
                  <a:gd name="connsiteY62" fmla="*/ 838200 h 3822033"/>
                  <a:gd name="connsiteX63" fmla="*/ 3235376 w 3454451"/>
                  <a:gd name="connsiteY63" fmla="*/ 885825 h 3822033"/>
                  <a:gd name="connsiteX64" fmla="*/ 3273476 w 3454451"/>
                  <a:gd name="connsiteY64" fmla="*/ 942975 h 3822033"/>
                  <a:gd name="connsiteX65" fmla="*/ 3283001 w 3454451"/>
                  <a:gd name="connsiteY65" fmla="*/ 990600 h 3822033"/>
                  <a:gd name="connsiteX66" fmla="*/ 3321101 w 3454451"/>
                  <a:gd name="connsiteY66" fmla="*/ 1085850 h 3822033"/>
                  <a:gd name="connsiteX67" fmla="*/ 3359201 w 3454451"/>
                  <a:gd name="connsiteY67" fmla="*/ 1171575 h 3822033"/>
                  <a:gd name="connsiteX68" fmla="*/ 3387776 w 3454451"/>
                  <a:gd name="connsiteY68" fmla="*/ 1219200 h 3822033"/>
                  <a:gd name="connsiteX69" fmla="*/ 3416351 w 3454451"/>
                  <a:gd name="connsiteY69" fmla="*/ 1333500 h 3822033"/>
                  <a:gd name="connsiteX70" fmla="*/ 3425876 w 3454451"/>
                  <a:gd name="connsiteY70" fmla="*/ 1390650 h 3822033"/>
                  <a:gd name="connsiteX71" fmla="*/ 3454451 w 3454451"/>
                  <a:gd name="connsiteY71" fmla="*/ 1657350 h 3822033"/>
                  <a:gd name="connsiteX72" fmla="*/ 3359201 w 3454451"/>
                  <a:gd name="connsiteY72" fmla="*/ 2187575 h 3822033"/>
                  <a:gd name="connsiteX73" fmla="*/ 3273476 w 3454451"/>
                  <a:gd name="connsiteY73" fmla="*/ 2400300 h 3822033"/>
                  <a:gd name="connsiteX74" fmla="*/ 3187751 w 3454451"/>
                  <a:gd name="connsiteY74" fmla="*/ 2533650 h 3822033"/>
                  <a:gd name="connsiteX75" fmla="*/ 3102026 w 3454451"/>
                  <a:gd name="connsiteY75" fmla="*/ 2647950 h 3822033"/>
                  <a:gd name="connsiteX76" fmla="*/ 3016301 w 3454451"/>
                  <a:gd name="connsiteY76" fmla="*/ 2781300 h 3822033"/>
                  <a:gd name="connsiteX77" fmla="*/ 2978201 w 3454451"/>
                  <a:gd name="connsiteY77" fmla="*/ 2819400 h 3822033"/>
                  <a:gd name="connsiteX78" fmla="*/ 2940101 w 3454451"/>
                  <a:gd name="connsiteY78" fmla="*/ 2876550 h 3822033"/>
                  <a:gd name="connsiteX79" fmla="*/ 2854376 w 3454451"/>
                  <a:gd name="connsiteY79" fmla="*/ 2933700 h 3822033"/>
                  <a:gd name="connsiteX80" fmla="*/ 2806751 w 3454451"/>
                  <a:gd name="connsiteY80" fmla="*/ 2971800 h 3822033"/>
                  <a:gd name="connsiteX81" fmla="*/ 2701976 w 3454451"/>
                  <a:gd name="connsiteY81" fmla="*/ 3038475 h 3822033"/>
                  <a:gd name="connsiteX82" fmla="*/ 2606726 w 3454451"/>
                  <a:gd name="connsiteY82" fmla="*/ 3105150 h 3822033"/>
                  <a:gd name="connsiteX83" fmla="*/ 2559101 w 3454451"/>
                  <a:gd name="connsiteY83" fmla="*/ 3143250 h 3822033"/>
                  <a:gd name="connsiteX84" fmla="*/ 2492426 w 3454451"/>
                  <a:gd name="connsiteY84" fmla="*/ 3162300 h 3822033"/>
                  <a:gd name="connsiteX85" fmla="*/ 2359076 w 3454451"/>
                  <a:gd name="connsiteY85" fmla="*/ 3219450 h 3822033"/>
                  <a:gd name="connsiteX86" fmla="*/ 2254301 w 3454451"/>
                  <a:gd name="connsiteY86" fmla="*/ 3257550 h 3822033"/>
                  <a:gd name="connsiteX87" fmla="*/ 2178101 w 3454451"/>
                  <a:gd name="connsiteY87" fmla="*/ 3276600 h 3822033"/>
                  <a:gd name="connsiteX88" fmla="*/ 2054276 w 3454451"/>
                  <a:gd name="connsiteY88" fmla="*/ 3362325 h 3822033"/>
                  <a:gd name="connsiteX89" fmla="*/ 2006651 w 3454451"/>
                  <a:gd name="connsiteY89" fmla="*/ 3400425 h 3822033"/>
                  <a:gd name="connsiteX90" fmla="*/ 1959026 w 3454451"/>
                  <a:gd name="connsiteY90" fmla="*/ 3429000 h 3822033"/>
                  <a:gd name="connsiteX91" fmla="*/ 1901876 w 3454451"/>
                  <a:gd name="connsiteY91" fmla="*/ 3495675 h 3822033"/>
                  <a:gd name="connsiteX92" fmla="*/ 1816151 w 3454451"/>
                  <a:gd name="connsiteY92" fmla="*/ 3609975 h 3822033"/>
                  <a:gd name="connsiteX93" fmla="*/ 1797101 w 3454451"/>
                  <a:gd name="connsiteY93" fmla="*/ 3638550 h 3822033"/>
                  <a:gd name="connsiteX94" fmla="*/ 1787576 w 3454451"/>
                  <a:gd name="connsiteY94" fmla="*/ 3667125 h 3822033"/>
                  <a:gd name="connsiteX95" fmla="*/ 1768526 w 3454451"/>
                  <a:gd name="connsiteY95" fmla="*/ 3695700 h 3822033"/>
                  <a:gd name="connsiteX96" fmla="*/ 1749476 w 3454451"/>
                  <a:gd name="connsiteY96" fmla="*/ 3733800 h 3822033"/>
                  <a:gd name="connsiteX97" fmla="*/ 1711376 w 3454451"/>
                  <a:gd name="connsiteY97" fmla="*/ 3810000 h 3822033"/>
                  <a:gd name="connsiteX98" fmla="*/ 1701851 w 3454451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33349 w 3457574"/>
                  <a:gd name="connsiteY26" fmla="*/ 923925 h 3822033"/>
                  <a:gd name="connsiteX27" fmla="*/ 171449 w 3457574"/>
                  <a:gd name="connsiteY27" fmla="*/ 866775 h 3822033"/>
                  <a:gd name="connsiteX28" fmla="*/ 228599 w 3457574"/>
                  <a:gd name="connsiteY28" fmla="*/ 762000 h 3822033"/>
                  <a:gd name="connsiteX29" fmla="*/ 304799 w 3457574"/>
                  <a:gd name="connsiteY29" fmla="*/ 647700 h 3822033"/>
                  <a:gd name="connsiteX30" fmla="*/ 552449 w 3457574"/>
                  <a:gd name="connsiteY30" fmla="*/ 361950 h 3822033"/>
                  <a:gd name="connsiteX31" fmla="*/ 609599 w 3457574"/>
                  <a:gd name="connsiteY31" fmla="*/ 323850 h 3822033"/>
                  <a:gd name="connsiteX32" fmla="*/ 666749 w 3457574"/>
                  <a:gd name="connsiteY32" fmla="*/ 285750 h 3822033"/>
                  <a:gd name="connsiteX33" fmla="*/ 761999 w 3457574"/>
                  <a:gd name="connsiteY33" fmla="*/ 238125 h 3822033"/>
                  <a:gd name="connsiteX34" fmla="*/ 800099 w 3457574"/>
                  <a:gd name="connsiteY34" fmla="*/ 219075 h 3822033"/>
                  <a:gd name="connsiteX35" fmla="*/ 895349 w 3457574"/>
                  <a:gd name="connsiteY35" fmla="*/ 161925 h 3822033"/>
                  <a:gd name="connsiteX36" fmla="*/ 962024 w 3457574"/>
                  <a:gd name="connsiteY36" fmla="*/ 133350 h 3822033"/>
                  <a:gd name="connsiteX37" fmla="*/ 1123949 w 3457574"/>
                  <a:gd name="connsiteY37" fmla="*/ 76200 h 3822033"/>
                  <a:gd name="connsiteX38" fmla="*/ 1162049 w 3457574"/>
                  <a:gd name="connsiteY38" fmla="*/ 66675 h 3822033"/>
                  <a:gd name="connsiteX39" fmla="*/ 1438274 w 3457574"/>
                  <a:gd name="connsiteY39" fmla="*/ 0 h 3822033"/>
                  <a:gd name="connsiteX40" fmla="*/ 2038349 w 3457574"/>
                  <a:gd name="connsiteY40" fmla="*/ 9525 h 3822033"/>
                  <a:gd name="connsiteX41" fmla="*/ 2105024 w 3457574"/>
                  <a:gd name="connsiteY41" fmla="*/ 19050 h 3822033"/>
                  <a:gd name="connsiteX42" fmla="*/ 2162174 w 3457574"/>
                  <a:gd name="connsiteY42" fmla="*/ 47625 h 3822033"/>
                  <a:gd name="connsiteX43" fmla="*/ 2228849 w 3457574"/>
                  <a:gd name="connsiteY43" fmla="*/ 66675 h 3822033"/>
                  <a:gd name="connsiteX44" fmla="*/ 2343149 w 3457574"/>
                  <a:gd name="connsiteY44" fmla="*/ 133350 h 3822033"/>
                  <a:gd name="connsiteX45" fmla="*/ 2390774 w 3457574"/>
                  <a:gd name="connsiteY45" fmla="*/ 142875 h 3822033"/>
                  <a:gd name="connsiteX46" fmla="*/ 2457449 w 3457574"/>
                  <a:gd name="connsiteY46" fmla="*/ 171450 h 3822033"/>
                  <a:gd name="connsiteX47" fmla="*/ 2486024 w 3457574"/>
                  <a:gd name="connsiteY47" fmla="*/ 200025 h 3822033"/>
                  <a:gd name="connsiteX48" fmla="*/ 2571749 w 3457574"/>
                  <a:gd name="connsiteY48" fmla="*/ 228600 h 3822033"/>
                  <a:gd name="connsiteX49" fmla="*/ 2676524 w 3457574"/>
                  <a:gd name="connsiteY49" fmla="*/ 285750 h 3822033"/>
                  <a:gd name="connsiteX50" fmla="*/ 2705099 w 3457574"/>
                  <a:gd name="connsiteY50" fmla="*/ 304800 h 3822033"/>
                  <a:gd name="connsiteX51" fmla="*/ 2733674 w 3457574"/>
                  <a:gd name="connsiteY51" fmla="*/ 333375 h 3822033"/>
                  <a:gd name="connsiteX52" fmla="*/ 2771774 w 3457574"/>
                  <a:gd name="connsiteY52" fmla="*/ 361950 h 3822033"/>
                  <a:gd name="connsiteX53" fmla="*/ 2809874 w 3457574"/>
                  <a:gd name="connsiteY53" fmla="*/ 400050 h 3822033"/>
                  <a:gd name="connsiteX54" fmla="*/ 2867024 w 3457574"/>
                  <a:gd name="connsiteY54" fmla="*/ 438150 h 3822033"/>
                  <a:gd name="connsiteX55" fmla="*/ 2905124 w 3457574"/>
                  <a:gd name="connsiteY55" fmla="*/ 476250 h 3822033"/>
                  <a:gd name="connsiteX56" fmla="*/ 2971799 w 3457574"/>
                  <a:gd name="connsiteY56" fmla="*/ 523875 h 3822033"/>
                  <a:gd name="connsiteX57" fmla="*/ 2990849 w 3457574"/>
                  <a:gd name="connsiteY57" fmla="*/ 552450 h 3822033"/>
                  <a:gd name="connsiteX58" fmla="*/ 3028949 w 3457574"/>
                  <a:gd name="connsiteY58" fmla="*/ 590550 h 3822033"/>
                  <a:gd name="connsiteX59" fmla="*/ 3047999 w 3457574"/>
                  <a:gd name="connsiteY59" fmla="*/ 628650 h 3822033"/>
                  <a:gd name="connsiteX60" fmla="*/ 3086099 w 3457574"/>
                  <a:gd name="connsiteY60" fmla="*/ 666750 h 3822033"/>
                  <a:gd name="connsiteX61" fmla="*/ 3124199 w 3457574"/>
                  <a:gd name="connsiteY61" fmla="*/ 723900 h 3822033"/>
                  <a:gd name="connsiteX62" fmla="*/ 3219449 w 3457574"/>
                  <a:gd name="connsiteY62" fmla="*/ 838200 h 3822033"/>
                  <a:gd name="connsiteX63" fmla="*/ 3238499 w 3457574"/>
                  <a:gd name="connsiteY63" fmla="*/ 885825 h 3822033"/>
                  <a:gd name="connsiteX64" fmla="*/ 3276599 w 3457574"/>
                  <a:gd name="connsiteY64" fmla="*/ 942975 h 3822033"/>
                  <a:gd name="connsiteX65" fmla="*/ 3286124 w 3457574"/>
                  <a:gd name="connsiteY65" fmla="*/ 990600 h 3822033"/>
                  <a:gd name="connsiteX66" fmla="*/ 3324224 w 3457574"/>
                  <a:gd name="connsiteY66" fmla="*/ 1085850 h 3822033"/>
                  <a:gd name="connsiteX67" fmla="*/ 3362324 w 3457574"/>
                  <a:gd name="connsiteY67" fmla="*/ 1171575 h 3822033"/>
                  <a:gd name="connsiteX68" fmla="*/ 3390899 w 3457574"/>
                  <a:gd name="connsiteY68" fmla="*/ 1219200 h 3822033"/>
                  <a:gd name="connsiteX69" fmla="*/ 3419474 w 3457574"/>
                  <a:gd name="connsiteY69" fmla="*/ 1333500 h 3822033"/>
                  <a:gd name="connsiteX70" fmla="*/ 3428999 w 3457574"/>
                  <a:gd name="connsiteY70" fmla="*/ 1390650 h 3822033"/>
                  <a:gd name="connsiteX71" fmla="*/ 3457574 w 3457574"/>
                  <a:gd name="connsiteY71" fmla="*/ 1657350 h 3822033"/>
                  <a:gd name="connsiteX72" fmla="*/ 3362324 w 3457574"/>
                  <a:gd name="connsiteY72" fmla="*/ 2187575 h 3822033"/>
                  <a:gd name="connsiteX73" fmla="*/ 3276599 w 3457574"/>
                  <a:gd name="connsiteY73" fmla="*/ 2400300 h 3822033"/>
                  <a:gd name="connsiteX74" fmla="*/ 3190874 w 3457574"/>
                  <a:gd name="connsiteY74" fmla="*/ 2533650 h 3822033"/>
                  <a:gd name="connsiteX75" fmla="*/ 3105149 w 3457574"/>
                  <a:gd name="connsiteY75" fmla="*/ 2647950 h 3822033"/>
                  <a:gd name="connsiteX76" fmla="*/ 3019424 w 3457574"/>
                  <a:gd name="connsiteY76" fmla="*/ 2781300 h 3822033"/>
                  <a:gd name="connsiteX77" fmla="*/ 2981324 w 3457574"/>
                  <a:gd name="connsiteY77" fmla="*/ 2819400 h 3822033"/>
                  <a:gd name="connsiteX78" fmla="*/ 2943224 w 3457574"/>
                  <a:gd name="connsiteY78" fmla="*/ 2876550 h 3822033"/>
                  <a:gd name="connsiteX79" fmla="*/ 2857499 w 3457574"/>
                  <a:gd name="connsiteY79" fmla="*/ 2933700 h 3822033"/>
                  <a:gd name="connsiteX80" fmla="*/ 2809874 w 3457574"/>
                  <a:gd name="connsiteY80" fmla="*/ 2971800 h 3822033"/>
                  <a:gd name="connsiteX81" fmla="*/ 2705099 w 3457574"/>
                  <a:gd name="connsiteY81" fmla="*/ 3038475 h 3822033"/>
                  <a:gd name="connsiteX82" fmla="*/ 2609849 w 3457574"/>
                  <a:gd name="connsiteY82" fmla="*/ 3105150 h 3822033"/>
                  <a:gd name="connsiteX83" fmla="*/ 2562224 w 3457574"/>
                  <a:gd name="connsiteY83" fmla="*/ 3143250 h 3822033"/>
                  <a:gd name="connsiteX84" fmla="*/ 2495549 w 3457574"/>
                  <a:gd name="connsiteY84" fmla="*/ 3162300 h 3822033"/>
                  <a:gd name="connsiteX85" fmla="*/ 2362199 w 3457574"/>
                  <a:gd name="connsiteY85" fmla="*/ 3219450 h 3822033"/>
                  <a:gd name="connsiteX86" fmla="*/ 2257424 w 3457574"/>
                  <a:gd name="connsiteY86" fmla="*/ 3257550 h 3822033"/>
                  <a:gd name="connsiteX87" fmla="*/ 2181224 w 3457574"/>
                  <a:gd name="connsiteY87" fmla="*/ 3276600 h 3822033"/>
                  <a:gd name="connsiteX88" fmla="*/ 2057399 w 3457574"/>
                  <a:gd name="connsiteY88" fmla="*/ 3362325 h 3822033"/>
                  <a:gd name="connsiteX89" fmla="*/ 2009774 w 3457574"/>
                  <a:gd name="connsiteY89" fmla="*/ 3400425 h 3822033"/>
                  <a:gd name="connsiteX90" fmla="*/ 1962149 w 3457574"/>
                  <a:gd name="connsiteY90" fmla="*/ 3429000 h 3822033"/>
                  <a:gd name="connsiteX91" fmla="*/ 1904999 w 3457574"/>
                  <a:gd name="connsiteY91" fmla="*/ 3495675 h 3822033"/>
                  <a:gd name="connsiteX92" fmla="*/ 1819274 w 3457574"/>
                  <a:gd name="connsiteY92" fmla="*/ 3609975 h 3822033"/>
                  <a:gd name="connsiteX93" fmla="*/ 1800224 w 3457574"/>
                  <a:gd name="connsiteY93" fmla="*/ 3638550 h 3822033"/>
                  <a:gd name="connsiteX94" fmla="*/ 1790699 w 3457574"/>
                  <a:gd name="connsiteY94" fmla="*/ 3667125 h 3822033"/>
                  <a:gd name="connsiteX95" fmla="*/ 1771649 w 3457574"/>
                  <a:gd name="connsiteY95" fmla="*/ 3695700 h 3822033"/>
                  <a:gd name="connsiteX96" fmla="*/ 1752599 w 3457574"/>
                  <a:gd name="connsiteY96" fmla="*/ 3733800 h 3822033"/>
                  <a:gd name="connsiteX97" fmla="*/ 1714499 w 3457574"/>
                  <a:gd name="connsiteY97" fmla="*/ 3810000 h 3822033"/>
                  <a:gd name="connsiteX98" fmla="*/ 1704974 w 3457574"/>
                  <a:gd name="connsiteY98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76199 w 3457574"/>
                  <a:gd name="connsiteY24" fmla="*/ 11525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552449 w 3457574"/>
                  <a:gd name="connsiteY29" fmla="*/ 361950 h 3822033"/>
                  <a:gd name="connsiteX30" fmla="*/ 609599 w 3457574"/>
                  <a:gd name="connsiteY30" fmla="*/ 323850 h 3822033"/>
                  <a:gd name="connsiteX31" fmla="*/ 666749 w 3457574"/>
                  <a:gd name="connsiteY31" fmla="*/ 285750 h 3822033"/>
                  <a:gd name="connsiteX32" fmla="*/ 761999 w 3457574"/>
                  <a:gd name="connsiteY32" fmla="*/ 238125 h 3822033"/>
                  <a:gd name="connsiteX33" fmla="*/ 800099 w 3457574"/>
                  <a:gd name="connsiteY33" fmla="*/ 219075 h 3822033"/>
                  <a:gd name="connsiteX34" fmla="*/ 895349 w 3457574"/>
                  <a:gd name="connsiteY34" fmla="*/ 161925 h 3822033"/>
                  <a:gd name="connsiteX35" fmla="*/ 962024 w 3457574"/>
                  <a:gd name="connsiteY35" fmla="*/ 133350 h 3822033"/>
                  <a:gd name="connsiteX36" fmla="*/ 1123949 w 3457574"/>
                  <a:gd name="connsiteY36" fmla="*/ 76200 h 3822033"/>
                  <a:gd name="connsiteX37" fmla="*/ 1162049 w 3457574"/>
                  <a:gd name="connsiteY37" fmla="*/ 66675 h 3822033"/>
                  <a:gd name="connsiteX38" fmla="*/ 1438274 w 3457574"/>
                  <a:gd name="connsiteY38" fmla="*/ 0 h 3822033"/>
                  <a:gd name="connsiteX39" fmla="*/ 2038349 w 3457574"/>
                  <a:gd name="connsiteY39" fmla="*/ 9525 h 3822033"/>
                  <a:gd name="connsiteX40" fmla="*/ 2105024 w 3457574"/>
                  <a:gd name="connsiteY40" fmla="*/ 19050 h 3822033"/>
                  <a:gd name="connsiteX41" fmla="*/ 2162174 w 3457574"/>
                  <a:gd name="connsiteY41" fmla="*/ 47625 h 3822033"/>
                  <a:gd name="connsiteX42" fmla="*/ 2228849 w 3457574"/>
                  <a:gd name="connsiteY42" fmla="*/ 66675 h 3822033"/>
                  <a:gd name="connsiteX43" fmla="*/ 2343149 w 3457574"/>
                  <a:gd name="connsiteY43" fmla="*/ 133350 h 3822033"/>
                  <a:gd name="connsiteX44" fmla="*/ 2390774 w 3457574"/>
                  <a:gd name="connsiteY44" fmla="*/ 142875 h 3822033"/>
                  <a:gd name="connsiteX45" fmla="*/ 2457449 w 3457574"/>
                  <a:gd name="connsiteY45" fmla="*/ 171450 h 3822033"/>
                  <a:gd name="connsiteX46" fmla="*/ 2486024 w 3457574"/>
                  <a:gd name="connsiteY46" fmla="*/ 200025 h 3822033"/>
                  <a:gd name="connsiteX47" fmla="*/ 2571749 w 3457574"/>
                  <a:gd name="connsiteY47" fmla="*/ 228600 h 3822033"/>
                  <a:gd name="connsiteX48" fmla="*/ 2676524 w 3457574"/>
                  <a:gd name="connsiteY48" fmla="*/ 285750 h 3822033"/>
                  <a:gd name="connsiteX49" fmla="*/ 2705099 w 3457574"/>
                  <a:gd name="connsiteY49" fmla="*/ 304800 h 3822033"/>
                  <a:gd name="connsiteX50" fmla="*/ 2733674 w 3457574"/>
                  <a:gd name="connsiteY50" fmla="*/ 333375 h 3822033"/>
                  <a:gd name="connsiteX51" fmla="*/ 2771774 w 3457574"/>
                  <a:gd name="connsiteY51" fmla="*/ 361950 h 3822033"/>
                  <a:gd name="connsiteX52" fmla="*/ 2809874 w 3457574"/>
                  <a:gd name="connsiteY52" fmla="*/ 400050 h 3822033"/>
                  <a:gd name="connsiteX53" fmla="*/ 2867024 w 3457574"/>
                  <a:gd name="connsiteY53" fmla="*/ 438150 h 3822033"/>
                  <a:gd name="connsiteX54" fmla="*/ 2905124 w 3457574"/>
                  <a:gd name="connsiteY54" fmla="*/ 476250 h 3822033"/>
                  <a:gd name="connsiteX55" fmla="*/ 2971799 w 3457574"/>
                  <a:gd name="connsiteY55" fmla="*/ 523875 h 3822033"/>
                  <a:gd name="connsiteX56" fmla="*/ 2990849 w 3457574"/>
                  <a:gd name="connsiteY56" fmla="*/ 552450 h 3822033"/>
                  <a:gd name="connsiteX57" fmla="*/ 3028949 w 3457574"/>
                  <a:gd name="connsiteY57" fmla="*/ 590550 h 3822033"/>
                  <a:gd name="connsiteX58" fmla="*/ 3047999 w 3457574"/>
                  <a:gd name="connsiteY58" fmla="*/ 628650 h 3822033"/>
                  <a:gd name="connsiteX59" fmla="*/ 3086099 w 3457574"/>
                  <a:gd name="connsiteY59" fmla="*/ 666750 h 3822033"/>
                  <a:gd name="connsiteX60" fmla="*/ 3124199 w 3457574"/>
                  <a:gd name="connsiteY60" fmla="*/ 723900 h 3822033"/>
                  <a:gd name="connsiteX61" fmla="*/ 3219449 w 3457574"/>
                  <a:gd name="connsiteY61" fmla="*/ 838200 h 3822033"/>
                  <a:gd name="connsiteX62" fmla="*/ 3238499 w 3457574"/>
                  <a:gd name="connsiteY62" fmla="*/ 885825 h 3822033"/>
                  <a:gd name="connsiteX63" fmla="*/ 3276599 w 3457574"/>
                  <a:gd name="connsiteY63" fmla="*/ 942975 h 3822033"/>
                  <a:gd name="connsiteX64" fmla="*/ 3286124 w 3457574"/>
                  <a:gd name="connsiteY64" fmla="*/ 990600 h 3822033"/>
                  <a:gd name="connsiteX65" fmla="*/ 3324224 w 3457574"/>
                  <a:gd name="connsiteY65" fmla="*/ 1085850 h 3822033"/>
                  <a:gd name="connsiteX66" fmla="*/ 3362324 w 3457574"/>
                  <a:gd name="connsiteY66" fmla="*/ 1171575 h 3822033"/>
                  <a:gd name="connsiteX67" fmla="*/ 3390899 w 3457574"/>
                  <a:gd name="connsiteY67" fmla="*/ 1219200 h 3822033"/>
                  <a:gd name="connsiteX68" fmla="*/ 3419474 w 3457574"/>
                  <a:gd name="connsiteY68" fmla="*/ 1333500 h 3822033"/>
                  <a:gd name="connsiteX69" fmla="*/ 3428999 w 3457574"/>
                  <a:gd name="connsiteY69" fmla="*/ 1390650 h 3822033"/>
                  <a:gd name="connsiteX70" fmla="*/ 3457574 w 3457574"/>
                  <a:gd name="connsiteY70" fmla="*/ 1657350 h 3822033"/>
                  <a:gd name="connsiteX71" fmla="*/ 3362324 w 3457574"/>
                  <a:gd name="connsiteY71" fmla="*/ 2187575 h 3822033"/>
                  <a:gd name="connsiteX72" fmla="*/ 3276599 w 3457574"/>
                  <a:gd name="connsiteY72" fmla="*/ 2400300 h 3822033"/>
                  <a:gd name="connsiteX73" fmla="*/ 3190874 w 3457574"/>
                  <a:gd name="connsiteY73" fmla="*/ 2533650 h 3822033"/>
                  <a:gd name="connsiteX74" fmla="*/ 3105149 w 3457574"/>
                  <a:gd name="connsiteY74" fmla="*/ 2647950 h 3822033"/>
                  <a:gd name="connsiteX75" fmla="*/ 3019424 w 3457574"/>
                  <a:gd name="connsiteY75" fmla="*/ 2781300 h 3822033"/>
                  <a:gd name="connsiteX76" fmla="*/ 2981324 w 3457574"/>
                  <a:gd name="connsiteY76" fmla="*/ 2819400 h 3822033"/>
                  <a:gd name="connsiteX77" fmla="*/ 2943224 w 3457574"/>
                  <a:gd name="connsiteY77" fmla="*/ 2876550 h 3822033"/>
                  <a:gd name="connsiteX78" fmla="*/ 2857499 w 3457574"/>
                  <a:gd name="connsiteY78" fmla="*/ 2933700 h 3822033"/>
                  <a:gd name="connsiteX79" fmla="*/ 2809874 w 3457574"/>
                  <a:gd name="connsiteY79" fmla="*/ 2971800 h 3822033"/>
                  <a:gd name="connsiteX80" fmla="*/ 2705099 w 3457574"/>
                  <a:gd name="connsiteY80" fmla="*/ 3038475 h 3822033"/>
                  <a:gd name="connsiteX81" fmla="*/ 2609849 w 3457574"/>
                  <a:gd name="connsiteY81" fmla="*/ 3105150 h 3822033"/>
                  <a:gd name="connsiteX82" fmla="*/ 2562224 w 3457574"/>
                  <a:gd name="connsiteY82" fmla="*/ 3143250 h 3822033"/>
                  <a:gd name="connsiteX83" fmla="*/ 2495549 w 3457574"/>
                  <a:gd name="connsiteY83" fmla="*/ 3162300 h 3822033"/>
                  <a:gd name="connsiteX84" fmla="*/ 2362199 w 3457574"/>
                  <a:gd name="connsiteY84" fmla="*/ 3219450 h 3822033"/>
                  <a:gd name="connsiteX85" fmla="*/ 2257424 w 3457574"/>
                  <a:gd name="connsiteY85" fmla="*/ 3257550 h 3822033"/>
                  <a:gd name="connsiteX86" fmla="*/ 2181224 w 3457574"/>
                  <a:gd name="connsiteY86" fmla="*/ 3276600 h 3822033"/>
                  <a:gd name="connsiteX87" fmla="*/ 2057399 w 3457574"/>
                  <a:gd name="connsiteY87" fmla="*/ 3362325 h 3822033"/>
                  <a:gd name="connsiteX88" fmla="*/ 2009774 w 3457574"/>
                  <a:gd name="connsiteY88" fmla="*/ 3400425 h 3822033"/>
                  <a:gd name="connsiteX89" fmla="*/ 1962149 w 3457574"/>
                  <a:gd name="connsiteY89" fmla="*/ 3429000 h 3822033"/>
                  <a:gd name="connsiteX90" fmla="*/ 1904999 w 3457574"/>
                  <a:gd name="connsiteY90" fmla="*/ 3495675 h 3822033"/>
                  <a:gd name="connsiteX91" fmla="*/ 1819274 w 3457574"/>
                  <a:gd name="connsiteY91" fmla="*/ 3609975 h 3822033"/>
                  <a:gd name="connsiteX92" fmla="*/ 1800224 w 3457574"/>
                  <a:gd name="connsiteY92" fmla="*/ 3638550 h 3822033"/>
                  <a:gd name="connsiteX93" fmla="*/ 1790699 w 3457574"/>
                  <a:gd name="connsiteY93" fmla="*/ 3667125 h 3822033"/>
                  <a:gd name="connsiteX94" fmla="*/ 1771649 w 3457574"/>
                  <a:gd name="connsiteY94" fmla="*/ 3695700 h 3822033"/>
                  <a:gd name="connsiteX95" fmla="*/ 1752599 w 3457574"/>
                  <a:gd name="connsiteY95" fmla="*/ 3733800 h 3822033"/>
                  <a:gd name="connsiteX96" fmla="*/ 1714499 w 3457574"/>
                  <a:gd name="connsiteY96" fmla="*/ 3810000 h 3822033"/>
                  <a:gd name="connsiteX97" fmla="*/ 1704974 w 3457574"/>
                  <a:gd name="connsiteY97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  <a:gd name="connsiteX0" fmla="*/ 1704974 w 3457574"/>
                  <a:gd name="connsiteY0" fmla="*/ 3819525 h 3822033"/>
                  <a:gd name="connsiteX1" fmla="*/ 1676399 w 3457574"/>
                  <a:gd name="connsiteY1" fmla="*/ 3771900 h 3822033"/>
                  <a:gd name="connsiteX2" fmla="*/ 1533524 w 3457574"/>
                  <a:gd name="connsiteY2" fmla="*/ 3543300 h 3822033"/>
                  <a:gd name="connsiteX3" fmla="*/ 1409699 w 3457574"/>
                  <a:gd name="connsiteY3" fmla="*/ 3438525 h 3822033"/>
                  <a:gd name="connsiteX4" fmla="*/ 1371599 w 3457574"/>
                  <a:gd name="connsiteY4" fmla="*/ 3419475 h 3822033"/>
                  <a:gd name="connsiteX5" fmla="*/ 1343024 w 3457574"/>
                  <a:gd name="connsiteY5" fmla="*/ 3400425 h 3822033"/>
                  <a:gd name="connsiteX6" fmla="*/ 1247774 w 3457574"/>
                  <a:gd name="connsiteY6" fmla="*/ 3381375 h 3822033"/>
                  <a:gd name="connsiteX7" fmla="*/ 1133474 w 3457574"/>
                  <a:gd name="connsiteY7" fmla="*/ 3324225 h 3822033"/>
                  <a:gd name="connsiteX8" fmla="*/ 1009649 w 3457574"/>
                  <a:gd name="connsiteY8" fmla="*/ 3276600 h 3822033"/>
                  <a:gd name="connsiteX9" fmla="*/ 962024 w 3457574"/>
                  <a:gd name="connsiteY9" fmla="*/ 3238500 h 3822033"/>
                  <a:gd name="connsiteX10" fmla="*/ 923924 w 3457574"/>
                  <a:gd name="connsiteY10" fmla="*/ 3219450 h 3822033"/>
                  <a:gd name="connsiteX11" fmla="*/ 828674 w 3457574"/>
                  <a:gd name="connsiteY11" fmla="*/ 3143250 h 3822033"/>
                  <a:gd name="connsiteX12" fmla="*/ 657224 w 3457574"/>
                  <a:gd name="connsiteY12" fmla="*/ 3035300 h 3822033"/>
                  <a:gd name="connsiteX13" fmla="*/ 571499 w 3457574"/>
                  <a:gd name="connsiteY13" fmla="*/ 2943225 h 3822033"/>
                  <a:gd name="connsiteX14" fmla="*/ 333374 w 3457574"/>
                  <a:gd name="connsiteY14" fmla="*/ 2676525 h 3822033"/>
                  <a:gd name="connsiteX15" fmla="*/ 276224 w 3457574"/>
                  <a:gd name="connsiteY15" fmla="*/ 2581275 h 3822033"/>
                  <a:gd name="connsiteX16" fmla="*/ 209549 w 3457574"/>
                  <a:gd name="connsiteY16" fmla="*/ 2451100 h 3822033"/>
                  <a:gd name="connsiteX17" fmla="*/ 149224 w 3457574"/>
                  <a:gd name="connsiteY17" fmla="*/ 2362200 h 3822033"/>
                  <a:gd name="connsiteX18" fmla="*/ 107949 w 3457574"/>
                  <a:gd name="connsiteY18" fmla="*/ 2238375 h 3822033"/>
                  <a:gd name="connsiteX19" fmla="*/ 38099 w 3457574"/>
                  <a:gd name="connsiteY19" fmla="*/ 1958975 h 3822033"/>
                  <a:gd name="connsiteX20" fmla="*/ 28574 w 3457574"/>
                  <a:gd name="connsiteY20" fmla="*/ 1819275 h 3822033"/>
                  <a:gd name="connsiteX21" fmla="*/ 3174 w 3457574"/>
                  <a:gd name="connsiteY21" fmla="*/ 1682750 h 3822033"/>
                  <a:gd name="connsiteX22" fmla="*/ 3174 w 3457574"/>
                  <a:gd name="connsiteY22" fmla="*/ 1517650 h 3822033"/>
                  <a:gd name="connsiteX23" fmla="*/ 28574 w 3457574"/>
                  <a:gd name="connsiteY23" fmla="*/ 1304925 h 3822033"/>
                  <a:gd name="connsiteX24" fmla="*/ 69849 w 3457574"/>
                  <a:gd name="connsiteY24" fmla="*/ 1127125 h 3822033"/>
                  <a:gd name="connsiteX25" fmla="*/ 114299 w 3457574"/>
                  <a:gd name="connsiteY25" fmla="*/ 990600 h 3822033"/>
                  <a:gd name="connsiteX26" fmla="*/ 171449 w 3457574"/>
                  <a:gd name="connsiteY26" fmla="*/ 866775 h 3822033"/>
                  <a:gd name="connsiteX27" fmla="*/ 228599 w 3457574"/>
                  <a:gd name="connsiteY27" fmla="*/ 762000 h 3822033"/>
                  <a:gd name="connsiteX28" fmla="*/ 304799 w 3457574"/>
                  <a:gd name="connsiteY28" fmla="*/ 647700 h 3822033"/>
                  <a:gd name="connsiteX29" fmla="*/ 609599 w 3457574"/>
                  <a:gd name="connsiteY29" fmla="*/ 323850 h 3822033"/>
                  <a:gd name="connsiteX30" fmla="*/ 666749 w 3457574"/>
                  <a:gd name="connsiteY30" fmla="*/ 285750 h 3822033"/>
                  <a:gd name="connsiteX31" fmla="*/ 761999 w 3457574"/>
                  <a:gd name="connsiteY31" fmla="*/ 238125 h 3822033"/>
                  <a:gd name="connsiteX32" fmla="*/ 800099 w 3457574"/>
                  <a:gd name="connsiteY32" fmla="*/ 219075 h 3822033"/>
                  <a:gd name="connsiteX33" fmla="*/ 895349 w 3457574"/>
                  <a:gd name="connsiteY33" fmla="*/ 161925 h 3822033"/>
                  <a:gd name="connsiteX34" fmla="*/ 962024 w 3457574"/>
                  <a:gd name="connsiteY34" fmla="*/ 133350 h 3822033"/>
                  <a:gd name="connsiteX35" fmla="*/ 1123949 w 3457574"/>
                  <a:gd name="connsiteY35" fmla="*/ 76200 h 3822033"/>
                  <a:gd name="connsiteX36" fmla="*/ 1162049 w 3457574"/>
                  <a:gd name="connsiteY36" fmla="*/ 66675 h 3822033"/>
                  <a:gd name="connsiteX37" fmla="*/ 1438274 w 3457574"/>
                  <a:gd name="connsiteY37" fmla="*/ 0 h 3822033"/>
                  <a:gd name="connsiteX38" fmla="*/ 2038349 w 3457574"/>
                  <a:gd name="connsiteY38" fmla="*/ 9525 h 3822033"/>
                  <a:gd name="connsiteX39" fmla="*/ 2105024 w 3457574"/>
                  <a:gd name="connsiteY39" fmla="*/ 19050 h 3822033"/>
                  <a:gd name="connsiteX40" fmla="*/ 2162174 w 3457574"/>
                  <a:gd name="connsiteY40" fmla="*/ 47625 h 3822033"/>
                  <a:gd name="connsiteX41" fmla="*/ 2228849 w 3457574"/>
                  <a:gd name="connsiteY41" fmla="*/ 66675 h 3822033"/>
                  <a:gd name="connsiteX42" fmla="*/ 2343149 w 3457574"/>
                  <a:gd name="connsiteY42" fmla="*/ 133350 h 3822033"/>
                  <a:gd name="connsiteX43" fmla="*/ 2390774 w 3457574"/>
                  <a:gd name="connsiteY43" fmla="*/ 142875 h 3822033"/>
                  <a:gd name="connsiteX44" fmla="*/ 2457449 w 3457574"/>
                  <a:gd name="connsiteY44" fmla="*/ 171450 h 3822033"/>
                  <a:gd name="connsiteX45" fmla="*/ 2486024 w 3457574"/>
                  <a:gd name="connsiteY45" fmla="*/ 200025 h 3822033"/>
                  <a:gd name="connsiteX46" fmla="*/ 2571749 w 3457574"/>
                  <a:gd name="connsiteY46" fmla="*/ 228600 h 3822033"/>
                  <a:gd name="connsiteX47" fmla="*/ 2676524 w 3457574"/>
                  <a:gd name="connsiteY47" fmla="*/ 285750 h 3822033"/>
                  <a:gd name="connsiteX48" fmla="*/ 2705099 w 3457574"/>
                  <a:gd name="connsiteY48" fmla="*/ 304800 h 3822033"/>
                  <a:gd name="connsiteX49" fmla="*/ 2733674 w 3457574"/>
                  <a:gd name="connsiteY49" fmla="*/ 333375 h 3822033"/>
                  <a:gd name="connsiteX50" fmla="*/ 2771774 w 3457574"/>
                  <a:gd name="connsiteY50" fmla="*/ 361950 h 3822033"/>
                  <a:gd name="connsiteX51" fmla="*/ 2809874 w 3457574"/>
                  <a:gd name="connsiteY51" fmla="*/ 400050 h 3822033"/>
                  <a:gd name="connsiteX52" fmla="*/ 2867024 w 3457574"/>
                  <a:gd name="connsiteY52" fmla="*/ 438150 h 3822033"/>
                  <a:gd name="connsiteX53" fmla="*/ 2905124 w 3457574"/>
                  <a:gd name="connsiteY53" fmla="*/ 476250 h 3822033"/>
                  <a:gd name="connsiteX54" fmla="*/ 2971799 w 3457574"/>
                  <a:gd name="connsiteY54" fmla="*/ 523875 h 3822033"/>
                  <a:gd name="connsiteX55" fmla="*/ 2990849 w 3457574"/>
                  <a:gd name="connsiteY55" fmla="*/ 552450 h 3822033"/>
                  <a:gd name="connsiteX56" fmla="*/ 3028949 w 3457574"/>
                  <a:gd name="connsiteY56" fmla="*/ 590550 h 3822033"/>
                  <a:gd name="connsiteX57" fmla="*/ 3047999 w 3457574"/>
                  <a:gd name="connsiteY57" fmla="*/ 628650 h 3822033"/>
                  <a:gd name="connsiteX58" fmla="*/ 3086099 w 3457574"/>
                  <a:gd name="connsiteY58" fmla="*/ 666750 h 3822033"/>
                  <a:gd name="connsiteX59" fmla="*/ 3124199 w 3457574"/>
                  <a:gd name="connsiteY59" fmla="*/ 723900 h 3822033"/>
                  <a:gd name="connsiteX60" fmla="*/ 3219449 w 3457574"/>
                  <a:gd name="connsiteY60" fmla="*/ 838200 h 3822033"/>
                  <a:gd name="connsiteX61" fmla="*/ 3238499 w 3457574"/>
                  <a:gd name="connsiteY61" fmla="*/ 885825 h 3822033"/>
                  <a:gd name="connsiteX62" fmla="*/ 3276599 w 3457574"/>
                  <a:gd name="connsiteY62" fmla="*/ 942975 h 3822033"/>
                  <a:gd name="connsiteX63" fmla="*/ 3286124 w 3457574"/>
                  <a:gd name="connsiteY63" fmla="*/ 990600 h 3822033"/>
                  <a:gd name="connsiteX64" fmla="*/ 3324224 w 3457574"/>
                  <a:gd name="connsiteY64" fmla="*/ 1085850 h 3822033"/>
                  <a:gd name="connsiteX65" fmla="*/ 3362324 w 3457574"/>
                  <a:gd name="connsiteY65" fmla="*/ 1171575 h 3822033"/>
                  <a:gd name="connsiteX66" fmla="*/ 3390899 w 3457574"/>
                  <a:gd name="connsiteY66" fmla="*/ 1219200 h 3822033"/>
                  <a:gd name="connsiteX67" fmla="*/ 3419474 w 3457574"/>
                  <a:gd name="connsiteY67" fmla="*/ 1333500 h 3822033"/>
                  <a:gd name="connsiteX68" fmla="*/ 3428999 w 3457574"/>
                  <a:gd name="connsiteY68" fmla="*/ 1390650 h 3822033"/>
                  <a:gd name="connsiteX69" fmla="*/ 3457574 w 3457574"/>
                  <a:gd name="connsiteY69" fmla="*/ 1657350 h 3822033"/>
                  <a:gd name="connsiteX70" fmla="*/ 3362324 w 3457574"/>
                  <a:gd name="connsiteY70" fmla="*/ 2187575 h 3822033"/>
                  <a:gd name="connsiteX71" fmla="*/ 3276599 w 3457574"/>
                  <a:gd name="connsiteY71" fmla="*/ 2400300 h 3822033"/>
                  <a:gd name="connsiteX72" fmla="*/ 3190874 w 3457574"/>
                  <a:gd name="connsiteY72" fmla="*/ 2533650 h 3822033"/>
                  <a:gd name="connsiteX73" fmla="*/ 3105149 w 3457574"/>
                  <a:gd name="connsiteY73" fmla="*/ 2647950 h 3822033"/>
                  <a:gd name="connsiteX74" fmla="*/ 3019424 w 3457574"/>
                  <a:gd name="connsiteY74" fmla="*/ 2781300 h 3822033"/>
                  <a:gd name="connsiteX75" fmla="*/ 2981324 w 3457574"/>
                  <a:gd name="connsiteY75" fmla="*/ 2819400 h 3822033"/>
                  <a:gd name="connsiteX76" fmla="*/ 2943224 w 3457574"/>
                  <a:gd name="connsiteY76" fmla="*/ 2876550 h 3822033"/>
                  <a:gd name="connsiteX77" fmla="*/ 2857499 w 3457574"/>
                  <a:gd name="connsiteY77" fmla="*/ 2933700 h 3822033"/>
                  <a:gd name="connsiteX78" fmla="*/ 2809874 w 3457574"/>
                  <a:gd name="connsiteY78" fmla="*/ 2971800 h 3822033"/>
                  <a:gd name="connsiteX79" fmla="*/ 2705099 w 3457574"/>
                  <a:gd name="connsiteY79" fmla="*/ 3038475 h 3822033"/>
                  <a:gd name="connsiteX80" fmla="*/ 2609849 w 3457574"/>
                  <a:gd name="connsiteY80" fmla="*/ 3105150 h 3822033"/>
                  <a:gd name="connsiteX81" fmla="*/ 2562224 w 3457574"/>
                  <a:gd name="connsiteY81" fmla="*/ 3143250 h 3822033"/>
                  <a:gd name="connsiteX82" fmla="*/ 2495549 w 3457574"/>
                  <a:gd name="connsiteY82" fmla="*/ 3162300 h 3822033"/>
                  <a:gd name="connsiteX83" fmla="*/ 2362199 w 3457574"/>
                  <a:gd name="connsiteY83" fmla="*/ 3219450 h 3822033"/>
                  <a:gd name="connsiteX84" fmla="*/ 2257424 w 3457574"/>
                  <a:gd name="connsiteY84" fmla="*/ 3257550 h 3822033"/>
                  <a:gd name="connsiteX85" fmla="*/ 2181224 w 3457574"/>
                  <a:gd name="connsiteY85" fmla="*/ 3276600 h 3822033"/>
                  <a:gd name="connsiteX86" fmla="*/ 2057399 w 3457574"/>
                  <a:gd name="connsiteY86" fmla="*/ 3362325 h 3822033"/>
                  <a:gd name="connsiteX87" fmla="*/ 2009774 w 3457574"/>
                  <a:gd name="connsiteY87" fmla="*/ 3400425 h 3822033"/>
                  <a:gd name="connsiteX88" fmla="*/ 1962149 w 3457574"/>
                  <a:gd name="connsiteY88" fmla="*/ 3429000 h 3822033"/>
                  <a:gd name="connsiteX89" fmla="*/ 1904999 w 3457574"/>
                  <a:gd name="connsiteY89" fmla="*/ 3495675 h 3822033"/>
                  <a:gd name="connsiteX90" fmla="*/ 1819274 w 3457574"/>
                  <a:gd name="connsiteY90" fmla="*/ 3609975 h 3822033"/>
                  <a:gd name="connsiteX91" fmla="*/ 1800224 w 3457574"/>
                  <a:gd name="connsiteY91" fmla="*/ 3638550 h 3822033"/>
                  <a:gd name="connsiteX92" fmla="*/ 1790699 w 3457574"/>
                  <a:gd name="connsiteY92" fmla="*/ 3667125 h 3822033"/>
                  <a:gd name="connsiteX93" fmla="*/ 1771649 w 3457574"/>
                  <a:gd name="connsiteY93" fmla="*/ 3695700 h 3822033"/>
                  <a:gd name="connsiteX94" fmla="*/ 1752599 w 3457574"/>
                  <a:gd name="connsiteY94" fmla="*/ 3733800 h 3822033"/>
                  <a:gd name="connsiteX95" fmla="*/ 1714499 w 3457574"/>
                  <a:gd name="connsiteY95" fmla="*/ 3810000 h 3822033"/>
                  <a:gd name="connsiteX96" fmla="*/ 1704974 w 3457574"/>
                  <a:gd name="connsiteY96" fmla="*/ 3819525 h 38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457574" h="3822033">
                    <a:moveTo>
                      <a:pt x="1704974" y="3819525"/>
                    </a:moveTo>
                    <a:cubicBezTo>
                      <a:pt x="1698624" y="3813175"/>
                      <a:pt x="1704974" y="3817938"/>
                      <a:pt x="1676399" y="3771900"/>
                    </a:cubicBezTo>
                    <a:cubicBezTo>
                      <a:pt x="1647824" y="3725862"/>
                      <a:pt x="1577974" y="3598862"/>
                      <a:pt x="1533524" y="3543300"/>
                    </a:cubicBezTo>
                    <a:cubicBezTo>
                      <a:pt x="1489074" y="3487738"/>
                      <a:pt x="1424613" y="3445982"/>
                      <a:pt x="1409699" y="3438525"/>
                    </a:cubicBezTo>
                    <a:cubicBezTo>
                      <a:pt x="1396999" y="3432175"/>
                      <a:pt x="1383927" y="3426520"/>
                      <a:pt x="1371599" y="3419475"/>
                    </a:cubicBezTo>
                    <a:cubicBezTo>
                      <a:pt x="1361660" y="3413795"/>
                      <a:pt x="1353965" y="3403792"/>
                      <a:pt x="1343024" y="3400425"/>
                    </a:cubicBezTo>
                    <a:cubicBezTo>
                      <a:pt x="1312077" y="3390903"/>
                      <a:pt x="1279524" y="3387725"/>
                      <a:pt x="1247774" y="3381375"/>
                    </a:cubicBezTo>
                    <a:cubicBezTo>
                      <a:pt x="1212849" y="3368675"/>
                      <a:pt x="1173162" y="3341688"/>
                      <a:pt x="1133474" y="3324225"/>
                    </a:cubicBezTo>
                    <a:cubicBezTo>
                      <a:pt x="1093787" y="3306763"/>
                      <a:pt x="1044181" y="3304226"/>
                      <a:pt x="1009649" y="3276600"/>
                    </a:cubicBezTo>
                    <a:cubicBezTo>
                      <a:pt x="993774" y="3263900"/>
                      <a:pt x="978940" y="3249777"/>
                      <a:pt x="962024" y="3238500"/>
                    </a:cubicBezTo>
                    <a:cubicBezTo>
                      <a:pt x="950210" y="3230624"/>
                      <a:pt x="946149" y="3235325"/>
                      <a:pt x="923924" y="3219450"/>
                    </a:cubicBezTo>
                    <a:cubicBezTo>
                      <a:pt x="901699" y="3203575"/>
                      <a:pt x="873124" y="3173942"/>
                      <a:pt x="828674" y="3143250"/>
                    </a:cubicBezTo>
                    <a:cubicBezTo>
                      <a:pt x="784224" y="3112558"/>
                      <a:pt x="700086" y="3068637"/>
                      <a:pt x="657224" y="3035300"/>
                    </a:cubicBezTo>
                    <a:cubicBezTo>
                      <a:pt x="614362" y="3001963"/>
                      <a:pt x="622299" y="3005138"/>
                      <a:pt x="571499" y="2943225"/>
                    </a:cubicBezTo>
                    <a:cubicBezTo>
                      <a:pt x="523874" y="2887663"/>
                      <a:pt x="379411" y="2736850"/>
                      <a:pt x="333374" y="2676525"/>
                    </a:cubicBezTo>
                    <a:lnTo>
                      <a:pt x="276224" y="2581275"/>
                    </a:lnTo>
                    <a:cubicBezTo>
                      <a:pt x="255587" y="2543704"/>
                      <a:pt x="230716" y="2487612"/>
                      <a:pt x="209549" y="2451100"/>
                    </a:cubicBezTo>
                    <a:cubicBezTo>
                      <a:pt x="188382" y="2414588"/>
                      <a:pt x="169332" y="2398713"/>
                      <a:pt x="149224" y="2362200"/>
                    </a:cubicBezTo>
                    <a:cubicBezTo>
                      <a:pt x="129116" y="2325687"/>
                      <a:pt x="126470" y="2305579"/>
                      <a:pt x="107949" y="2238375"/>
                    </a:cubicBezTo>
                    <a:cubicBezTo>
                      <a:pt x="89428" y="2171171"/>
                      <a:pt x="51328" y="2028825"/>
                      <a:pt x="38099" y="1958975"/>
                    </a:cubicBezTo>
                    <a:cubicBezTo>
                      <a:pt x="24870" y="1889125"/>
                      <a:pt x="34395" y="1865312"/>
                      <a:pt x="28574" y="1819275"/>
                    </a:cubicBezTo>
                    <a:cubicBezTo>
                      <a:pt x="22753" y="1773238"/>
                      <a:pt x="7407" y="1733021"/>
                      <a:pt x="3174" y="1682750"/>
                    </a:cubicBezTo>
                    <a:cubicBezTo>
                      <a:pt x="-1059" y="1632479"/>
                      <a:pt x="-1059" y="1580621"/>
                      <a:pt x="3174" y="1517650"/>
                    </a:cubicBezTo>
                    <a:cubicBezTo>
                      <a:pt x="7407" y="1454679"/>
                      <a:pt x="17461" y="1370013"/>
                      <a:pt x="28574" y="1304925"/>
                    </a:cubicBezTo>
                    <a:cubicBezTo>
                      <a:pt x="39687" y="1239837"/>
                      <a:pt x="55562" y="1179512"/>
                      <a:pt x="69849" y="1127125"/>
                    </a:cubicBezTo>
                    <a:cubicBezTo>
                      <a:pt x="84833" y="1059696"/>
                      <a:pt x="97366" y="1033992"/>
                      <a:pt x="114299" y="990600"/>
                    </a:cubicBezTo>
                    <a:cubicBezTo>
                      <a:pt x="131232" y="947208"/>
                      <a:pt x="152399" y="904875"/>
                      <a:pt x="171449" y="866775"/>
                    </a:cubicBezTo>
                    <a:cubicBezTo>
                      <a:pt x="190499" y="828675"/>
                      <a:pt x="163236" y="863016"/>
                      <a:pt x="228599" y="762000"/>
                    </a:cubicBezTo>
                    <a:cubicBezTo>
                      <a:pt x="253475" y="723556"/>
                      <a:pt x="252973" y="729425"/>
                      <a:pt x="304799" y="647700"/>
                    </a:cubicBezTo>
                    <a:cubicBezTo>
                      <a:pt x="387349" y="517525"/>
                      <a:pt x="549274" y="384175"/>
                      <a:pt x="609599" y="323850"/>
                    </a:cubicBezTo>
                    <a:cubicBezTo>
                      <a:pt x="628649" y="311150"/>
                      <a:pt x="646271" y="295989"/>
                      <a:pt x="666749" y="285750"/>
                    </a:cubicBezTo>
                    <a:lnTo>
                      <a:pt x="761999" y="238125"/>
                    </a:lnTo>
                    <a:cubicBezTo>
                      <a:pt x="774699" y="231775"/>
                      <a:pt x="787923" y="226380"/>
                      <a:pt x="800099" y="219075"/>
                    </a:cubicBezTo>
                    <a:cubicBezTo>
                      <a:pt x="831849" y="200025"/>
                      <a:pt x="861316" y="176510"/>
                      <a:pt x="895349" y="161925"/>
                    </a:cubicBezTo>
                    <a:cubicBezTo>
                      <a:pt x="917574" y="152400"/>
                      <a:pt x="939573" y="142330"/>
                      <a:pt x="962024" y="133350"/>
                    </a:cubicBezTo>
                    <a:cubicBezTo>
                      <a:pt x="1010267" y="114053"/>
                      <a:pt x="1074846" y="91309"/>
                      <a:pt x="1123949" y="76200"/>
                    </a:cubicBezTo>
                    <a:cubicBezTo>
                      <a:pt x="1136461" y="72350"/>
                      <a:pt x="1149574" y="70644"/>
                      <a:pt x="1162049" y="66675"/>
                    </a:cubicBezTo>
                    <a:cubicBezTo>
                      <a:pt x="1380416" y="-2806"/>
                      <a:pt x="1265560" y="15701"/>
                      <a:pt x="1438274" y="0"/>
                    </a:cubicBezTo>
                    <a:lnTo>
                      <a:pt x="2038349" y="9525"/>
                    </a:lnTo>
                    <a:cubicBezTo>
                      <a:pt x="2060790" y="10166"/>
                      <a:pt x="2083566" y="12448"/>
                      <a:pt x="2105024" y="19050"/>
                    </a:cubicBezTo>
                    <a:cubicBezTo>
                      <a:pt x="2125381" y="25314"/>
                      <a:pt x="2142295" y="39979"/>
                      <a:pt x="2162174" y="47625"/>
                    </a:cubicBezTo>
                    <a:cubicBezTo>
                      <a:pt x="2183748" y="55923"/>
                      <a:pt x="2206624" y="60325"/>
                      <a:pt x="2228849" y="66675"/>
                    </a:cubicBezTo>
                    <a:cubicBezTo>
                      <a:pt x="2238869" y="72937"/>
                      <a:pt x="2315339" y="124080"/>
                      <a:pt x="2343149" y="133350"/>
                    </a:cubicBezTo>
                    <a:cubicBezTo>
                      <a:pt x="2358508" y="138470"/>
                      <a:pt x="2374899" y="139700"/>
                      <a:pt x="2390774" y="142875"/>
                    </a:cubicBezTo>
                    <a:cubicBezTo>
                      <a:pt x="2412999" y="152400"/>
                      <a:pt x="2436715" y="159009"/>
                      <a:pt x="2457449" y="171450"/>
                    </a:cubicBezTo>
                    <a:cubicBezTo>
                      <a:pt x="2469000" y="178380"/>
                      <a:pt x="2473976" y="194001"/>
                      <a:pt x="2486024" y="200025"/>
                    </a:cubicBezTo>
                    <a:cubicBezTo>
                      <a:pt x="2512965" y="213495"/>
                      <a:pt x="2543783" y="217413"/>
                      <a:pt x="2571749" y="228600"/>
                    </a:cubicBezTo>
                    <a:cubicBezTo>
                      <a:pt x="2604276" y="241611"/>
                      <a:pt x="2646432" y="266942"/>
                      <a:pt x="2676524" y="285750"/>
                    </a:cubicBezTo>
                    <a:cubicBezTo>
                      <a:pt x="2686232" y="291817"/>
                      <a:pt x="2696305" y="297471"/>
                      <a:pt x="2705099" y="304800"/>
                    </a:cubicBezTo>
                    <a:cubicBezTo>
                      <a:pt x="2715447" y="313424"/>
                      <a:pt x="2723447" y="324609"/>
                      <a:pt x="2733674" y="333375"/>
                    </a:cubicBezTo>
                    <a:cubicBezTo>
                      <a:pt x="2745727" y="343706"/>
                      <a:pt x="2759827" y="351496"/>
                      <a:pt x="2771774" y="361950"/>
                    </a:cubicBezTo>
                    <a:cubicBezTo>
                      <a:pt x="2785291" y="373777"/>
                      <a:pt x="2795849" y="388830"/>
                      <a:pt x="2809874" y="400050"/>
                    </a:cubicBezTo>
                    <a:cubicBezTo>
                      <a:pt x="2827752" y="414353"/>
                      <a:pt x="2849146" y="423847"/>
                      <a:pt x="2867024" y="438150"/>
                    </a:cubicBezTo>
                    <a:cubicBezTo>
                      <a:pt x="2881049" y="449370"/>
                      <a:pt x="2891607" y="464423"/>
                      <a:pt x="2905124" y="476250"/>
                    </a:cubicBezTo>
                    <a:cubicBezTo>
                      <a:pt x="2924027" y="492790"/>
                      <a:pt x="2950462" y="509650"/>
                      <a:pt x="2971799" y="523875"/>
                    </a:cubicBezTo>
                    <a:cubicBezTo>
                      <a:pt x="2978149" y="533400"/>
                      <a:pt x="2983399" y="543758"/>
                      <a:pt x="2990849" y="552450"/>
                    </a:cubicBezTo>
                    <a:cubicBezTo>
                      <a:pt x="3002538" y="566087"/>
                      <a:pt x="3018173" y="576182"/>
                      <a:pt x="3028949" y="590550"/>
                    </a:cubicBezTo>
                    <a:cubicBezTo>
                      <a:pt x="3037468" y="601909"/>
                      <a:pt x="3039480" y="617291"/>
                      <a:pt x="3047999" y="628650"/>
                    </a:cubicBezTo>
                    <a:cubicBezTo>
                      <a:pt x="3058775" y="643018"/>
                      <a:pt x="3074879" y="652725"/>
                      <a:pt x="3086099" y="666750"/>
                    </a:cubicBezTo>
                    <a:cubicBezTo>
                      <a:pt x="3100402" y="684628"/>
                      <a:pt x="3110660" y="705437"/>
                      <a:pt x="3124199" y="723900"/>
                    </a:cubicBezTo>
                    <a:cubicBezTo>
                      <a:pt x="3183084" y="804198"/>
                      <a:pt x="3171252" y="790003"/>
                      <a:pt x="3219449" y="838200"/>
                    </a:cubicBezTo>
                    <a:cubicBezTo>
                      <a:pt x="3225799" y="854075"/>
                      <a:pt x="3230312" y="870815"/>
                      <a:pt x="3238499" y="885825"/>
                    </a:cubicBezTo>
                    <a:cubicBezTo>
                      <a:pt x="3249462" y="905925"/>
                      <a:pt x="3267125" y="922132"/>
                      <a:pt x="3276599" y="942975"/>
                    </a:cubicBezTo>
                    <a:cubicBezTo>
                      <a:pt x="3283298" y="957713"/>
                      <a:pt x="3281004" y="975241"/>
                      <a:pt x="3286124" y="990600"/>
                    </a:cubicBezTo>
                    <a:cubicBezTo>
                      <a:pt x="3296938" y="1023041"/>
                      <a:pt x="3311524" y="1054100"/>
                      <a:pt x="3324224" y="1085850"/>
                    </a:cubicBezTo>
                    <a:cubicBezTo>
                      <a:pt x="3339363" y="1123697"/>
                      <a:pt x="3343255" y="1137251"/>
                      <a:pt x="3362324" y="1171575"/>
                    </a:cubicBezTo>
                    <a:cubicBezTo>
                      <a:pt x="3371315" y="1187759"/>
                      <a:pt x="3381374" y="1203325"/>
                      <a:pt x="3390899" y="1219200"/>
                    </a:cubicBezTo>
                    <a:cubicBezTo>
                      <a:pt x="3417894" y="1435159"/>
                      <a:pt x="3380263" y="1202796"/>
                      <a:pt x="3419474" y="1333500"/>
                    </a:cubicBezTo>
                    <a:cubicBezTo>
                      <a:pt x="3425023" y="1351998"/>
                      <a:pt x="3426134" y="1371551"/>
                      <a:pt x="3428999" y="1390650"/>
                    </a:cubicBezTo>
                    <a:cubicBezTo>
                      <a:pt x="3453199" y="1551982"/>
                      <a:pt x="3445994" y="1495225"/>
                      <a:pt x="3457574" y="1657350"/>
                    </a:cubicBezTo>
                    <a:cubicBezTo>
                      <a:pt x="3449637" y="1798638"/>
                      <a:pt x="3392486" y="2063750"/>
                      <a:pt x="3362324" y="2187575"/>
                    </a:cubicBezTo>
                    <a:cubicBezTo>
                      <a:pt x="3332162" y="2311400"/>
                      <a:pt x="3305174" y="2342621"/>
                      <a:pt x="3276599" y="2400300"/>
                    </a:cubicBezTo>
                    <a:cubicBezTo>
                      <a:pt x="3248024" y="2457979"/>
                      <a:pt x="3223316" y="2491939"/>
                      <a:pt x="3190874" y="2533650"/>
                    </a:cubicBezTo>
                    <a:cubicBezTo>
                      <a:pt x="3183801" y="2542744"/>
                      <a:pt x="3123209" y="2616345"/>
                      <a:pt x="3105149" y="2647950"/>
                    </a:cubicBezTo>
                    <a:cubicBezTo>
                      <a:pt x="3072303" y="2705431"/>
                      <a:pt x="3084590" y="2716134"/>
                      <a:pt x="3019424" y="2781300"/>
                    </a:cubicBezTo>
                    <a:cubicBezTo>
                      <a:pt x="3006724" y="2794000"/>
                      <a:pt x="2992544" y="2805375"/>
                      <a:pt x="2981324" y="2819400"/>
                    </a:cubicBezTo>
                    <a:cubicBezTo>
                      <a:pt x="2967021" y="2837278"/>
                      <a:pt x="2962274" y="2863850"/>
                      <a:pt x="2943224" y="2876550"/>
                    </a:cubicBezTo>
                    <a:cubicBezTo>
                      <a:pt x="2914649" y="2895600"/>
                      <a:pt x="2885445" y="2913739"/>
                      <a:pt x="2857499" y="2933700"/>
                    </a:cubicBezTo>
                    <a:cubicBezTo>
                      <a:pt x="2840956" y="2945517"/>
                      <a:pt x="2826627" y="2960283"/>
                      <a:pt x="2809874" y="2971800"/>
                    </a:cubicBezTo>
                    <a:cubicBezTo>
                      <a:pt x="2775761" y="2995253"/>
                      <a:pt x="2736901" y="3011973"/>
                      <a:pt x="2705099" y="3038475"/>
                    </a:cubicBezTo>
                    <a:cubicBezTo>
                      <a:pt x="2531767" y="3182918"/>
                      <a:pt x="2730408" y="3024777"/>
                      <a:pt x="2609849" y="3105150"/>
                    </a:cubicBezTo>
                    <a:cubicBezTo>
                      <a:pt x="2592933" y="3116427"/>
                      <a:pt x="2580408" y="3134158"/>
                      <a:pt x="2562224" y="3143250"/>
                    </a:cubicBezTo>
                    <a:cubicBezTo>
                      <a:pt x="2541550" y="3153587"/>
                      <a:pt x="2517774" y="3155950"/>
                      <a:pt x="2495549" y="3162300"/>
                    </a:cubicBezTo>
                    <a:cubicBezTo>
                      <a:pt x="2434666" y="3202888"/>
                      <a:pt x="2482234" y="3174437"/>
                      <a:pt x="2362199" y="3219450"/>
                    </a:cubicBezTo>
                    <a:cubicBezTo>
                      <a:pt x="2310693" y="3238765"/>
                      <a:pt x="2313456" y="3241541"/>
                      <a:pt x="2257424" y="3257550"/>
                    </a:cubicBezTo>
                    <a:cubicBezTo>
                      <a:pt x="2232250" y="3264743"/>
                      <a:pt x="2206624" y="3270250"/>
                      <a:pt x="2181224" y="3276600"/>
                    </a:cubicBezTo>
                    <a:cubicBezTo>
                      <a:pt x="2118696" y="3339128"/>
                      <a:pt x="2185560" y="3276884"/>
                      <a:pt x="2057399" y="3362325"/>
                    </a:cubicBezTo>
                    <a:cubicBezTo>
                      <a:pt x="2040483" y="3373602"/>
                      <a:pt x="2026429" y="3388767"/>
                      <a:pt x="2009774" y="3400425"/>
                    </a:cubicBezTo>
                    <a:cubicBezTo>
                      <a:pt x="1994607" y="3411042"/>
                      <a:pt x="1976762" y="3417634"/>
                      <a:pt x="1962149" y="3429000"/>
                    </a:cubicBezTo>
                    <a:cubicBezTo>
                      <a:pt x="1922882" y="3459541"/>
                      <a:pt x="1929596" y="3462133"/>
                      <a:pt x="1904999" y="3495675"/>
                    </a:cubicBezTo>
                    <a:cubicBezTo>
                      <a:pt x="1876835" y="3534080"/>
                      <a:pt x="1845692" y="3570349"/>
                      <a:pt x="1819274" y="3609975"/>
                    </a:cubicBezTo>
                    <a:cubicBezTo>
                      <a:pt x="1812924" y="3619500"/>
                      <a:pt x="1805344" y="3628311"/>
                      <a:pt x="1800224" y="3638550"/>
                    </a:cubicBezTo>
                    <a:cubicBezTo>
                      <a:pt x="1795734" y="3647530"/>
                      <a:pt x="1795189" y="3658145"/>
                      <a:pt x="1790699" y="3667125"/>
                    </a:cubicBezTo>
                    <a:cubicBezTo>
                      <a:pt x="1785579" y="3677364"/>
                      <a:pt x="1777329" y="3685761"/>
                      <a:pt x="1771649" y="3695700"/>
                    </a:cubicBezTo>
                    <a:cubicBezTo>
                      <a:pt x="1764604" y="3708028"/>
                      <a:pt x="1759644" y="3721472"/>
                      <a:pt x="1752599" y="3733800"/>
                    </a:cubicBezTo>
                    <a:cubicBezTo>
                      <a:pt x="1731295" y="3771082"/>
                      <a:pt x="1727002" y="3759990"/>
                      <a:pt x="1714499" y="3810000"/>
                    </a:cubicBezTo>
                    <a:cubicBezTo>
                      <a:pt x="1712189" y="3819241"/>
                      <a:pt x="1711324" y="3825875"/>
                      <a:pt x="1704974" y="3819525"/>
                    </a:cubicBezTo>
                    <a:close/>
                  </a:path>
                </a:pathLst>
              </a:custGeom>
              <a:noFill/>
              <a:ln>
                <a:solidFill>
                  <a:srgbClr val="88BCA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</p:grp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2EF8EBA-F7C9-11A2-F0E0-50686C6762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80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EF8EBA-F7C9-11A2-F0E0-50686C676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FDFAE0-0568-CA39-E3D6-57D967EC8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169059" cy="539904"/>
          </a:xfrm>
        </p:spPr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res prioriterede målepunkter</a:t>
            </a:r>
            <a:b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D2FD3-9E21-ADF9-C1C2-67AAA80E97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7334D22-E832-E64B-0E88-0C009DB7A39E}"/>
              </a:ext>
            </a:extLst>
          </p:cNvPr>
          <p:cNvGrpSpPr/>
          <p:nvPr/>
        </p:nvGrpSpPr>
        <p:grpSpPr>
          <a:xfrm>
            <a:off x="9488129" y="2887482"/>
            <a:ext cx="2546922" cy="1624047"/>
            <a:chOff x="593439" y="1766886"/>
            <a:chExt cx="5184418" cy="3663573"/>
          </a:xfrm>
        </p:grpSpPr>
        <p:pic>
          <p:nvPicPr>
            <p:cNvPr id="10" name="Billede 9">
              <a:extLst>
                <a:ext uri="{FF2B5EF4-FFF2-40B4-BE49-F238E27FC236}">
                  <a16:creationId xmlns:a16="http://schemas.microsoft.com/office/drawing/2014/main" id="{B1BBC5AF-2509-2AEE-0FDF-72CD34F981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3439" y="1766886"/>
              <a:ext cx="5184418" cy="3663573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01167806-5300-84AC-FBF4-8DE3E3838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652110">
              <a:off x="2376241" y="3706940"/>
              <a:ext cx="458651" cy="648708"/>
            </a:xfrm>
            <a:prstGeom prst="rect">
              <a:avLst/>
            </a:prstGeom>
          </p:spPr>
        </p:pic>
        <p:pic>
          <p:nvPicPr>
            <p:cNvPr id="12" name="Billede 11">
              <a:extLst>
                <a:ext uri="{FF2B5EF4-FFF2-40B4-BE49-F238E27FC236}">
                  <a16:creationId xmlns:a16="http://schemas.microsoft.com/office/drawing/2014/main" id="{FBE7421E-C2EA-3753-159A-2BD773AFC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0165366">
              <a:off x="2353163" y="2780292"/>
              <a:ext cx="458651" cy="648708"/>
            </a:xfrm>
            <a:prstGeom prst="rect">
              <a:avLst/>
            </a:prstGeom>
          </p:spPr>
        </p:pic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F300154B-7270-A041-DB05-AD6509CFD6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0800000">
              <a:off x="3549386" y="3781020"/>
              <a:ext cx="459174" cy="648709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66677EBA-1597-67F4-7EFB-46B3BD174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9763297">
              <a:off x="3549386" y="2726738"/>
              <a:ext cx="459174" cy="648709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EB745718-7A1A-53DF-DBB5-FC3E56488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0800000">
              <a:off x="4706821" y="2780291"/>
              <a:ext cx="459174" cy="648709"/>
            </a:xfrm>
            <a:prstGeom prst="rect">
              <a:avLst/>
            </a:prstGeom>
          </p:spPr>
        </p:pic>
        <p:pic>
          <p:nvPicPr>
            <p:cNvPr id="16" name="Billede 15">
              <a:extLst>
                <a:ext uri="{FF2B5EF4-FFF2-40B4-BE49-F238E27FC236}">
                  <a16:creationId xmlns:a16="http://schemas.microsoft.com/office/drawing/2014/main" id="{C1F07C81-50B2-0E73-EDEB-B52930E355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11179830">
              <a:off x="4830138" y="4628695"/>
              <a:ext cx="458651" cy="648708"/>
            </a:xfrm>
            <a:prstGeom prst="rect">
              <a:avLst/>
            </a:prstGeom>
          </p:spPr>
        </p:pic>
        <p:pic>
          <p:nvPicPr>
            <p:cNvPr id="17" name="Billede 70">
              <a:extLst>
                <a:ext uri="{FF2B5EF4-FFF2-40B4-BE49-F238E27FC236}">
                  <a16:creationId xmlns:a16="http://schemas.microsoft.com/office/drawing/2014/main" id="{02ED56FC-90A9-826A-2899-D27C8800F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10417343">
              <a:off x="4843375" y="3815680"/>
              <a:ext cx="459174" cy="648709"/>
            </a:xfrm>
            <a:prstGeom prst="rect">
              <a:avLst/>
            </a:prstGeom>
          </p:spPr>
        </p:pic>
      </p:grpSp>
      <p:sp>
        <p:nvSpPr>
          <p:cNvPr id="92" name="Rectangle: Rounded Corners 44">
            <a:extLst>
              <a:ext uri="{FF2B5EF4-FFF2-40B4-BE49-F238E27FC236}">
                <a16:creationId xmlns:a16="http://schemas.microsoft.com/office/drawing/2014/main" id="{A31E1625-7670-7B17-0D3F-00338C7D1F52}"/>
              </a:ext>
            </a:extLst>
          </p:cNvPr>
          <p:cNvSpPr/>
          <p:nvPr/>
        </p:nvSpPr>
        <p:spPr>
          <a:xfrm>
            <a:off x="6797240" y="1905998"/>
            <a:ext cx="119584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err="1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overnance</a:t>
            </a: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3" name="Flowchart: Alternate Process 92">
            <a:extLst>
              <a:ext uri="{FF2B5EF4-FFF2-40B4-BE49-F238E27FC236}">
                <a16:creationId xmlns:a16="http://schemas.microsoft.com/office/drawing/2014/main" id="{2B37CA67-2C8C-C53F-A010-FCE72A0231F4}"/>
              </a:ext>
            </a:extLst>
          </p:cNvPr>
          <p:cNvSpPr/>
          <p:nvPr/>
        </p:nvSpPr>
        <p:spPr>
          <a:xfrm>
            <a:off x="482130" y="3248915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94" name="Flowchart: Alternate Process 93">
            <a:extLst>
              <a:ext uri="{FF2B5EF4-FFF2-40B4-BE49-F238E27FC236}">
                <a16:creationId xmlns:a16="http://schemas.microsoft.com/office/drawing/2014/main" id="{40DA5D93-0270-2612-A596-0D33FF06D2A8}"/>
              </a:ext>
            </a:extLst>
          </p:cNvPr>
          <p:cNvSpPr/>
          <p:nvPr/>
        </p:nvSpPr>
        <p:spPr>
          <a:xfrm>
            <a:off x="5771727" y="2802762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demokrati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D240E45-E539-480A-9941-D6635A60EF24}"/>
              </a:ext>
            </a:extLst>
          </p:cNvPr>
          <p:cNvCxnSpPr>
            <a:cxnSpLocks/>
          </p:cNvCxnSpPr>
          <p:nvPr/>
        </p:nvCxnSpPr>
        <p:spPr>
          <a:xfrm>
            <a:off x="3004642" y="1561592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Rectangle: Rounded Corners 62">
            <a:extLst>
              <a:ext uri="{FF2B5EF4-FFF2-40B4-BE49-F238E27FC236}">
                <a16:creationId xmlns:a16="http://schemas.microsoft.com/office/drawing/2014/main" id="{D2C22E20-FDE5-EE40-3B49-D11155C427BD}"/>
              </a:ext>
            </a:extLst>
          </p:cNvPr>
          <p:cNvSpPr/>
          <p:nvPr/>
        </p:nvSpPr>
        <p:spPr>
          <a:xfrm>
            <a:off x="1567380" y="1905998"/>
            <a:ext cx="4873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97" name="Rectangle: Rounded Corners 85">
            <a:extLst>
              <a:ext uri="{FF2B5EF4-FFF2-40B4-BE49-F238E27FC236}">
                <a16:creationId xmlns:a16="http://schemas.microsoft.com/office/drawing/2014/main" id="{FAFAA7DA-32C7-E05D-AD9D-90EB8CDBD182}"/>
              </a:ext>
            </a:extLst>
          </p:cNvPr>
          <p:cNvSpPr/>
          <p:nvPr/>
        </p:nvSpPr>
        <p:spPr>
          <a:xfrm>
            <a:off x="4226222" y="1905998"/>
            <a:ext cx="59952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A04BA322-8CA1-54EB-0120-393426C81513}"/>
              </a:ext>
            </a:extLst>
          </p:cNvPr>
          <p:cNvSpPr/>
          <p:nvPr/>
        </p:nvSpPr>
        <p:spPr>
          <a:xfrm>
            <a:off x="482130" y="2577817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99" name="Flowchart: Alternate Process 98">
            <a:extLst>
              <a:ext uri="{FF2B5EF4-FFF2-40B4-BE49-F238E27FC236}">
                <a16:creationId xmlns:a16="http://schemas.microsoft.com/office/drawing/2014/main" id="{DC10DB01-A82F-43BC-B55F-85E8DFB6B535}"/>
              </a:ext>
            </a:extLst>
          </p:cNvPr>
          <p:cNvSpPr/>
          <p:nvPr/>
        </p:nvSpPr>
        <p:spPr>
          <a:xfrm>
            <a:off x="482130" y="2799974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100" name="Flowchart: Alternate Process 99">
            <a:extLst>
              <a:ext uri="{FF2B5EF4-FFF2-40B4-BE49-F238E27FC236}">
                <a16:creationId xmlns:a16="http://schemas.microsoft.com/office/drawing/2014/main" id="{4200CC33-1738-BC21-85F9-872EF996D793}"/>
              </a:ext>
            </a:extLst>
          </p:cNvPr>
          <p:cNvSpPr/>
          <p:nvPr/>
        </p:nvSpPr>
        <p:spPr>
          <a:xfrm>
            <a:off x="482130" y="369785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mærkning</a:t>
            </a:r>
            <a:endParaRPr kumimoji="0" lang="da-DK" sz="700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1" name="Flowchart: Alternate Process 100">
            <a:extLst>
              <a:ext uri="{FF2B5EF4-FFF2-40B4-BE49-F238E27FC236}">
                <a16:creationId xmlns:a16="http://schemas.microsoft.com/office/drawing/2014/main" id="{B41C787C-5F6D-0450-4A2D-C500F8324E6D}"/>
              </a:ext>
            </a:extLst>
          </p:cNvPr>
          <p:cNvSpPr/>
          <p:nvPr/>
        </p:nvSpPr>
        <p:spPr>
          <a:xfrm>
            <a:off x="482130" y="4411111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 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122921AC-07B7-C87E-6F05-092AA092562D}"/>
              </a:ext>
            </a:extLst>
          </p:cNvPr>
          <p:cNvSpPr/>
          <p:nvPr/>
        </p:nvSpPr>
        <p:spPr>
          <a:xfrm>
            <a:off x="482130" y="4188954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TILPASNING</a:t>
            </a:r>
          </a:p>
        </p:txBody>
      </p:sp>
      <p:sp>
        <p:nvSpPr>
          <p:cNvPr id="103" name="Flowchart: Alternate Process 102">
            <a:extLst>
              <a:ext uri="{FF2B5EF4-FFF2-40B4-BE49-F238E27FC236}">
                <a16:creationId xmlns:a16="http://schemas.microsoft.com/office/drawing/2014/main" id="{A1285932-01D5-32B4-2473-B231C84B7DE9}"/>
              </a:ext>
            </a:extLst>
          </p:cNvPr>
          <p:cNvSpPr/>
          <p:nvPr/>
        </p:nvSpPr>
        <p:spPr>
          <a:xfrm>
            <a:off x="482130" y="512436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CA4234FF-97C6-B3BA-A3E3-D013C5FDED31}"/>
              </a:ext>
            </a:extLst>
          </p:cNvPr>
          <p:cNvSpPr/>
          <p:nvPr/>
        </p:nvSpPr>
        <p:spPr>
          <a:xfrm>
            <a:off x="482130" y="4902209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954D8D6B-CFC9-9320-F82F-E81670DDE6CD}"/>
              </a:ext>
            </a:extLst>
          </p:cNvPr>
          <p:cNvSpPr/>
          <p:nvPr/>
        </p:nvSpPr>
        <p:spPr>
          <a:xfrm>
            <a:off x="482130" y="5615463"/>
            <a:ext cx="2473277" cy="180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solidFill>
              <a:srgbClr val="339C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IRKULARITET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F4080D4A-8CCF-F3A4-EA52-7A34228DFC01}"/>
              </a:ext>
            </a:extLst>
          </p:cNvPr>
          <p:cNvSpPr/>
          <p:nvPr/>
        </p:nvSpPr>
        <p:spPr>
          <a:xfrm>
            <a:off x="3126928" y="2577817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E</a:t>
            </a:r>
          </a:p>
        </p:txBody>
      </p:sp>
      <p:sp>
        <p:nvSpPr>
          <p:cNvPr id="107" name="Flowchart: Alternate Process 106">
            <a:extLst>
              <a:ext uri="{FF2B5EF4-FFF2-40B4-BE49-F238E27FC236}">
                <a16:creationId xmlns:a16="http://schemas.microsoft.com/office/drawing/2014/main" id="{88C9AA38-7B68-A2C2-50C3-FC07E3AC0E0F}"/>
              </a:ext>
            </a:extLst>
          </p:cNvPr>
          <p:cNvSpPr/>
          <p:nvPr/>
        </p:nvSpPr>
        <p:spPr>
          <a:xfrm>
            <a:off x="3126928" y="280236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sammensætning</a:t>
            </a:r>
          </a:p>
        </p:txBody>
      </p:sp>
      <p:sp>
        <p:nvSpPr>
          <p:cNvPr id="108" name="Flowchart: Alternate Process 107">
            <a:extLst>
              <a:ext uri="{FF2B5EF4-FFF2-40B4-BE49-F238E27FC236}">
                <a16:creationId xmlns:a16="http://schemas.microsoft.com/office/drawing/2014/main" id="{259CFF81-F5EE-D41F-A13E-4845EF95887A}"/>
              </a:ext>
            </a:extLst>
          </p:cNvPr>
          <p:cNvSpPr/>
          <p:nvPr/>
        </p:nvSpPr>
        <p:spPr>
          <a:xfrm>
            <a:off x="3126928" y="317091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trivsel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CDF846B0-EA02-B791-15C6-9832C9FD977E}"/>
              </a:ext>
            </a:extLst>
          </p:cNvPr>
          <p:cNvSpPr/>
          <p:nvPr/>
        </p:nvSpPr>
        <p:spPr>
          <a:xfrm>
            <a:off x="3126928" y="358400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OMRÅDE</a:t>
            </a:r>
          </a:p>
        </p:txBody>
      </p:sp>
      <p:sp>
        <p:nvSpPr>
          <p:cNvPr id="110" name="Flowchart: Alternate Process 109">
            <a:extLst>
              <a:ext uri="{FF2B5EF4-FFF2-40B4-BE49-F238E27FC236}">
                <a16:creationId xmlns:a16="http://schemas.microsoft.com/office/drawing/2014/main" id="{8394E439-3134-4231-2EB0-92F67C07BC53}"/>
              </a:ext>
            </a:extLst>
          </p:cNvPr>
          <p:cNvSpPr/>
          <p:nvPr/>
        </p:nvSpPr>
        <p:spPr>
          <a:xfrm>
            <a:off x="3126928" y="417710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111" name="Flowchart: Alternate Process 110">
            <a:extLst>
              <a:ext uri="{FF2B5EF4-FFF2-40B4-BE49-F238E27FC236}">
                <a16:creationId xmlns:a16="http://schemas.microsoft.com/office/drawing/2014/main" id="{8CAC4799-E1AB-30C6-81EA-9BEF19D1DBB2}"/>
              </a:ext>
            </a:extLst>
          </p:cNvPr>
          <p:cNvSpPr/>
          <p:nvPr/>
        </p:nvSpPr>
        <p:spPr>
          <a:xfrm>
            <a:off x="3126928" y="555184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chancer</a:t>
            </a:r>
            <a:endParaRPr kumimoji="0" lang="da-DK" sz="11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31236880-7FF7-5403-0CE5-B2F45ADE41A7}"/>
              </a:ext>
            </a:extLst>
          </p:cNvPr>
          <p:cNvSpPr/>
          <p:nvPr/>
        </p:nvSpPr>
        <p:spPr>
          <a:xfrm>
            <a:off x="3126928" y="4964014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E</a:t>
            </a:r>
          </a:p>
        </p:txBody>
      </p:sp>
      <p:sp>
        <p:nvSpPr>
          <p:cNvPr id="113" name="Flowchart: Alternate Process 112">
            <a:extLst>
              <a:ext uri="{FF2B5EF4-FFF2-40B4-BE49-F238E27FC236}">
                <a16:creationId xmlns:a16="http://schemas.microsoft.com/office/drawing/2014/main" id="{3C375C3C-3E73-B1D7-FD16-656982B74094}"/>
              </a:ext>
            </a:extLst>
          </p:cNvPr>
          <p:cNvSpPr/>
          <p:nvPr/>
        </p:nvSpPr>
        <p:spPr>
          <a:xfrm>
            <a:off x="3126928" y="5920398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5A61B61-DC6D-2062-24A7-D7BAD0C87857}"/>
              </a:ext>
            </a:extLst>
          </p:cNvPr>
          <p:cNvSpPr/>
          <p:nvPr/>
        </p:nvSpPr>
        <p:spPr>
          <a:xfrm>
            <a:off x="5771727" y="2577817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KTIV DELTAGELSE</a:t>
            </a:r>
          </a:p>
        </p:txBody>
      </p:sp>
      <p:sp>
        <p:nvSpPr>
          <p:cNvPr id="115" name="Flowchart: Alternate Process 114">
            <a:extLst>
              <a:ext uri="{FF2B5EF4-FFF2-40B4-BE49-F238E27FC236}">
                <a16:creationId xmlns:a16="http://schemas.microsoft.com/office/drawing/2014/main" id="{64D5C6B6-0D5A-3AFF-EF01-D6AE979362AD}"/>
              </a:ext>
            </a:extLst>
          </p:cNvPr>
          <p:cNvSpPr/>
          <p:nvPr/>
        </p:nvSpPr>
        <p:spPr>
          <a:xfrm>
            <a:off x="5771727" y="3293895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rivillighed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9ACBD9BE-F43D-AF24-3903-486D4C7518FA}"/>
              </a:ext>
            </a:extLst>
          </p:cNvPr>
          <p:cNvSpPr/>
          <p:nvPr/>
        </p:nvSpPr>
        <p:spPr>
          <a:xfrm>
            <a:off x="5771727" y="3829973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YRING</a:t>
            </a:r>
          </a:p>
        </p:txBody>
      </p:sp>
      <p:sp>
        <p:nvSpPr>
          <p:cNvPr id="117" name="Flowchart: Alternate Process 116">
            <a:extLst>
              <a:ext uri="{FF2B5EF4-FFF2-40B4-BE49-F238E27FC236}">
                <a16:creationId xmlns:a16="http://schemas.microsoft.com/office/drawing/2014/main" id="{5D4FB802-7C50-33DB-9042-941B4CD48CE7}"/>
              </a:ext>
            </a:extLst>
          </p:cNvPr>
          <p:cNvSpPr/>
          <p:nvPr/>
        </p:nvSpPr>
        <p:spPr>
          <a:xfrm>
            <a:off x="5771727" y="4054918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Økonomistyring</a:t>
            </a: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E7FD4A90-8EED-C7B0-2103-B270E3179C4B}"/>
              </a:ext>
            </a:extLst>
          </p:cNvPr>
          <p:cNvSpPr/>
          <p:nvPr/>
        </p:nvSpPr>
        <p:spPr>
          <a:xfrm>
            <a:off x="5771727" y="5082129"/>
            <a:ext cx="2473277" cy="180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SVARLIGHED</a:t>
            </a:r>
          </a:p>
        </p:txBody>
      </p:sp>
      <p:sp>
        <p:nvSpPr>
          <p:cNvPr id="119" name="Flowchart: Alternate Process 118">
            <a:extLst>
              <a:ext uri="{FF2B5EF4-FFF2-40B4-BE49-F238E27FC236}">
                <a16:creationId xmlns:a16="http://schemas.microsoft.com/office/drawing/2014/main" id="{95C6E7D6-0697-1BF1-2F72-928BF1A44C67}"/>
              </a:ext>
            </a:extLst>
          </p:cNvPr>
          <p:cNvSpPr/>
          <p:nvPr/>
        </p:nvSpPr>
        <p:spPr>
          <a:xfrm>
            <a:off x="5771727" y="5307074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120" name="Flowchart: Alternate Process 119">
            <a:extLst>
              <a:ext uri="{FF2B5EF4-FFF2-40B4-BE49-F238E27FC236}">
                <a16:creationId xmlns:a16="http://schemas.microsoft.com/office/drawing/2014/main" id="{F0D9DFD9-842C-FC3A-4BC4-1E9431664FE8}"/>
              </a:ext>
            </a:extLst>
          </p:cNvPr>
          <p:cNvSpPr/>
          <p:nvPr/>
        </p:nvSpPr>
        <p:spPr>
          <a:xfrm>
            <a:off x="3126928" y="380855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121" name="Flowchart: Alternate Process 120">
            <a:extLst>
              <a:ext uri="{FF2B5EF4-FFF2-40B4-BE49-F238E27FC236}">
                <a16:creationId xmlns:a16="http://schemas.microsoft.com/office/drawing/2014/main" id="{6006B8A6-2010-BADF-9C49-27F401D6B48A}"/>
              </a:ext>
            </a:extLst>
          </p:cNvPr>
          <p:cNvSpPr/>
          <p:nvPr/>
        </p:nvSpPr>
        <p:spPr>
          <a:xfrm>
            <a:off x="3126928" y="454565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/>
          <a:p>
            <a:pPr marL="287655" algn="ctr" defTabSz="914309">
              <a:defRPr/>
            </a:pPr>
            <a:r>
              <a:rPr lang="da-DK" sz="900">
                <a:solidFill>
                  <a:srgbClr val="EF3E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ktioner i området</a:t>
            </a:r>
            <a:endParaRPr lang="da-DK" sz="9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2" name="Flowchart: Alternate Process 121">
            <a:extLst>
              <a:ext uri="{FF2B5EF4-FFF2-40B4-BE49-F238E27FC236}">
                <a16:creationId xmlns:a16="http://schemas.microsoft.com/office/drawing/2014/main" id="{F7FC5337-BAB7-81F2-A2C7-73B997F00EB2}"/>
              </a:ext>
            </a:extLst>
          </p:cNvPr>
          <p:cNvSpPr/>
          <p:nvPr/>
        </p:nvSpPr>
        <p:spPr>
          <a:xfrm>
            <a:off x="5771727" y="5798211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123" name="Flowchart: Alternate Process 122">
            <a:extLst>
              <a:ext uri="{FF2B5EF4-FFF2-40B4-BE49-F238E27FC236}">
                <a16:creationId xmlns:a16="http://schemas.microsoft.com/office/drawing/2014/main" id="{A66461A6-34C1-46FD-9936-DDA4766B490E}"/>
              </a:ext>
            </a:extLst>
          </p:cNvPr>
          <p:cNvSpPr/>
          <p:nvPr/>
        </p:nvSpPr>
        <p:spPr>
          <a:xfrm>
            <a:off x="3126928" y="5178851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t fællesskab</a:t>
            </a:r>
            <a:endParaRPr kumimoji="0" lang="da-DK" sz="7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4" name="Flowchart: Alternate Process 109">
            <a:extLst>
              <a:ext uri="{FF2B5EF4-FFF2-40B4-BE49-F238E27FC236}">
                <a16:creationId xmlns:a16="http://schemas.microsoft.com/office/drawing/2014/main" id="{CBF208C2-8BC8-7B3A-2E1B-DD589BEED06F}"/>
              </a:ext>
            </a:extLst>
          </p:cNvPr>
          <p:cNvSpPr/>
          <p:nvPr/>
        </p:nvSpPr>
        <p:spPr>
          <a:xfrm>
            <a:off x="5771727" y="4546051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verholdelse af regulering</a:t>
            </a:r>
          </a:p>
        </p:txBody>
      </p:sp>
      <p:sp>
        <p:nvSpPr>
          <p:cNvPr id="125" name="Flowchart: Alternate Process 34">
            <a:extLst>
              <a:ext uri="{FF2B5EF4-FFF2-40B4-BE49-F238E27FC236}">
                <a16:creationId xmlns:a16="http://schemas.microsoft.com/office/drawing/2014/main" id="{03D5EA8A-170A-40B1-9CD9-7B6D392E6C55}"/>
              </a:ext>
            </a:extLst>
          </p:cNvPr>
          <p:cNvSpPr/>
          <p:nvPr/>
        </p:nvSpPr>
        <p:spPr>
          <a:xfrm>
            <a:off x="482130" y="5837615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ffald</a:t>
            </a:r>
          </a:p>
        </p:txBody>
      </p:sp>
      <p:grpSp>
        <p:nvGrpSpPr>
          <p:cNvPr id="126" name="Group 330">
            <a:extLst>
              <a:ext uri="{FF2B5EF4-FFF2-40B4-BE49-F238E27FC236}">
                <a16:creationId xmlns:a16="http://schemas.microsoft.com/office/drawing/2014/main" id="{D82E0F65-93FF-5FC6-4B3E-C62FAD70FD14}"/>
              </a:ext>
            </a:extLst>
          </p:cNvPr>
          <p:cNvGrpSpPr>
            <a:grpSpLocks noChangeAspect="1"/>
          </p:cNvGrpSpPr>
          <p:nvPr/>
        </p:nvGrpSpPr>
        <p:grpSpPr>
          <a:xfrm>
            <a:off x="682665" y="1601969"/>
            <a:ext cx="785878" cy="792000"/>
            <a:chOff x="4156082" y="-3024236"/>
            <a:chExt cx="2183420" cy="2200431"/>
          </a:xfrm>
        </p:grpSpPr>
        <p:sp>
          <p:nvSpPr>
            <p:cNvPr id="127" name="Freeform: Shape 328">
              <a:extLst>
                <a:ext uri="{FF2B5EF4-FFF2-40B4-BE49-F238E27FC236}">
                  <a16:creationId xmlns:a16="http://schemas.microsoft.com/office/drawing/2014/main" id="{D5B91F10-AA03-DC38-6880-5C3BA229A263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128" name="Freeform: Shape 329">
              <a:extLst>
                <a:ext uri="{FF2B5EF4-FFF2-40B4-BE49-F238E27FC236}">
                  <a16:creationId xmlns:a16="http://schemas.microsoft.com/office/drawing/2014/main" id="{F2F2BBC7-F8E4-B6D9-C82D-0CBBBDB281BC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129" name="Group 331">
            <a:extLst>
              <a:ext uri="{FF2B5EF4-FFF2-40B4-BE49-F238E27FC236}">
                <a16:creationId xmlns:a16="http://schemas.microsoft.com/office/drawing/2014/main" id="{6C2CB7B0-1D2B-B290-C220-316DE1170FE3}"/>
              </a:ext>
            </a:extLst>
          </p:cNvPr>
          <p:cNvGrpSpPr>
            <a:grpSpLocks noChangeAspect="1"/>
          </p:cNvGrpSpPr>
          <p:nvPr/>
        </p:nvGrpSpPr>
        <p:grpSpPr>
          <a:xfrm>
            <a:off x="3319523" y="1612754"/>
            <a:ext cx="791651" cy="792000"/>
            <a:chOff x="3092692" y="-1631033"/>
            <a:chExt cx="2192906" cy="2193874"/>
          </a:xfrm>
        </p:grpSpPr>
        <p:sp>
          <p:nvSpPr>
            <p:cNvPr id="130" name="Freeform: Shape 326">
              <a:extLst>
                <a:ext uri="{FF2B5EF4-FFF2-40B4-BE49-F238E27FC236}">
                  <a16:creationId xmlns:a16="http://schemas.microsoft.com/office/drawing/2014/main" id="{AF2F8FB8-E3D2-CD77-0086-1E801061E836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 sz="32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: Shape 327">
              <a:extLst>
                <a:ext uri="{FF2B5EF4-FFF2-40B4-BE49-F238E27FC236}">
                  <a16:creationId xmlns:a16="http://schemas.microsoft.com/office/drawing/2014/main" id="{D7712967-D8F8-0331-BD49-070B0D8D5C75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132" name="Group 332">
            <a:extLst>
              <a:ext uri="{FF2B5EF4-FFF2-40B4-BE49-F238E27FC236}">
                <a16:creationId xmlns:a16="http://schemas.microsoft.com/office/drawing/2014/main" id="{2EBCEA7C-5A33-E814-3E2B-904910B90F81}"/>
              </a:ext>
            </a:extLst>
          </p:cNvPr>
          <p:cNvGrpSpPr>
            <a:grpSpLocks noChangeAspect="1"/>
          </p:cNvGrpSpPr>
          <p:nvPr/>
        </p:nvGrpSpPr>
        <p:grpSpPr>
          <a:xfrm rot="21410080">
            <a:off x="5873948" y="1612483"/>
            <a:ext cx="797531" cy="792000"/>
            <a:chOff x="8336051" y="3610471"/>
            <a:chExt cx="2227633" cy="2212181"/>
          </a:xfrm>
        </p:grpSpPr>
        <p:sp>
          <p:nvSpPr>
            <p:cNvPr id="133" name="Freeform: Shape 333">
              <a:extLst>
                <a:ext uri="{FF2B5EF4-FFF2-40B4-BE49-F238E27FC236}">
                  <a16:creationId xmlns:a16="http://schemas.microsoft.com/office/drawing/2014/main" id="{220B1203-E522-65A3-6C76-7A185D65CF5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134" name="Freeform: Shape 334">
              <a:extLst>
                <a:ext uri="{FF2B5EF4-FFF2-40B4-BE49-F238E27FC236}">
                  <a16:creationId xmlns:a16="http://schemas.microsoft.com/office/drawing/2014/main" id="{746A8F49-2211-BC41-9AD0-81680EE408EE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BEB3EEC-3D43-B1B1-C267-4F5A66D9A390}"/>
              </a:ext>
            </a:extLst>
          </p:cNvPr>
          <p:cNvCxnSpPr>
            <a:cxnSpLocks/>
          </p:cNvCxnSpPr>
          <p:nvPr/>
        </p:nvCxnSpPr>
        <p:spPr>
          <a:xfrm>
            <a:off x="5681167" y="1561592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6" name="Graphic 135">
            <a:extLst>
              <a:ext uri="{FF2B5EF4-FFF2-40B4-BE49-F238E27FC236}">
                <a16:creationId xmlns:a16="http://schemas.microsoft.com/office/drawing/2014/main" id="{C850BF25-80F3-3E1F-68A2-64F3E9F48A8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2180" y="3280846"/>
            <a:ext cx="342922" cy="342922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570E4DC7-544D-8D41-099E-4FC6EABA8E68}"/>
              </a:ext>
            </a:extLst>
          </p:cNvPr>
          <p:cNvGrpSpPr/>
          <p:nvPr/>
        </p:nvGrpSpPr>
        <p:grpSpPr>
          <a:xfrm>
            <a:off x="621952" y="3768794"/>
            <a:ext cx="223379" cy="264909"/>
            <a:chOff x="-500362" y="3798874"/>
            <a:chExt cx="274718" cy="325790"/>
          </a:xfrm>
          <a:solidFill>
            <a:srgbClr val="B5CEBD"/>
          </a:solidFill>
        </p:grpSpPr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A2A43EEC-22BA-6ECA-64CA-023BFF2C7A7C}"/>
                </a:ext>
              </a:extLst>
            </p:cNvPr>
            <p:cNvSpPr/>
            <p:nvPr/>
          </p:nvSpPr>
          <p:spPr>
            <a:xfrm>
              <a:off x="-453549" y="3882251"/>
              <a:ext cx="120405" cy="194715"/>
            </a:xfrm>
            <a:custGeom>
              <a:avLst/>
              <a:gdLst>
                <a:gd name="connsiteX0" fmla="*/ 68827 w 120405"/>
                <a:gd name="connsiteY0" fmla="*/ 142631 h 194715"/>
                <a:gd name="connsiteX1" fmla="*/ 76461 w 120405"/>
                <a:gd name="connsiteY1" fmla="*/ 130949 h 194715"/>
                <a:gd name="connsiteX2" fmla="*/ 81985 w 120405"/>
                <a:gd name="connsiteY2" fmla="*/ 118676 h 194715"/>
                <a:gd name="connsiteX3" fmla="*/ 69966 w 120405"/>
                <a:gd name="connsiteY3" fmla="*/ 117538 h 194715"/>
                <a:gd name="connsiteX4" fmla="*/ 56681 w 120405"/>
                <a:gd name="connsiteY4" fmla="*/ 118718 h 194715"/>
                <a:gd name="connsiteX5" fmla="*/ 61995 w 120405"/>
                <a:gd name="connsiteY5" fmla="*/ 104632 h 194715"/>
                <a:gd name="connsiteX6" fmla="*/ 67351 w 120405"/>
                <a:gd name="connsiteY6" fmla="*/ 91137 h 194715"/>
                <a:gd name="connsiteX7" fmla="*/ 72159 w 120405"/>
                <a:gd name="connsiteY7" fmla="*/ 77473 h 194715"/>
                <a:gd name="connsiteX8" fmla="*/ 76503 w 120405"/>
                <a:gd name="connsiteY8" fmla="*/ 63598 h 194715"/>
                <a:gd name="connsiteX9" fmla="*/ 81521 w 120405"/>
                <a:gd name="connsiteY9" fmla="*/ 49933 h 194715"/>
                <a:gd name="connsiteX10" fmla="*/ 85697 w 120405"/>
                <a:gd name="connsiteY10" fmla="*/ 36016 h 194715"/>
                <a:gd name="connsiteX11" fmla="*/ 88185 w 120405"/>
                <a:gd name="connsiteY11" fmla="*/ 35594 h 194715"/>
                <a:gd name="connsiteX12" fmla="*/ 91390 w 120405"/>
                <a:gd name="connsiteY12" fmla="*/ 47445 h 194715"/>
                <a:gd name="connsiteX13" fmla="*/ 94848 w 120405"/>
                <a:gd name="connsiteY13" fmla="*/ 59085 h 194715"/>
                <a:gd name="connsiteX14" fmla="*/ 98180 w 120405"/>
                <a:gd name="connsiteY14" fmla="*/ 70767 h 194715"/>
                <a:gd name="connsiteX15" fmla="*/ 103072 w 120405"/>
                <a:gd name="connsiteY15" fmla="*/ 82618 h 194715"/>
                <a:gd name="connsiteX16" fmla="*/ 109778 w 120405"/>
                <a:gd name="connsiteY16" fmla="*/ 71779 h 194715"/>
                <a:gd name="connsiteX17" fmla="*/ 114417 w 120405"/>
                <a:gd name="connsiteY17" fmla="*/ 60435 h 194715"/>
                <a:gd name="connsiteX18" fmla="*/ 120405 w 120405"/>
                <a:gd name="connsiteY18" fmla="*/ 50102 h 194715"/>
                <a:gd name="connsiteX19" fmla="*/ 117285 w 120405"/>
                <a:gd name="connsiteY19" fmla="*/ 37619 h 194715"/>
                <a:gd name="connsiteX20" fmla="*/ 112392 w 120405"/>
                <a:gd name="connsiteY20" fmla="*/ 25515 h 194715"/>
                <a:gd name="connsiteX21" fmla="*/ 108470 w 120405"/>
                <a:gd name="connsiteY21" fmla="*/ 13032 h 194715"/>
                <a:gd name="connsiteX22" fmla="*/ 103620 w 120405"/>
                <a:gd name="connsiteY22" fmla="*/ 422 h 194715"/>
                <a:gd name="connsiteX23" fmla="*/ 86456 w 120405"/>
                <a:gd name="connsiteY23" fmla="*/ 0 h 194715"/>
                <a:gd name="connsiteX24" fmla="*/ 69460 w 120405"/>
                <a:gd name="connsiteY24" fmla="*/ 633 h 194715"/>
                <a:gd name="connsiteX25" fmla="*/ 64230 w 120405"/>
                <a:gd name="connsiteY25" fmla="*/ 13580 h 194715"/>
                <a:gd name="connsiteX26" fmla="*/ 60941 w 120405"/>
                <a:gd name="connsiteY26" fmla="*/ 26907 h 194715"/>
                <a:gd name="connsiteX27" fmla="*/ 55079 w 120405"/>
                <a:gd name="connsiteY27" fmla="*/ 39306 h 194715"/>
                <a:gd name="connsiteX28" fmla="*/ 51663 w 120405"/>
                <a:gd name="connsiteY28" fmla="*/ 52590 h 194715"/>
                <a:gd name="connsiteX29" fmla="*/ 46391 w 120405"/>
                <a:gd name="connsiteY29" fmla="*/ 65200 h 194715"/>
                <a:gd name="connsiteX30" fmla="*/ 41457 w 120405"/>
                <a:gd name="connsiteY30" fmla="*/ 77937 h 194715"/>
                <a:gd name="connsiteX31" fmla="*/ 36607 w 120405"/>
                <a:gd name="connsiteY31" fmla="*/ 90715 h 194715"/>
                <a:gd name="connsiteX32" fmla="*/ 33275 w 120405"/>
                <a:gd name="connsiteY32" fmla="*/ 104042 h 194715"/>
                <a:gd name="connsiteX33" fmla="*/ 28045 w 120405"/>
                <a:gd name="connsiteY33" fmla="*/ 116652 h 194715"/>
                <a:gd name="connsiteX34" fmla="*/ 23195 w 120405"/>
                <a:gd name="connsiteY34" fmla="*/ 129430 h 194715"/>
                <a:gd name="connsiteX35" fmla="*/ 19315 w 120405"/>
                <a:gd name="connsiteY35" fmla="*/ 142546 h 194715"/>
                <a:gd name="connsiteX36" fmla="*/ 14676 w 120405"/>
                <a:gd name="connsiteY36" fmla="*/ 155409 h 194715"/>
                <a:gd name="connsiteX37" fmla="*/ 10290 w 120405"/>
                <a:gd name="connsiteY37" fmla="*/ 168357 h 194715"/>
                <a:gd name="connsiteX38" fmla="*/ 4133 w 120405"/>
                <a:gd name="connsiteY38" fmla="*/ 180713 h 194715"/>
                <a:gd name="connsiteX39" fmla="*/ 0 w 120405"/>
                <a:gd name="connsiteY39" fmla="*/ 194082 h 194715"/>
                <a:gd name="connsiteX40" fmla="*/ 15689 w 120405"/>
                <a:gd name="connsiteY40" fmla="*/ 193576 h 194715"/>
                <a:gd name="connsiteX41" fmla="*/ 31714 w 120405"/>
                <a:gd name="connsiteY41" fmla="*/ 194715 h 194715"/>
                <a:gd name="connsiteX42" fmla="*/ 36185 w 120405"/>
                <a:gd name="connsiteY42" fmla="*/ 181304 h 194715"/>
                <a:gd name="connsiteX43" fmla="*/ 39095 w 120405"/>
                <a:gd name="connsiteY43" fmla="*/ 168061 h 194715"/>
                <a:gd name="connsiteX44" fmla="*/ 44577 w 120405"/>
                <a:gd name="connsiteY44" fmla="*/ 155662 h 194715"/>
                <a:gd name="connsiteX45" fmla="*/ 49259 w 120405"/>
                <a:gd name="connsiteY45" fmla="*/ 143643 h 194715"/>
                <a:gd name="connsiteX46" fmla="*/ 68827 w 120405"/>
                <a:gd name="connsiteY46" fmla="*/ 142631 h 19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20405" h="194715">
                  <a:moveTo>
                    <a:pt x="68827" y="142631"/>
                  </a:moveTo>
                  <a:lnTo>
                    <a:pt x="76461" y="130949"/>
                  </a:lnTo>
                  <a:lnTo>
                    <a:pt x="81985" y="118676"/>
                  </a:lnTo>
                  <a:lnTo>
                    <a:pt x="69966" y="117538"/>
                  </a:lnTo>
                  <a:lnTo>
                    <a:pt x="56681" y="118718"/>
                  </a:lnTo>
                  <a:lnTo>
                    <a:pt x="61995" y="104632"/>
                  </a:lnTo>
                  <a:lnTo>
                    <a:pt x="67351" y="91137"/>
                  </a:lnTo>
                  <a:lnTo>
                    <a:pt x="72159" y="77473"/>
                  </a:lnTo>
                  <a:lnTo>
                    <a:pt x="76503" y="63598"/>
                  </a:lnTo>
                  <a:lnTo>
                    <a:pt x="81521" y="49933"/>
                  </a:lnTo>
                  <a:lnTo>
                    <a:pt x="85697" y="36016"/>
                  </a:lnTo>
                  <a:lnTo>
                    <a:pt x="88185" y="35594"/>
                  </a:lnTo>
                  <a:lnTo>
                    <a:pt x="91390" y="47445"/>
                  </a:lnTo>
                  <a:lnTo>
                    <a:pt x="94848" y="59085"/>
                  </a:lnTo>
                  <a:lnTo>
                    <a:pt x="98180" y="70767"/>
                  </a:lnTo>
                  <a:lnTo>
                    <a:pt x="103072" y="82618"/>
                  </a:lnTo>
                  <a:lnTo>
                    <a:pt x="109778" y="71779"/>
                  </a:lnTo>
                  <a:lnTo>
                    <a:pt x="114417" y="60435"/>
                  </a:lnTo>
                  <a:lnTo>
                    <a:pt x="120405" y="50102"/>
                  </a:lnTo>
                  <a:lnTo>
                    <a:pt x="117285" y="37619"/>
                  </a:lnTo>
                  <a:lnTo>
                    <a:pt x="112392" y="25515"/>
                  </a:lnTo>
                  <a:lnTo>
                    <a:pt x="108470" y="13032"/>
                  </a:lnTo>
                  <a:lnTo>
                    <a:pt x="103620" y="422"/>
                  </a:lnTo>
                  <a:lnTo>
                    <a:pt x="86456" y="0"/>
                  </a:lnTo>
                  <a:lnTo>
                    <a:pt x="69460" y="633"/>
                  </a:lnTo>
                  <a:lnTo>
                    <a:pt x="64230" y="13580"/>
                  </a:lnTo>
                  <a:lnTo>
                    <a:pt x="60941" y="26907"/>
                  </a:lnTo>
                  <a:lnTo>
                    <a:pt x="55079" y="39306"/>
                  </a:lnTo>
                  <a:lnTo>
                    <a:pt x="51663" y="52590"/>
                  </a:lnTo>
                  <a:lnTo>
                    <a:pt x="46391" y="65200"/>
                  </a:lnTo>
                  <a:lnTo>
                    <a:pt x="41457" y="77937"/>
                  </a:lnTo>
                  <a:lnTo>
                    <a:pt x="36607" y="90715"/>
                  </a:lnTo>
                  <a:lnTo>
                    <a:pt x="33275" y="104042"/>
                  </a:lnTo>
                  <a:lnTo>
                    <a:pt x="28045" y="116652"/>
                  </a:lnTo>
                  <a:lnTo>
                    <a:pt x="23195" y="129430"/>
                  </a:lnTo>
                  <a:lnTo>
                    <a:pt x="19315" y="142546"/>
                  </a:lnTo>
                  <a:lnTo>
                    <a:pt x="14676" y="155409"/>
                  </a:lnTo>
                  <a:lnTo>
                    <a:pt x="10290" y="168357"/>
                  </a:lnTo>
                  <a:lnTo>
                    <a:pt x="4133" y="180713"/>
                  </a:lnTo>
                  <a:lnTo>
                    <a:pt x="0" y="194082"/>
                  </a:lnTo>
                  <a:lnTo>
                    <a:pt x="15689" y="193576"/>
                  </a:lnTo>
                  <a:lnTo>
                    <a:pt x="31714" y="194715"/>
                  </a:lnTo>
                  <a:lnTo>
                    <a:pt x="36185" y="181304"/>
                  </a:lnTo>
                  <a:lnTo>
                    <a:pt x="39095" y="168061"/>
                  </a:lnTo>
                  <a:lnTo>
                    <a:pt x="44577" y="155662"/>
                  </a:lnTo>
                  <a:lnTo>
                    <a:pt x="49259" y="143643"/>
                  </a:lnTo>
                  <a:lnTo>
                    <a:pt x="68827" y="142631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C93E3BF-7C88-3B3C-B7F6-188A68559011}"/>
                </a:ext>
              </a:extLst>
            </p:cNvPr>
            <p:cNvSpPr/>
            <p:nvPr/>
          </p:nvSpPr>
          <p:spPr>
            <a:xfrm>
              <a:off x="-500362" y="3798874"/>
              <a:ext cx="266114" cy="72707"/>
            </a:xfrm>
            <a:custGeom>
              <a:avLst/>
              <a:gdLst>
                <a:gd name="connsiteX0" fmla="*/ 0 w 266114"/>
                <a:gd name="connsiteY0" fmla="*/ 72707 h 72707"/>
                <a:gd name="connsiteX1" fmla="*/ 11513 w 266114"/>
                <a:gd name="connsiteY1" fmla="*/ 65833 h 72707"/>
                <a:gd name="connsiteX2" fmla="*/ 23533 w 266114"/>
                <a:gd name="connsiteY2" fmla="*/ 59844 h 72707"/>
                <a:gd name="connsiteX3" fmla="*/ 35805 w 266114"/>
                <a:gd name="connsiteY3" fmla="*/ 54362 h 72707"/>
                <a:gd name="connsiteX4" fmla="*/ 46897 w 266114"/>
                <a:gd name="connsiteY4" fmla="*/ 46686 h 72707"/>
                <a:gd name="connsiteX5" fmla="*/ 59254 w 266114"/>
                <a:gd name="connsiteY5" fmla="*/ 41372 h 72707"/>
                <a:gd name="connsiteX6" fmla="*/ 70261 w 266114"/>
                <a:gd name="connsiteY6" fmla="*/ 33612 h 72707"/>
                <a:gd name="connsiteX7" fmla="*/ 82154 w 266114"/>
                <a:gd name="connsiteY7" fmla="*/ 27413 h 72707"/>
                <a:gd name="connsiteX8" fmla="*/ 93752 w 266114"/>
                <a:gd name="connsiteY8" fmla="*/ 20665 h 72707"/>
                <a:gd name="connsiteX9" fmla="*/ 105349 w 266114"/>
                <a:gd name="connsiteY9" fmla="*/ 13917 h 72707"/>
                <a:gd name="connsiteX10" fmla="*/ 116694 w 266114"/>
                <a:gd name="connsiteY10" fmla="*/ 6706 h 72707"/>
                <a:gd name="connsiteX11" fmla="*/ 128882 w 266114"/>
                <a:gd name="connsiteY11" fmla="*/ 0 h 72707"/>
                <a:gd name="connsiteX12" fmla="*/ 141787 w 266114"/>
                <a:gd name="connsiteY12" fmla="*/ 6748 h 72707"/>
                <a:gd name="connsiteX13" fmla="*/ 153807 w 266114"/>
                <a:gd name="connsiteY13" fmla="*/ 14002 h 72707"/>
                <a:gd name="connsiteX14" fmla="*/ 166543 w 266114"/>
                <a:gd name="connsiteY14" fmla="*/ 19990 h 72707"/>
                <a:gd name="connsiteX15" fmla="*/ 178647 w 266114"/>
                <a:gd name="connsiteY15" fmla="*/ 27244 h 72707"/>
                <a:gd name="connsiteX16" fmla="*/ 190835 w 266114"/>
                <a:gd name="connsiteY16" fmla="*/ 34245 h 72707"/>
                <a:gd name="connsiteX17" fmla="*/ 203740 w 266114"/>
                <a:gd name="connsiteY17" fmla="*/ 39938 h 72707"/>
                <a:gd name="connsiteX18" fmla="*/ 215717 w 266114"/>
                <a:gd name="connsiteY18" fmla="*/ 47361 h 72707"/>
                <a:gd name="connsiteX19" fmla="*/ 228833 w 266114"/>
                <a:gd name="connsiteY19" fmla="*/ 52675 h 72707"/>
                <a:gd name="connsiteX20" fmla="*/ 240811 w 266114"/>
                <a:gd name="connsiteY20" fmla="*/ 60097 h 72707"/>
                <a:gd name="connsiteX21" fmla="*/ 253421 w 266114"/>
                <a:gd name="connsiteY21" fmla="*/ 66465 h 72707"/>
                <a:gd name="connsiteX22" fmla="*/ 266115 w 266114"/>
                <a:gd name="connsiteY22" fmla="*/ 72581 h 7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6114" h="72707">
                  <a:moveTo>
                    <a:pt x="0" y="72707"/>
                  </a:moveTo>
                  <a:lnTo>
                    <a:pt x="11513" y="65833"/>
                  </a:lnTo>
                  <a:lnTo>
                    <a:pt x="23533" y="59844"/>
                  </a:lnTo>
                  <a:lnTo>
                    <a:pt x="35805" y="54362"/>
                  </a:lnTo>
                  <a:lnTo>
                    <a:pt x="46897" y="46686"/>
                  </a:lnTo>
                  <a:lnTo>
                    <a:pt x="59254" y="41372"/>
                  </a:lnTo>
                  <a:lnTo>
                    <a:pt x="70261" y="33612"/>
                  </a:lnTo>
                  <a:lnTo>
                    <a:pt x="82154" y="27413"/>
                  </a:lnTo>
                  <a:lnTo>
                    <a:pt x="93752" y="20665"/>
                  </a:lnTo>
                  <a:lnTo>
                    <a:pt x="105349" y="13917"/>
                  </a:lnTo>
                  <a:lnTo>
                    <a:pt x="116694" y="6706"/>
                  </a:lnTo>
                  <a:lnTo>
                    <a:pt x="128882" y="0"/>
                  </a:lnTo>
                  <a:lnTo>
                    <a:pt x="141787" y="6748"/>
                  </a:lnTo>
                  <a:lnTo>
                    <a:pt x="153807" y="14002"/>
                  </a:lnTo>
                  <a:lnTo>
                    <a:pt x="166543" y="19990"/>
                  </a:lnTo>
                  <a:lnTo>
                    <a:pt x="178647" y="27244"/>
                  </a:lnTo>
                  <a:lnTo>
                    <a:pt x="190835" y="34245"/>
                  </a:lnTo>
                  <a:lnTo>
                    <a:pt x="203740" y="39938"/>
                  </a:lnTo>
                  <a:lnTo>
                    <a:pt x="215717" y="47361"/>
                  </a:lnTo>
                  <a:lnTo>
                    <a:pt x="228833" y="52675"/>
                  </a:lnTo>
                  <a:lnTo>
                    <a:pt x="240811" y="60097"/>
                  </a:lnTo>
                  <a:lnTo>
                    <a:pt x="253421" y="66465"/>
                  </a:lnTo>
                  <a:lnTo>
                    <a:pt x="266115" y="72581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5D13BA3-8318-CA83-26D5-C96112377706}"/>
                </a:ext>
              </a:extLst>
            </p:cNvPr>
            <p:cNvSpPr/>
            <p:nvPr/>
          </p:nvSpPr>
          <p:spPr>
            <a:xfrm>
              <a:off x="-479782" y="3860870"/>
              <a:ext cx="53602" cy="263246"/>
            </a:xfrm>
            <a:custGeom>
              <a:avLst/>
              <a:gdLst>
                <a:gd name="connsiteX0" fmla="*/ 380 w 53602"/>
                <a:gd name="connsiteY0" fmla="*/ 0 h 263246"/>
                <a:gd name="connsiteX1" fmla="*/ 1434 w 53602"/>
                <a:gd name="connsiteY1" fmla="*/ 13833 h 263246"/>
                <a:gd name="connsiteX2" fmla="*/ 970 w 53602"/>
                <a:gd name="connsiteY2" fmla="*/ 27624 h 263246"/>
                <a:gd name="connsiteX3" fmla="*/ 42 w 53602"/>
                <a:gd name="connsiteY3" fmla="*/ 41414 h 263246"/>
                <a:gd name="connsiteX4" fmla="*/ 1181 w 53602"/>
                <a:gd name="connsiteY4" fmla="*/ 55247 h 263246"/>
                <a:gd name="connsiteX5" fmla="*/ 506 w 53602"/>
                <a:gd name="connsiteY5" fmla="*/ 69080 h 263246"/>
                <a:gd name="connsiteX6" fmla="*/ 0 w 53602"/>
                <a:gd name="connsiteY6" fmla="*/ 82871 h 263246"/>
                <a:gd name="connsiteX7" fmla="*/ 1307 w 53602"/>
                <a:gd name="connsiteY7" fmla="*/ 96704 h 263246"/>
                <a:gd name="connsiteX8" fmla="*/ 127 w 53602"/>
                <a:gd name="connsiteY8" fmla="*/ 110495 h 263246"/>
                <a:gd name="connsiteX9" fmla="*/ 84 w 53602"/>
                <a:gd name="connsiteY9" fmla="*/ 124327 h 263246"/>
                <a:gd name="connsiteX10" fmla="*/ 380 w 53602"/>
                <a:gd name="connsiteY10" fmla="*/ 138160 h 263246"/>
                <a:gd name="connsiteX11" fmla="*/ 675 w 53602"/>
                <a:gd name="connsiteY11" fmla="*/ 151993 h 263246"/>
                <a:gd name="connsiteX12" fmla="*/ 0 w 53602"/>
                <a:gd name="connsiteY12" fmla="*/ 165826 h 263246"/>
                <a:gd name="connsiteX13" fmla="*/ 1350 w 53602"/>
                <a:gd name="connsiteY13" fmla="*/ 179659 h 263246"/>
                <a:gd name="connsiteX14" fmla="*/ 1138 w 53602"/>
                <a:gd name="connsiteY14" fmla="*/ 193492 h 263246"/>
                <a:gd name="connsiteX15" fmla="*/ 1223 w 53602"/>
                <a:gd name="connsiteY15" fmla="*/ 207325 h 263246"/>
                <a:gd name="connsiteX16" fmla="*/ 506 w 53602"/>
                <a:gd name="connsiteY16" fmla="*/ 221158 h 263246"/>
                <a:gd name="connsiteX17" fmla="*/ 1560 w 53602"/>
                <a:gd name="connsiteY17" fmla="*/ 234991 h 263246"/>
                <a:gd name="connsiteX18" fmla="*/ 886 w 53602"/>
                <a:gd name="connsiteY18" fmla="*/ 248824 h 263246"/>
                <a:gd name="connsiteX19" fmla="*/ 1138 w 53602"/>
                <a:gd name="connsiteY19" fmla="*/ 262150 h 263246"/>
                <a:gd name="connsiteX20" fmla="*/ 13833 w 53602"/>
                <a:gd name="connsiteY20" fmla="*/ 262530 h 263246"/>
                <a:gd name="connsiteX21" fmla="*/ 27075 w 53602"/>
                <a:gd name="connsiteY21" fmla="*/ 261855 h 263246"/>
                <a:gd name="connsiteX22" fmla="*/ 40360 w 53602"/>
                <a:gd name="connsiteY22" fmla="*/ 263247 h 263246"/>
                <a:gd name="connsiteX23" fmla="*/ 53603 w 53602"/>
                <a:gd name="connsiteY23" fmla="*/ 262952 h 26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02" h="263246">
                  <a:moveTo>
                    <a:pt x="380" y="0"/>
                  </a:moveTo>
                  <a:lnTo>
                    <a:pt x="1434" y="13833"/>
                  </a:lnTo>
                  <a:lnTo>
                    <a:pt x="970" y="27624"/>
                  </a:lnTo>
                  <a:lnTo>
                    <a:pt x="42" y="41414"/>
                  </a:lnTo>
                  <a:lnTo>
                    <a:pt x="1181" y="55247"/>
                  </a:lnTo>
                  <a:lnTo>
                    <a:pt x="506" y="69080"/>
                  </a:lnTo>
                  <a:lnTo>
                    <a:pt x="0" y="82871"/>
                  </a:lnTo>
                  <a:lnTo>
                    <a:pt x="1307" y="96704"/>
                  </a:lnTo>
                  <a:lnTo>
                    <a:pt x="127" y="110495"/>
                  </a:lnTo>
                  <a:lnTo>
                    <a:pt x="84" y="124327"/>
                  </a:lnTo>
                  <a:lnTo>
                    <a:pt x="380" y="138160"/>
                  </a:lnTo>
                  <a:lnTo>
                    <a:pt x="675" y="151993"/>
                  </a:lnTo>
                  <a:lnTo>
                    <a:pt x="0" y="165826"/>
                  </a:lnTo>
                  <a:lnTo>
                    <a:pt x="1350" y="179659"/>
                  </a:lnTo>
                  <a:lnTo>
                    <a:pt x="1138" y="193492"/>
                  </a:lnTo>
                  <a:lnTo>
                    <a:pt x="1223" y="207325"/>
                  </a:lnTo>
                  <a:lnTo>
                    <a:pt x="506" y="221158"/>
                  </a:lnTo>
                  <a:lnTo>
                    <a:pt x="1560" y="234991"/>
                  </a:lnTo>
                  <a:lnTo>
                    <a:pt x="886" y="248824"/>
                  </a:lnTo>
                  <a:lnTo>
                    <a:pt x="1138" y="262150"/>
                  </a:lnTo>
                  <a:lnTo>
                    <a:pt x="13833" y="262530"/>
                  </a:lnTo>
                  <a:lnTo>
                    <a:pt x="27075" y="261855"/>
                  </a:lnTo>
                  <a:lnTo>
                    <a:pt x="40360" y="263247"/>
                  </a:lnTo>
                  <a:lnTo>
                    <a:pt x="53603" y="262952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FAE065E3-F982-F979-FD31-74C33B9F298C}"/>
                </a:ext>
              </a:extLst>
            </p:cNvPr>
            <p:cNvSpPr/>
            <p:nvPr/>
          </p:nvSpPr>
          <p:spPr>
            <a:xfrm>
              <a:off x="-298224" y="3915399"/>
              <a:ext cx="72580" cy="52421"/>
            </a:xfrm>
            <a:custGeom>
              <a:avLst/>
              <a:gdLst>
                <a:gd name="connsiteX0" fmla="*/ 72496 w 72580"/>
                <a:gd name="connsiteY0" fmla="*/ 0 h 52421"/>
                <a:gd name="connsiteX1" fmla="*/ 71231 w 72580"/>
                <a:gd name="connsiteY1" fmla="*/ 13411 h 52421"/>
                <a:gd name="connsiteX2" fmla="*/ 71105 w 72580"/>
                <a:gd name="connsiteY2" fmla="*/ 26148 h 52421"/>
                <a:gd name="connsiteX3" fmla="*/ 72454 w 72580"/>
                <a:gd name="connsiteY3" fmla="*/ 38926 h 52421"/>
                <a:gd name="connsiteX4" fmla="*/ 72581 w 72580"/>
                <a:gd name="connsiteY4" fmla="*/ 52422 h 52421"/>
                <a:gd name="connsiteX5" fmla="*/ 59085 w 72580"/>
                <a:gd name="connsiteY5" fmla="*/ 51873 h 52421"/>
                <a:gd name="connsiteX6" fmla="*/ 46349 w 72580"/>
                <a:gd name="connsiteY6" fmla="*/ 51916 h 52421"/>
                <a:gd name="connsiteX7" fmla="*/ 33570 w 72580"/>
                <a:gd name="connsiteY7" fmla="*/ 51620 h 52421"/>
                <a:gd name="connsiteX8" fmla="*/ 20749 w 72580"/>
                <a:gd name="connsiteY8" fmla="*/ 51789 h 52421"/>
                <a:gd name="connsiteX9" fmla="*/ 10122 w 72580"/>
                <a:gd name="connsiteY9" fmla="*/ 38968 h 52421"/>
                <a:gd name="connsiteX10" fmla="*/ 0 w 72580"/>
                <a:gd name="connsiteY10" fmla="*/ 26190 h 52421"/>
                <a:gd name="connsiteX11" fmla="*/ 9784 w 72580"/>
                <a:gd name="connsiteY11" fmla="*/ 13116 h 52421"/>
                <a:gd name="connsiteX12" fmla="*/ 21129 w 72580"/>
                <a:gd name="connsiteY12" fmla="*/ 1307 h 52421"/>
                <a:gd name="connsiteX13" fmla="*/ 33528 w 72580"/>
                <a:gd name="connsiteY13" fmla="*/ 1012 h 52421"/>
                <a:gd name="connsiteX14" fmla="*/ 46307 w 72580"/>
                <a:gd name="connsiteY14" fmla="*/ 928 h 52421"/>
                <a:gd name="connsiteX15" fmla="*/ 59085 w 72580"/>
                <a:gd name="connsiteY15" fmla="*/ 928 h 52421"/>
                <a:gd name="connsiteX16" fmla="*/ 72496 w 72580"/>
                <a:gd name="connsiteY16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580" h="52421">
                  <a:moveTo>
                    <a:pt x="72496" y="0"/>
                  </a:moveTo>
                  <a:lnTo>
                    <a:pt x="71231" y="13411"/>
                  </a:lnTo>
                  <a:lnTo>
                    <a:pt x="71105" y="26148"/>
                  </a:lnTo>
                  <a:lnTo>
                    <a:pt x="72454" y="38926"/>
                  </a:lnTo>
                  <a:lnTo>
                    <a:pt x="72581" y="52422"/>
                  </a:lnTo>
                  <a:lnTo>
                    <a:pt x="59085" y="51873"/>
                  </a:lnTo>
                  <a:lnTo>
                    <a:pt x="46349" y="51916"/>
                  </a:lnTo>
                  <a:lnTo>
                    <a:pt x="33570" y="51620"/>
                  </a:lnTo>
                  <a:lnTo>
                    <a:pt x="20749" y="51789"/>
                  </a:lnTo>
                  <a:lnTo>
                    <a:pt x="10122" y="38968"/>
                  </a:lnTo>
                  <a:lnTo>
                    <a:pt x="0" y="26190"/>
                  </a:lnTo>
                  <a:lnTo>
                    <a:pt x="9784" y="13116"/>
                  </a:lnTo>
                  <a:lnTo>
                    <a:pt x="21129" y="1307"/>
                  </a:lnTo>
                  <a:lnTo>
                    <a:pt x="33528" y="1012"/>
                  </a:lnTo>
                  <a:lnTo>
                    <a:pt x="46307" y="928"/>
                  </a:lnTo>
                  <a:lnTo>
                    <a:pt x="59085" y="928"/>
                  </a:lnTo>
                  <a:lnTo>
                    <a:pt x="72496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193D43FF-8C89-433F-0F09-4B25C12E5988}"/>
                </a:ext>
              </a:extLst>
            </p:cNvPr>
            <p:cNvSpPr/>
            <p:nvPr/>
          </p:nvSpPr>
          <p:spPr>
            <a:xfrm>
              <a:off x="-344362" y="3993885"/>
              <a:ext cx="118634" cy="52421"/>
            </a:xfrm>
            <a:custGeom>
              <a:avLst/>
              <a:gdLst>
                <a:gd name="connsiteX0" fmla="*/ 118423 w 118634"/>
                <a:gd name="connsiteY0" fmla="*/ 0 h 52421"/>
                <a:gd name="connsiteX1" fmla="*/ 117748 w 118634"/>
                <a:gd name="connsiteY1" fmla="*/ 13242 h 52421"/>
                <a:gd name="connsiteX2" fmla="*/ 118550 w 118634"/>
                <a:gd name="connsiteY2" fmla="*/ 26021 h 52421"/>
                <a:gd name="connsiteX3" fmla="*/ 118086 w 118634"/>
                <a:gd name="connsiteY3" fmla="*/ 38757 h 52421"/>
                <a:gd name="connsiteX4" fmla="*/ 118634 w 118634"/>
                <a:gd name="connsiteY4" fmla="*/ 52253 h 52421"/>
                <a:gd name="connsiteX5" fmla="*/ 104253 w 118634"/>
                <a:gd name="connsiteY5" fmla="*/ 51578 h 52421"/>
                <a:gd name="connsiteX6" fmla="*/ 90589 w 118634"/>
                <a:gd name="connsiteY6" fmla="*/ 51789 h 52421"/>
                <a:gd name="connsiteX7" fmla="*/ 76882 w 118634"/>
                <a:gd name="connsiteY7" fmla="*/ 51705 h 52421"/>
                <a:gd name="connsiteX8" fmla="*/ 63176 w 118634"/>
                <a:gd name="connsiteY8" fmla="*/ 51452 h 52421"/>
                <a:gd name="connsiteX9" fmla="*/ 49470 w 118634"/>
                <a:gd name="connsiteY9" fmla="*/ 51873 h 52421"/>
                <a:gd name="connsiteX10" fmla="*/ 35763 w 118634"/>
                <a:gd name="connsiteY10" fmla="*/ 51663 h 52421"/>
                <a:gd name="connsiteX11" fmla="*/ 21551 w 118634"/>
                <a:gd name="connsiteY11" fmla="*/ 52422 h 52421"/>
                <a:gd name="connsiteX12" fmla="*/ 10965 w 118634"/>
                <a:gd name="connsiteY12" fmla="*/ 39137 h 52421"/>
                <a:gd name="connsiteX13" fmla="*/ 0 w 118634"/>
                <a:gd name="connsiteY13" fmla="*/ 26021 h 52421"/>
                <a:gd name="connsiteX14" fmla="*/ 12104 w 118634"/>
                <a:gd name="connsiteY14" fmla="*/ 13875 h 52421"/>
                <a:gd name="connsiteX15" fmla="*/ 22394 w 118634"/>
                <a:gd name="connsiteY15" fmla="*/ 1223 h 52421"/>
                <a:gd name="connsiteX16" fmla="*/ 35721 w 118634"/>
                <a:gd name="connsiteY16" fmla="*/ 337 h 52421"/>
                <a:gd name="connsiteX17" fmla="*/ 49427 w 118634"/>
                <a:gd name="connsiteY17" fmla="*/ 970 h 52421"/>
                <a:gd name="connsiteX18" fmla="*/ 63092 w 118634"/>
                <a:gd name="connsiteY18" fmla="*/ 1476 h 52421"/>
                <a:gd name="connsiteX19" fmla="*/ 76798 w 118634"/>
                <a:gd name="connsiteY19" fmla="*/ 1012 h 52421"/>
                <a:gd name="connsiteX20" fmla="*/ 90504 w 118634"/>
                <a:gd name="connsiteY20" fmla="*/ 970 h 52421"/>
                <a:gd name="connsiteX21" fmla="*/ 104253 w 118634"/>
                <a:gd name="connsiteY21" fmla="*/ 127 h 52421"/>
                <a:gd name="connsiteX22" fmla="*/ 118423 w 118634"/>
                <a:gd name="connsiteY22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34" h="52421">
                  <a:moveTo>
                    <a:pt x="118423" y="0"/>
                  </a:moveTo>
                  <a:lnTo>
                    <a:pt x="117748" y="13242"/>
                  </a:lnTo>
                  <a:lnTo>
                    <a:pt x="118550" y="26021"/>
                  </a:lnTo>
                  <a:lnTo>
                    <a:pt x="118086" y="38757"/>
                  </a:lnTo>
                  <a:lnTo>
                    <a:pt x="118634" y="52253"/>
                  </a:lnTo>
                  <a:lnTo>
                    <a:pt x="104253" y="51578"/>
                  </a:lnTo>
                  <a:lnTo>
                    <a:pt x="90589" y="51789"/>
                  </a:lnTo>
                  <a:lnTo>
                    <a:pt x="76882" y="51705"/>
                  </a:lnTo>
                  <a:lnTo>
                    <a:pt x="63176" y="51452"/>
                  </a:lnTo>
                  <a:lnTo>
                    <a:pt x="49470" y="51873"/>
                  </a:lnTo>
                  <a:lnTo>
                    <a:pt x="35763" y="51663"/>
                  </a:lnTo>
                  <a:lnTo>
                    <a:pt x="21551" y="52422"/>
                  </a:lnTo>
                  <a:lnTo>
                    <a:pt x="10965" y="39137"/>
                  </a:lnTo>
                  <a:lnTo>
                    <a:pt x="0" y="26021"/>
                  </a:lnTo>
                  <a:lnTo>
                    <a:pt x="12104" y="13875"/>
                  </a:lnTo>
                  <a:lnTo>
                    <a:pt x="22394" y="1223"/>
                  </a:lnTo>
                  <a:lnTo>
                    <a:pt x="35721" y="337"/>
                  </a:lnTo>
                  <a:lnTo>
                    <a:pt x="49427" y="970"/>
                  </a:lnTo>
                  <a:lnTo>
                    <a:pt x="63092" y="1476"/>
                  </a:lnTo>
                  <a:lnTo>
                    <a:pt x="76798" y="1012"/>
                  </a:lnTo>
                  <a:lnTo>
                    <a:pt x="90504" y="970"/>
                  </a:lnTo>
                  <a:lnTo>
                    <a:pt x="104253" y="127"/>
                  </a:lnTo>
                  <a:lnTo>
                    <a:pt x="118423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548FFF0-8BAF-EBF6-D387-5AAB100D9D7A}"/>
                </a:ext>
              </a:extLst>
            </p:cNvPr>
            <p:cNvSpPr/>
            <p:nvPr/>
          </p:nvSpPr>
          <p:spPr>
            <a:xfrm>
              <a:off x="-398767" y="4071737"/>
              <a:ext cx="173080" cy="52927"/>
            </a:xfrm>
            <a:custGeom>
              <a:avLst/>
              <a:gdLst>
                <a:gd name="connsiteX0" fmla="*/ 172532 w 173080"/>
                <a:gd name="connsiteY0" fmla="*/ 843 h 52927"/>
                <a:gd name="connsiteX1" fmla="*/ 172743 w 173080"/>
                <a:gd name="connsiteY1" fmla="*/ 13749 h 52927"/>
                <a:gd name="connsiteX2" fmla="*/ 172068 w 173080"/>
                <a:gd name="connsiteY2" fmla="*/ 26485 h 52927"/>
                <a:gd name="connsiteX3" fmla="*/ 171646 w 173080"/>
                <a:gd name="connsiteY3" fmla="*/ 39264 h 52927"/>
                <a:gd name="connsiteX4" fmla="*/ 173080 w 173080"/>
                <a:gd name="connsiteY4" fmla="*/ 52759 h 52927"/>
                <a:gd name="connsiteX5" fmla="*/ 158657 w 173080"/>
                <a:gd name="connsiteY5" fmla="*/ 52126 h 52927"/>
                <a:gd name="connsiteX6" fmla="*/ 144993 w 173080"/>
                <a:gd name="connsiteY6" fmla="*/ 51620 h 52927"/>
                <a:gd name="connsiteX7" fmla="*/ 131286 w 173080"/>
                <a:gd name="connsiteY7" fmla="*/ 52928 h 52927"/>
                <a:gd name="connsiteX8" fmla="*/ 117538 w 173080"/>
                <a:gd name="connsiteY8" fmla="*/ 51325 h 52927"/>
                <a:gd name="connsiteX9" fmla="*/ 103831 w 173080"/>
                <a:gd name="connsiteY9" fmla="*/ 52211 h 52927"/>
                <a:gd name="connsiteX10" fmla="*/ 90167 w 173080"/>
                <a:gd name="connsiteY10" fmla="*/ 52000 h 52927"/>
                <a:gd name="connsiteX11" fmla="*/ 76418 w 173080"/>
                <a:gd name="connsiteY11" fmla="*/ 52633 h 52927"/>
                <a:gd name="connsiteX12" fmla="*/ 62712 w 173080"/>
                <a:gd name="connsiteY12" fmla="*/ 51325 h 52927"/>
                <a:gd name="connsiteX13" fmla="*/ 49006 w 173080"/>
                <a:gd name="connsiteY13" fmla="*/ 51283 h 52927"/>
                <a:gd name="connsiteX14" fmla="*/ 35257 w 173080"/>
                <a:gd name="connsiteY14" fmla="*/ 52506 h 52927"/>
                <a:gd name="connsiteX15" fmla="*/ 21846 w 173080"/>
                <a:gd name="connsiteY15" fmla="*/ 51452 h 52927"/>
                <a:gd name="connsiteX16" fmla="*/ 10839 w 173080"/>
                <a:gd name="connsiteY16" fmla="*/ 39306 h 52927"/>
                <a:gd name="connsiteX17" fmla="*/ 0 w 173080"/>
                <a:gd name="connsiteY17" fmla="*/ 26527 h 52927"/>
                <a:gd name="connsiteX18" fmla="*/ 11345 w 173080"/>
                <a:gd name="connsiteY18" fmla="*/ 14128 h 52927"/>
                <a:gd name="connsiteX19" fmla="*/ 21804 w 173080"/>
                <a:gd name="connsiteY19" fmla="*/ 1518 h 52927"/>
                <a:gd name="connsiteX20" fmla="*/ 35257 w 173080"/>
                <a:gd name="connsiteY20" fmla="*/ 717 h 52927"/>
                <a:gd name="connsiteX21" fmla="*/ 48921 w 173080"/>
                <a:gd name="connsiteY21" fmla="*/ 1898 h 52927"/>
                <a:gd name="connsiteX22" fmla="*/ 62628 w 173080"/>
                <a:gd name="connsiteY22" fmla="*/ 1518 h 52927"/>
                <a:gd name="connsiteX23" fmla="*/ 76334 w 173080"/>
                <a:gd name="connsiteY23" fmla="*/ 590 h 52927"/>
                <a:gd name="connsiteX24" fmla="*/ 90083 w 173080"/>
                <a:gd name="connsiteY24" fmla="*/ 675 h 52927"/>
                <a:gd name="connsiteX25" fmla="*/ 103747 w 173080"/>
                <a:gd name="connsiteY25" fmla="*/ 1856 h 52927"/>
                <a:gd name="connsiteX26" fmla="*/ 117453 w 173080"/>
                <a:gd name="connsiteY26" fmla="*/ 717 h 52927"/>
                <a:gd name="connsiteX27" fmla="*/ 131202 w 173080"/>
                <a:gd name="connsiteY27" fmla="*/ 2024 h 52927"/>
                <a:gd name="connsiteX28" fmla="*/ 144908 w 173080"/>
                <a:gd name="connsiteY28" fmla="*/ 759 h 52927"/>
                <a:gd name="connsiteX29" fmla="*/ 158615 w 173080"/>
                <a:gd name="connsiteY29" fmla="*/ 0 h 52927"/>
                <a:gd name="connsiteX30" fmla="*/ 172532 w 173080"/>
                <a:gd name="connsiteY30" fmla="*/ 843 h 5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3080" h="52927">
                  <a:moveTo>
                    <a:pt x="172532" y="843"/>
                  </a:moveTo>
                  <a:lnTo>
                    <a:pt x="172743" y="13749"/>
                  </a:lnTo>
                  <a:lnTo>
                    <a:pt x="172068" y="26485"/>
                  </a:lnTo>
                  <a:lnTo>
                    <a:pt x="171646" y="39264"/>
                  </a:lnTo>
                  <a:lnTo>
                    <a:pt x="173080" y="52759"/>
                  </a:lnTo>
                  <a:lnTo>
                    <a:pt x="158657" y="52126"/>
                  </a:lnTo>
                  <a:lnTo>
                    <a:pt x="144993" y="51620"/>
                  </a:lnTo>
                  <a:lnTo>
                    <a:pt x="131286" y="52928"/>
                  </a:lnTo>
                  <a:lnTo>
                    <a:pt x="117538" y="51325"/>
                  </a:lnTo>
                  <a:lnTo>
                    <a:pt x="103831" y="52211"/>
                  </a:lnTo>
                  <a:lnTo>
                    <a:pt x="90167" y="52000"/>
                  </a:lnTo>
                  <a:lnTo>
                    <a:pt x="76418" y="52633"/>
                  </a:lnTo>
                  <a:lnTo>
                    <a:pt x="62712" y="51325"/>
                  </a:lnTo>
                  <a:lnTo>
                    <a:pt x="49006" y="51283"/>
                  </a:lnTo>
                  <a:lnTo>
                    <a:pt x="35257" y="52506"/>
                  </a:lnTo>
                  <a:lnTo>
                    <a:pt x="21846" y="51452"/>
                  </a:lnTo>
                  <a:lnTo>
                    <a:pt x="10839" y="39306"/>
                  </a:lnTo>
                  <a:lnTo>
                    <a:pt x="0" y="26527"/>
                  </a:lnTo>
                  <a:lnTo>
                    <a:pt x="11345" y="14128"/>
                  </a:lnTo>
                  <a:lnTo>
                    <a:pt x="21804" y="1518"/>
                  </a:lnTo>
                  <a:lnTo>
                    <a:pt x="35257" y="717"/>
                  </a:lnTo>
                  <a:lnTo>
                    <a:pt x="48921" y="1898"/>
                  </a:lnTo>
                  <a:lnTo>
                    <a:pt x="62628" y="1518"/>
                  </a:lnTo>
                  <a:lnTo>
                    <a:pt x="76334" y="590"/>
                  </a:lnTo>
                  <a:lnTo>
                    <a:pt x="90083" y="675"/>
                  </a:lnTo>
                  <a:lnTo>
                    <a:pt x="103747" y="1856"/>
                  </a:lnTo>
                  <a:lnTo>
                    <a:pt x="117453" y="717"/>
                  </a:lnTo>
                  <a:lnTo>
                    <a:pt x="131202" y="2024"/>
                  </a:lnTo>
                  <a:lnTo>
                    <a:pt x="144908" y="759"/>
                  </a:lnTo>
                  <a:lnTo>
                    <a:pt x="158615" y="0"/>
                  </a:lnTo>
                  <a:lnTo>
                    <a:pt x="172532" y="843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07AF5B05-6E9B-5F21-83A4-F48A52D34A7D}"/>
              </a:ext>
            </a:extLst>
          </p:cNvPr>
          <p:cNvGrpSpPr/>
          <p:nvPr/>
        </p:nvGrpSpPr>
        <p:grpSpPr>
          <a:xfrm>
            <a:off x="582435" y="2878680"/>
            <a:ext cx="302413" cy="249372"/>
            <a:chOff x="-741021" y="2103591"/>
            <a:chExt cx="370665" cy="305654"/>
          </a:xfrm>
          <a:solidFill>
            <a:srgbClr val="B5CEBD"/>
          </a:solidFill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095DB1A4-A1B4-E90F-1DB7-A81EA208713C}"/>
                </a:ext>
              </a:extLst>
            </p:cNvPr>
            <p:cNvSpPr/>
            <p:nvPr/>
          </p:nvSpPr>
          <p:spPr>
            <a:xfrm>
              <a:off x="-741021" y="2103591"/>
              <a:ext cx="219358" cy="95103"/>
            </a:xfrm>
            <a:custGeom>
              <a:avLst/>
              <a:gdLst>
                <a:gd name="connsiteX0" fmla="*/ 0 w 353231"/>
                <a:gd name="connsiteY0" fmla="*/ 153144 h 153144"/>
                <a:gd name="connsiteX1" fmla="*/ 21672 w 353231"/>
                <a:gd name="connsiteY1" fmla="*/ 142344 h 153144"/>
                <a:gd name="connsiteX2" fmla="*/ 41832 w 353231"/>
                <a:gd name="connsiteY2" fmla="*/ 128736 h 153144"/>
                <a:gd name="connsiteX3" fmla="*/ 64584 w 353231"/>
                <a:gd name="connsiteY3" fmla="*/ 119808 h 153144"/>
                <a:gd name="connsiteX4" fmla="*/ 84456 w 353231"/>
                <a:gd name="connsiteY4" fmla="*/ 105768 h 153144"/>
                <a:gd name="connsiteX5" fmla="*/ 106488 w 353231"/>
                <a:gd name="connsiteY5" fmla="*/ 95544 h 153144"/>
                <a:gd name="connsiteX6" fmla="*/ 127440 w 353231"/>
                <a:gd name="connsiteY6" fmla="*/ 83376 h 153144"/>
                <a:gd name="connsiteX7" fmla="*/ 147888 w 353231"/>
                <a:gd name="connsiteY7" fmla="*/ 70344 h 153144"/>
                <a:gd name="connsiteX8" fmla="*/ 169560 w 353231"/>
                <a:gd name="connsiteY8" fmla="*/ 59472 h 153144"/>
                <a:gd name="connsiteX9" fmla="*/ 189936 w 353231"/>
                <a:gd name="connsiteY9" fmla="*/ 46440 h 153144"/>
                <a:gd name="connsiteX10" fmla="*/ 210960 w 353231"/>
                <a:gd name="connsiteY10" fmla="*/ 34344 h 153144"/>
                <a:gd name="connsiteX11" fmla="*/ 232416 w 353231"/>
                <a:gd name="connsiteY11" fmla="*/ 22968 h 153144"/>
                <a:gd name="connsiteX12" fmla="*/ 252936 w 353231"/>
                <a:gd name="connsiteY12" fmla="*/ 10080 h 153144"/>
                <a:gd name="connsiteX13" fmla="*/ 274896 w 353231"/>
                <a:gd name="connsiteY13" fmla="*/ 0 h 153144"/>
                <a:gd name="connsiteX14" fmla="*/ 293760 w 353231"/>
                <a:gd name="connsiteY14" fmla="*/ 11232 h 153144"/>
                <a:gd name="connsiteX15" fmla="*/ 313776 w 353231"/>
                <a:gd name="connsiteY15" fmla="*/ 20808 h 153144"/>
                <a:gd name="connsiteX16" fmla="*/ 333000 w 353231"/>
                <a:gd name="connsiteY16" fmla="*/ 32040 h 153144"/>
                <a:gd name="connsiteX17" fmla="*/ 353232 w 353231"/>
                <a:gd name="connsiteY17" fmla="*/ 41328 h 15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3231" h="153144">
                  <a:moveTo>
                    <a:pt x="0" y="153144"/>
                  </a:moveTo>
                  <a:lnTo>
                    <a:pt x="21672" y="142344"/>
                  </a:lnTo>
                  <a:lnTo>
                    <a:pt x="41832" y="128736"/>
                  </a:lnTo>
                  <a:lnTo>
                    <a:pt x="64584" y="119808"/>
                  </a:lnTo>
                  <a:lnTo>
                    <a:pt x="84456" y="105768"/>
                  </a:lnTo>
                  <a:lnTo>
                    <a:pt x="106488" y="95544"/>
                  </a:lnTo>
                  <a:lnTo>
                    <a:pt x="127440" y="83376"/>
                  </a:lnTo>
                  <a:lnTo>
                    <a:pt x="147888" y="70344"/>
                  </a:lnTo>
                  <a:lnTo>
                    <a:pt x="169560" y="59472"/>
                  </a:lnTo>
                  <a:lnTo>
                    <a:pt x="189936" y="46440"/>
                  </a:lnTo>
                  <a:lnTo>
                    <a:pt x="210960" y="34344"/>
                  </a:lnTo>
                  <a:lnTo>
                    <a:pt x="232416" y="22968"/>
                  </a:lnTo>
                  <a:lnTo>
                    <a:pt x="252936" y="10080"/>
                  </a:lnTo>
                  <a:lnTo>
                    <a:pt x="274896" y="0"/>
                  </a:lnTo>
                  <a:lnTo>
                    <a:pt x="293760" y="11232"/>
                  </a:lnTo>
                  <a:lnTo>
                    <a:pt x="313776" y="20808"/>
                  </a:lnTo>
                  <a:lnTo>
                    <a:pt x="333000" y="32040"/>
                  </a:lnTo>
                  <a:lnTo>
                    <a:pt x="353232" y="41328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29DC27E-25A0-DEB7-80CD-E14DD4B86F99}"/>
                </a:ext>
              </a:extLst>
            </p:cNvPr>
            <p:cNvSpPr/>
            <p:nvPr/>
          </p:nvSpPr>
          <p:spPr>
            <a:xfrm>
              <a:off x="-715133" y="2184163"/>
              <a:ext cx="298410" cy="225082"/>
            </a:xfrm>
            <a:custGeom>
              <a:avLst/>
              <a:gdLst>
                <a:gd name="connsiteX0" fmla="*/ 2880 w 480528"/>
                <a:gd name="connsiteY0" fmla="*/ 0 h 362448"/>
                <a:gd name="connsiteX1" fmla="*/ 0 w 480528"/>
                <a:gd name="connsiteY1" fmla="*/ 23976 h 362448"/>
                <a:gd name="connsiteX2" fmla="*/ 3312 w 480528"/>
                <a:gd name="connsiteY2" fmla="*/ 48024 h 362448"/>
                <a:gd name="connsiteX3" fmla="*/ 1584 w 480528"/>
                <a:gd name="connsiteY3" fmla="*/ 72072 h 362448"/>
                <a:gd name="connsiteX4" fmla="*/ 3024 w 480528"/>
                <a:gd name="connsiteY4" fmla="*/ 96120 h 362448"/>
                <a:gd name="connsiteX5" fmla="*/ 2376 w 480528"/>
                <a:gd name="connsiteY5" fmla="*/ 120168 h 362448"/>
                <a:gd name="connsiteX6" fmla="*/ 288 w 480528"/>
                <a:gd name="connsiteY6" fmla="*/ 144144 h 362448"/>
                <a:gd name="connsiteX7" fmla="*/ 1800 w 480528"/>
                <a:gd name="connsiteY7" fmla="*/ 168192 h 362448"/>
                <a:gd name="connsiteX8" fmla="*/ 2232 w 480528"/>
                <a:gd name="connsiteY8" fmla="*/ 192312 h 362448"/>
                <a:gd name="connsiteX9" fmla="*/ 3312 w 480528"/>
                <a:gd name="connsiteY9" fmla="*/ 216360 h 362448"/>
                <a:gd name="connsiteX10" fmla="*/ 3456 w 480528"/>
                <a:gd name="connsiteY10" fmla="*/ 240336 h 362448"/>
                <a:gd name="connsiteX11" fmla="*/ 1512 w 480528"/>
                <a:gd name="connsiteY11" fmla="*/ 264456 h 362448"/>
                <a:gd name="connsiteX12" fmla="*/ 2304 w 480528"/>
                <a:gd name="connsiteY12" fmla="*/ 288504 h 362448"/>
                <a:gd name="connsiteX13" fmla="*/ 2880 w 480528"/>
                <a:gd name="connsiteY13" fmla="*/ 312552 h 362448"/>
                <a:gd name="connsiteX14" fmla="*/ 2952 w 480528"/>
                <a:gd name="connsiteY14" fmla="*/ 336672 h 362448"/>
                <a:gd name="connsiteX15" fmla="*/ 2016 w 480528"/>
                <a:gd name="connsiteY15" fmla="*/ 360504 h 362448"/>
                <a:gd name="connsiteX16" fmla="*/ 25632 w 480528"/>
                <a:gd name="connsiteY16" fmla="*/ 362448 h 362448"/>
                <a:gd name="connsiteX17" fmla="*/ 49536 w 480528"/>
                <a:gd name="connsiteY17" fmla="*/ 361296 h 362448"/>
                <a:gd name="connsiteX18" fmla="*/ 73368 w 480528"/>
                <a:gd name="connsiteY18" fmla="*/ 360072 h 362448"/>
                <a:gd name="connsiteX19" fmla="*/ 97272 w 480528"/>
                <a:gd name="connsiteY19" fmla="*/ 361296 h 362448"/>
                <a:gd name="connsiteX20" fmla="*/ 121104 w 480528"/>
                <a:gd name="connsiteY20" fmla="*/ 360000 h 362448"/>
                <a:gd name="connsiteX21" fmla="*/ 145008 w 480528"/>
                <a:gd name="connsiteY21" fmla="*/ 361512 h 362448"/>
                <a:gd name="connsiteX22" fmla="*/ 168840 w 480528"/>
                <a:gd name="connsiteY22" fmla="*/ 361152 h 362448"/>
                <a:gd name="connsiteX23" fmla="*/ 192744 w 480528"/>
                <a:gd name="connsiteY23" fmla="*/ 359064 h 362448"/>
                <a:gd name="connsiteX24" fmla="*/ 216576 w 480528"/>
                <a:gd name="connsiteY24" fmla="*/ 359352 h 362448"/>
                <a:gd name="connsiteX25" fmla="*/ 240480 w 480528"/>
                <a:gd name="connsiteY25" fmla="*/ 360432 h 362448"/>
                <a:gd name="connsiteX26" fmla="*/ 264312 w 480528"/>
                <a:gd name="connsiteY26" fmla="*/ 359496 h 362448"/>
                <a:gd name="connsiteX27" fmla="*/ 288216 w 480528"/>
                <a:gd name="connsiteY27" fmla="*/ 362448 h 362448"/>
                <a:gd name="connsiteX28" fmla="*/ 312120 w 480528"/>
                <a:gd name="connsiteY28" fmla="*/ 361944 h 362448"/>
                <a:gd name="connsiteX29" fmla="*/ 336024 w 480528"/>
                <a:gd name="connsiteY29" fmla="*/ 361080 h 362448"/>
                <a:gd name="connsiteX30" fmla="*/ 359928 w 480528"/>
                <a:gd name="connsiteY30" fmla="*/ 359568 h 362448"/>
                <a:gd name="connsiteX31" fmla="*/ 383832 w 480528"/>
                <a:gd name="connsiteY31" fmla="*/ 359280 h 362448"/>
                <a:gd name="connsiteX32" fmla="*/ 407736 w 480528"/>
                <a:gd name="connsiteY32" fmla="*/ 360792 h 362448"/>
                <a:gd name="connsiteX33" fmla="*/ 431640 w 480528"/>
                <a:gd name="connsiteY33" fmla="*/ 358992 h 362448"/>
                <a:gd name="connsiteX34" fmla="*/ 455544 w 480528"/>
                <a:gd name="connsiteY34" fmla="*/ 360288 h 362448"/>
                <a:gd name="connsiteX35" fmla="*/ 478800 w 480528"/>
                <a:gd name="connsiteY35" fmla="*/ 360072 h 362448"/>
                <a:gd name="connsiteX36" fmla="*/ 480528 w 480528"/>
                <a:gd name="connsiteY36" fmla="*/ 335520 h 362448"/>
                <a:gd name="connsiteX37" fmla="*/ 479304 w 480528"/>
                <a:gd name="connsiteY37" fmla="*/ 310320 h 362448"/>
                <a:gd name="connsiteX38" fmla="*/ 478800 w 480528"/>
                <a:gd name="connsiteY38" fmla="*/ 285048 h 362448"/>
                <a:gd name="connsiteX39" fmla="*/ 479232 w 480528"/>
                <a:gd name="connsiteY39" fmla="*/ 259776 h 36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0528" h="362448">
                  <a:moveTo>
                    <a:pt x="2880" y="0"/>
                  </a:moveTo>
                  <a:lnTo>
                    <a:pt x="0" y="23976"/>
                  </a:lnTo>
                  <a:lnTo>
                    <a:pt x="3312" y="48024"/>
                  </a:lnTo>
                  <a:lnTo>
                    <a:pt x="1584" y="72072"/>
                  </a:lnTo>
                  <a:lnTo>
                    <a:pt x="3024" y="96120"/>
                  </a:lnTo>
                  <a:lnTo>
                    <a:pt x="2376" y="120168"/>
                  </a:lnTo>
                  <a:lnTo>
                    <a:pt x="288" y="144144"/>
                  </a:lnTo>
                  <a:lnTo>
                    <a:pt x="1800" y="168192"/>
                  </a:lnTo>
                  <a:lnTo>
                    <a:pt x="2232" y="192312"/>
                  </a:lnTo>
                  <a:lnTo>
                    <a:pt x="3312" y="216360"/>
                  </a:lnTo>
                  <a:lnTo>
                    <a:pt x="3456" y="240336"/>
                  </a:lnTo>
                  <a:lnTo>
                    <a:pt x="1512" y="264456"/>
                  </a:lnTo>
                  <a:lnTo>
                    <a:pt x="2304" y="288504"/>
                  </a:lnTo>
                  <a:lnTo>
                    <a:pt x="2880" y="312552"/>
                  </a:lnTo>
                  <a:lnTo>
                    <a:pt x="2952" y="336672"/>
                  </a:lnTo>
                  <a:lnTo>
                    <a:pt x="2016" y="360504"/>
                  </a:lnTo>
                  <a:lnTo>
                    <a:pt x="25632" y="362448"/>
                  </a:lnTo>
                  <a:lnTo>
                    <a:pt x="49536" y="361296"/>
                  </a:lnTo>
                  <a:lnTo>
                    <a:pt x="73368" y="360072"/>
                  </a:lnTo>
                  <a:lnTo>
                    <a:pt x="97272" y="361296"/>
                  </a:lnTo>
                  <a:lnTo>
                    <a:pt x="121104" y="360000"/>
                  </a:lnTo>
                  <a:lnTo>
                    <a:pt x="145008" y="361512"/>
                  </a:lnTo>
                  <a:lnTo>
                    <a:pt x="168840" y="361152"/>
                  </a:lnTo>
                  <a:lnTo>
                    <a:pt x="192744" y="359064"/>
                  </a:lnTo>
                  <a:lnTo>
                    <a:pt x="216576" y="359352"/>
                  </a:lnTo>
                  <a:lnTo>
                    <a:pt x="240480" y="360432"/>
                  </a:lnTo>
                  <a:lnTo>
                    <a:pt x="264312" y="359496"/>
                  </a:lnTo>
                  <a:lnTo>
                    <a:pt x="288216" y="362448"/>
                  </a:lnTo>
                  <a:lnTo>
                    <a:pt x="312120" y="361944"/>
                  </a:lnTo>
                  <a:lnTo>
                    <a:pt x="336024" y="361080"/>
                  </a:lnTo>
                  <a:lnTo>
                    <a:pt x="359928" y="359568"/>
                  </a:lnTo>
                  <a:lnTo>
                    <a:pt x="383832" y="359280"/>
                  </a:lnTo>
                  <a:lnTo>
                    <a:pt x="407736" y="360792"/>
                  </a:lnTo>
                  <a:lnTo>
                    <a:pt x="431640" y="358992"/>
                  </a:lnTo>
                  <a:lnTo>
                    <a:pt x="455544" y="360288"/>
                  </a:lnTo>
                  <a:lnTo>
                    <a:pt x="478800" y="360072"/>
                  </a:lnTo>
                  <a:lnTo>
                    <a:pt x="480528" y="335520"/>
                  </a:lnTo>
                  <a:lnTo>
                    <a:pt x="479304" y="310320"/>
                  </a:lnTo>
                  <a:lnTo>
                    <a:pt x="478800" y="285048"/>
                  </a:lnTo>
                  <a:lnTo>
                    <a:pt x="479232" y="25977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7BE6CB5B-2E27-E1CD-2A07-7FA58F1A8478}"/>
                </a:ext>
              </a:extLst>
            </p:cNvPr>
            <p:cNvSpPr/>
            <p:nvPr/>
          </p:nvSpPr>
          <p:spPr>
            <a:xfrm>
              <a:off x="-594677" y="2161269"/>
              <a:ext cx="224321" cy="145181"/>
            </a:xfrm>
            <a:custGeom>
              <a:avLst/>
              <a:gdLst>
                <a:gd name="connsiteX0" fmla="*/ 56952 w 361223"/>
                <a:gd name="connsiteY0" fmla="*/ 233784 h 233784"/>
                <a:gd name="connsiteX1" fmla="*/ 35208 w 361223"/>
                <a:gd name="connsiteY1" fmla="*/ 227520 h 233784"/>
                <a:gd name="connsiteX2" fmla="*/ 16416 w 361223"/>
                <a:gd name="connsiteY2" fmla="*/ 215496 h 233784"/>
                <a:gd name="connsiteX3" fmla="*/ 3384 w 361223"/>
                <a:gd name="connsiteY3" fmla="*/ 197136 h 233784"/>
                <a:gd name="connsiteX4" fmla="*/ 0 w 361223"/>
                <a:gd name="connsiteY4" fmla="*/ 174960 h 233784"/>
                <a:gd name="connsiteX5" fmla="*/ 3168 w 361223"/>
                <a:gd name="connsiteY5" fmla="*/ 154656 h 233784"/>
                <a:gd name="connsiteX6" fmla="*/ 13248 w 361223"/>
                <a:gd name="connsiteY6" fmla="*/ 136440 h 233784"/>
                <a:gd name="connsiteX7" fmla="*/ 29736 w 361223"/>
                <a:gd name="connsiteY7" fmla="*/ 123624 h 233784"/>
                <a:gd name="connsiteX8" fmla="*/ 48528 w 361223"/>
                <a:gd name="connsiteY8" fmla="*/ 116280 h 233784"/>
                <a:gd name="connsiteX9" fmla="*/ 44928 w 361223"/>
                <a:gd name="connsiteY9" fmla="*/ 93240 h 233784"/>
                <a:gd name="connsiteX10" fmla="*/ 49680 w 361223"/>
                <a:gd name="connsiteY10" fmla="*/ 68760 h 233784"/>
                <a:gd name="connsiteX11" fmla="*/ 58536 w 361223"/>
                <a:gd name="connsiteY11" fmla="*/ 45576 h 233784"/>
                <a:gd name="connsiteX12" fmla="*/ 74160 w 361223"/>
                <a:gd name="connsiteY12" fmla="*/ 26280 h 233784"/>
                <a:gd name="connsiteX13" fmla="*/ 93312 w 361223"/>
                <a:gd name="connsiteY13" fmla="*/ 10440 h 233784"/>
                <a:gd name="connsiteX14" fmla="*/ 116208 w 361223"/>
                <a:gd name="connsiteY14" fmla="*/ 216 h 233784"/>
                <a:gd name="connsiteX15" fmla="*/ 141120 w 361223"/>
                <a:gd name="connsiteY15" fmla="*/ 0 h 233784"/>
                <a:gd name="connsiteX16" fmla="*/ 162792 w 361223"/>
                <a:gd name="connsiteY16" fmla="*/ 2520 h 233784"/>
                <a:gd name="connsiteX17" fmla="*/ 183312 w 361223"/>
                <a:gd name="connsiteY17" fmla="*/ 9864 h 233784"/>
                <a:gd name="connsiteX18" fmla="*/ 202824 w 361223"/>
                <a:gd name="connsiteY18" fmla="*/ 20448 h 233784"/>
                <a:gd name="connsiteX19" fmla="*/ 217872 w 361223"/>
                <a:gd name="connsiteY19" fmla="*/ 36792 h 233784"/>
                <a:gd name="connsiteX20" fmla="*/ 227952 w 361223"/>
                <a:gd name="connsiteY20" fmla="*/ 56520 h 233784"/>
                <a:gd name="connsiteX21" fmla="*/ 234000 w 361223"/>
                <a:gd name="connsiteY21" fmla="*/ 78768 h 233784"/>
                <a:gd name="connsiteX22" fmla="*/ 250344 w 361223"/>
                <a:gd name="connsiteY22" fmla="*/ 64152 h 233784"/>
                <a:gd name="connsiteX23" fmla="*/ 268560 w 361223"/>
                <a:gd name="connsiteY23" fmla="*/ 53424 h 233784"/>
                <a:gd name="connsiteX24" fmla="*/ 289728 w 361223"/>
                <a:gd name="connsiteY24" fmla="*/ 51552 h 233784"/>
                <a:gd name="connsiteX25" fmla="*/ 311472 w 361223"/>
                <a:gd name="connsiteY25" fmla="*/ 55800 h 233784"/>
                <a:gd name="connsiteX26" fmla="*/ 331056 w 361223"/>
                <a:gd name="connsiteY26" fmla="*/ 65808 h 233784"/>
                <a:gd name="connsiteX27" fmla="*/ 346536 w 361223"/>
                <a:gd name="connsiteY27" fmla="*/ 81432 h 233784"/>
                <a:gd name="connsiteX28" fmla="*/ 358992 w 361223"/>
                <a:gd name="connsiteY28" fmla="*/ 100224 h 233784"/>
                <a:gd name="connsiteX29" fmla="*/ 361224 w 361223"/>
                <a:gd name="connsiteY29" fmla="*/ 122688 h 233784"/>
                <a:gd name="connsiteX30" fmla="*/ 356760 w 361223"/>
                <a:gd name="connsiteY30" fmla="*/ 145152 h 233784"/>
                <a:gd name="connsiteX31" fmla="*/ 346032 w 361223"/>
                <a:gd name="connsiteY31" fmla="*/ 165168 h 233784"/>
                <a:gd name="connsiteX32" fmla="*/ 330192 w 361223"/>
                <a:gd name="connsiteY32" fmla="*/ 181656 h 233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1223" h="233784">
                  <a:moveTo>
                    <a:pt x="56952" y="233784"/>
                  </a:moveTo>
                  <a:lnTo>
                    <a:pt x="35208" y="227520"/>
                  </a:lnTo>
                  <a:lnTo>
                    <a:pt x="16416" y="215496"/>
                  </a:lnTo>
                  <a:lnTo>
                    <a:pt x="3384" y="197136"/>
                  </a:lnTo>
                  <a:lnTo>
                    <a:pt x="0" y="174960"/>
                  </a:lnTo>
                  <a:lnTo>
                    <a:pt x="3168" y="154656"/>
                  </a:lnTo>
                  <a:lnTo>
                    <a:pt x="13248" y="136440"/>
                  </a:lnTo>
                  <a:lnTo>
                    <a:pt x="29736" y="123624"/>
                  </a:lnTo>
                  <a:lnTo>
                    <a:pt x="48528" y="116280"/>
                  </a:lnTo>
                  <a:lnTo>
                    <a:pt x="44928" y="93240"/>
                  </a:lnTo>
                  <a:lnTo>
                    <a:pt x="49680" y="68760"/>
                  </a:lnTo>
                  <a:lnTo>
                    <a:pt x="58536" y="45576"/>
                  </a:lnTo>
                  <a:lnTo>
                    <a:pt x="74160" y="26280"/>
                  </a:lnTo>
                  <a:lnTo>
                    <a:pt x="93312" y="10440"/>
                  </a:lnTo>
                  <a:lnTo>
                    <a:pt x="116208" y="216"/>
                  </a:lnTo>
                  <a:lnTo>
                    <a:pt x="141120" y="0"/>
                  </a:lnTo>
                  <a:lnTo>
                    <a:pt x="162792" y="2520"/>
                  </a:lnTo>
                  <a:lnTo>
                    <a:pt x="183312" y="9864"/>
                  </a:lnTo>
                  <a:lnTo>
                    <a:pt x="202824" y="20448"/>
                  </a:lnTo>
                  <a:lnTo>
                    <a:pt x="217872" y="36792"/>
                  </a:lnTo>
                  <a:lnTo>
                    <a:pt x="227952" y="56520"/>
                  </a:lnTo>
                  <a:lnTo>
                    <a:pt x="234000" y="78768"/>
                  </a:lnTo>
                  <a:lnTo>
                    <a:pt x="250344" y="64152"/>
                  </a:lnTo>
                  <a:lnTo>
                    <a:pt x="268560" y="53424"/>
                  </a:lnTo>
                  <a:lnTo>
                    <a:pt x="289728" y="51552"/>
                  </a:lnTo>
                  <a:lnTo>
                    <a:pt x="311472" y="55800"/>
                  </a:lnTo>
                  <a:lnTo>
                    <a:pt x="331056" y="65808"/>
                  </a:lnTo>
                  <a:lnTo>
                    <a:pt x="346536" y="81432"/>
                  </a:lnTo>
                  <a:lnTo>
                    <a:pt x="358992" y="100224"/>
                  </a:lnTo>
                  <a:lnTo>
                    <a:pt x="361224" y="122688"/>
                  </a:lnTo>
                  <a:lnTo>
                    <a:pt x="356760" y="145152"/>
                  </a:lnTo>
                  <a:lnTo>
                    <a:pt x="346032" y="165168"/>
                  </a:lnTo>
                  <a:lnTo>
                    <a:pt x="330192" y="18165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311055EC-5A23-8654-EA80-824221555042}"/>
                </a:ext>
              </a:extLst>
            </p:cNvPr>
            <p:cNvSpPr/>
            <p:nvPr/>
          </p:nvSpPr>
          <p:spPr>
            <a:xfrm>
              <a:off x="-542007" y="2267730"/>
              <a:ext cx="46500" cy="51777"/>
            </a:xfrm>
            <a:custGeom>
              <a:avLst/>
              <a:gdLst>
                <a:gd name="connsiteX0" fmla="*/ 74808 w 74879"/>
                <a:gd name="connsiteY0" fmla="*/ 28656 h 83376"/>
                <a:gd name="connsiteX1" fmla="*/ 57456 w 74879"/>
                <a:gd name="connsiteY1" fmla="*/ 27648 h 83376"/>
                <a:gd name="connsiteX2" fmla="*/ 56880 w 74879"/>
                <a:gd name="connsiteY2" fmla="*/ 21672 h 83376"/>
                <a:gd name="connsiteX3" fmla="*/ 51119 w 74879"/>
                <a:gd name="connsiteY3" fmla="*/ 18648 h 83376"/>
                <a:gd name="connsiteX4" fmla="*/ 46656 w 74879"/>
                <a:gd name="connsiteY4" fmla="*/ 14256 h 83376"/>
                <a:gd name="connsiteX5" fmla="*/ 39816 w 74879"/>
                <a:gd name="connsiteY5" fmla="*/ 15480 h 83376"/>
                <a:gd name="connsiteX6" fmla="*/ 29087 w 74879"/>
                <a:gd name="connsiteY6" fmla="*/ 17712 h 83376"/>
                <a:gd name="connsiteX7" fmla="*/ 20160 w 74879"/>
                <a:gd name="connsiteY7" fmla="*/ 25776 h 83376"/>
                <a:gd name="connsiteX8" fmla="*/ 19152 w 74879"/>
                <a:gd name="connsiteY8" fmla="*/ 40752 h 83376"/>
                <a:gd name="connsiteX9" fmla="*/ 21168 w 74879"/>
                <a:gd name="connsiteY9" fmla="*/ 55584 h 83376"/>
                <a:gd name="connsiteX10" fmla="*/ 28800 w 74879"/>
                <a:gd name="connsiteY10" fmla="*/ 64512 h 83376"/>
                <a:gd name="connsiteX11" fmla="*/ 39744 w 74879"/>
                <a:gd name="connsiteY11" fmla="*/ 69120 h 83376"/>
                <a:gd name="connsiteX12" fmla="*/ 45935 w 74879"/>
                <a:gd name="connsiteY12" fmla="*/ 65664 h 83376"/>
                <a:gd name="connsiteX13" fmla="*/ 52200 w 74879"/>
                <a:gd name="connsiteY13" fmla="*/ 64728 h 83376"/>
                <a:gd name="connsiteX14" fmla="*/ 55440 w 74879"/>
                <a:gd name="connsiteY14" fmla="*/ 59544 h 83376"/>
                <a:gd name="connsiteX15" fmla="*/ 57384 w 74879"/>
                <a:gd name="connsiteY15" fmla="*/ 53496 h 83376"/>
                <a:gd name="connsiteX16" fmla="*/ 74664 w 74879"/>
                <a:gd name="connsiteY16" fmla="*/ 54576 h 83376"/>
                <a:gd name="connsiteX17" fmla="*/ 71352 w 74879"/>
                <a:gd name="connsiteY17" fmla="*/ 64440 h 83376"/>
                <a:gd name="connsiteX18" fmla="*/ 63792 w 74879"/>
                <a:gd name="connsiteY18" fmla="*/ 73152 h 83376"/>
                <a:gd name="connsiteX19" fmla="*/ 53424 w 74879"/>
                <a:gd name="connsiteY19" fmla="*/ 79776 h 83376"/>
                <a:gd name="connsiteX20" fmla="*/ 39528 w 74879"/>
                <a:gd name="connsiteY20" fmla="*/ 83376 h 83376"/>
                <a:gd name="connsiteX21" fmla="*/ 19800 w 74879"/>
                <a:gd name="connsiteY21" fmla="*/ 77976 h 83376"/>
                <a:gd name="connsiteX22" fmla="*/ 5832 w 74879"/>
                <a:gd name="connsiteY22" fmla="*/ 63648 h 83376"/>
                <a:gd name="connsiteX23" fmla="*/ 0 w 74879"/>
                <a:gd name="connsiteY23" fmla="*/ 40680 h 83376"/>
                <a:gd name="connsiteX24" fmla="*/ 6768 w 74879"/>
                <a:gd name="connsiteY24" fmla="*/ 18144 h 83376"/>
                <a:gd name="connsiteX25" fmla="*/ 19800 w 74879"/>
                <a:gd name="connsiteY25" fmla="*/ 3096 h 83376"/>
                <a:gd name="connsiteX26" fmla="*/ 39528 w 74879"/>
                <a:gd name="connsiteY26" fmla="*/ 288 h 83376"/>
                <a:gd name="connsiteX27" fmla="*/ 52919 w 74879"/>
                <a:gd name="connsiteY27" fmla="*/ 0 h 83376"/>
                <a:gd name="connsiteX28" fmla="*/ 63000 w 74879"/>
                <a:gd name="connsiteY28" fmla="*/ 7128 h 83376"/>
                <a:gd name="connsiteX29" fmla="*/ 70271 w 74879"/>
                <a:gd name="connsiteY29" fmla="*/ 16344 h 83376"/>
                <a:gd name="connsiteX30" fmla="*/ 74880 w 74879"/>
                <a:gd name="connsiteY30" fmla="*/ 28656 h 83376"/>
                <a:gd name="connsiteX31" fmla="*/ 74808 w 74879"/>
                <a:gd name="connsiteY31" fmla="*/ 28656 h 8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879" h="83376">
                  <a:moveTo>
                    <a:pt x="74808" y="28656"/>
                  </a:moveTo>
                  <a:lnTo>
                    <a:pt x="57456" y="27648"/>
                  </a:lnTo>
                  <a:lnTo>
                    <a:pt x="56880" y="21672"/>
                  </a:lnTo>
                  <a:lnTo>
                    <a:pt x="51119" y="18648"/>
                  </a:lnTo>
                  <a:lnTo>
                    <a:pt x="46656" y="14256"/>
                  </a:lnTo>
                  <a:lnTo>
                    <a:pt x="39816" y="15480"/>
                  </a:lnTo>
                  <a:lnTo>
                    <a:pt x="29087" y="17712"/>
                  </a:lnTo>
                  <a:lnTo>
                    <a:pt x="20160" y="25776"/>
                  </a:lnTo>
                  <a:lnTo>
                    <a:pt x="19152" y="40752"/>
                  </a:lnTo>
                  <a:lnTo>
                    <a:pt x="21168" y="55584"/>
                  </a:lnTo>
                  <a:lnTo>
                    <a:pt x="28800" y="64512"/>
                  </a:lnTo>
                  <a:lnTo>
                    <a:pt x="39744" y="69120"/>
                  </a:lnTo>
                  <a:lnTo>
                    <a:pt x="45935" y="65664"/>
                  </a:lnTo>
                  <a:lnTo>
                    <a:pt x="52200" y="64728"/>
                  </a:lnTo>
                  <a:lnTo>
                    <a:pt x="55440" y="59544"/>
                  </a:lnTo>
                  <a:lnTo>
                    <a:pt x="57384" y="53496"/>
                  </a:lnTo>
                  <a:lnTo>
                    <a:pt x="74664" y="54576"/>
                  </a:lnTo>
                  <a:lnTo>
                    <a:pt x="71352" y="64440"/>
                  </a:lnTo>
                  <a:lnTo>
                    <a:pt x="63792" y="73152"/>
                  </a:lnTo>
                  <a:lnTo>
                    <a:pt x="53424" y="79776"/>
                  </a:lnTo>
                  <a:lnTo>
                    <a:pt x="39528" y="83376"/>
                  </a:lnTo>
                  <a:lnTo>
                    <a:pt x="19800" y="77976"/>
                  </a:lnTo>
                  <a:lnTo>
                    <a:pt x="5832" y="63648"/>
                  </a:lnTo>
                  <a:lnTo>
                    <a:pt x="0" y="40680"/>
                  </a:lnTo>
                  <a:lnTo>
                    <a:pt x="6768" y="18144"/>
                  </a:lnTo>
                  <a:lnTo>
                    <a:pt x="19800" y="3096"/>
                  </a:lnTo>
                  <a:lnTo>
                    <a:pt x="39528" y="288"/>
                  </a:lnTo>
                  <a:lnTo>
                    <a:pt x="52919" y="0"/>
                  </a:lnTo>
                  <a:lnTo>
                    <a:pt x="63000" y="7128"/>
                  </a:lnTo>
                  <a:lnTo>
                    <a:pt x="70271" y="16344"/>
                  </a:lnTo>
                  <a:lnTo>
                    <a:pt x="74880" y="28656"/>
                  </a:lnTo>
                  <a:lnTo>
                    <a:pt x="74808" y="2865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984AED-13FC-5B14-925C-97D671FBB63F}"/>
                </a:ext>
              </a:extLst>
            </p:cNvPr>
            <p:cNvSpPr/>
            <p:nvPr/>
          </p:nvSpPr>
          <p:spPr>
            <a:xfrm>
              <a:off x="-488665" y="2278908"/>
              <a:ext cx="37155" cy="41180"/>
            </a:xfrm>
            <a:custGeom>
              <a:avLst/>
              <a:gdLst>
                <a:gd name="connsiteX0" fmla="*/ 31537 w 59831"/>
                <a:gd name="connsiteY0" fmla="*/ 66240 h 66311"/>
                <a:gd name="connsiteX1" fmla="*/ 16344 w 59831"/>
                <a:gd name="connsiteY1" fmla="*/ 59184 h 66311"/>
                <a:gd name="connsiteX2" fmla="*/ 3744 w 59831"/>
                <a:gd name="connsiteY2" fmla="*/ 50256 h 66311"/>
                <a:gd name="connsiteX3" fmla="*/ 0 w 59831"/>
                <a:gd name="connsiteY3" fmla="*/ 33048 h 66311"/>
                <a:gd name="connsiteX4" fmla="*/ 4248 w 59831"/>
                <a:gd name="connsiteY4" fmla="*/ 16056 h 66311"/>
                <a:gd name="connsiteX5" fmla="*/ 15264 w 59831"/>
                <a:gd name="connsiteY5" fmla="*/ 4968 h 66311"/>
                <a:gd name="connsiteX6" fmla="*/ 31537 w 59831"/>
                <a:gd name="connsiteY6" fmla="*/ 0 h 66311"/>
                <a:gd name="connsiteX7" fmla="*/ 47232 w 59831"/>
                <a:gd name="connsiteY7" fmla="*/ 5904 h 66311"/>
                <a:gd name="connsiteX8" fmla="*/ 58968 w 59831"/>
                <a:gd name="connsiteY8" fmla="*/ 15984 h 66311"/>
                <a:gd name="connsiteX9" fmla="*/ 59832 w 59831"/>
                <a:gd name="connsiteY9" fmla="*/ 33120 h 66311"/>
                <a:gd name="connsiteX10" fmla="*/ 58896 w 59831"/>
                <a:gd name="connsiteY10" fmla="*/ 50112 h 66311"/>
                <a:gd name="connsiteX11" fmla="*/ 46584 w 59831"/>
                <a:gd name="connsiteY11" fmla="*/ 59112 h 66311"/>
                <a:gd name="connsiteX12" fmla="*/ 31464 w 59831"/>
                <a:gd name="connsiteY12" fmla="*/ 66312 h 66311"/>
                <a:gd name="connsiteX13" fmla="*/ 31537 w 59831"/>
                <a:gd name="connsiteY13" fmla="*/ 66240 h 66311"/>
                <a:gd name="connsiteX14" fmla="*/ 31608 w 59831"/>
                <a:gd name="connsiteY14" fmla="*/ 49752 h 66311"/>
                <a:gd name="connsiteX15" fmla="*/ 39744 w 59831"/>
                <a:gd name="connsiteY15" fmla="*/ 50328 h 66311"/>
                <a:gd name="connsiteX16" fmla="*/ 41473 w 59831"/>
                <a:gd name="connsiteY16" fmla="*/ 41976 h 66311"/>
                <a:gd name="connsiteX17" fmla="*/ 42912 w 59831"/>
                <a:gd name="connsiteY17" fmla="*/ 32976 h 66311"/>
                <a:gd name="connsiteX18" fmla="*/ 41976 w 59831"/>
                <a:gd name="connsiteY18" fmla="*/ 23832 h 66311"/>
                <a:gd name="connsiteX19" fmla="*/ 38305 w 59831"/>
                <a:gd name="connsiteY19" fmla="*/ 17352 h 66311"/>
                <a:gd name="connsiteX20" fmla="*/ 31680 w 59831"/>
                <a:gd name="connsiteY20" fmla="*/ 15984 h 66311"/>
                <a:gd name="connsiteX21" fmla="*/ 24192 w 59831"/>
                <a:gd name="connsiteY21" fmla="*/ 16488 h 66311"/>
                <a:gd name="connsiteX22" fmla="*/ 21312 w 59831"/>
                <a:gd name="connsiteY22" fmla="*/ 23904 h 66311"/>
                <a:gd name="connsiteX23" fmla="*/ 17064 w 59831"/>
                <a:gd name="connsiteY23" fmla="*/ 33048 h 66311"/>
                <a:gd name="connsiteX24" fmla="*/ 21240 w 59831"/>
                <a:gd name="connsiteY24" fmla="*/ 42192 h 66311"/>
                <a:gd name="connsiteX25" fmla="*/ 23400 w 59831"/>
                <a:gd name="connsiteY25" fmla="*/ 50544 h 66311"/>
                <a:gd name="connsiteX26" fmla="*/ 31680 w 59831"/>
                <a:gd name="connsiteY26" fmla="*/ 49896 h 66311"/>
                <a:gd name="connsiteX27" fmla="*/ 31608 w 59831"/>
                <a:gd name="connsiteY27" fmla="*/ 49752 h 6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9831" h="66311">
                  <a:moveTo>
                    <a:pt x="31537" y="66240"/>
                  </a:moveTo>
                  <a:lnTo>
                    <a:pt x="16344" y="59184"/>
                  </a:lnTo>
                  <a:lnTo>
                    <a:pt x="3744" y="50256"/>
                  </a:lnTo>
                  <a:lnTo>
                    <a:pt x="0" y="33048"/>
                  </a:lnTo>
                  <a:lnTo>
                    <a:pt x="4248" y="16056"/>
                  </a:lnTo>
                  <a:lnTo>
                    <a:pt x="15264" y="4968"/>
                  </a:lnTo>
                  <a:lnTo>
                    <a:pt x="31537" y="0"/>
                  </a:lnTo>
                  <a:lnTo>
                    <a:pt x="47232" y="5904"/>
                  </a:lnTo>
                  <a:lnTo>
                    <a:pt x="58968" y="15984"/>
                  </a:lnTo>
                  <a:lnTo>
                    <a:pt x="59832" y="33120"/>
                  </a:lnTo>
                  <a:lnTo>
                    <a:pt x="58896" y="50112"/>
                  </a:lnTo>
                  <a:lnTo>
                    <a:pt x="46584" y="59112"/>
                  </a:lnTo>
                  <a:lnTo>
                    <a:pt x="31464" y="66312"/>
                  </a:lnTo>
                  <a:lnTo>
                    <a:pt x="31537" y="66240"/>
                  </a:lnTo>
                  <a:close/>
                  <a:moveTo>
                    <a:pt x="31608" y="49752"/>
                  </a:moveTo>
                  <a:lnTo>
                    <a:pt x="39744" y="50328"/>
                  </a:lnTo>
                  <a:lnTo>
                    <a:pt x="41473" y="41976"/>
                  </a:lnTo>
                  <a:lnTo>
                    <a:pt x="42912" y="32976"/>
                  </a:lnTo>
                  <a:lnTo>
                    <a:pt x="41976" y="23832"/>
                  </a:lnTo>
                  <a:lnTo>
                    <a:pt x="38305" y="17352"/>
                  </a:lnTo>
                  <a:lnTo>
                    <a:pt x="31680" y="15984"/>
                  </a:lnTo>
                  <a:lnTo>
                    <a:pt x="24192" y="16488"/>
                  </a:lnTo>
                  <a:lnTo>
                    <a:pt x="21312" y="23904"/>
                  </a:lnTo>
                  <a:lnTo>
                    <a:pt x="17064" y="33048"/>
                  </a:lnTo>
                  <a:lnTo>
                    <a:pt x="21240" y="42192"/>
                  </a:lnTo>
                  <a:lnTo>
                    <a:pt x="23400" y="50544"/>
                  </a:lnTo>
                  <a:lnTo>
                    <a:pt x="31680" y="49896"/>
                  </a:lnTo>
                  <a:lnTo>
                    <a:pt x="31608" y="49752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251200E3-7793-7B20-B437-9978915464A0}"/>
                </a:ext>
              </a:extLst>
            </p:cNvPr>
            <p:cNvSpPr/>
            <p:nvPr/>
          </p:nvSpPr>
          <p:spPr>
            <a:xfrm>
              <a:off x="-442254" y="2266523"/>
              <a:ext cx="36888" cy="52850"/>
            </a:xfrm>
            <a:custGeom>
              <a:avLst/>
              <a:gdLst>
                <a:gd name="connsiteX0" fmla="*/ 1224 w 59400"/>
                <a:gd name="connsiteY0" fmla="*/ 82296 h 85104"/>
                <a:gd name="connsiteX1" fmla="*/ 648 w 59400"/>
                <a:gd name="connsiteY1" fmla="*/ 70848 h 85104"/>
                <a:gd name="connsiteX2" fmla="*/ 15624 w 59400"/>
                <a:gd name="connsiteY2" fmla="*/ 57888 h 85104"/>
                <a:gd name="connsiteX3" fmla="*/ 29808 w 59400"/>
                <a:gd name="connsiteY3" fmla="*/ 44136 h 85104"/>
                <a:gd name="connsiteX4" fmla="*/ 36720 w 59400"/>
                <a:gd name="connsiteY4" fmla="*/ 38304 h 85104"/>
                <a:gd name="connsiteX5" fmla="*/ 39168 w 59400"/>
                <a:gd name="connsiteY5" fmla="*/ 31752 h 85104"/>
                <a:gd name="connsiteX6" fmla="*/ 42768 w 59400"/>
                <a:gd name="connsiteY6" fmla="*/ 26064 h 85104"/>
                <a:gd name="connsiteX7" fmla="*/ 39744 w 59400"/>
                <a:gd name="connsiteY7" fmla="*/ 19728 h 85104"/>
                <a:gd name="connsiteX8" fmla="*/ 34920 w 59400"/>
                <a:gd name="connsiteY8" fmla="*/ 16200 h 85104"/>
                <a:gd name="connsiteX9" fmla="*/ 28656 w 59400"/>
                <a:gd name="connsiteY9" fmla="*/ 13392 h 85104"/>
                <a:gd name="connsiteX10" fmla="*/ 21672 w 59400"/>
                <a:gd name="connsiteY10" fmla="*/ 15192 h 85104"/>
                <a:gd name="connsiteX11" fmla="*/ 16920 w 59400"/>
                <a:gd name="connsiteY11" fmla="*/ 19944 h 85104"/>
                <a:gd name="connsiteX12" fmla="*/ 16200 w 59400"/>
                <a:gd name="connsiteY12" fmla="*/ 26352 h 85104"/>
                <a:gd name="connsiteX13" fmla="*/ 0 w 59400"/>
                <a:gd name="connsiteY13" fmla="*/ 27144 h 85104"/>
                <a:gd name="connsiteX14" fmla="*/ 4680 w 59400"/>
                <a:gd name="connsiteY14" fmla="*/ 13896 h 85104"/>
                <a:gd name="connsiteX15" fmla="*/ 13824 w 59400"/>
                <a:gd name="connsiteY15" fmla="*/ 4320 h 85104"/>
                <a:gd name="connsiteX16" fmla="*/ 28728 w 59400"/>
                <a:gd name="connsiteY16" fmla="*/ 0 h 85104"/>
                <a:gd name="connsiteX17" fmla="*/ 43632 w 59400"/>
                <a:gd name="connsiteY17" fmla="*/ 4680 h 85104"/>
                <a:gd name="connsiteX18" fmla="*/ 54792 w 59400"/>
                <a:gd name="connsiteY18" fmla="*/ 12024 h 85104"/>
                <a:gd name="connsiteX19" fmla="*/ 58032 w 59400"/>
                <a:gd name="connsiteY19" fmla="*/ 24984 h 85104"/>
                <a:gd name="connsiteX20" fmla="*/ 57240 w 59400"/>
                <a:gd name="connsiteY20" fmla="*/ 34632 h 85104"/>
                <a:gd name="connsiteX21" fmla="*/ 49536 w 59400"/>
                <a:gd name="connsiteY21" fmla="*/ 44136 h 85104"/>
                <a:gd name="connsiteX22" fmla="*/ 37296 w 59400"/>
                <a:gd name="connsiteY22" fmla="*/ 58032 h 85104"/>
                <a:gd name="connsiteX23" fmla="*/ 25488 w 59400"/>
                <a:gd name="connsiteY23" fmla="*/ 69696 h 85104"/>
                <a:gd name="connsiteX24" fmla="*/ 24624 w 59400"/>
                <a:gd name="connsiteY24" fmla="*/ 68832 h 85104"/>
                <a:gd name="connsiteX25" fmla="*/ 59400 w 59400"/>
                <a:gd name="connsiteY25" fmla="*/ 68040 h 85104"/>
                <a:gd name="connsiteX26" fmla="*/ 58176 w 59400"/>
                <a:gd name="connsiteY26" fmla="*/ 82152 h 85104"/>
                <a:gd name="connsiteX27" fmla="*/ 29736 w 59400"/>
                <a:gd name="connsiteY27" fmla="*/ 85104 h 85104"/>
                <a:gd name="connsiteX28" fmla="*/ 1152 w 59400"/>
                <a:gd name="connsiteY28" fmla="*/ 82440 h 85104"/>
                <a:gd name="connsiteX29" fmla="*/ 1224 w 59400"/>
                <a:gd name="connsiteY29" fmla="*/ 82296 h 85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400" h="85104">
                  <a:moveTo>
                    <a:pt x="1224" y="82296"/>
                  </a:moveTo>
                  <a:lnTo>
                    <a:pt x="648" y="70848"/>
                  </a:lnTo>
                  <a:lnTo>
                    <a:pt x="15624" y="57888"/>
                  </a:lnTo>
                  <a:lnTo>
                    <a:pt x="29808" y="44136"/>
                  </a:lnTo>
                  <a:lnTo>
                    <a:pt x="36720" y="38304"/>
                  </a:lnTo>
                  <a:lnTo>
                    <a:pt x="39168" y="31752"/>
                  </a:lnTo>
                  <a:lnTo>
                    <a:pt x="42768" y="26064"/>
                  </a:lnTo>
                  <a:lnTo>
                    <a:pt x="39744" y="19728"/>
                  </a:lnTo>
                  <a:lnTo>
                    <a:pt x="34920" y="16200"/>
                  </a:lnTo>
                  <a:lnTo>
                    <a:pt x="28656" y="13392"/>
                  </a:lnTo>
                  <a:lnTo>
                    <a:pt x="21672" y="15192"/>
                  </a:lnTo>
                  <a:lnTo>
                    <a:pt x="16920" y="19944"/>
                  </a:lnTo>
                  <a:lnTo>
                    <a:pt x="16200" y="26352"/>
                  </a:lnTo>
                  <a:lnTo>
                    <a:pt x="0" y="27144"/>
                  </a:lnTo>
                  <a:lnTo>
                    <a:pt x="4680" y="13896"/>
                  </a:lnTo>
                  <a:lnTo>
                    <a:pt x="13824" y="4320"/>
                  </a:lnTo>
                  <a:lnTo>
                    <a:pt x="28728" y="0"/>
                  </a:lnTo>
                  <a:lnTo>
                    <a:pt x="43632" y="4680"/>
                  </a:lnTo>
                  <a:lnTo>
                    <a:pt x="54792" y="12024"/>
                  </a:lnTo>
                  <a:lnTo>
                    <a:pt x="58032" y="24984"/>
                  </a:lnTo>
                  <a:lnTo>
                    <a:pt x="57240" y="34632"/>
                  </a:lnTo>
                  <a:lnTo>
                    <a:pt x="49536" y="44136"/>
                  </a:lnTo>
                  <a:lnTo>
                    <a:pt x="37296" y="58032"/>
                  </a:lnTo>
                  <a:lnTo>
                    <a:pt x="25488" y="69696"/>
                  </a:lnTo>
                  <a:lnTo>
                    <a:pt x="24624" y="68832"/>
                  </a:lnTo>
                  <a:lnTo>
                    <a:pt x="59400" y="68040"/>
                  </a:lnTo>
                  <a:lnTo>
                    <a:pt x="58176" y="82152"/>
                  </a:lnTo>
                  <a:lnTo>
                    <a:pt x="29736" y="85104"/>
                  </a:lnTo>
                  <a:lnTo>
                    <a:pt x="1152" y="82440"/>
                  </a:lnTo>
                  <a:lnTo>
                    <a:pt x="1224" y="8229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151" name="Graphic 150">
            <a:extLst>
              <a:ext uri="{FF2B5EF4-FFF2-40B4-BE49-F238E27FC236}">
                <a16:creationId xmlns:a16="http://schemas.microsoft.com/office/drawing/2014/main" id="{0685344F-2F14-4283-2007-86B6892CA4C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0414" y="4461276"/>
            <a:ext cx="306455" cy="306455"/>
          </a:xfrm>
          <a:prstGeom prst="rect">
            <a:avLst/>
          </a:prstGeom>
        </p:spPr>
      </p:pic>
      <p:pic>
        <p:nvPicPr>
          <p:cNvPr id="152" name="Graphic 151">
            <a:extLst>
              <a:ext uri="{FF2B5EF4-FFF2-40B4-BE49-F238E27FC236}">
                <a16:creationId xmlns:a16="http://schemas.microsoft.com/office/drawing/2014/main" id="{D59E59B0-118F-A03D-A4AA-BE1D70ECC48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5602" y="5189719"/>
            <a:ext cx="276078" cy="276078"/>
          </a:xfrm>
          <a:prstGeom prst="rect">
            <a:avLst/>
          </a:prstGeom>
        </p:spPr>
      </p:pic>
      <p:pic>
        <p:nvPicPr>
          <p:cNvPr id="153" name="Graphic 152">
            <a:extLst>
              <a:ext uri="{FF2B5EF4-FFF2-40B4-BE49-F238E27FC236}">
                <a16:creationId xmlns:a16="http://schemas.microsoft.com/office/drawing/2014/main" id="{240F1A9C-FB7E-E0EB-DD19-5150989637C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21021" y="4113418"/>
            <a:ext cx="329189" cy="329189"/>
          </a:xfrm>
          <a:prstGeom prst="rect">
            <a:avLst/>
          </a:prstGeom>
        </p:spPr>
      </p:pic>
      <p:pic>
        <p:nvPicPr>
          <p:cNvPr id="154" name="Graphic 153">
            <a:extLst>
              <a:ext uri="{FF2B5EF4-FFF2-40B4-BE49-F238E27FC236}">
                <a16:creationId xmlns:a16="http://schemas.microsoft.com/office/drawing/2014/main" id="{68FA4C26-DFCB-CBDA-9D55-F36683229A8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25545" y="2865786"/>
            <a:ext cx="320141" cy="320141"/>
          </a:xfrm>
          <a:prstGeom prst="rect">
            <a:avLst/>
          </a:prstGeom>
        </p:spPr>
      </p:pic>
      <p:pic>
        <p:nvPicPr>
          <p:cNvPr id="155" name="Graphic 17">
            <a:extLst>
              <a:ext uri="{FF2B5EF4-FFF2-40B4-BE49-F238E27FC236}">
                <a16:creationId xmlns:a16="http://schemas.microsoft.com/office/drawing/2014/main" id="{9ED88084-E23C-A73E-64E2-653451FA0D2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52690" y="5853178"/>
            <a:ext cx="349732" cy="349732"/>
          </a:xfrm>
          <a:prstGeom prst="rect">
            <a:avLst/>
          </a:prstGeom>
        </p:spPr>
      </p:pic>
      <p:pic>
        <p:nvPicPr>
          <p:cNvPr id="156" name="Graphic 21">
            <a:extLst>
              <a:ext uri="{FF2B5EF4-FFF2-40B4-BE49-F238E27FC236}">
                <a16:creationId xmlns:a16="http://schemas.microsoft.com/office/drawing/2014/main" id="{284A8D4B-011B-99B8-3CF9-8D92FBF882C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791306" y="5335859"/>
            <a:ext cx="388619" cy="388619"/>
          </a:xfrm>
          <a:prstGeom prst="rect">
            <a:avLst/>
          </a:prstGeom>
        </p:spPr>
      </p:pic>
      <p:pic>
        <p:nvPicPr>
          <p:cNvPr id="157" name="Graphic 156">
            <a:extLst>
              <a:ext uri="{FF2B5EF4-FFF2-40B4-BE49-F238E27FC236}">
                <a16:creationId xmlns:a16="http://schemas.microsoft.com/office/drawing/2014/main" id="{FF04C273-91F8-B3BC-BE47-DD993079220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177270" y="4179769"/>
            <a:ext cx="292945" cy="292945"/>
          </a:xfrm>
          <a:prstGeom prst="rect">
            <a:avLst/>
          </a:prstGeom>
        </p:spPr>
      </p:pic>
      <p:pic>
        <p:nvPicPr>
          <p:cNvPr id="158" name="Graphic 58">
            <a:extLst>
              <a:ext uri="{FF2B5EF4-FFF2-40B4-BE49-F238E27FC236}">
                <a16:creationId xmlns:a16="http://schemas.microsoft.com/office/drawing/2014/main" id="{AD015A2E-6C23-9A35-764F-F8DAE21FD91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168175" y="5904984"/>
            <a:ext cx="378983" cy="378983"/>
          </a:xfrm>
          <a:prstGeom prst="rect">
            <a:avLst/>
          </a:prstGeom>
        </p:spPr>
      </p:pic>
      <p:pic>
        <p:nvPicPr>
          <p:cNvPr id="159" name="Graphic 158">
            <a:extLst>
              <a:ext uri="{FF2B5EF4-FFF2-40B4-BE49-F238E27FC236}">
                <a16:creationId xmlns:a16="http://schemas.microsoft.com/office/drawing/2014/main" id="{38FD5DB1-E2B8-D277-C41D-AB706630A9F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180378" y="3808150"/>
            <a:ext cx="283940" cy="283938"/>
          </a:xfrm>
          <a:prstGeom prst="rect">
            <a:avLst/>
          </a:prstGeom>
        </p:spPr>
      </p:pic>
      <p:pic>
        <p:nvPicPr>
          <p:cNvPr id="160" name="Grafik 2">
            <a:extLst>
              <a:ext uri="{FF2B5EF4-FFF2-40B4-BE49-F238E27FC236}">
                <a16:creationId xmlns:a16="http://schemas.microsoft.com/office/drawing/2014/main" id="{9C8245D8-92E4-8698-DEA9-4E2E8E88DFE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24732" y="5857626"/>
            <a:ext cx="379025" cy="379025"/>
          </a:xfrm>
          <a:prstGeom prst="rect">
            <a:avLst/>
          </a:prstGeom>
        </p:spPr>
      </p:pic>
      <p:pic>
        <p:nvPicPr>
          <p:cNvPr id="161" name="Grafik 5">
            <a:extLst>
              <a:ext uri="{FF2B5EF4-FFF2-40B4-BE49-F238E27FC236}">
                <a16:creationId xmlns:a16="http://schemas.microsoft.com/office/drawing/2014/main" id="{EC6CC4EF-0AF1-1619-9613-175825F25D75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783072" y="3303008"/>
            <a:ext cx="413966" cy="413966"/>
          </a:xfrm>
          <a:prstGeom prst="rect">
            <a:avLst/>
          </a:prstGeom>
        </p:spPr>
      </p:pic>
      <p:pic>
        <p:nvPicPr>
          <p:cNvPr id="162" name="Grafik 6">
            <a:extLst>
              <a:ext uri="{FF2B5EF4-FFF2-40B4-BE49-F238E27FC236}">
                <a16:creationId xmlns:a16="http://schemas.microsoft.com/office/drawing/2014/main" id="{71CE3C08-FDD4-39DF-86EA-D2C5E744184E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767006" y="4518120"/>
            <a:ext cx="465572" cy="465572"/>
          </a:xfrm>
          <a:prstGeom prst="rect">
            <a:avLst/>
          </a:prstGeom>
        </p:spPr>
      </p:pic>
      <p:pic>
        <p:nvPicPr>
          <p:cNvPr id="163" name="Grafik 9">
            <a:extLst>
              <a:ext uri="{FF2B5EF4-FFF2-40B4-BE49-F238E27FC236}">
                <a16:creationId xmlns:a16="http://schemas.microsoft.com/office/drawing/2014/main" id="{24AD88FC-F083-2082-7655-77F995EB63F3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137880" y="4513746"/>
            <a:ext cx="368937" cy="368937"/>
          </a:xfrm>
          <a:prstGeom prst="rect">
            <a:avLst/>
          </a:prstGeom>
        </p:spPr>
      </p:pic>
      <p:pic>
        <p:nvPicPr>
          <p:cNvPr id="164" name="Grafik 10">
            <a:extLst>
              <a:ext uri="{FF2B5EF4-FFF2-40B4-BE49-F238E27FC236}">
                <a16:creationId xmlns:a16="http://schemas.microsoft.com/office/drawing/2014/main" id="{3CA03FDF-B43F-E971-5994-095564408F4B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3176164" y="5551844"/>
            <a:ext cx="353139" cy="353139"/>
          </a:xfrm>
          <a:prstGeom prst="rect">
            <a:avLst/>
          </a:prstGeom>
        </p:spPr>
      </p:pic>
      <p:pic>
        <p:nvPicPr>
          <p:cNvPr id="165" name="Grafik 12">
            <a:extLst>
              <a:ext uri="{FF2B5EF4-FFF2-40B4-BE49-F238E27FC236}">
                <a16:creationId xmlns:a16="http://schemas.microsoft.com/office/drawing/2014/main" id="{4CA47C85-98EC-C413-0D9F-E02B9477753F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3154656" y="3157431"/>
            <a:ext cx="338172" cy="338172"/>
          </a:xfrm>
          <a:prstGeom prst="rect">
            <a:avLst/>
          </a:prstGeom>
        </p:spPr>
      </p:pic>
      <p:pic>
        <p:nvPicPr>
          <p:cNvPr id="166" name="Grafik 13">
            <a:extLst>
              <a:ext uri="{FF2B5EF4-FFF2-40B4-BE49-F238E27FC236}">
                <a16:creationId xmlns:a16="http://schemas.microsoft.com/office/drawing/2014/main" id="{20DA00BA-CAF2-6DC8-8881-FC04B3CB9960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3164706" y="5142722"/>
            <a:ext cx="393176" cy="393176"/>
          </a:xfrm>
          <a:prstGeom prst="rect">
            <a:avLst/>
          </a:prstGeom>
        </p:spPr>
      </p:pic>
      <p:pic>
        <p:nvPicPr>
          <p:cNvPr id="167" name="Grafik 36">
            <a:extLst>
              <a:ext uri="{FF2B5EF4-FFF2-40B4-BE49-F238E27FC236}">
                <a16:creationId xmlns:a16="http://schemas.microsoft.com/office/drawing/2014/main" id="{B77F1A87-B816-8ED6-879A-CF36F7C30516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3154656" y="2777268"/>
            <a:ext cx="336658" cy="336658"/>
          </a:xfrm>
          <a:prstGeom prst="rect">
            <a:avLst/>
          </a:prstGeom>
        </p:spPr>
      </p:pic>
      <p:pic>
        <p:nvPicPr>
          <p:cNvPr id="172" name="Graphic 171" descr="Checkmark with solid fill">
            <a:extLst>
              <a:ext uri="{FF2B5EF4-FFF2-40B4-BE49-F238E27FC236}">
                <a16:creationId xmlns:a16="http://schemas.microsoft.com/office/drawing/2014/main" id="{C3418CD2-7C2E-2ECB-F241-DCB9EBF327A5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2517110" y="3727813"/>
            <a:ext cx="324000" cy="324000"/>
          </a:xfrm>
          <a:prstGeom prst="rect">
            <a:avLst/>
          </a:prstGeom>
        </p:spPr>
      </p:pic>
      <p:pic>
        <p:nvPicPr>
          <p:cNvPr id="174" name="Graphic 173" descr="Checkmark with solid fill">
            <a:extLst>
              <a:ext uri="{FF2B5EF4-FFF2-40B4-BE49-F238E27FC236}">
                <a16:creationId xmlns:a16="http://schemas.microsoft.com/office/drawing/2014/main" id="{A9F00493-358A-2230-51F6-2B0B6F128AB9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5217707" y="3165648"/>
            <a:ext cx="324000" cy="324000"/>
          </a:xfrm>
          <a:prstGeom prst="rect">
            <a:avLst/>
          </a:prstGeom>
        </p:spPr>
      </p:pic>
      <p:pic>
        <p:nvPicPr>
          <p:cNvPr id="175" name="Graphic 174" descr="Checkmark with solid fill">
            <a:extLst>
              <a:ext uri="{FF2B5EF4-FFF2-40B4-BE49-F238E27FC236}">
                <a16:creationId xmlns:a16="http://schemas.microsoft.com/office/drawing/2014/main" id="{74A400AE-25C9-85BA-B32A-03EE045E7B1E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7831081" y="5862691"/>
            <a:ext cx="324000" cy="32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998A5B5-3C94-A17C-AA9A-726B478634AA}"/>
              </a:ext>
            </a:extLst>
          </p:cNvPr>
          <p:cNvSpPr/>
          <p:nvPr/>
        </p:nvSpPr>
        <p:spPr>
          <a:xfrm>
            <a:off x="8488680" y="2616769"/>
            <a:ext cx="1724889" cy="2546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4594639-CAEB-EADF-2B27-AA3A2C5AB157}"/>
              </a:ext>
            </a:extLst>
          </p:cNvPr>
          <p:cNvGrpSpPr/>
          <p:nvPr/>
        </p:nvGrpSpPr>
        <p:grpSpPr>
          <a:xfrm>
            <a:off x="9610858" y="4770184"/>
            <a:ext cx="2338687" cy="832636"/>
            <a:chOff x="8975625" y="3859098"/>
            <a:chExt cx="2338687" cy="83263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F56661B-F7FE-FC9F-9DD1-34591DC26B67}"/>
                </a:ext>
              </a:extLst>
            </p:cNvPr>
            <p:cNvSpPr/>
            <p:nvPr/>
          </p:nvSpPr>
          <p:spPr>
            <a:xfrm>
              <a:off x="8975625" y="3859098"/>
              <a:ext cx="2242499" cy="8326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a-DK" sz="105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ra Prioriteringsworkshoppen.</a:t>
              </a:r>
            </a:p>
            <a:p>
              <a:endParaRPr lang="da-DK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73" name="Graphic 172" descr="Checkmark with solid fill">
              <a:extLst>
                <a:ext uri="{FF2B5EF4-FFF2-40B4-BE49-F238E27FC236}">
                  <a16:creationId xmlns:a16="http://schemas.microsoft.com/office/drawing/2014/main" id="{F7138219-FBAF-C0FF-4A82-D8A3FF2F9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>
              <a:extLs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tretch>
              <a:fillRect/>
            </a:stretch>
          </p:blipFill>
          <p:spPr>
            <a:xfrm>
              <a:off x="9004733" y="4184298"/>
              <a:ext cx="310063" cy="310063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39152DF-3208-9171-3F5D-19CF951EDF35}"/>
                </a:ext>
              </a:extLst>
            </p:cNvPr>
            <p:cNvSpPr/>
            <p:nvPr/>
          </p:nvSpPr>
          <p:spPr>
            <a:xfrm>
              <a:off x="9274212" y="4129632"/>
              <a:ext cx="2040100" cy="3858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a-DK" sz="105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rker de prioriterede målepunkter på oversigten.</a:t>
              </a:r>
            </a:p>
          </p:txBody>
        </p:sp>
      </p:grp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5532FBCC-8E89-B817-6EAC-A01C03D97BAB}"/>
              </a:ext>
            </a:extLst>
          </p:cNvPr>
          <p:cNvSpPr txBox="1">
            <a:spLocks/>
          </p:cNvSpPr>
          <p:nvPr/>
        </p:nvSpPr>
        <p:spPr>
          <a:xfrm>
            <a:off x="360000" y="882116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800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punkterne er prioriteret på Prioriteringsworkshoppen eller af ledelsen</a:t>
            </a:r>
            <a:endParaRPr lang="en-DK" sz="1800">
              <a:solidFill>
                <a:srgbClr val="0F5B5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1674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F29E5-2BF4-42D0-E504-2EEB90B87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FE5359-6A70-AC4D-F99C-7603CFB67C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520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FE5359-6A70-AC4D-F99C-7603CFB67C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8F478AF-6CE8-FCF3-E3E5-0E08A3AFA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96" y="432240"/>
            <a:ext cx="11472000" cy="702605"/>
          </a:xfrm>
        </p:spPr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ores data for de prioriterede målepunkter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AB367258-B4C6-902B-57A9-82A2C7B7CA60}"/>
              </a:ext>
            </a:extLst>
          </p:cNvPr>
          <p:cNvSpPr txBox="1"/>
          <p:nvPr/>
        </p:nvSpPr>
        <p:spPr>
          <a:xfrm>
            <a:off x="463030" y="1496060"/>
            <a:ext cx="3432319" cy="2397621"/>
          </a:xfrm>
          <a:custGeom>
            <a:avLst/>
            <a:gdLst>
              <a:gd name="csX0" fmla="*/ 0 w 3432319"/>
              <a:gd name="csY0" fmla="*/ 166203 h 2397621"/>
              <a:gd name="csX1" fmla="*/ 166203 w 3432319"/>
              <a:gd name="csY1" fmla="*/ 0 h 2397621"/>
              <a:gd name="csX2" fmla="*/ 786186 w 3432319"/>
              <a:gd name="csY2" fmla="*/ 0 h 2397621"/>
              <a:gd name="csX3" fmla="*/ 1468166 w 3432319"/>
              <a:gd name="csY3" fmla="*/ 0 h 2397621"/>
              <a:gd name="csX4" fmla="*/ 2026151 w 3432319"/>
              <a:gd name="csY4" fmla="*/ 0 h 2397621"/>
              <a:gd name="csX5" fmla="*/ 2584135 w 3432319"/>
              <a:gd name="csY5" fmla="*/ 0 h 2397621"/>
              <a:gd name="csX6" fmla="*/ 3266116 w 3432319"/>
              <a:gd name="csY6" fmla="*/ 0 h 2397621"/>
              <a:gd name="csX7" fmla="*/ 3432319 w 3432319"/>
              <a:gd name="csY7" fmla="*/ 166203 h 2397621"/>
              <a:gd name="csX8" fmla="*/ 3432319 w 3432319"/>
              <a:gd name="csY8" fmla="*/ 875260 h 2397621"/>
              <a:gd name="csX9" fmla="*/ 3432319 w 3432319"/>
              <a:gd name="csY9" fmla="*/ 1543013 h 2397621"/>
              <a:gd name="csX10" fmla="*/ 3432319 w 3432319"/>
              <a:gd name="csY10" fmla="*/ 2231418 h 2397621"/>
              <a:gd name="csX11" fmla="*/ 3266116 w 3432319"/>
              <a:gd name="csY11" fmla="*/ 2397621 h 2397621"/>
              <a:gd name="csX12" fmla="*/ 2584135 w 3432319"/>
              <a:gd name="csY12" fmla="*/ 2397621 h 2397621"/>
              <a:gd name="csX13" fmla="*/ 1902154 w 3432319"/>
              <a:gd name="csY13" fmla="*/ 2397621 h 2397621"/>
              <a:gd name="csX14" fmla="*/ 1251173 w 3432319"/>
              <a:gd name="csY14" fmla="*/ 2397621 h 2397621"/>
              <a:gd name="csX15" fmla="*/ 166203 w 3432319"/>
              <a:gd name="csY15" fmla="*/ 2397621 h 2397621"/>
              <a:gd name="csX16" fmla="*/ 0 w 3432319"/>
              <a:gd name="csY16" fmla="*/ 2231418 h 2397621"/>
              <a:gd name="csX17" fmla="*/ 0 w 3432319"/>
              <a:gd name="csY17" fmla="*/ 1501709 h 2397621"/>
              <a:gd name="csX18" fmla="*/ 0 w 3432319"/>
              <a:gd name="csY18" fmla="*/ 833956 h 2397621"/>
              <a:gd name="csX19" fmla="*/ 0 w 3432319"/>
              <a:gd name="csY19" fmla="*/ 166203 h 239762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</a:cxnLst>
            <a:rect l="l" t="t" r="r" b="b"/>
            <a:pathLst>
              <a:path w="3432319" h="2397621" fill="none" extrusionOk="0">
                <a:moveTo>
                  <a:pt x="0" y="166203"/>
                </a:moveTo>
                <a:cubicBezTo>
                  <a:pt x="3922" y="73293"/>
                  <a:pt x="72544" y="15378"/>
                  <a:pt x="166203" y="0"/>
                </a:cubicBezTo>
                <a:cubicBezTo>
                  <a:pt x="374045" y="-29087"/>
                  <a:pt x="602945" y="-25918"/>
                  <a:pt x="786186" y="0"/>
                </a:cubicBezTo>
                <a:cubicBezTo>
                  <a:pt x="969427" y="25918"/>
                  <a:pt x="1237911" y="-11204"/>
                  <a:pt x="1468166" y="0"/>
                </a:cubicBezTo>
                <a:cubicBezTo>
                  <a:pt x="1698421" y="11204"/>
                  <a:pt x="1862495" y="5959"/>
                  <a:pt x="2026151" y="0"/>
                </a:cubicBezTo>
                <a:cubicBezTo>
                  <a:pt x="2189808" y="-5959"/>
                  <a:pt x="2470994" y="-12781"/>
                  <a:pt x="2584135" y="0"/>
                </a:cubicBezTo>
                <a:cubicBezTo>
                  <a:pt x="2697276" y="12781"/>
                  <a:pt x="2933521" y="-19180"/>
                  <a:pt x="3266116" y="0"/>
                </a:cubicBezTo>
                <a:cubicBezTo>
                  <a:pt x="3365317" y="5721"/>
                  <a:pt x="3438353" y="77248"/>
                  <a:pt x="3432319" y="166203"/>
                </a:cubicBezTo>
                <a:cubicBezTo>
                  <a:pt x="3415166" y="517117"/>
                  <a:pt x="3444005" y="650259"/>
                  <a:pt x="3432319" y="875260"/>
                </a:cubicBezTo>
                <a:cubicBezTo>
                  <a:pt x="3420633" y="1100261"/>
                  <a:pt x="3444687" y="1352656"/>
                  <a:pt x="3432319" y="1543013"/>
                </a:cubicBezTo>
                <a:cubicBezTo>
                  <a:pt x="3419951" y="1733370"/>
                  <a:pt x="3454963" y="1920816"/>
                  <a:pt x="3432319" y="2231418"/>
                </a:cubicBezTo>
                <a:cubicBezTo>
                  <a:pt x="3445633" y="2331139"/>
                  <a:pt x="3340851" y="2412808"/>
                  <a:pt x="3266116" y="2397621"/>
                </a:cubicBezTo>
                <a:cubicBezTo>
                  <a:pt x="3086526" y="2378328"/>
                  <a:pt x="2753014" y="2429345"/>
                  <a:pt x="2584135" y="2397621"/>
                </a:cubicBezTo>
                <a:cubicBezTo>
                  <a:pt x="2415256" y="2365897"/>
                  <a:pt x="2193544" y="2373406"/>
                  <a:pt x="1902154" y="2397621"/>
                </a:cubicBezTo>
                <a:cubicBezTo>
                  <a:pt x="1610764" y="2421836"/>
                  <a:pt x="1407300" y="2405432"/>
                  <a:pt x="1251173" y="2397621"/>
                </a:cubicBezTo>
                <a:cubicBezTo>
                  <a:pt x="1095046" y="2389810"/>
                  <a:pt x="610587" y="2392023"/>
                  <a:pt x="166203" y="2397621"/>
                </a:cubicBezTo>
                <a:cubicBezTo>
                  <a:pt x="76034" y="2395459"/>
                  <a:pt x="-3394" y="2326674"/>
                  <a:pt x="0" y="2231418"/>
                </a:cubicBezTo>
                <a:cubicBezTo>
                  <a:pt x="34759" y="1987977"/>
                  <a:pt x="19646" y="1727023"/>
                  <a:pt x="0" y="1501709"/>
                </a:cubicBezTo>
                <a:cubicBezTo>
                  <a:pt x="-19646" y="1276395"/>
                  <a:pt x="-15650" y="1067340"/>
                  <a:pt x="0" y="833956"/>
                </a:cubicBezTo>
                <a:cubicBezTo>
                  <a:pt x="15650" y="600572"/>
                  <a:pt x="30314" y="356658"/>
                  <a:pt x="0" y="166203"/>
                </a:cubicBezTo>
                <a:close/>
              </a:path>
              <a:path w="3432319" h="2397621" stroke="0" extrusionOk="0">
                <a:moveTo>
                  <a:pt x="0" y="166203"/>
                </a:moveTo>
                <a:cubicBezTo>
                  <a:pt x="7274" y="88767"/>
                  <a:pt x="72300" y="-3006"/>
                  <a:pt x="166203" y="0"/>
                </a:cubicBezTo>
                <a:cubicBezTo>
                  <a:pt x="342628" y="19071"/>
                  <a:pt x="563312" y="-29469"/>
                  <a:pt x="786186" y="0"/>
                </a:cubicBezTo>
                <a:cubicBezTo>
                  <a:pt x="1009060" y="29469"/>
                  <a:pt x="1179672" y="-24706"/>
                  <a:pt x="1313171" y="0"/>
                </a:cubicBezTo>
                <a:cubicBezTo>
                  <a:pt x="1446671" y="24706"/>
                  <a:pt x="1678390" y="-29189"/>
                  <a:pt x="1964153" y="0"/>
                </a:cubicBezTo>
                <a:cubicBezTo>
                  <a:pt x="2249916" y="29189"/>
                  <a:pt x="2336170" y="-31469"/>
                  <a:pt x="2615134" y="0"/>
                </a:cubicBezTo>
                <a:cubicBezTo>
                  <a:pt x="2894098" y="31469"/>
                  <a:pt x="2955145" y="706"/>
                  <a:pt x="3266116" y="0"/>
                </a:cubicBezTo>
                <a:cubicBezTo>
                  <a:pt x="3363998" y="-11532"/>
                  <a:pt x="3431854" y="54110"/>
                  <a:pt x="3432319" y="166203"/>
                </a:cubicBezTo>
                <a:cubicBezTo>
                  <a:pt x="3417984" y="487224"/>
                  <a:pt x="3450150" y="563287"/>
                  <a:pt x="3432319" y="875260"/>
                </a:cubicBezTo>
                <a:cubicBezTo>
                  <a:pt x="3414488" y="1187233"/>
                  <a:pt x="3417145" y="1291442"/>
                  <a:pt x="3432319" y="1522361"/>
                </a:cubicBezTo>
                <a:cubicBezTo>
                  <a:pt x="3447493" y="1753280"/>
                  <a:pt x="3408822" y="2043963"/>
                  <a:pt x="3432319" y="2231418"/>
                </a:cubicBezTo>
                <a:cubicBezTo>
                  <a:pt x="3415122" y="2336782"/>
                  <a:pt x="3356080" y="2401025"/>
                  <a:pt x="3266116" y="2397621"/>
                </a:cubicBezTo>
                <a:cubicBezTo>
                  <a:pt x="3077458" y="2394623"/>
                  <a:pt x="2907814" y="2398556"/>
                  <a:pt x="2739131" y="2397621"/>
                </a:cubicBezTo>
                <a:cubicBezTo>
                  <a:pt x="2570449" y="2396686"/>
                  <a:pt x="2336308" y="2382359"/>
                  <a:pt x="2212146" y="2397621"/>
                </a:cubicBezTo>
                <a:cubicBezTo>
                  <a:pt x="2087984" y="2412883"/>
                  <a:pt x="1843200" y="2389953"/>
                  <a:pt x="1685160" y="2397621"/>
                </a:cubicBezTo>
                <a:cubicBezTo>
                  <a:pt x="1527120" y="2405289"/>
                  <a:pt x="1366979" y="2419024"/>
                  <a:pt x="1096177" y="2397621"/>
                </a:cubicBezTo>
                <a:cubicBezTo>
                  <a:pt x="825375" y="2376218"/>
                  <a:pt x="383425" y="2355721"/>
                  <a:pt x="166203" y="2397621"/>
                </a:cubicBezTo>
                <a:cubicBezTo>
                  <a:pt x="61283" y="2398330"/>
                  <a:pt x="3781" y="2327198"/>
                  <a:pt x="0" y="2231418"/>
                </a:cubicBezTo>
                <a:cubicBezTo>
                  <a:pt x="-7564" y="1941972"/>
                  <a:pt x="-22203" y="1853824"/>
                  <a:pt x="0" y="1604969"/>
                </a:cubicBezTo>
                <a:cubicBezTo>
                  <a:pt x="22203" y="1356114"/>
                  <a:pt x="-18236" y="1137345"/>
                  <a:pt x="0" y="937217"/>
                </a:cubicBezTo>
                <a:cubicBezTo>
                  <a:pt x="18236" y="737089"/>
                  <a:pt x="2621" y="491063"/>
                  <a:pt x="0" y="1662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611939426">
                  <a:prstGeom prst="roundRect">
                    <a:avLst>
                      <a:gd name="adj" fmla="val 6932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er kan du indsætte </a:t>
            </a:r>
            <a:r>
              <a:rPr lang="da-DK" sz="1200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ne væsentlige fund og pointer fra din dataanalyse. </a:t>
            </a:r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ig fx på jeres data i Det Almene Datavarehus og se jeres status, tendenser, risici, muligheder og sammenlign afdelinger mv. og vis konklusionerne h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usk også at spørge driften og andre fagpersoner i jeres organisation om deres data. 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FF7C7C2-7BFF-EE2E-622D-89D2BD3AAA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9815" y="1496060"/>
            <a:ext cx="6705423" cy="37654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3790810-02E9-D9C5-A497-81067F1A55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6</a:t>
            </a:fld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678609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5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B1896926-FA25-AA4E-EB54-F8460A65BB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0995" y="2699617"/>
            <a:ext cx="4440570" cy="3065521"/>
          </a:xfrm>
          <a:prstGeom prst="rect">
            <a:avLst/>
          </a:prstGeom>
          <a:ln>
            <a:solidFill>
              <a:srgbClr val="0D5B5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1" name="Ellipse 30">
            <a:extLst>
              <a:ext uri="{FF2B5EF4-FFF2-40B4-BE49-F238E27FC236}">
                <a16:creationId xmlns:a16="http://schemas.microsoft.com/office/drawing/2014/main" id="{A03045D1-6A09-9C64-F8E8-168573B33FB2}"/>
              </a:ext>
            </a:extLst>
          </p:cNvPr>
          <p:cNvSpPr>
            <a:spLocks noChangeAspect="1"/>
          </p:cNvSpPr>
          <p:nvPr/>
        </p:nvSpPr>
        <p:spPr>
          <a:xfrm>
            <a:off x="7886276" y="3625644"/>
            <a:ext cx="324000" cy="324000"/>
          </a:xfrm>
          <a:prstGeom prst="ellipse">
            <a:avLst/>
          </a:prstGeom>
          <a:solidFill>
            <a:srgbClr val="EF3F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151">
              <a:latin typeface="DM Sans 14pt" pitchFamily="2" charset="0"/>
            </a:endParaRP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EFD1EDEB-7DB6-1568-41BF-98A4873996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7087" y="2699617"/>
            <a:ext cx="4440570" cy="3065521"/>
          </a:xfrm>
          <a:prstGeom prst="rect">
            <a:avLst/>
          </a:prstGeom>
          <a:ln>
            <a:solidFill>
              <a:srgbClr val="0D5B5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E7E56753-FEE0-3F49-F37A-F287E3CCC7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0556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E56753-FEE0-3F49-F37A-F287E3CCC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1678FCA-806A-70F1-2157-5CE20C63F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ktion til Ambitionsworkshopp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12AF91-49C1-FACE-F978-9643366DA8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85239" y="6260091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>
                <a:cs typeface="Verdana" panose="020B0604030504040204" pitchFamily="34" charset="0"/>
              </a:rPr>
              <a:pPr/>
              <a:t>7</a:t>
            </a:fld>
            <a:endParaRPr lang="da-DK">
              <a:cs typeface="Verdana" panose="020B0604030504040204" pitchFamily="34" charset="0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AA511C4-3E2B-3EFA-DE37-CB09D7210B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te skal I igennem i dag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D033AFC7-F802-ECB4-7C80-D527013FE3ED}"/>
              </a:ext>
            </a:extLst>
          </p:cNvPr>
          <p:cNvSpPr txBox="1"/>
          <p:nvPr/>
        </p:nvSpPr>
        <p:spPr>
          <a:xfrm>
            <a:off x="1281992" y="2100851"/>
            <a:ext cx="41943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ætte ambitionsniveauet og formulere ambitionen for målepunktern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842AED6-21D5-8488-D19D-DCE12F625EBF}"/>
              </a:ext>
            </a:extLst>
          </p:cNvPr>
          <p:cNvSpPr txBox="1"/>
          <p:nvPr/>
        </p:nvSpPr>
        <p:spPr>
          <a:xfrm>
            <a:off x="6591642" y="2208572"/>
            <a:ext cx="4314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ætte SMART-mål ud fra ambitionerne </a:t>
            </a:r>
          </a:p>
        </p:txBody>
      </p:sp>
      <p:pic>
        <p:nvPicPr>
          <p:cNvPr id="12" name="Billede 10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66B72AC3-2AC1-D822-E6DE-5B54CC0813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898" y="4475262"/>
            <a:ext cx="835984" cy="12060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Billede 11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8CB840FF-448E-D60A-982B-CF61770C61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788" y="4232377"/>
            <a:ext cx="835984" cy="12060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Billede 13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169C0DF3-DF9C-9730-7494-F40AEFEFE5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1280" y="4209019"/>
            <a:ext cx="835984" cy="12060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FF81705-BA60-B21F-9E0D-CE3D0ACCF3F1}"/>
              </a:ext>
            </a:extLst>
          </p:cNvPr>
          <p:cNvSpPr txBox="1">
            <a:spLocks/>
          </p:cNvSpPr>
          <p:nvPr/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814B08-8399-43E7-AAE4-68AF4906CF08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0115BF5-9AF7-E8EB-D66B-BE697B5BF01E}"/>
              </a:ext>
            </a:extLst>
          </p:cNvPr>
          <p:cNvSpPr>
            <a:spLocks noChangeAspect="1"/>
          </p:cNvSpPr>
          <p:nvPr/>
        </p:nvSpPr>
        <p:spPr>
          <a:xfrm>
            <a:off x="2512368" y="3625644"/>
            <a:ext cx="324000" cy="324000"/>
          </a:xfrm>
          <a:prstGeom prst="ellipse">
            <a:avLst/>
          </a:prstGeom>
          <a:solidFill>
            <a:srgbClr val="EF3F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151">
              <a:latin typeface="DM Sans 14p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65704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8E7A4F-7396-07A8-1890-895EE0DF2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32">
            <a:extLst>
              <a:ext uri="{FF2B5EF4-FFF2-40B4-BE49-F238E27FC236}">
                <a16:creationId xmlns:a16="http://schemas.microsoft.com/office/drawing/2014/main" id="{D614E293-8F7F-DDB8-2DFB-B78F4B2F622D}"/>
              </a:ext>
            </a:extLst>
          </p:cNvPr>
          <p:cNvGrpSpPr/>
          <p:nvPr/>
        </p:nvGrpSpPr>
        <p:grpSpPr>
          <a:xfrm rot="21410080">
            <a:off x="8428915" y="3735962"/>
            <a:ext cx="4384787" cy="4409200"/>
            <a:chOff x="8336051" y="3610471"/>
            <a:chExt cx="2227633" cy="2212181"/>
          </a:xfrm>
        </p:grpSpPr>
        <p:sp>
          <p:nvSpPr>
            <p:cNvPr id="3" name="Freeform: Shape 333">
              <a:extLst>
                <a:ext uri="{FF2B5EF4-FFF2-40B4-BE49-F238E27FC236}">
                  <a16:creationId xmlns:a16="http://schemas.microsoft.com/office/drawing/2014/main" id="{212941E1-7C90-59A3-AB14-BD37605204B2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>
                <a:alpha val="39000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" name="Freeform: Shape 334">
              <a:extLst>
                <a:ext uri="{FF2B5EF4-FFF2-40B4-BE49-F238E27FC236}">
                  <a16:creationId xmlns:a16="http://schemas.microsoft.com/office/drawing/2014/main" id="{B31012F6-B50D-4047-1183-58D016A1C292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2254" b="1">
                <a:solidFill>
                  <a:schemeClr val="bg1">
                    <a:alpha val="19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" name="Group 331">
            <a:extLst>
              <a:ext uri="{FF2B5EF4-FFF2-40B4-BE49-F238E27FC236}">
                <a16:creationId xmlns:a16="http://schemas.microsoft.com/office/drawing/2014/main" id="{E86E58C6-8D61-167D-8FA8-4130E4C12113}"/>
              </a:ext>
            </a:extLst>
          </p:cNvPr>
          <p:cNvGrpSpPr/>
          <p:nvPr/>
        </p:nvGrpSpPr>
        <p:grpSpPr>
          <a:xfrm>
            <a:off x="8759770" y="-1380057"/>
            <a:ext cx="4249559" cy="4478015"/>
            <a:chOff x="3092692" y="-1631033"/>
            <a:chExt cx="2192906" cy="2193874"/>
          </a:xfrm>
        </p:grpSpPr>
        <p:sp>
          <p:nvSpPr>
            <p:cNvPr id="6" name="Freeform: Shape 326">
              <a:extLst>
                <a:ext uri="{FF2B5EF4-FFF2-40B4-BE49-F238E27FC236}">
                  <a16:creationId xmlns:a16="http://schemas.microsoft.com/office/drawing/2014/main" id="{AB8F33C4-2878-7DB9-2028-C26DCB7678B0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rgbClr val="F7CECA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" name="Freeform: Shape 327">
              <a:extLst>
                <a:ext uri="{FF2B5EF4-FFF2-40B4-BE49-F238E27FC236}">
                  <a16:creationId xmlns:a16="http://schemas.microsoft.com/office/drawing/2014/main" id="{C8B63F8B-8D51-A831-BDEF-C70BA5169F88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>
                <a:alpha val="71319"/>
              </a:srgbClr>
            </a:solidFill>
            <a:ln w="5213" cap="flat">
              <a:solidFill>
                <a:srgbClr val="F7CECA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330">
            <a:extLst>
              <a:ext uri="{FF2B5EF4-FFF2-40B4-BE49-F238E27FC236}">
                <a16:creationId xmlns:a16="http://schemas.microsoft.com/office/drawing/2014/main" id="{BA4EA5A6-364F-2AF0-9368-94074EF9AF66}"/>
              </a:ext>
            </a:extLst>
          </p:cNvPr>
          <p:cNvGrpSpPr/>
          <p:nvPr/>
        </p:nvGrpSpPr>
        <p:grpSpPr>
          <a:xfrm>
            <a:off x="4944668" y="760887"/>
            <a:ext cx="4921793" cy="4767083"/>
            <a:chOff x="4156082" y="-3024236"/>
            <a:chExt cx="2183420" cy="2200431"/>
          </a:xfrm>
        </p:grpSpPr>
        <p:sp>
          <p:nvSpPr>
            <p:cNvPr id="9" name="Freeform: Shape 328">
              <a:extLst>
                <a:ext uri="{FF2B5EF4-FFF2-40B4-BE49-F238E27FC236}">
                  <a16:creationId xmlns:a16="http://schemas.microsoft.com/office/drawing/2014/main" id="{D23B22EF-5D6D-B0F8-0F9B-E8D87A903759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>
                <a:alpha val="49544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44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: Shape 329">
              <a:extLst>
                <a:ext uri="{FF2B5EF4-FFF2-40B4-BE49-F238E27FC236}">
                  <a16:creationId xmlns:a16="http://schemas.microsoft.com/office/drawing/2014/main" id="{A7A59EAE-5BFC-5EDC-ADB7-AB35E38B3B5C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a-DK" sz="3200" b="1">
                <a:solidFill>
                  <a:schemeClr val="bg1">
                    <a:alpha val="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2" name="Tekstfelt 11">
            <a:extLst>
              <a:ext uri="{FF2B5EF4-FFF2-40B4-BE49-F238E27FC236}">
                <a16:creationId xmlns:a16="http://schemas.microsoft.com/office/drawing/2014/main" id="{F1A6A574-E36B-BF8C-F8EC-2C872A48AD0A}"/>
              </a:ext>
            </a:extLst>
          </p:cNvPr>
          <p:cNvSpPr txBox="1"/>
          <p:nvPr/>
        </p:nvSpPr>
        <p:spPr>
          <a:xfrm>
            <a:off x="583292" y="2728621"/>
            <a:ext cx="338746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400" b="1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shop</a:t>
            </a:r>
          </a:p>
        </p:txBody>
      </p:sp>
      <p:pic>
        <p:nvPicPr>
          <p:cNvPr id="13" name="Billede 12" descr="Et billede, der indeholder Grafik, grafisk design, Font/skrifttype, skærmbillede&#10;&#10;AI-genereret indhold kan være ukorrekt.">
            <a:extLst>
              <a:ext uri="{FF2B5EF4-FFF2-40B4-BE49-F238E27FC236}">
                <a16:creationId xmlns:a16="http://schemas.microsoft.com/office/drawing/2014/main" id="{70352342-6E6D-69CC-677B-E043F8C346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09" y="6329187"/>
            <a:ext cx="2151416" cy="3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079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7985D-8A98-5320-FE25-1E04F5140E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7CBF4A-DE5D-7DC4-2EB7-24DCA66C09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320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CBF4A-DE5D-7DC4-2EB7-24DCA66C0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4157BA4E-F213-8122-CEC1-9FD5CFB6D4B0}"/>
              </a:ext>
            </a:extLst>
          </p:cNvPr>
          <p:cNvSpPr/>
          <p:nvPr/>
        </p:nvSpPr>
        <p:spPr>
          <a:xfrm>
            <a:off x="0" y="1945175"/>
            <a:ext cx="12192000" cy="34580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EC33656B-AA45-46DF-3693-045809BE47B4}"/>
              </a:ext>
            </a:extLst>
          </p:cNvPr>
          <p:cNvSpPr txBox="1"/>
          <p:nvPr/>
        </p:nvSpPr>
        <p:spPr>
          <a:xfrm>
            <a:off x="7946817" y="3598878"/>
            <a:ext cx="3362044" cy="1293971"/>
          </a:xfrm>
          <a:custGeom>
            <a:avLst/>
            <a:gdLst>
              <a:gd name="csX0" fmla="*/ 0 w 3362044"/>
              <a:gd name="csY0" fmla="*/ 215666 h 1293971"/>
              <a:gd name="csX1" fmla="*/ 215666 w 3362044"/>
              <a:gd name="csY1" fmla="*/ 0 h 1293971"/>
              <a:gd name="csX2" fmla="*/ 831116 w 3362044"/>
              <a:gd name="csY2" fmla="*/ 0 h 1293971"/>
              <a:gd name="csX3" fmla="*/ 1446565 w 3362044"/>
              <a:gd name="csY3" fmla="*/ 0 h 1293971"/>
              <a:gd name="csX4" fmla="*/ 2062015 w 3362044"/>
              <a:gd name="csY4" fmla="*/ 0 h 1293971"/>
              <a:gd name="csX5" fmla="*/ 3146378 w 3362044"/>
              <a:gd name="csY5" fmla="*/ 0 h 1293971"/>
              <a:gd name="csX6" fmla="*/ 3362044 w 3362044"/>
              <a:gd name="csY6" fmla="*/ 215666 h 1293971"/>
              <a:gd name="csX7" fmla="*/ 3362044 w 3362044"/>
              <a:gd name="csY7" fmla="*/ 655612 h 1293971"/>
              <a:gd name="csX8" fmla="*/ 3362044 w 3362044"/>
              <a:gd name="csY8" fmla="*/ 1078305 h 1293971"/>
              <a:gd name="csX9" fmla="*/ 3146378 w 3362044"/>
              <a:gd name="csY9" fmla="*/ 1293971 h 1293971"/>
              <a:gd name="csX10" fmla="*/ 2589543 w 3362044"/>
              <a:gd name="csY10" fmla="*/ 1293971 h 1293971"/>
              <a:gd name="csX11" fmla="*/ 2003400 w 3362044"/>
              <a:gd name="csY11" fmla="*/ 1293971 h 1293971"/>
              <a:gd name="csX12" fmla="*/ 1446565 w 3362044"/>
              <a:gd name="csY12" fmla="*/ 1293971 h 1293971"/>
              <a:gd name="csX13" fmla="*/ 801808 w 3362044"/>
              <a:gd name="csY13" fmla="*/ 1293971 h 1293971"/>
              <a:gd name="csX14" fmla="*/ 215666 w 3362044"/>
              <a:gd name="csY14" fmla="*/ 1293971 h 1293971"/>
              <a:gd name="csX15" fmla="*/ 0 w 3362044"/>
              <a:gd name="csY15" fmla="*/ 1078305 h 1293971"/>
              <a:gd name="csX16" fmla="*/ 0 w 3362044"/>
              <a:gd name="csY16" fmla="*/ 672865 h 1293971"/>
              <a:gd name="csX17" fmla="*/ 0 w 3362044"/>
              <a:gd name="csY17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</a:cxnLst>
            <a:rect l="l" t="t" r="r" b="b"/>
            <a:pathLst>
              <a:path w="3362044" h="1293971" fill="none" extrusionOk="0">
                <a:moveTo>
                  <a:pt x="0" y="215666"/>
                </a:moveTo>
                <a:cubicBezTo>
                  <a:pt x="21958" y="97795"/>
                  <a:pt x="101943" y="11450"/>
                  <a:pt x="215666" y="0"/>
                </a:cubicBezTo>
                <a:cubicBezTo>
                  <a:pt x="416038" y="8481"/>
                  <a:pt x="696422" y="22985"/>
                  <a:pt x="831116" y="0"/>
                </a:cubicBezTo>
                <a:cubicBezTo>
                  <a:pt x="965810" y="-22985"/>
                  <a:pt x="1206211" y="14223"/>
                  <a:pt x="1446565" y="0"/>
                </a:cubicBezTo>
                <a:cubicBezTo>
                  <a:pt x="1686919" y="-14223"/>
                  <a:pt x="1766567" y="-17619"/>
                  <a:pt x="2062015" y="0"/>
                </a:cubicBezTo>
                <a:cubicBezTo>
                  <a:pt x="2357463" y="17619"/>
                  <a:pt x="2636869" y="52143"/>
                  <a:pt x="3146378" y="0"/>
                </a:cubicBezTo>
                <a:cubicBezTo>
                  <a:pt x="3247554" y="13366"/>
                  <a:pt x="3355205" y="90441"/>
                  <a:pt x="3362044" y="215666"/>
                </a:cubicBezTo>
                <a:cubicBezTo>
                  <a:pt x="3381376" y="429790"/>
                  <a:pt x="3373759" y="511946"/>
                  <a:pt x="3362044" y="655612"/>
                </a:cubicBezTo>
                <a:cubicBezTo>
                  <a:pt x="3350329" y="799278"/>
                  <a:pt x="3355765" y="935269"/>
                  <a:pt x="3362044" y="1078305"/>
                </a:cubicBezTo>
                <a:cubicBezTo>
                  <a:pt x="3347595" y="1223017"/>
                  <a:pt x="3287576" y="1299119"/>
                  <a:pt x="3146378" y="1293971"/>
                </a:cubicBezTo>
                <a:cubicBezTo>
                  <a:pt x="2984930" y="1304559"/>
                  <a:pt x="2765516" y="1296051"/>
                  <a:pt x="2589543" y="1293971"/>
                </a:cubicBezTo>
                <a:cubicBezTo>
                  <a:pt x="2413571" y="1291891"/>
                  <a:pt x="2277789" y="1272178"/>
                  <a:pt x="2003400" y="1293971"/>
                </a:cubicBezTo>
                <a:cubicBezTo>
                  <a:pt x="1729011" y="1315764"/>
                  <a:pt x="1674914" y="1305528"/>
                  <a:pt x="1446565" y="1293971"/>
                </a:cubicBezTo>
                <a:cubicBezTo>
                  <a:pt x="1218217" y="1282414"/>
                  <a:pt x="1029572" y="1289748"/>
                  <a:pt x="801808" y="1293971"/>
                </a:cubicBezTo>
                <a:cubicBezTo>
                  <a:pt x="574044" y="1298194"/>
                  <a:pt x="488059" y="1291431"/>
                  <a:pt x="215666" y="1293971"/>
                </a:cubicBezTo>
                <a:cubicBezTo>
                  <a:pt x="89981" y="1311331"/>
                  <a:pt x="15661" y="1196888"/>
                  <a:pt x="0" y="1078305"/>
                </a:cubicBezTo>
                <a:cubicBezTo>
                  <a:pt x="2466" y="976181"/>
                  <a:pt x="2643" y="851473"/>
                  <a:pt x="0" y="672865"/>
                </a:cubicBezTo>
                <a:cubicBezTo>
                  <a:pt x="-2643" y="494257"/>
                  <a:pt x="-368" y="415900"/>
                  <a:pt x="0" y="215666"/>
                </a:cubicBezTo>
                <a:close/>
              </a:path>
              <a:path w="3362044" h="1293971" stroke="0" extrusionOk="0">
                <a:moveTo>
                  <a:pt x="0" y="215666"/>
                </a:moveTo>
                <a:cubicBezTo>
                  <a:pt x="4298" y="101513"/>
                  <a:pt x="117999" y="-13564"/>
                  <a:pt x="215666" y="0"/>
                </a:cubicBezTo>
                <a:cubicBezTo>
                  <a:pt x="379757" y="12623"/>
                  <a:pt x="478503" y="20458"/>
                  <a:pt x="713887" y="0"/>
                </a:cubicBezTo>
                <a:cubicBezTo>
                  <a:pt x="949271" y="-20458"/>
                  <a:pt x="1030292" y="19134"/>
                  <a:pt x="1300029" y="0"/>
                </a:cubicBezTo>
                <a:cubicBezTo>
                  <a:pt x="1569766" y="-19134"/>
                  <a:pt x="1723214" y="-25547"/>
                  <a:pt x="1944786" y="0"/>
                </a:cubicBezTo>
                <a:cubicBezTo>
                  <a:pt x="2166358" y="25547"/>
                  <a:pt x="2339952" y="9393"/>
                  <a:pt x="2501621" y="0"/>
                </a:cubicBezTo>
                <a:cubicBezTo>
                  <a:pt x="2663290" y="-9393"/>
                  <a:pt x="2900062" y="-11346"/>
                  <a:pt x="3146378" y="0"/>
                </a:cubicBezTo>
                <a:cubicBezTo>
                  <a:pt x="3264706" y="29054"/>
                  <a:pt x="3381768" y="103053"/>
                  <a:pt x="3362044" y="215666"/>
                </a:cubicBezTo>
                <a:cubicBezTo>
                  <a:pt x="3346684" y="311266"/>
                  <a:pt x="3377561" y="478245"/>
                  <a:pt x="3362044" y="621106"/>
                </a:cubicBezTo>
                <a:cubicBezTo>
                  <a:pt x="3346527" y="763967"/>
                  <a:pt x="3383114" y="950732"/>
                  <a:pt x="3362044" y="1078305"/>
                </a:cubicBezTo>
                <a:cubicBezTo>
                  <a:pt x="3361954" y="1193830"/>
                  <a:pt x="3260836" y="1302738"/>
                  <a:pt x="3146378" y="1293971"/>
                </a:cubicBezTo>
                <a:cubicBezTo>
                  <a:pt x="2904922" y="1290937"/>
                  <a:pt x="2717475" y="1303966"/>
                  <a:pt x="2589543" y="1293971"/>
                </a:cubicBezTo>
                <a:cubicBezTo>
                  <a:pt x="2461612" y="1283976"/>
                  <a:pt x="2252019" y="1274921"/>
                  <a:pt x="2091322" y="1293971"/>
                </a:cubicBezTo>
                <a:cubicBezTo>
                  <a:pt x="1930625" y="1313021"/>
                  <a:pt x="1748569" y="1279617"/>
                  <a:pt x="1534486" y="1293971"/>
                </a:cubicBezTo>
                <a:cubicBezTo>
                  <a:pt x="1320403" y="1308325"/>
                  <a:pt x="1237172" y="1280739"/>
                  <a:pt x="1006958" y="1293971"/>
                </a:cubicBezTo>
                <a:cubicBezTo>
                  <a:pt x="776744" y="1307203"/>
                  <a:pt x="444298" y="1287189"/>
                  <a:pt x="215666" y="1293971"/>
                </a:cubicBezTo>
                <a:cubicBezTo>
                  <a:pt x="102815" y="1319018"/>
                  <a:pt x="10881" y="1204107"/>
                  <a:pt x="0" y="1078305"/>
                </a:cubicBezTo>
                <a:cubicBezTo>
                  <a:pt x="12950" y="989385"/>
                  <a:pt x="20335" y="793838"/>
                  <a:pt x="0" y="664238"/>
                </a:cubicBezTo>
                <a:cubicBezTo>
                  <a:pt x="-20335" y="534638"/>
                  <a:pt x="-1715" y="322576"/>
                  <a:pt x="0" y="215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108028920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tin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ør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ter</a:t>
            </a: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20975F9-FD8E-B28B-A27B-9E1A9D54889E}"/>
              </a:ext>
            </a:extLst>
          </p:cNvPr>
          <p:cNvSpPr txBox="1"/>
          <p:nvPr/>
        </p:nvSpPr>
        <p:spPr>
          <a:xfrm>
            <a:off x="4426728" y="3598878"/>
            <a:ext cx="3362044" cy="1293971"/>
          </a:xfrm>
          <a:custGeom>
            <a:avLst/>
            <a:gdLst>
              <a:gd name="csX0" fmla="*/ 0 w 3362044"/>
              <a:gd name="csY0" fmla="*/ 215666 h 1293971"/>
              <a:gd name="csX1" fmla="*/ 215666 w 3362044"/>
              <a:gd name="csY1" fmla="*/ 0 h 1293971"/>
              <a:gd name="csX2" fmla="*/ 831116 w 3362044"/>
              <a:gd name="csY2" fmla="*/ 0 h 1293971"/>
              <a:gd name="csX3" fmla="*/ 1387951 w 3362044"/>
              <a:gd name="csY3" fmla="*/ 0 h 1293971"/>
              <a:gd name="csX4" fmla="*/ 1944786 w 3362044"/>
              <a:gd name="csY4" fmla="*/ 0 h 1293971"/>
              <a:gd name="csX5" fmla="*/ 2501621 w 3362044"/>
              <a:gd name="csY5" fmla="*/ 0 h 1293971"/>
              <a:gd name="csX6" fmla="*/ 3146378 w 3362044"/>
              <a:gd name="csY6" fmla="*/ 0 h 1293971"/>
              <a:gd name="csX7" fmla="*/ 3362044 w 3362044"/>
              <a:gd name="csY7" fmla="*/ 215666 h 1293971"/>
              <a:gd name="csX8" fmla="*/ 3362044 w 3362044"/>
              <a:gd name="csY8" fmla="*/ 621106 h 1293971"/>
              <a:gd name="csX9" fmla="*/ 3362044 w 3362044"/>
              <a:gd name="csY9" fmla="*/ 1078305 h 1293971"/>
              <a:gd name="csX10" fmla="*/ 3146378 w 3362044"/>
              <a:gd name="csY10" fmla="*/ 1293971 h 1293971"/>
              <a:gd name="csX11" fmla="*/ 2589543 w 3362044"/>
              <a:gd name="csY11" fmla="*/ 1293971 h 1293971"/>
              <a:gd name="csX12" fmla="*/ 1974093 w 3362044"/>
              <a:gd name="csY12" fmla="*/ 1293971 h 1293971"/>
              <a:gd name="csX13" fmla="*/ 1358644 w 3362044"/>
              <a:gd name="csY13" fmla="*/ 1293971 h 1293971"/>
              <a:gd name="csX14" fmla="*/ 801808 w 3362044"/>
              <a:gd name="csY14" fmla="*/ 1293971 h 1293971"/>
              <a:gd name="csX15" fmla="*/ 215666 w 3362044"/>
              <a:gd name="csY15" fmla="*/ 1293971 h 1293971"/>
              <a:gd name="csX16" fmla="*/ 0 w 3362044"/>
              <a:gd name="csY16" fmla="*/ 1078305 h 1293971"/>
              <a:gd name="csX17" fmla="*/ 0 w 3362044"/>
              <a:gd name="csY17" fmla="*/ 646986 h 1293971"/>
              <a:gd name="csX18" fmla="*/ 0 w 3362044"/>
              <a:gd name="csY18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362044" h="1293971" fill="none" extrusionOk="0">
                <a:moveTo>
                  <a:pt x="0" y="215666"/>
                </a:moveTo>
                <a:cubicBezTo>
                  <a:pt x="-10450" y="80842"/>
                  <a:pt x="91584" y="10084"/>
                  <a:pt x="215666" y="0"/>
                </a:cubicBezTo>
                <a:cubicBezTo>
                  <a:pt x="368411" y="-23565"/>
                  <a:pt x="666237" y="-2194"/>
                  <a:pt x="831116" y="0"/>
                </a:cubicBezTo>
                <a:cubicBezTo>
                  <a:pt x="995995" y="2194"/>
                  <a:pt x="1266071" y="7737"/>
                  <a:pt x="1387951" y="0"/>
                </a:cubicBezTo>
                <a:cubicBezTo>
                  <a:pt x="1509831" y="-7737"/>
                  <a:pt x="1763356" y="19503"/>
                  <a:pt x="1944786" y="0"/>
                </a:cubicBezTo>
                <a:cubicBezTo>
                  <a:pt x="2126216" y="-19503"/>
                  <a:pt x="2276840" y="-734"/>
                  <a:pt x="2501621" y="0"/>
                </a:cubicBezTo>
                <a:cubicBezTo>
                  <a:pt x="2726402" y="734"/>
                  <a:pt x="2985156" y="22409"/>
                  <a:pt x="3146378" y="0"/>
                </a:cubicBezTo>
                <a:cubicBezTo>
                  <a:pt x="3265962" y="29027"/>
                  <a:pt x="3359121" y="86891"/>
                  <a:pt x="3362044" y="215666"/>
                </a:cubicBezTo>
                <a:cubicBezTo>
                  <a:pt x="3378874" y="328988"/>
                  <a:pt x="3375258" y="503446"/>
                  <a:pt x="3362044" y="621106"/>
                </a:cubicBezTo>
                <a:cubicBezTo>
                  <a:pt x="3348830" y="738766"/>
                  <a:pt x="3361769" y="945960"/>
                  <a:pt x="3362044" y="1078305"/>
                </a:cubicBezTo>
                <a:cubicBezTo>
                  <a:pt x="3355589" y="1222393"/>
                  <a:pt x="3262687" y="1296975"/>
                  <a:pt x="3146378" y="1293971"/>
                </a:cubicBezTo>
                <a:cubicBezTo>
                  <a:pt x="2886798" y="1302535"/>
                  <a:pt x="2740055" y="1279369"/>
                  <a:pt x="2589543" y="1293971"/>
                </a:cubicBezTo>
                <a:cubicBezTo>
                  <a:pt x="2439031" y="1308573"/>
                  <a:pt x="2136261" y="1319426"/>
                  <a:pt x="1974093" y="1293971"/>
                </a:cubicBezTo>
                <a:cubicBezTo>
                  <a:pt x="1811925" y="1268517"/>
                  <a:pt x="1634141" y="1317221"/>
                  <a:pt x="1358644" y="1293971"/>
                </a:cubicBezTo>
                <a:cubicBezTo>
                  <a:pt x="1083147" y="1270721"/>
                  <a:pt x="945253" y="1299393"/>
                  <a:pt x="801808" y="1293971"/>
                </a:cubicBezTo>
                <a:cubicBezTo>
                  <a:pt x="658363" y="1288549"/>
                  <a:pt x="387045" y="1287224"/>
                  <a:pt x="215666" y="1293971"/>
                </a:cubicBezTo>
                <a:cubicBezTo>
                  <a:pt x="91217" y="1293261"/>
                  <a:pt x="13260" y="1213553"/>
                  <a:pt x="0" y="1078305"/>
                </a:cubicBezTo>
                <a:cubicBezTo>
                  <a:pt x="11070" y="865376"/>
                  <a:pt x="16784" y="756969"/>
                  <a:pt x="0" y="646986"/>
                </a:cubicBezTo>
                <a:cubicBezTo>
                  <a:pt x="-16784" y="537003"/>
                  <a:pt x="124" y="353437"/>
                  <a:pt x="0" y="215666"/>
                </a:cubicBezTo>
                <a:close/>
              </a:path>
              <a:path w="3362044" h="1293971" stroke="0" extrusionOk="0">
                <a:moveTo>
                  <a:pt x="0" y="215666"/>
                </a:moveTo>
                <a:cubicBezTo>
                  <a:pt x="-2869" y="102705"/>
                  <a:pt x="71897" y="14646"/>
                  <a:pt x="215666" y="0"/>
                </a:cubicBezTo>
                <a:cubicBezTo>
                  <a:pt x="450321" y="17983"/>
                  <a:pt x="539692" y="10029"/>
                  <a:pt x="713887" y="0"/>
                </a:cubicBezTo>
                <a:cubicBezTo>
                  <a:pt x="888082" y="-10029"/>
                  <a:pt x="1077961" y="-23164"/>
                  <a:pt x="1329337" y="0"/>
                </a:cubicBezTo>
                <a:cubicBezTo>
                  <a:pt x="1580713" y="23164"/>
                  <a:pt x="1615007" y="3457"/>
                  <a:pt x="1827558" y="0"/>
                </a:cubicBezTo>
                <a:cubicBezTo>
                  <a:pt x="2040109" y="-3457"/>
                  <a:pt x="2181516" y="-9555"/>
                  <a:pt x="2325779" y="0"/>
                </a:cubicBezTo>
                <a:cubicBezTo>
                  <a:pt x="2470042" y="9555"/>
                  <a:pt x="2744243" y="-3839"/>
                  <a:pt x="3146378" y="0"/>
                </a:cubicBezTo>
                <a:cubicBezTo>
                  <a:pt x="3286161" y="-13457"/>
                  <a:pt x="3360780" y="68986"/>
                  <a:pt x="3362044" y="215666"/>
                </a:cubicBezTo>
                <a:cubicBezTo>
                  <a:pt x="3376342" y="380838"/>
                  <a:pt x="3382034" y="530185"/>
                  <a:pt x="3362044" y="646986"/>
                </a:cubicBezTo>
                <a:cubicBezTo>
                  <a:pt x="3342054" y="763787"/>
                  <a:pt x="3364557" y="901190"/>
                  <a:pt x="3362044" y="1078305"/>
                </a:cubicBezTo>
                <a:cubicBezTo>
                  <a:pt x="3381664" y="1199659"/>
                  <a:pt x="3236469" y="1288137"/>
                  <a:pt x="3146378" y="1293971"/>
                </a:cubicBezTo>
                <a:cubicBezTo>
                  <a:pt x="2954868" y="1291341"/>
                  <a:pt x="2742272" y="1317713"/>
                  <a:pt x="2560236" y="1293971"/>
                </a:cubicBezTo>
                <a:cubicBezTo>
                  <a:pt x="2378200" y="1270229"/>
                  <a:pt x="2236425" y="1312656"/>
                  <a:pt x="2032707" y="1293971"/>
                </a:cubicBezTo>
                <a:cubicBezTo>
                  <a:pt x="1828989" y="1275286"/>
                  <a:pt x="1758888" y="1288697"/>
                  <a:pt x="1534486" y="1293971"/>
                </a:cubicBezTo>
                <a:cubicBezTo>
                  <a:pt x="1310084" y="1299245"/>
                  <a:pt x="1229415" y="1274530"/>
                  <a:pt x="948344" y="1293971"/>
                </a:cubicBezTo>
                <a:cubicBezTo>
                  <a:pt x="667273" y="1313412"/>
                  <a:pt x="398855" y="1319844"/>
                  <a:pt x="215666" y="1293971"/>
                </a:cubicBezTo>
                <a:cubicBezTo>
                  <a:pt x="77950" y="1309385"/>
                  <a:pt x="-5793" y="1193587"/>
                  <a:pt x="0" y="1078305"/>
                </a:cubicBezTo>
                <a:cubicBezTo>
                  <a:pt x="-15323" y="881435"/>
                  <a:pt x="5243" y="838756"/>
                  <a:pt x="0" y="629733"/>
                </a:cubicBezTo>
                <a:cubicBezTo>
                  <a:pt x="-5243" y="420710"/>
                  <a:pt x="-20480" y="316677"/>
                  <a:pt x="0" y="21566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662708029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s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il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nriet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ra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BBF27E6D-CB41-CD23-98C2-3D0FBBC0D307}"/>
              </a:ext>
            </a:extLst>
          </p:cNvPr>
          <p:cNvSpPr txBox="1"/>
          <p:nvPr/>
        </p:nvSpPr>
        <p:spPr>
          <a:xfrm>
            <a:off x="915205" y="3598878"/>
            <a:ext cx="3362044" cy="1293971"/>
          </a:xfrm>
          <a:custGeom>
            <a:avLst/>
            <a:gdLst>
              <a:gd name="csX0" fmla="*/ 0 w 3362044"/>
              <a:gd name="csY0" fmla="*/ 215666 h 1293971"/>
              <a:gd name="csX1" fmla="*/ 215666 w 3362044"/>
              <a:gd name="csY1" fmla="*/ 0 h 1293971"/>
              <a:gd name="csX2" fmla="*/ 772501 w 3362044"/>
              <a:gd name="csY2" fmla="*/ 0 h 1293971"/>
              <a:gd name="csX3" fmla="*/ 1387951 w 3362044"/>
              <a:gd name="csY3" fmla="*/ 0 h 1293971"/>
              <a:gd name="csX4" fmla="*/ 2003400 w 3362044"/>
              <a:gd name="csY4" fmla="*/ 0 h 1293971"/>
              <a:gd name="csX5" fmla="*/ 2618850 w 3362044"/>
              <a:gd name="csY5" fmla="*/ 0 h 1293971"/>
              <a:gd name="csX6" fmla="*/ 3146378 w 3362044"/>
              <a:gd name="csY6" fmla="*/ 0 h 1293971"/>
              <a:gd name="csX7" fmla="*/ 3362044 w 3362044"/>
              <a:gd name="csY7" fmla="*/ 215666 h 1293971"/>
              <a:gd name="csX8" fmla="*/ 3362044 w 3362044"/>
              <a:gd name="csY8" fmla="*/ 629733 h 1293971"/>
              <a:gd name="csX9" fmla="*/ 3362044 w 3362044"/>
              <a:gd name="csY9" fmla="*/ 1078305 h 1293971"/>
              <a:gd name="csX10" fmla="*/ 3146378 w 3362044"/>
              <a:gd name="csY10" fmla="*/ 1293971 h 1293971"/>
              <a:gd name="csX11" fmla="*/ 2589543 w 3362044"/>
              <a:gd name="csY11" fmla="*/ 1293971 h 1293971"/>
              <a:gd name="csX12" fmla="*/ 2062015 w 3362044"/>
              <a:gd name="csY12" fmla="*/ 1293971 h 1293971"/>
              <a:gd name="csX13" fmla="*/ 1563794 w 3362044"/>
              <a:gd name="csY13" fmla="*/ 1293971 h 1293971"/>
              <a:gd name="csX14" fmla="*/ 948344 w 3362044"/>
              <a:gd name="csY14" fmla="*/ 1293971 h 1293971"/>
              <a:gd name="csX15" fmla="*/ 215666 w 3362044"/>
              <a:gd name="csY15" fmla="*/ 1293971 h 1293971"/>
              <a:gd name="csX16" fmla="*/ 0 w 3362044"/>
              <a:gd name="csY16" fmla="*/ 1078305 h 1293971"/>
              <a:gd name="csX17" fmla="*/ 0 w 3362044"/>
              <a:gd name="csY17" fmla="*/ 629733 h 1293971"/>
              <a:gd name="csX18" fmla="*/ 0 w 3362044"/>
              <a:gd name="csY18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</a:cxnLst>
            <a:rect l="l" t="t" r="r" b="b"/>
            <a:pathLst>
              <a:path w="3362044" h="1293971" fill="none" extrusionOk="0">
                <a:moveTo>
                  <a:pt x="0" y="215666"/>
                </a:moveTo>
                <a:cubicBezTo>
                  <a:pt x="-3681" y="85570"/>
                  <a:pt x="105196" y="-11037"/>
                  <a:pt x="215666" y="0"/>
                </a:cubicBezTo>
                <a:cubicBezTo>
                  <a:pt x="418739" y="19931"/>
                  <a:pt x="517157" y="3950"/>
                  <a:pt x="772501" y="0"/>
                </a:cubicBezTo>
                <a:cubicBezTo>
                  <a:pt x="1027846" y="-3950"/>
                  <a:pt x="1094599" y="19221"/>
                  <a:pt x="1387951" y="0"/>
                </a:cubicBezTo>
                <a:cubicBezTo>
                  <a:pt x="1681303" y="-19221"/>
                  <a:pt x="1727740" y="-9877"/>
                  <a:pt x="2003400" y="0"/>
                </a:cubicBezTo>
                <a:cubicBezTo>
                  <a:pt x="2279060" y="9877"/>
                  <a:pt x="2343292" y="-21068"/>
                  <a:pt x="2618850" y="0"/>
                </a:cubicBezTo>
                <a:cubicBezTo>
                  <a:pt x="2894408" y="21068"/>
                  <a:pt x="3028754" y="-87"/>
                  <a:pt x="3146378" y="0"/>
                </a:cubicBezTo>
                <a:cubicBezTo>
                  <a:pt x="3257298" y="-23432"/>
                  <a:pt x="3351560" y="99920"/>
                  <a:pt x="3362044" y="215666"/>
                </a:cubicBezTo>
                <a:cubicBezTo>
                  <a:pt x="3365804" y="355806"/>
                  <a:pt x="3374873" y="453072"/>
                  <a:pt x="3362044" y="629733"/>
                </a:cubicBezTo>
                <a:cubicBezTo>
                  <a:pt x="3349215" y="806394"/>
                  <a:pt x="3368356" y="960684"/>
                  <a:pt x="3362044" y="1078305"/>
                </a:cubicBezTo>
                <a:cubicBezTo>
                  <a:pt x="3351563" y="1196261"/>
                  <a:pt x="3245404" y="1279507"/>
                  <a:pt x="3146378" y="1293971"/>
                </a:cubicBezTo>
                <a:cubicBezTo>
                  <a:pt x="2915639" y="1315408"/>
                  <a:pt x="2781383" y="1309526"/>
                  <a:pt x="2589543" y="1293971"/>
                </a:cubicBezTo>
                <a:cubicBezTo>
                  <a:pt x="2397704" y="1278416"/>
                  <a:pt x="2210277" y="1278433"/>
                  <a:pt x="2062015" y="1293971"/>
                </a:cubicBezTo>
                <a:cubicBezTo>
                  <a:pt x="1913753" y="1309509"/>
                  <a:pt x="1722936" y="1300746"/>
                  <a:pt x="1563794" y="1293971"/>
                </a:cubicBezTo>
                <a:cubicBezTo>
                  <a:pt x="1404652" y="1287196"/>
                  <a:pt x="1091381" y="1279502"/>
                  <a:pt x="948344" y="1293971"/>
                </a:cubicBezTo>
                <a:cubicBezTo>
                  <a:pt x="805307" y="1308441"/>
                  <a:pt x="393823" y="1302297"/>
                  <a:pt x="215666" y="1293971"/>
                </a:cubicBezTo>
                <a:cubicBezTo>
                  <a:pt x="120913" y="1293667"/>
                  <a:pt x="4235" y="1221060"/>
                  <a:pt x="0" y="1078305"/>
                </a:cubicBezTo>
                <a:cubicBezTo>
                  <a:pt x="7479" y="930860"/>
                  <a:pt x="13146" y="793133"/>
                  <a:pt x="0" y="629733"/>
                </a:cubicBezTo>
                <a:cubicBezTo>
                  <a:pt x="-13146" y="466333"/>
                  <a:pt x="13665" y="374601"/>
                  <a:pt x="0" y="215666"/>
                </a:cubicBezTo>
                <a:close/>
              </a:path>
              <a:path w="3362044" h="1293971" stroke="0" extrusionOk="0">
                <a:moveTo>
                  <a:pt x="0" y="215666"/>
                </a:moveTo>
                <a:cubicBezTo>
                  <a:pt x="-15213" y="94117"/>
                  <a:pt x="90596" y="-8749"/>
                  <a:pt x="215666" y="0"/>
                </a:cubicBezTo>
                <a:cubicBezTo>
                  <a:pt x="391320" y="16703"/>
                  <a:pt x="609579" y="-21960"/>
                  <a:pt x="801808" y="0"/>
                </a:cubicBezTo>
                <a:cubicBezTo>
                  <a:pt x="994037" y="21960"/>
                  <a:pt x="1236863" y="13769"/>
                  <a:pt x="1417258" y="0"/>
                </a:cubicBezTo>
                <a:cubicBezTo>
                  <a:pt x="1597653" y="-13769"/>
                  <a:pt x="1790381" y="-20661"/>
                  <a:pt x="1974093" y="0"/>
                </a:cubicBezTo>
                <a:cubicBezTo>
                  <a:pt x="2157805" y="20661"/>
                  <a:pt x="2380049" y="-6616"/>
                  <a:pt x="2589543" y="0"/>
                </a:cubicBezTo>
                <a:cubicBezTo>
                  <a:pt x="2799037" y="6616"/>
                  <a:pt x="2947038" y="-4206"/>
                  <a:pt x="3146378" y="0"/>
                </a:cubicBezTo>
                <a:cubicBezTo>
                  <a:pt x="3268847" y="-11119"/>
                  <a:pt x="3383595" y="105496"/>
                  <a:pt x="3362044" y="215666"/>
                </a:cubicBezTo>
                <a:cubicBezTo>
                  <a:pt x="3358060" y="358463"/>
                  <a:pt x="3376486" y="437143"/>
                  <a:pt x="3362044" y="629733"/>
                </a:cubicBezTo>
                <a:cubicBezTo>
                  <a:pt x="3347602" y="822323"/>
                  <a:pt x="3346883" y="937439"/>
                  <a:pt x="3362044" y="1078305"/>
                </a:cubicBezTo>
                <a:cubicBezTo>
                  <a:pt x="3350334" y="1186513"/>
                  <a:pt x="3250819" y="1291572"/>
                  <a:pt x="3146378" y="1293971"/>
                </a:cubicBezTo>
                <a:cubicBezTo>
                  <a:pt x="2974229" y="1285878"/>
                  <a:pt x="2766311" y="1307551"/>
                  <a:pt x="2589543" y="1293971"/>
                </a:cubicBezTo>
                <a:cubicBezTo>
                  <a:pt x="2412775" y="1280391"/>
                  <a:pt x="2106111" y="1281771"/>
                  <a:pt x="1944786" y="1293971"/>
                </a:cubicBezTo>
                <a:cubicBezTo>
                  <a:pt x="1783461" y="1306171"/>
                  <a:pt x="1523970" y="1303158"/>
                  <a:pt x="1300029" y="1293971"/>
                </a:cubicBezTo>
                <a:cubicBezTo>
                  <a:pt x="1076088" y="1284784"/>
                  <a:pt x="978112" y="1301501"/>
                  <a:pt x="801808" y="1293971"/>
                </a:cubicBezTo>
                <a:cubicBezTo>
                  <a:pt x="625504" y="1286441"/>
                  <a:pt x="443419" y="1316471"/>
                  <a:pt x="215666" y="1293971"/>
                </a:cubicBezTo>
                <a:cubicBezTo>
                  <a:pt x="89064" y="1289638"/>
                  <a:pt x="-3711" y="1188017"/>
                  <a:pt x="0" y="1078305"/>
                </a:cubicBezTo>
                <a:cubicBezTo>
                  <a:pt x="-1575" y="868414"/>
                  <a:pt x="-16141" y="798145"/>
                  <a:pt x="0" y="629733"/>
                </a:cubicBezTo>
                <a:cubicBezTo>
                  <a:pt x="16141" y="461321"/>
                  <a:pt x="-13396" y="367955"/>
                  <a:pt x="0" y="21566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256340889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h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tr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mm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rli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DCEB4413-6F68-7034-CDF8-04C5BFF1083D}"/>
              </a:ext>
            </a:extLst>
          </p:cNvPr>
          <p:cNvSpPr txBox="1"/>
          <p:nvPr/>
        </p:nvSpPr>
        <p:spPr>
          <a:xfrm rot="742220">
            <a:off x="6130463" y="4031548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10753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5440" y="20970"/>
                  <a:pt x="20214" y="5205"/>
                  <a:pt x="51079" y="0"/>
                </a:cubicBezTo>
                <a:cubicBezTo>
                  <a:pt x="373750" y="26443"/>
                  <a:pt x="518353" y="-1534"/>
                  <a:pt x="710753" y="0"/>
                </a:cubicBezTo>
                <a:cubicBezTo>
                  <a:pt x="903153" y="1534"/>
                  <a:pt x="1259548" y="33071"/>
                  <a:pt x="1397353" y="0"/>
                </a:cubicBezTo>
                <a:cubicBezTo>
                  <a:pt x="1423438" y="-85"/>
                  <a:pt x="1447824" y="17287"/>
                  <a:pt x="1448432" y="51079"/>
                </a:cubicBezTo>
                <a:cubicBezTo>
                  <a:pt x="1442191" y="93005"/>
                  <a:pt x="1440770" y="203779"/>
                  <a:pt x="1448432" y="255388"/>
                </a:cubicBezTo>
                <a:cubicBezTo>
                  <a:pt x="1446500" y="281492"/>
                  <a:pt x="1427062" y="302033"/>
                  <a:pt x="1397353" y="306467"/>
                </a:cubicBezTo>
                <a:cubicBezTo>
                  <a:pt x="1076728" y="300580"/>
                  <a:pt x="1016935" y="295902"/>
                  <a:pt x="737679" y="306467"/>
                </a:cubicBezTo>
                <a:cubicBezTo>
                  <a:pt x="458423" y="317032"/>
                  <a:pt x="262907" y="328729"/>
                  <a:pt x="51079" y="306467"/>
                </a:cubicBezTo>
                <a:cubicBezTo>
                  <a:pt x="25455" y="304487"/>
                  <a:pt x="2371" y="278632"/>
                  <a:pt x="0" y="255388"/>
                </a:cubicBezTo>
                <a:cubicBezTo>
                  <a:pt x="-9489" y="185670"/>
                  <a:pt x="-6398" y="132856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-2337" y="25587"/>
                  <a:pt x="23859" y="-1648"/>
                  <a:pt x="51079" y="0"/>
                </a:cubicBezTo>
                <a:cubicBezTo>
                  <a:pt x="217418" y="4363"/>
                  <a:pt x="381748" y="-8343"/>
                  <a:pt x="683828" y="0"/>
                </a:cubicBezTo>
                <a:cubicBezTo>
                  <a:pt x="985908" y="8343"/>
                  <a:pt x="1228856" y="5672"/>
                  <a:pt x="1397353" y="0"/>
                </a:cubicBezTo>
                <a:cubicBezTo>
                  <a:pt x="1424410" y="5985"/>
                  <a:pt x="1444932" y="25393"/>
                  <a:pt x="1448432" y="51079"/>
                </a:cubicBezTo>
                <a:cubicBezTo>
                  <a:pt x="1458229" y="133895"/>
                  <a:pt x="1458073" y="200705"/>
                  <a:pt x="1448432" y="255388"/>
                </a:cubicBezTo>
                <a:cubicBezTo>
                  <a:pt x="1444504" y="285223"/>
                  <a:pt x="1426912" y="300768"/>
                  <a:pt x="1397353" y="306467"/>
                </a:cubicBezTo>
                <a:cubicBezTo>
                  <a:pt x="1181292" y="281845"/>
                  <a:pt x="1026882" y="323016"/>
                  <a:pt x="710753" y="306467"/>
                </a:cubicBezTo>
                <a:cubicBezTo>
                  <a:pt x="394624" y="289918"/>
                  <a:pt x="232765" y="297557"/>
                  <a:pt x="51079" y="306467"/>
                </a:cubicBezTo>
                <a:cubicBezTo>
                  <a:pt x="22443" y="309063"/>
                  <a:pt x="6373" y="284172"/>
                  <a:pt x="0" y="255388"/>
                </a:cubicBezTo>
                <a:cubicBezTo>
                  <a:pt x="3258" y="183992"/>
                  <a:pt x="-8739" y="120251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30121096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sæt nav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3AB9EA-DE91-3E6C-03A9-7E7E628E5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>
                <a:solidFill>
                  <a:srgbClr val="0F5B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deling i grupp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8AC516-3162-1A2D-6563-EFA07B3C5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Verdana" panose="020B0604030504040204" pitchFamily="34" charset="0"/>
            </a:endParaRPr>
          </a:p>
        </p:txBody>
      </p:sp>
      <p:sp>
        <p:nvSpPr>
          <p:cNvPr id="18" name="Rectangle: Rounded Corners 44">
            <a:extLst>
              <a:ext uri="{FF2B5EF4-FFF2-40B4-BE49-F238E27FC236}">
                <a16:creationId xmlns:a16="http://schemas.microsoft.com/office/drawing/2014/main" id="{7D1F4175-6FAC-4EE8-FD68-EF1B9131B1BE}"/>
              </a:ext>
            </a:extLst>
          </p:cNvPr>
          <p:cNvSpPr/>
          <p:nvPr/>
        </p:nvSpPr>
        <p:spPr>
          <a:xfrm>
            <a:off x="9769859" y="3295969"/>
            <a:ext cx="136576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err="1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  <a:endParaRPr kumimoji="0" lang="da-DK" sz="1600" b="1" i="0" u="none" strike="noStrike" kern="1200" cap="none" spc="0" normalizeH="0" baseline="0" noProof="0">
              <a:ln>
                <a:noFill/>
              </a:ln>
              <a:solidFill>
                <a:srgbClr val="252F5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Rectangle: Rounded Corners 62">
            <a:extLst>
              <a:ext uri="{FF2B5EF4-FFF2-40B4-BE49-F238E27FC236}">
                <a16:creationId xmlns:a16="http://schemas.microsoft.com/office/drawing/2014/main" id="{B14F1783-7154-74FF-C65E-B0496B58E2E6}"/>
              </a:ext>
            </a:extLst>
          </p:cNvPr>
          <p:cNvSpPr/>
          <p:nvPr/>
        </p:nvSpPr>
        <p:spPr>
          <a:xfrm>
            <a:off x="2493250" y="3295970"/>
            <a:ext cx="638391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jø</a:t>
            </a:r>
          </a:p>
        </p:txBody>
      </p:sp>
      <p:sp>
        <p:nvSpPr>
          <p:cNvPr id="20" name="Rectangle: Rounded Corners 85">
            <a:extLst>
              <a:ext uri="{FF2B5EF4-FFF2-40B4-BE49-F238E27FC236}">
                <a16:creationId xmlns:a16="http://schemas.microsoft.com/office/drawing/2014/main" id="{A595F78A-582A-2E36-DAC5-E38B53988E69}"/>
              </a:ext>
            </a:extLst>
          </p:cNvPr>
          <p:cNvSpPr/>
          <p:nvPr/>
        </p:nvSpPr>
        <p:spPr>
          <a:xfrm>
            <a:off x="6210118" y="3295969"/>
            <a:ext cx="68608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ial</a:t>
            </a:r>
          </a:p>
        </p:txBody>
      </p:sp>
      <p:grpSp>
        <p:nvGrpSpPr>
          <p:cNvPr id="21" name="Group 330">
            <a:extLst>
              <a:ext uri="{FF2B5EF4-FFF2-40B4-BE49-F238E27FC236}">
                <a16:creationId xmlns:a16="http://schemas.microsoft.com/office/drawing/2014/main" id="{0C300612-24E9-E1AD-0CA8-DA66564FABB2}"/>
              </a:ext>
            </a:extLst>
          </p:cNvPr>
          <p:cNvGrpSpPr>
            <a:grpSpLocks noChangeAspect="1"/>
          </p:cNvGrpSpPr>
          <p:nvPr/>
        </p:nvGrpSpPr>
        <p:grpSpPr>
          <a:xfrm>
            <a:off x="1138536" y="2321506"/>
            <a:ext cx="1428865" cy="1440000"/>
            <a:chOff x="4156082" y="-3024236"/>
            <a:chExt cx="2183420" cy="2200431"/>
          </a:xfrm>
        </p:grpSpPr>
        <p:sp>
          <p:nvSpPr>
            <p:cNvPr id="22" name="Freeform: Shape 328">
              <a:extLst>
                <a:ext uri="{FF2B5EF4-FFF2-40B4-BE49-F238E27FC236}">
                  <a16:creationId xmlns:a16="http://schemas.microsoft.com/office/drawing/2014/main" id="{6762C8E8-82AF-4230-645C-2059EC643B6B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</a:t>
              </a:r>
            </a:p>
          </p:txBody>
        </p:sp>
        <p:sp>
          <p:nvSpPr>
            <p:cNvPr id="23" name="Freeform: Shape 329">
              <a:extLst>
                <a:ext uri="{FF2B5EF4-FFF2-40B4-BE49-F238E27FC236}">
                  <a16:creationId xmlns:a16="http://schemas.microsoft.com/office/drawing/2014/main" id="{D30FB42C-52EB-E808-A990-93BC015CAE62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4" name="Group 331">
            <a:extLst>
              <a:ext uri="{FF2B5EF4-FFF2-40B4-BE49-F238E27FC236}">
                <a16:creationId xmlns:a16="http://schemas.microsoft.com/office/drawing/2014/main" id="{180E4086-752F-B746-DD78-F9574EAF41DD}"/>
              </a:ext>
            </a:extLst>
          </p:cNvPr>
          <p:cNvGrpSpPr>
            <a:grpSpLocks noChangeAspect="1"/>
          </p:cNvGrpSpPr>
          <p:nvPr/>
        </p:nvGrpSpPr>
        <p:grpSpPr>
          <a:xfrm>
            <a:off x="4706998" y="2321506"/>
            <a:ext cx="1439368" cy="1440000"/>
            <a:chOff x="3092692" y="-1631033"/>
            <a:chExt cx="2192906" cy="2193874"/>
          </a:xfrm>
        </p:grpSpPr>
        <p:sp>
          <p:nvSpPr>
            <p:cNvPr id="25" name="Freeform: Shape 326">
              <a:extLst>
                <a:ext uri="{FF2B5EF4-FFF2-40B4-BE49-F238E27FC236}">
                  <a16:creationId xmlns:a16="http://schemas.microsoft.com/office/drawing/2014/main" id="{77E3BF9A-5CEC-D9FB-2470-C8BF9767C669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Freeform: Shape 327">
              <a:extLst>
                <a:ext uri="{FF2B5EF4-FFF2-40B4-BE49-F238E27FC236}">
                  <a16:creationId xmlns:a16="http://schemas.microsoft.com/office/drawing/2014/main" id="{2FC15CC1-0670-709A-A60E-4564A2C81BAE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7" name="Group 332">
            <a:extLst>
              <a:ext uri="{FF2B5EF4-FFF2-40B4-BE49-F238E27FC236}">
                <a16:creationId xmlns:a16="http://schemas.microsoft.com/office/drawing/2014/main" id="{65B85DEA-3683-FCF1-6413-E1856B2785CD}"/>
              </a:ext>
            </a:extLst>
          </p:cNvPr>
          <p:cNvGrpSpPr>
            <a:grpSpLocks noChangeAspect="1"/>
          </p:cNvGrpSpPr>
          <p:nvPr/>
        </p:nvGrpSpPr>
        <p:grpSpPr>
          <a:xfrm rot="21410080">
            <a:off x="8265334" y="2360442"/>
            <a:ext cx="1450060" cy="1440000"/>
            <a:chOff x="8336051" y="3610471"/>
            <a:chExt cx="2227633" cy="2212181"/>
          </a:xfrm>
        </p:grpSpPr>
        <p:sp>
          <p:nvSpPr>
            <p:cNvPr id="28" name="Freeform: Shape 333">
              <a:extLst>
                <a:ext uri="{FF2B5EF4-FFF2-40B4-BE49-F238E27FC236}">
                  <a16:creationId xmlns:a16="http://schemas.microsoft.com/office/drawing/2014/main" id="{D0C1A337-B530-0022-3F75-ABCBF06B35E1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</a:t>
              </a:r>
            </a:p>
          </p:txBody>
        </p:sp>
        <p:sp>
          <p:nvSpPr>
            <p:cNvPr id="29" name="Freeform: Shape 334">
              <a:extLst>
                <a:ext uri="{FF2B5EF4-FFF2-40B4-BE49-F238E27FC236}">
                  <a16:creationId xmlns:a16="http://schemas.microsoft.com/office/drawing/2014/main" id="{3839FC29-374A-DBC5-3C43-53AE1990B98F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7" name="Tekstfelt 6">
            <a:extLst>
              <a:ext uri="{FF2B5EF4-FFF2-40B4-BE49-F238E27FC236}">
                <a16:creationId xmlns:a16="http://schemas.microsoft.com/office/drawing/2014/main" id="{076E7261-41C7-03E7-0DB2-F0A44D592054}"/>
              </a:ext>
            </a:extLst>
          </p:cNvPr>
          <p:cNvSpPr txBox="1"/>
          <p:nvPr/>
        </p:nvSpPr>
        <p:spPr>
          <a:xfrm rot="742220">
            <a:off x="2662355" y="4031548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69729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-2381" y="21464"/>
                  <a:pt x="23383" y="2099"/>
                  <a:pt x="51079" y="0"/>
                </a:cubicBezTo>
                <a:cubicBezTo>
                  <a:pt x="300845" y="25115"/>
                  <a:pt x="415232" y="-4230"/>
                  <a:pt x="697291" y="0"/>
                </a:cubicBezTo>
                <a:cubicBezTo>
                  <a:pt x="979350" y="4230"/>
                  <a:pt x="1202956" y="-20302"/>
                  <a:pt x="1397353" y="0"/>
                </a:cubicBezTo>
                <a:cubicBezTo>
                  <a:pt x="1425956" y="3372"/>
                  <a:pt x="1446423" y="21059"/>
                  <a:pt x="1448432" y="51079"/>
                </a:cubicBezTo>
                <a:cubicBezTo>
                  <a:pt x="1458347" y="104360"/>
                  <a:pt x="1446107" y="210904"/>
                  <a:pt x="1448432" y="255388"/>
                </a:cubicBezTo>
                <a:cubicBezTo>
                  <a:pt x="1447159" y="290265"/>
                  <a:pt x="1428903" y="301834"/>
                  <a:pt x="1397353" y="306467"/>
                </a:cubicBezTo>
                <a:cubicBezTo>
                  <a:pt x="1142069" y="312539"/>
                  <a:pt x="987196" y="329541"/>
                  <a:pt x="737679" y="306467"/>
                </a:cubicBezTo>
                <a:cubicBezTo>
                  <a:pt x="488162" y="283393"/>
                  <a:pt x="363677" y="322192"/>
                  <a:pt x="51079" y="306467"/>
                </a:cubicBezTo>
                <a:cubicBezTo>
                  <a:pt x="21588" y="304429"/>
                  <a:pt x="4265" y="278659"/>
                  <a:pt x="0" y="255388"/>
                </a:cubicBezTo>
                <a:cubicBezTo>
                  <a:pt x="1011" y="165622"/>
                  <a:pt x="-114" y="114463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4770" y="21116"/>
                  <a:pt x="24289" y="-3650"/>
                  <a:pt x="51079" y="0"/>
                </a:cubicBezTo>
                <a:cubicBezTo>
                  <a:pt x="299115" y="12978"/>
                  <a:pt x="522345" y="-5284"/>
                  <a:pt x="724216" y="0"/>
                </a:cubicBezTo>
                <a:cubicBezTo>
                  <a:pt x="926087" y="5284"/>
                  <a:pt x="1232199" y="-15968"/>
                  <a:pt x="1397353" y="0"/>
                </a:cubicBezTo>
                <a:cubicBezTo>
                  <a:pt x="1428158" y="1647"/>
                  <a:pt x="1453463" y="25924"/>
                  <a:pt x="1448432" y="51079"/>
                </a:cubicBezTo>
                <a:cubicBezTo>
                  <a:pt x="1454670" y="106806"/>
                  <a:pt x="1443566" y="165446"/>
                  <a:pt x="1448432" y="255388"/>
                </a:cubicBezTo>
                <a:cubicBezTo>
                  <a:pt x="1448958" y="284535"/>
                  <a:pt x="1424914" y="306525"/>
                  <a:pt x="1397353" y="306467"/>
                </a:cubicBezTo>
                <a:cubicBezTo>
                  <a:pt x="1159065" y="293532"/>
                  <a:pt x="997223" y="326544"/>
                  <a:pt x="737679" y="306467"/>
                </a:cubicBezTo>
                <a:cubicBezTo>
                  <a:pt x="478135" y="286390"/>
                  <a:pt x="309271" y="309691"/>
                  <a:pt x="51079" y="306467"/>
                </a:cubicBezTo>
                <a:cubicBezTo>
                  <a:pt x="23286" y="309851"/>
                  <a:pt x="-2045" y="281984"/>
                  <a:pt x="0" y="255388"/>
                </a:cubicBezTo>
                <a:cubicBezTo>
                  <a:pt x="6909" y="188635"/>
                  <a:pt x="9443" y="109829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rgbClr val="0F5B51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9975536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sæt navn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3D7CFB01-E5E5-1A1B-6E8B-071C4BE51971}"/>
              </a:ext>
            </a:extLst>
          </p:cNvPr>
          <p:cNvSpPr txBox="1"/>
          <p:nvPr/>
        </p:nvSpPr>
        <p:spPr>
          <a:xfrm rot="742220">
            <a:off x="9618054" y="4031548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5114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844" y="24108"/>
                  <a:pt x="19716" y="4712"/>
                  <a:pt x="51079" y="0"/>
                </a:cubicBezTo>
                <a:cubicBezTo>
                  <a:pt x="310078" y="2815"/>
                  <a:pt x="449276" y="-22226"/>
                  <a:pt x="751141" y="0"/>
                </a:cubicBezTo>
                <a:cubicBezTo>
                  <a:pt x="1053006" y="22226"/>
                  <a:pt x="1234760" y="-7719"/>
                  <a:pt x="1397353" y="0"/>
                </a:cubicBezTo>
                <a:cubicBezTo>
                  <a:pt x="1430007" y="1260"/>
                  <a:pt x="1445111" y="19565"/>
                  <a:pt x="1448432" y="51079"/>
                </a:cubicBezTo>
                <a:cubicBezTo>
                  <a:pt x="1448702" y="106709"/>
                  <a:pt x="1441759" y="192486"/>
                  <a:pt x="1448432" y="255388"/>
                </a:cubicBezTo>
                <a:cubicBezTo>
                  <a:pt x="1447664" y="277468"/>
                  <a:pt x="1426557" y="312863"/>
                  <a:pt x="1397353" y="306467"/>
                </a:cubicBezTo>
                <a:cubicBezTo>
                  <a:pt x="1195956" y="294514"/>
                  <a:pt x="914398" y="338353"/>
                  <a:pt x="737679" y="306467"/>
                </a:cubicBezTo>
                <a:cubicBezTo>
                  <a:pt x="560960" y="274581"/>
                  <a:pt x="221739" y="317565"/>
                  <a:pt x="51079" y="306467"/>
                </a:cubicBezTo>
                <a:cubicBezTo>
                  <a:pt x="21402" y="312747"/>
                  <a:pt x="-4909" y="285465"/>
                  <a:pt x="0" y="255388"/>
                </a:cubicBezTo>
                <a:cubicBezTo>
                  <a:pt x="-3312" y="207430"/>
                  <a:pt x="-2181" y="131120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3863" y="23099"/>
                  <a:pt x="26986" y="2651"/>
                  <a:pt x="51079" y="0"/>
                </a:cubicBezTo>
                <a:cubicBezTo>
                  <a:pt x="384089" y="-8409"/>
                  <a:pt x="427741" y="19903"/>
                  <a:pt x="751141" y="0"/>
                </a:cubicBezTo>
                <a:cubicBezTo>
                  <a:pt x="1074541" y="-19903"/>
                  <a:pt x="1130685" y="13485"/>
                  <a:pt x="1397353" y="0"/>
                </a:cubicBezTo>
                <a:cubicBezTo>
                  <a:pt x="1423087" y="4850"/>
                  <a:pt x="1451812" y="21394"/>
                  <a:pt x="1448432" y="51079"/>
                </a:cubicBezTo>
                <a:cubicBezTo>
                  <a:pt x="1450424" y="127012"/>
                  <a:pt x="1445560" y="184023"/>
                  <a:pt x="1448432" y="255388"/>
                </a:cubicBezTo>
                <a:cubicBezTo>
                  <a:pt x="1446403" y="283483"/>
                  <a:pt x="1425681" y="311400"/>
                  <a:pt x="1397353" y="306467"/>
                </a:cubicBezTo>
                <a:cubicBezTo>
                  <a:pt x="1114754" y="279892"/>
                  <a:pt x="1060645" y="303673"/>
                  <a:pt x="751141" y="306467"/>
                </a:cubicBezTo>
                <a:cubicBezTo>
                  <a:pt x="441637" y="309261"/>
                  <a:pt x="261570" y="312189"/>
                  <a:pt x="51079" y="306467"/>
                </a:cubicBezTo>
                <a:cubicBezTo>
                  <a:pt x="23295" y="305353"/>
                  <a:pt x="-671" y="280725"/>
                  <a:pt x="0" y="255388"/>
                </a:cubicBezTo>
                <a:cubicBezTo>
                  <a:pt x="3430" y="192191"/>
                  <a:pt x="4584" y="112855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4">
                <a:lumMod val="50000"/>
              </a:schemeClr>
            </a:solidFill>
            <a:prstDash val="dash"/>
            <a:extLst>
              <a:ext uri="{C807C97D-BFC1-408E-A445-0C87EB9F89A2}">
                <ask:lineSketchStyleProps xmlns:ask="http://schemas.microsoft.com/office/drawing/2018/sketchyshapes" sd="588887795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sæt navne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F4BB9EDA-F271-5E58-1E54-467599A33427}"/>
              </a:ext>
            </a:extLst>
          </p:cNvPr>
          <p:cNvSpPr>
            <a:spLocks noChangeAspect="1"/>
          </p:cNvSpPr>
          <p:nvPr/>
        </p:nvSpPr>
        <p:spPr>
          <a:xfrm>
            <a:off x="11193148" y="524953"/>
            <a:ext cx="626707" cy="626707"/>
          </a:xfrm>
          <a:prstGeom prst="ellipse">
            <a:avLst/>
          </a:prstGeom>
          <a:solidFill>
            <a:schemeClr val="bg1"/>
          </a:solidFill>
          <a:ln w="28575">
            <a:solidFill>
              <a:srgbClr val="0D5B52"/>
            </a:solidFill>
            <a:extLst>
              <a:ext uri="{C807C97D-BFC1-408E-A445-0C87EB9F89A2}">
                <ask:lineSketchStyleProps xmlns:ask="http://schemas.microsoft.com/office/drawing/2018/sketchyshapes" sd="625625018">
                  <a:custGeom>
                    <a:avLst/>
                    <a:gdLst>
                      <a:gd name="connsiteX0" fmla="*/ 0 w 680086"/>
                      <a:gd name="connsiteY0" fmla="*/ 340043 h 680086"/>
                      <a:gd name="connsiteX1" fmla="*/ 340043 w 680086"/>
                      <a:gd name="connsiteY1" fmla="*/ 0 h 680086"/>
                      <a:gd name="connsiteX2" fmla="*/ 680086 w 680086"/>
                      <a:gd name="connsiteY2" fmla="*/ 340043 h 680086"/>
                      <a:gd name="connsiteX3" fmla="*/ 340043 w 680086"/>
                      <a:gd name="connsiteY3" fmla="*/ 680086 h 680086"/>
                      <a:gd name="connsiteX4" fmla="*/ 0 w 680086"/>
                      <a:gd name="connsiteY4" fmla="*/ 340043 h 68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0086" h="680086" fill="none" extrusionOk="0">
                        <a:moveTo>
                          <a:pt x="0" y="340043"/>
                        </a:moveTo>
                        <a:cubicBezTo>
                          <a:pt x="-14339" y="176698"/>
                          <a:pt x="140718" y="25683"/>
                          <a:pt x="340043" y="0"/>
                        </a:cubicBezTo>
                        <a:cubicBezTo>
                          <a:pt x="553675" y="31738"/>
                          <a:pt x="702626" y="170212"/>
                          <a:pt x="680086" y="340043"/>
                        </a:cubicBezTo>
                        <a:cubicBezTo>
                          <a:pt x="690749" y="498396"/>
                          <a:pt x="525980" y="698303"/>
                          <a:pt x="340043" y="680086"/>
                        </a:cubicBezTo>
                        <a:cubicBezTo>
                          <a:pt x="125771" y="679437"/>
                          <a:pt x="-21524" y="515220"/>
                          <a:pt x="0" y="340043"/>
                        </a:cubicBezTo>
                        <a:close/>
                      </a:path>
                      <a:path w="680086" h="680086" stroke="0" extrusionOk="0">
                        <a:moveTo>
                          <a:pt x="0" y="340043"/>
                        </a:moveTo>
                        <a:cubicBezTo>
                          <a:pt x="27718" y="161107"/>
                          <a:pt x="164486" y="15871"/>
                          <a:pt x="340043" y="0"/>
                        </a:cubicBezTo>
                        <a:cubicBezTo>
                          <a:pt x="505962" y="20673"/>
                          <a:pt x="717484" y="133271"/>
                          <a:pt x="680086" y="340043"/>
                        </a:cubicBezTo>
                        <a:cubicBezTo>
                          <a:pt x="659549" y="491459"/>
                          <a:pt x="509065" y="698071"/>
                          <a:pt x="340043" y="680086"/>
                        </a:cubicBezTo>
                        <a:cubicBezTo>
                          <a:pt x="151390" y="665265"/>
                          <a:pt x="19354" y="540274"/>
                          <a:pt x="0" y="34004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da-DK" sz="2800" b="1">
                <a:solidFill>
                  <a:srgbClr val="115A5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9230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3_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2_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1_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1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0BFB0B0-D471-FC4A-8785-8D5F2FEC1BB4}">
  <we:reference id="wa200001625" version="1.0.0.8" store="da-DK" storeType="OMEX"/>
  <we:alternateReferences>
    <we:reference id="wa200001625" version="1.0.0.8" store="WA200001625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6" ma:contentTypeDescription="Opret et nyt dokument." ma:contentTypeScope="" ma:versionID="f2366b5ad3061bc6c29a5651517dfd70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2718e0d4eeee71fa3d876f76a5c2d3f3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92EC08F-388E-4098-9A7C-B32E8E9B4A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9EA292-DC6B-410E-A05F-7F6DD9C1E492}">
  <ds:schemaRefs>
    <ds:schemaRef ds:uri="07b48e10-c04f-417b-9474-e48ce6fea886"/>
    <ds:schemaRef ds:uri="58e21f3c-b20b-41e4-9fa9-33c4bbbe68a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F3BCDFB-AF58-4465-9A90-F3793DA82E0C}">
  <ds:schemaRefs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58e21f3c-b20b-41e4-9fa9-33c4bbbe68ac"/>
    <ds:schemaRef ds:uri="07b48e10-c04f-417b-9474-e48ce6fea886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1e87e434-5779-42f9-b010-137c80c376f3}" enabled="1" method="Privileged" siteId="{9395c127-4642-416e-8d2d-69e01e31c0d5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8</Words>
  <Application>Microsoft Macintosh PowerPoint</Application>
  <PresentationFormat>Widescreen</PresentationFormat>
  <Paragraphs>231</Paragraphs>
  <Slides>16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33" baseType="lpstr">
      <vt:lpstr>Aptos</vt:lpstr>
      <vt:lpstr>Aptos Display</vt:lpstr>
      <vt:lpstr>Arial</vt:lpstr>
      <vt:lpstr>DM Sans 14pt</vt:lpstr>
      <vt:lpstr>DM Sans 14pt ExtraBold</vt:lpstr>
      <vt:lpstr>DM Sans 14pt Medium</vt:lpstr>
      <vt:lpstr>DM Sans 18pt 18pt</vt:lpstr>
      <vt:lpstr>DM Sans 18pt 18pt ExtraBold</vt:lpstr>
      <vt:lpstr>DM Sans 18pt 18pt Medium</vt:lpstr>
      <vt:lpstr>Verdana</vt:lpstr>
      <vt:lpstr>AlmenKompas</vt:lpstr>
      <vt:lpstr>3_Brugerdefineret design</vt:lpstr>
      <vt:lpstr>2_Brugerdefineret design</vt:lpstr>
      <vt:lpstr>1_Brugerdefineret design</vt:lpstr>
      <vt:lpstr>Brugerdefineret design</vt:lpstr>
      <vt:lpstr>1_AlmenKompas</vt:lpstr>
      <vt:lpstr>think-cell Slide</vt:lpstr>
      <vt:lpstr>PowerPoint-præsentation</vt:lpstr>
      <vt:lpstr>Dagsorden</vt:lpstr>
      <vt:lpstr>PowerPoint-præsentation</vt:lpstr>
      <vt:lpstr>Hvordan er vi nået frem til i dag?</vt:lpstr>
      <vt:lpstr>Vores prioriterede målepunkter  </vt:lpstr>
      <vt:lpstr>Vores data for de prioriterede målepunkter</vt:lpstr>
      <vt:lpstr>Introduktion til Ambitionsworkshoppen</vt:lpstr>
      <vt:lpstr>PowerPoint-præsentation</vt:lpstr>
      <vt:lpstr>Inddeling i grupper</vt:lpstr>
      <vt:lpstr>Gruppearbejde</vt:lpstr>
      <vt:lpstr>Plenum</vt:lpstr>
      <vt:lpstr>Gruppearbejde</vt:lpstr>
      <vt:lpstr>Gruppearbejde</vt:lpstr>
      <vt:lpstr>Plenum</vt:lpstr>
      <vt:lpstr>Afrunding og næste skridt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oline Moosgaard Nielsen</dc:creator>
  <cp:lastModifiedBy>Julie Thomsen</cp:lastModifiedBy>
  <cp:revision>1</cp:revision>
  <dcterms:created xsi:type="dcterms:W3CDTF">2025-09-17T11:14:30Z</dcterms:created>
  <dcterms:modified xsi:type="dcterms:W3CDTF">2025-12-09T09:5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7D845375A7054B9D1190F5089F308E</vt:lpwstr>
  </property>
  <property fmtid="{D5CDD505-2E9C-101B-9397-08002B2CF9AE}" pid="3" name="MediaServiceImageTags">
    <vt:lpwstr/>
  </property>
</Properties>
</file>